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9" r:id="rId1"/>
    <p:sldMasterId id="2147483791" r:id="rId2"/>
    <p:sldMasterId id="2147483803" r:id="rId3"/>
    <p:sldMasterId id="2147483935" r:id="rId4"/>
    <p:sldMasterId id="2147484002" r:id="rId5"/>
    <p:sldMasterId id="2147484014" r:id="rId6"/>
    <p:sldMasterId id="2147484361" r:id="rId7"/>
    <p:sldMasterId id="2147484374" r:id="rId8"/>
  </p:sldMasterIdLst>
  <p:notesMasterIdLst>
    <p:notesMasterId r:id="rId67"/>
  </p:notesMasterIdLst>
  <p:handoutMasterIdLst>
    <p:handoutMasterId r:id="rId68"/>
  </p:handoutMasterIdLst>
  <p:sldIdLst>
    <p:sldId id="560" r:id="rId9"/>
    <p:sldId id="452" r:id="rId10"/>
    <p:sldId id="453" r:id="rId11"/>
    <p:sldId id="454" r:id="rId12"/>
    <p:sldId id="455" r:id="rId13"/>
    <p:sldId id="456" r:id="rId14"/>
    <p:sldId id="457" r:id="rId15"/>
    <p:sldId id="458" r:id="rId16"/>
    <p:sldId id="459" r:id="rId17"/>
    <p:sldId id="460" r:id="rId18"/>
    <p:sldId id="461" r:id="rId19"/>
    <p:sldId id="462" r:id="rId20"/>
    <p:sldId id="463" r:id="rId21"/>
    <p:sldId id="464" r:id="rId22"/>
    <p:sldId id="465" r:id="rId23"/>
    <p:sldId id="466" r:id="rId24"/>
    <p:sldId id="467" r:id="rId25"/>
    <p:sldId id="542" r:id="rId26"/>
    <p:sldId id="468" r:id="rId27"/>
    <p:sldId id="469" r:id="rId28"/>
    <p:sldId id="470" r:id="rId29"/>
    <p:sldId id="471" r:id="rId30"/>
    <p:sldId id="472" r:id="rId31"/>
    <p:sldId id="473" r:id="rId32"/>
    <p:sldId id="474" r:id="rId33"/>
    <p:sldId id="475" r:id="rId34"/>
    <p:sldId id="476" r:id="rId35"/>
    <p:sldId id="570" r:id="rId36"/>
    <p:sldId id="569" r:id="rId37"/>
    <p:sldId id="562" r:id="rId38"/>
    <p:sldId id="565" r:id="rId39"/>
    <p:sldId id="477" r:id="rId40"/>
    <p:sldId id="572" r:id="rId41"/>
    <p:sldId id="564" r:id="rId42"/>
    <p:sldId id="563" r:id="rId43"/>
    <p:sldId id="539" r:id="rId44"/>
    <p:sldId id="540" r:id="rId45"/>
    <p:sldId id="567" r:id="rId46"/>
    <p:sldId id="568" r:id="rId47"/>
    <p:sldId id="566" r:id="rId48"/>
    <p:sldId id="481" r:id="rId49"/>
    <p:sldId id="482" r:id="rId50"/>
    <p:sldId id="483" r:id="rId51"/>
    <p:sldId id="484" r:id="rId52"/>
    <p:sldId id="485" r:id="rId53"/>
    <p:sldId id="486" r:id="rId54"/>
    <p:sldId id="527" r:id="rId55"/>
    <p:sldId id="573" r:id="rId56"/>
    <p:sldId id="574" r:id="rId57"/>
    <p:sldId id="575" r:id="rId58"/>
    <p:sldId id="528" r:id="rId59"/>
    <p:sldId id="529" r:id="rId60"/>
    <p:sldId id="530" r:id="rId61"/>
    <p:sldId id="531" r:id="rId62"/>
    <p:sldId id="532" r:id="rId63"/>
    <p:sldId id="533" r:id="rId64"/>
    <p:sldId id="543" r:id="rId65"/>
    <p:sldId id="447" r:id="rId66"/>
  </p:sldIdLst>
  <p:sldSz cx="9144000" cy="6858000" type="screen4x3"/>
  <p:notesSz cx="10231438" cy="7102475"/>
  <p:custDataLst>
    <p:tags r:id="rId70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7AB"/>
    <a:srgbClr val="FFE1E1"/>
    <a:srgbClr val="FFC1C1"/>
    <a:srgbClr val="008000"/>
    <a:srgbClr val="89B9FF"/>
    <a:srgbClr val="FBD6B7"/>
    <a:srgbClr val="F9B883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26966" autoAdjust="0"/>
    <p:restoredTop sz="94953" autoAdjust="0"/>
  </p:normalViewPr>
  <p:slideViewPr>
    <p:cSldViewPr>
      <p:cViewPr varScale="1">
        <p:scale>
          <a:sx n="69" d="100"/>
          <a:sy n="69" d="100"/>
        </p:scale>
        <p:origin x="-1096" y="-11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684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  <p:sld r:id="rId11" collapse="1"/>
      <p:sld r:id="rId12" collapse="1"/>
      <p:sld r:id="rId13" collapse="1"/>
      <p:sld r:id="rId14" collapse="1"/>
      <p:sld r:id="rId15" collapse="1"/>
      <p:sld r:id="rId16" collapse="1"/>
      <p:sld r:id="rId17" collapse="1"/>
      <p:sld r:id="rId18" collapse="1"/>
      <p:sld r:id="rId19" collapse="1"/>
      <p:sld r:id="rId20" collapse="1"/>
      <p:sld r:id="rId21" collapse="1"/>
      <p:sld r:id="rId22" collapse="1"/>
      <p:sld r:id="rId23" collapse="1"/>
      <p:sld r:id="rId24" collapse="1"/>
      <p:sld r:id="rId25" collapse="1"/>
      <p:sld r:id="rId26" collapse="1"/>
      <p:sld r:id="rId27" collapse="1"/>
      <p:sld r:id="rId28" collapse="1"/>
      <p:sld r:id="rId29" collapse="1"/>
      <p:sld r:id="rId30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3" d="100"/>
        <a:sy n="93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4" Type="http://schemas.openxmlformats.org/officeDocument/2006/relationships/slide" Target="slides/slide6.xml"/><Relationship Id="rId15" Type="http://schemas.openxmlformats.org/officeDocument/2006/relationships/slide" Target="slides/slide7.xml"/><Relationship Id="rId16" Type="http://schemas.openxmlformats.org/officeDocument/2006/relationships/slide" Target="slides/slide8.xml"/><Relationship Id="rId17" Type="http://schemas.openxmlformats.org/officeDocument/2006/relationships/slide" Target="slides/slide9.xml"/><Relationship Id="rId18" Type="http://schemas.openxmlformats.org/officeDocument/2006/relationships/slide" Target="slides/slide10.xml"/><Relationship Id="rId19" Type="http://schemas.openxmlformats.org/officeDocument/2006/relationships/slide" Target="slides/slide11.xml"/><Relationship Id="rId63" Type="http://schemas.openxmlformats.org/officeDocument/2006/relationships/slide" Target="slides/slide55.xml"/><Relationship Id="rId64" Type="http://schemas.openxmlformats.org/officeDocument/2006/relationships/slide" Target="slides/slide56.xml"/><Relationship Id="rId65" Type="http://schemas.openxmlformats.org/officeDocument/2006/relationships/slide" Target="slides/slide57.xml"/><Relationship Id="rId66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68" Type="http://schemas.openxmlformats.org/officeDocument/2006/relationships/handoutMaster" Target="handoutMasters/handoutMaster1.xml"/><Relationship Id="rId69" Type="http://schemas.openxmlformats.org/officeDocument/2006/relationships/printerSettings" Target="printerSettings/printerSettings1.bin"/><Relationship Id="rId50" Type="http://schemas.openxmlformats.org/officeDocument/2006/relationships/slide" Target="slides/slide42.xml"/><Relationship Id="rId51" Type="http://schemas.openxmlformats.org/officeDocument/2006/relationships/slide" Target="slides/slide43.xml"/><Relationship Id="rId52" Type="http://schemas.openxmlformats.org/officeDocument/2006/relationships/slide" Target="slides/slide44.xml"/><Relationship Id="rId53" Type="http://schemas.openxmlformats.org/officeDocument/2006/relationships/slide" Target="slides/slide45.xml"/><Relationship Id="rId54" Type="http://schemas.openxmlformats.org/officeDocument/2006/relationships/slide" Target="slides/slide46.xml"/><Relationship Id="rId55" Type="http://schemas.openxmlformats.org/officeDocument/2006/relationships/slide" Target="slides/slide47.xml"/><Relationship Id="rId56" Type="http://schemas.openxmlformats.org/officeDocument/2006/relationships/slide" Target="slides/slide48.xml"/><Relationship Id="rId57" Type="http://schemas.openxmlformats.org/officeDocument/2006/relationships/slide" Target="slides/slide49.xml"/><Relationship Id="rId58" Type="http://schemas.openxmlformats.org/officeDocument/2006/relationships/slide" Target="slides/slide50.xml"/><Relationship Id="rId59" Type="http://schemas.openxmlformats.org/officeDocument/2006/relationships/slide" Target="slides/slide51.xml"/><Relationship Id="rId40" Type="http://schemas.openxmlformats.org/officeDocument/2006/relationships/slide" Target="slides/slide32.xml"/><Relationship Id="rId41" Type="http://schemas.openxmlformats.org/officeDocument/2006/relationships/slide" Target="slides/slide33.xml"/><Relationship Id="rId42" Type="http://schemas.openxmlformats.org/officeDocument/2006/relationships/slide" Target="slides/slide34.xml"/><Relationship Id="rId43" Type="http://schemas.openxmlformats.org/officeDocument/2006/relationships/slide" Target="slides/slide35.xml"/><Relationship Id="rId44" Type="http://schemas.openxmlformats.org/officeDocument/2006/relationships/slide" Target="slides/slide36.xml"/><Relationship Id="rId45" Type="http://schemas.openxmlformats.org/officeDocument/2006/relationships/slide" Target="slides/slide37.xml"/><Relationship Id="rId46" Type="http://schemas.openxmlformats.org/officeDocument/2006/relationships/slide" Target="slides/slide38.xml"/><Relationship Id="rId47" Type="http://schemas.openxmlformats.org/officeDocument/2006/relationships/slide" Target="slides/slide39.xml"/><Relationship Id="rId48" Type="http://schemas.openxmlformats.org/officeDocument/2006/relationships/slide" Target="slides/slide40.xml"/><Relationship Id="rId49" Type="http://schemas.openxmlformats.org/officeDocument/2006/relationships/slide" Target="slides/slide4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" Target="slides/slide1.xml"/><Relationship Id="rId30" Type="http://schemas.openxmlformats.org/officeDocument/2006/relationships/slide" Target="slides/slide22.xml"/><Relationship Id="rId31" Type="http://schemas.openxmlformats.org/officeDocument/2006/relationships/slide" Target="slides/slide23.xml"/><Relationship Id="rId32" Type="http://schemas.openxmlformats.org/officeDocument/2006/relationships/slide" Target="slides/slide24.xml"/><Relationship Id="rId33" Type="http://schemas.openxmlformats.org/officeDocument/2006/relationships/slide" Target="slides/slide25.xml"/><Relationship Id="rId34" Type="http://schemas.openxmlformats.org/officeDocument/2006/relationships/slide" Target="slides/slide26.xml"/><Relationship Id="rId35" Type="http://schemas.openxmlformats.org/officeDocument/2006/relationships/slide" Target="slides/slide27.xml"/><Relationship Id="rId36" Type="http://schemas.openxmlformats.org/officeDocument/2006/relationships/slide" Target="slides/slide28.xml"/><Relationship Id="rId37" Type="http://schemas.openxmlformats.org/officeDocument/2006/relationships/slide" Target="slides/slide29.xml"/><Relationship Id="rId38" Type="http://schemas.openxmlformats.org/officeDocument/2006/relationships/slide" Target="slides/slide30.xml"/><Relationship Id="rId39" Type="http://schemas.openxmlformats.org/officeDocument/2006/relationships/slide" Target="slides/slide31.xml"/><Relationship Id="rId70" Type="http://schemas.openxmlformats.org/officeDocument/2006/relationships/tags" Target="tags/tag1.xml"/><Relationship Id="rId71" Type="http://schemas.openxmlformats.org/officeDocument/2006/relationships/presProps" Target="presProps.xml"/><Relationship Id="rId72" Type="http://schemas.openxmlformats.org/officeDocument/2006/relationships/viewProps" Target="viewProps.xml"/><Relationship Id="rId20" Type="http://schemas.openxmlformats.org/officeDocument/2006/relationships/slide" Target="slides/slide12.xml"/><Relationship Id="rId21" Type="http://schemas.openxmlformats.org/officeDocument/2006/relationships/slide" Target="slides/slide13.xml"/><Relationship Id="rId22" Type="http://schemas.openxmlformats.org/officeDocument/2006/relationships/slide" Target="slides/slide14.xml"/><Relationship Id="rId23" Type="http://schemas.openxmlformats.org/officeDocument/2006/relationships/slide" Target="slides/slide15.xml"/><Relationship Id="rId24" Type="http://schemas.openxmlformats.org/officeDocument/2006/relationships/slide" Target="slides/slide16.xml"/><Relationship Id="rId25" Type="http://schemas.openxmlformats.org/officeDocument/2006/relationships/slide" Target="slides/slide17.xml"/><Relationship Id="rId26" Type="http://schemas.openxmlformats.org/officeDocument/2006/relationships/slide" Target="slides/slide18.xml"/><Relationship Id="rId27" Type="http://schemas.openxmlformats.org/officeDocument/2006/relationships/slide" Target="slides/slide19.xml"/><Relationship Id="rId28" Type="http://schemas.openxmlformats.org/officeDocument/2006/relationships/slide" Target="slides/slide20.xml"/><Relationship Id="rId29" Type="http://schemas.openxmlformats.org/officeDocument/2006/relationships/slide" Target="slides/slide21.xml"/><Relationship Id="rId73" Type="http://schemas.openxmlformats.org/officeDocument/2006/relationships/theme" Target="theme/theme1.xml"/><Relationship Id="rId74" Type="http://schemas.openxmlformats.org/officeDocument/2006/relationships/tableStyles" Target="tableStyles.xml"/><Relationship Id="rId60" Type="http://schemas.openxmlformats.org/officeDocument/2006/relationships/slide" Target="slides/slide52.xml"/><Relationship Id="rId61" Type="http://schemas.openxmlformats.org/officeDocument/2006/relationships/slide" Target="slides/slide53.xml"/><Relationship Id="rId62" Type="http://schemas.openxmlformats.org/officeDocument/2006/relationships/slide" Target="slides/slide54.xml"/><Relationship Id="rId10" Type="http://schemas.openxmlformats.org/officeDocument/2006/relationships/slide" Target="slides/slide2.xml"/><Relationship Id="rId11" Type="http://schemas.openxmlformats.org/officeDocument/2006/relationships/slide" Target="slides/slide3.xml"/><Relationship Id="rId12" Type="http://schemas.openxmlformats.org/officeDocument/2006/relationships/slide" Target="slides/slide4.xml"/></Relationships>
</file>

<file path=ppt/_rels/viewProps.xml.rels><?xml version="1.0" encoding="UTF-8" standalone="yes"?>
<Relationships xmlns="http://schemas.openxmlformats.org/package/2006/relationships"><Relationship Id="rId9" Type="http://schemas.openxmlformats.org/officeDocument/2006/relationships/slide" Target="slides/slide13.xml"/><Relationship Id="rId20" Type="http://schemas.openxmlformats.org/officeDocument/2006/relationships/slide" Target="slides/slide25.xml"/><Relationship Id="rId21" Type="http://schemas.openxmlformats.org/officeDocument/2006/relationships/slide" Target="slides/slide26.xml"/><Relationship Id="rId22" Type="http://schemas.openxmlformats.org/officeDocument/2006/relationships/slide" Target="slides/slide28.xml"/><Relationship Id="rId23" Type="http://schemas.openxmlformats.org/officeDocument/2006/relationships/slide" Target="slides/slide32.xml"/><Relationship Id="rId24" Type="http://schemas.openxmlformats.org/officeDocument/2006/relationships/slide" Target="slides/slide33.xml"/><Relationship Id="rId25" Type="http://schemas.openxmlformats.org/officeDocument/2006/relationships/slide" Target="slides/slide41.xml"/><Relationship Id="rId26" Type="http://schemas.openxmlformats.org/officeDocument/2006/relationships/slide" Target="slides/slide42.xml"/><Relationship Id="rId27" Type="http://schemas.openxmlformats.org/officeDocument/2006/relationships/slide" Target="slides/slide44.xml"/><Relationship Id="rId28" Type="http://schemas.openxmlformats.org/officeDocument/2006/relationships/slide" Target="slides/slide45.xml"/><Relationship Id="rId29" Type="http://schemas.openxmlformats.org/officeDocument/2006/relationships/slide" Target="slides/slide57.xml"/><Relationship Id="rId30" Type="http://schemas.openxmlformats.org/officeDocument/2006/relationships/slide" Target="slides/slide58.xml"/><Relationship Id="rId10" Type="http://schemas.openxmlformats.org/officeDocument/2006/relationships/slide" Target="slides/slide14.xml"/><Relationship Id="rId11" Type="http://schemas.openxmlformats.org/officeDocument/2006/relationships/slide" Target="slides/slide15.xml"/><Relationship Id="rId12" Type="http://schemas.openxmlformats.org/officeDocument/2006/relationships/slide" Target="slides/slide16.xml"/><Relationship Id="rId13" Type="http://schemas.openxmlformats.org/officeDocument/2006/relationships/slide" Target="slides/slide17.xml"/><Relationship Id="rId14" Type="http://schemas.openxmlformats.org/officeDocument/2006/relationships/slide" Target="slides/slide19.xml"/><Relationship Id="rId15" Type="http://schemas.openxmlformats.org/officeDocument/2006/relationships/slide" Target="slides/slide20.xml"/><Relationship Id="rId16" Type="http://schemas.openxmlformats.org/officeDocument/2006/relationships/slide" Target="slides/slide21.xml"/><Relationship Id="rId17" Type="http://schemas.openxmlformats.org/officeDocument/2006/relationships/slide" Target="slides/slide22.xml"/><Relationship Id="rId18" Type="http://schemas.openxmlformats.org/officeDocument/2006/relationships/slide" Target="slides/slide23.xml"/><Relationship Id="rId19" Type="http://schemas.openxmlformats.org/officeDocument/2006/relationships/slide" Target="slides/slide24.xml"/><Relationship Id="rId1" Type="http://schemas.openxmlformats.org/officeDocument/2006/relationships/slide" Target="slides/slide1.xml"/><Relationship Id="rId2" Type="http://schemas.openxmlformats.org/officeDocument/2006/relationships/slide" Target="slides/slide2.xml"/><Relationship Id="rId3" Type="http://schemas.openxmlformats.org/officeDocument/2006/relationships/slide" Target="slides/slide3.xml"/><Relationship Id="rId4" Type="http://schemas.openxmlformats.org/officeDocument/2006/relationships/slide" Target="slides/slide4.xml"/><Relationship Id="rId5" Type="http://schemas.openxmlformats.org/officeDocument/2006/relationships/slide" Target="slides/slide6.xml"/><Relationship Id="rId6" Type="http://schemas.openxmlformats.org/officeDocument/2006/relationships/slide" Target="slides/slide7.xml"/><Relationship Id="rId7" Type="http://schemas.openxmlformats.org/officeDocument/2006/relationships/slide" Target="slides/slide8.xml"/><Relationship Id="rId8" Type="http://schemas.openxmlformats.org/officeDocument/2006/relationships/slide" Target="slides/slide12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1" Type="http://schemas.openxmlformats.org/officeDocument/2006/relationships/image" Target="../media/image10.jpeg"/><Relationship Id="rId2" Type="http://schemas.openxmlformats.org/officeDocument/2006/relationships/image" Target="../media/image11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1" Type="http://schemas.openxmlformats.org/officeDocument/2006/relationships/image" Target="../media/image10.jpeg"/><Relationship Id="rId2" Type="http://schemas.openxmlformats.org/officeDocument/2006/relationships/image" Target="../media/image1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F5CA1B-CC53-4C07-B136-ED524CFE3537}" type="doc">
      <dgm:prSet loTypeId="urn:microsoft.com/office/officeart/2005/8/layout/vList3#1" loCatId="list" qsTypeId="urn:microsoft.com/office/officeart/2005/8/quickstyle/simple1#8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1B1F78A2-0CDF-4C2E-BFF4-0C7462A877E0}">
      <dgm:prSet custT="1"/>
      <dgm:spPr>
        <a:ln>
          <a:solidFill>
            <a:schemeClr val="bg1"/>
          </a:solidFill>
        </a:ln>
      </dgm:spPr>
      <dgm:t>
        <a:bodyPr/>
        <a:lstStyle/>
        <a:p>
          <a:pPr algn="l" rtl="0"/>
          <a:r>
            <a:rPr lang="en-US" sz="2400" b="1" dirty="0" smtClean="0">
              <a:solidFill>
                <a:srgbClr val="C00000"/>
              </a:solidFill>
            </a:rPr>
            <a:t>UEMS</a:t>
          </a:r>
          <a:r>
            <a:rPr lang="en-US" sz="2400" dirty="0" smtClean="0"/>
            <a:t> </a:t>
          </a:r>
          <a:r>
            <a:rPr lang="ru-RU" sz="2400" dirty="0" smtClean="0"/>
            <a:t>– Европейский союз медицинских специалистов – гармонизация медицинского образования в ЕС</a:t>
          </a:r>
          <a:endParaRPr lang="ru-RU" sz="2400" dirty="0"/>
        </a:p>
      </dgm:t>
    </dgm:pt>
    <dgm:pt modelId="{B7FD8998-28BC-428C-BA4C-C0D145A716E5}" type="parTrans" cxnId="{D2AEA129-B2C4-4E29-8C43-A2F340AB19F6}">
      <dgm:prSet/>
      <dgm:spPr/>
      <dgm:t>
        <a:bodyPr/>
        <a:lstStyle/>
        <a:p>
          <a:endParaRPr lang="ru-RU" sz="2800"/>
        </a:p>
      </dgm:t>
    </dgm:pt>
    <dgm:pt modelId="{2BAC9417-7DA0-40CA-8098-4310D2FD12DD}" type="sibTrans" cxnId="{D2AEA129-B2C4-4E29-8C43-A2F340AB19F6}">
      <dgm:prSet/>
      <dgm:spPr/>
      <dgm:t>
        <a:bodyPr/>
        <a:lstStyle/>
        <a:p>
          <a:endParaRPr lang="ru-RU" sz="2800"/>
        </a:p>
      </dgm:t>
    </dgm:pt>
    <dgm:pt modelId="{E9094015-3B0A-476D-9585-33803DB7D484}">
      <dgm:prSet custT="1"/>
      <dgm:spPr>
        <a:ln>
          <a:solidFill>
            <a:schemeClr val="bg1"/>
          </a:solidFill>
        </a:ln>
      </dgm:spPr>
      <dgm:t>
        <a:bodyPr/>
        <a:lstStyle/>
        <a:p>
          <a:pPr algn="l" rtl="0"/>
          <a:r>
            <a:rPr lang="en-US" sz="2400" b="1" dirty="0" smtClean="0">
              <a:solidFill>
                <a:srgbClr val="C00000"/>
              </a:solidFill>
            </a:rPr>
            <a:t>AMEE</a:t>
          </a:r>
          <a:r>
            <a:rPr lang="en-US" sz="2400" dirty="0" smtClean="0"/>
            <a:t> </a:t>
          </a:r>
          <a:r>
            <a:rPr lang="ru-RU" sz="2400" dirty="0" smtClean="0"/>
            <a:t>– Ассоциация по медицинскому образованию в Европе – повышение уровня преподавания</a:t>
          </a:r>
          <a:endParaRPr lang="ru-RU" sz="2400" dirty="0"/>
        </a:p>
      </dgm:t>
    </dgm:pt>
    <dgm:pt modelId="{E0FD875B-095F-456C-ADEA-96E83D138E95}" type="parTrans" cxnId="{CF5ED999-7076-4495-8B34-F6177A0DD871}">
      <dgm:prSet/>
      <dgm:spPr/>
      <dgm:t>
        <a:bodyPr/>
        <a:lstStyle/>
        <a:p>
          <a:endParaRPr lang="ru-RU" sz="2800"/>
        </a:p>
      </dgm:t>
    </dgm:pt>
    <dgm:pt modelId="{FA7F6158-0AFD-4B89-9762-9DEACA505747}" type="sibTrans" cxnId="{CF5ED999-7076-4495-8B34-F6177A0DD871}">
      <dgm:prSet/>
      <dgm:spPr/>
      <dgm:t>
        <a:bodyPr/>
        <a:lstStyle/>
        <a:p>
          <a:endParaRPr lang="ru-RU" sz="2800"/>
        </a:p>
      </dgm:t>
    </dgm:pt>
    <dgm:pt modelId="{78FA1D15-128F-42EF-86FD-D18D91EE3E19}">
      <dgm:prSet custT="1"/>
      <dgm:spPr>
        <a:ln>
          <a:solidFill>
            <a:schemeClr val="bg1"/>
          </a:solidFill>
        </a:ln>
      </dgm:spPr>
      <dgm:t>
        <a:bodyPr/>
        <a:lstStyle/>
        <a:p>
          <a:pPr algn="l" rtl="0"/>
          <a:r>
            <a:rPr lang="en-US" sz="2400" b="1" dirty="0" smtClean="0">
              <a:solidFill>
                <a:srgbClr val="C00000"/>
              </a:solidFill>
            </a:rPr>
            <a:t>NBME</a:t>
          </a:r>
          <a:r>
            <a:rPr lang="ru-RU" sz="2400" dirty="0" smtClean="0"/>
            <a:t> – Национальный Совет медицинских экзаменаторов – организация медицинского лицензионного экзамена в США</a:t>
          </a:r>
          <a:endParaRPr lang="ru-RU" sz="2400" dirty="0"/>
        </a:p>
      </dgm:t>
    </dgm:pt>
    <dgm:pt modelId="{1E42615E-3EB0-4BBD-9731-6BB3764069B8}" type="parTrans" cxnId="{D2D50EB5-3889-4AEC-ABC3-4A26CD1577B2}">
      <dgm:prSet/>
      <dgm:spPr/>
      <dgm:t>
        <a:bodyPr/>
        <a:lstStyle/>
        <a:p>
          <a:endParaRPr lang="ru-RU" sz="2800"/>
        </a:p>
      </dgm:t>
    </dgm:pt>
    <dgm:pt modelId="{9C10669E-3F4D-48CB-938D-9EA87920EAD0}" type="sibTrans" cxnId="{D2D50EB5-3889-4AEC-ABC3-4A26CD1577B2}">
      <dgm:prSet/>
      <dgm:spPr/>
      <dgm:t>
        <a:bodyPr/>
        <a:lstStyle/>
        <a:p>
          <a:endParaRPr lang="ru-RU" sz="2800"/>
        </a:p>
      </dgm:t>
    </dgm:pt>
    <dgm:pt modelId="{B1CDE133-8FF6-4F76-AAF9-3E8A3310DE1F}">
      <dgm:prSet custT="1"/>
      <dgm:spPr>
        <a:ln>
          <a:solidFill>
            <a:schemeClr val="bg1"/>
          </a:solidFill>
        </a:ln>
      </dgm:spPr>
      <dgm:t>
        <a:bodyPr/>
        <a:lstStyle/>
        <a:p>
          <a:pPr algn="l" rtl="0"/>
          <a:r>
            <a:rPr lang="en-US" sz="2400" b="1" dirty="0" smtClean="0">
              <a:solidFill>
                <a:srgbClr val="C00000"/>
              </a:solidFill>
            </a:rPr>
            <a:t>FSMB</a:t>
          </a:r>
          <a:r>
            <a:rPr lang="en-US" sz="2400" b="1" dirty="0" smtClean="0"/>
            <a:t> </a:t>
          </a:r>
          <a:r>
            <a:rPr lang="en-US" sz="2400" b="0" dirty="0" smtClean="0"/>
            <a:t>–</a:t>
          </a:r>
          <a:r>
            <a:rPr lang="ru-RU" sz="2400" b="0" dirty="0" smtClean="0"/>
            <a:t> Федерация </a:t>
          </a:r>
          <a:r>
            <a:rPr lang="ru-RU" sz="2400" dirty="0" smtClean="0"/>
            <a:t>медицинских советов Штатов</a:t>
          </a:r>
          <a:endParaRPr lang="ru-RU" sz="2400" dirty="0"/>
        </a:p>
      </dgm:t>
    </dgm:pt>
    <dgm:pt modelId="{E918ED72-3D2F-4967-A583-3A006C3D6231}" type="parTrans" cxnId="{BB834B9D-7F1E-4F94-A257-6EFBEAB50F45}">
      <dgm:prSet/>
      <dgm:spPr/>
      <dgm:t>
        <a:bodyPr/>
        <a:lstStyle/>
        <a:p>
          <a:endParaRPr lang="ru-RU" sz="2800"/>
        </a:p>
      </dgm:t>
    </dgm:pt>
    <dgm:pt modelId="{58AD6F20-0F73-450A-816D-969FADEB9033}" type="sibTrans" cxnId="{BB834B9D-7F1E-4F94-A257-6EFBEAB50F45}">
      <dgm:prSet/>
      <dgm:spPr/>
      <dgm:t>
        <a:bodyPr/>
        <a:lstStyle/>
        <a:p>
          <a:endParaRPr lang="ru-RU" sz="2800"/>
        </a:p>
      </dgm:t>
    </dgm:pt>
    <dgm:pt modelId="{678165A1-0D79-4224-9E26-81F321C1903A}">
      <dgm:prSet custT="1"/>
      <dgm:spPr>
        <a:ln>
          <a:solidFill>
            <a:schemeClr val="bg1"/>
          </a:solidFill>
        </a:ln>
      </dgm:spPr>
      <dgm:t>
        <a:bodyPr/>
        <a:lstStyle/>
        <a:p>
          <a:pPr algn="l" rtl="0"/>
          <a:r>
            <a:rPr lang="en-US" sz="2400" b="1" dirty="0" smtClean="0">
              <a:solidFill>
                <a:srgbClr val="C00000"/>
              </a:solidFill>
            </a:rPr>
            <a:t>WFME</a:t>
          </a:r>
          <a:r>
            <a:rPr lang="ru-RU" sz="2400" dirty="0" smtClean="0"/>
            <a:t> – Всемирная федерация по медицинскому образованию</a:t>
          </a:r>
          <a:endParaRPr lang="ru-RU" sz="2400" dirty="0"/>
        </a:p>
      </dgm:t>
    </dgm:pt>
    <dgm:pt modelId="{7E096772-1164-4BC1-822D-731738D06D63}" type="parTrans" cxnId="{6347CA05-75A1-4514-BD12-7CF4649C1701}">
      <dgm:prSet/>
      <dgm:spPr/>
      <dgm:t>
        <a:bodyPr/>
        <a:lstStyle/>
        <a:p>
          <a:endParaRPr lang="ru-RU" sz="2800"/>
        </a:p>
      </dgm:t>
    </dgm:pt>
    <dgm:pt modelId="{55AF9D06-AD6E-4D02-900A-7D8997E56473}" type="sibTrans" cxnId="{6347CA05-75A1-4514-BD12-7CF4649C1701}">
      <dgm:prSet/>
      <dgm:spPr/>
      <dgm:t>
        <a:bodyPr/>
        <a:lstStyle/>
        <a:p>
          <a:endParaRPr lang="ru-RU" sz="2800"/>
        </a:p>
      </dgm:t>
    </dgm:pt>
    <dgm:pt modelId="{75CCF793-9338-4FA2-A029-75A24137569C}" type="pres">
      <dgm:prSet presAssocID="{85F5CA1B-CC53-4C07-B136-ED524CFE3537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3164A87-D0B6-40E1-8567-360FF00C4589}" type="pres">
      <dgm:prSet presAssocID="{1B1F78A2-0CDF-4C2E-BFF4-0C7462A877E0}" presName="composite" presStyleCnt="0"/>
      <dgm:spPr/>
      <dgm:t>
        <a:bodyPr/>
        <a:lstStyle/>
        <a:p>
          <a:endParaRPr lang="ru-RU"/>
        </a:p>
      </dgm:t>
    </dgm:pt>
    <dgm:pt modelId="{06E4D575-1077-46CD-A545-B75ECE706281}" type="pres">
      <dgm:prSet presAssocID="{1B1F78A2-0CDF-4C2E-BFF4-0C7462A877E0}" presName="imgShp" presStyleLbl="fgImgPlace1" presStyleIdx="0" presStyleCnt="5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solidFill>
            <a:schemeClr val="bg1"/>
          </a:solidFill>
        </a:ln>
      </dgm:spPr>
      <dgm:t>
        <a:bodyPr/>
        <a:lstStyle/>
        <a:p>
          <a:endParaRPr lang="ru-RU"/>
        </a:p>
      </dgm:t>
    </dgm:pt>
    <dgm:pt modelId="{E443E9A3-03A4-4CED-B995-477FE0A19A64}" type="pres">
      <dgm:prSet presAssocID="{1B1F78A2-0CDF-4C2E-BFF4-0C7462A877E0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D6423-0DCE-428D-838A-932B6F0DCDEC}" type="pres">
      <dgm:prSet presAssocID="{2BAC9417-7DA0-40CA-8098-4310D2FD12DD}" presName="spacing" presStyleCnt="0"/>
      <dgm:spPr/>
      <dgm:t>
        <a:bodyPr/>
        <a:lstStyle/>
        <a:p>
          <a:endParaRPr lang="ru-RU"/>
        </a:p>
      </dgm:t>
    </dgm:pt>
    <dgm:pt modelId="{40E3759B-2427-48CB-84A3-E23451A47015}" type="pres">
      <dgm:prSet presAssocID="{E9094015-3B0A-476D-9585-33803DB7D484}" presName="composite" presStyleCnt="0"/>
      <dgm:spPr/>
      <dgm:t>
        <a:bodyPr/>
        <a:lstStyle/>
        <a:p>
          <a:endParaRPr lang="ru-RU"/>
        </a:p>
      </dgm:t>
    </dgm:pt>
    <dgm:pt modelId="{90800EA5-DB1E-439A-A1A0-11DA9D523205}" type="pres">
      <dgm:prSet presAssocID="{E9094015-3B0A-476D-9585-33803DB7D484}" presName="imgShp" presStyleLbl="fgImgPlace1" presStyleIdx="1" presStyleCnt="5"/>
      <dgm:spPr>
        <a:blipFill rotWithShape="0">
          <a:blip xmlns:r="http://schemas.openxmlformats.org/officeDocument/2006/relationships" r:embed="rId2"/>
          <a:stretch>
            <a:fillRect/>
          </a:stretch>
        </a:blipFill>
        <a:ln>
          <a:solidFill>
            <a:schemeClr val="bg1"/>
          </a:solidFill>
        </a:ln>
      </dgm:spPr>
      <dgm:t>
        <a:bodyPr/>
        <a:lstStyle/>
        <a:p>
          <a:endParaRPr lang="ru-RU"/>
        </a:p>
      </dgm:t>
    </dgm:pt>
    <dgm:pt modelId="{5AA89E59-EBE2-4B7F-A399-AE5C8568C974}" type="pres">
      <dgm:prSet presAssocID="{E9094015-3B0A-476D-9585-33803DB7D484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1C51FC-026D-46A0-BA1F-A815382ABF07}" type="pres">
      <dgm:prSet presAssocID="{FA7F6158-0AFD-4B89-9762-9DEACA505747}" presName="spacing" presStyleCnt="0"/>
      <dgm:spPr/>
      <dgm:t>
        <a:bodyPr/>
        <a:lstStyle/>
        <a:p>
          <a:endParaRPr lang="ru-RU"/>
        </a:p>
      </dgm:t>
    </dgm:pt>
    <dgm:pt modelId="{E30990D7-B4BD-4E1F-8176-CD777A6ACAF5}" type="pres">
      <dgm:prSet presAssocID="{78FA1D15-128F-42EF-86FD-D18D91EE3E19}" presName="composite" presStyleCnt="0"/>
      <dgm:spPr/>
      <dgm:t>
        <a:bodyPr/>
        <a:lstStyle/>
        <a:p>
          <a:endParaRPr lang="ru-RU"/>
        </a:p>
      </dgm:t>
    </dgm:pt>
    <dgm:pt modelId="{9E0E5009-F722-43F3-8A97-EEF5A6817801}" type="pres">
      <dgm:prSet presAssocID="{78FA1D15-128F-42EF-86FD-D18D91EE3E19}" presName="imgShp" presStyleLbl="fgImgPlace1" presStyleIdx="2" presStyleCnt="5"/>
      <dgm:spPr>
        <a:blipFill rotWithShape="0">
          <a:blip xmlns:r="http://schemas.openxmlformats.org/officeDocument/2006/relationships" r:embed="rId3"/>
          <a:stretch>
            <a:fillRect/>
          </a:stretch>
        </a:blipFill>
        <a:ln>
          <a:solidFill>
            <a:schemeClr val="bg1"/>
          </a:solidFill>
        </a:ln>
      </dgm:spPr>
      <dgm:t>
        <a:bodyPr/>
        <a:lstStyle/>
        <a:p>
          <a:endParaRPr lang="ru-RU"/>
        </a:p>
      </dgm:t>
    </dgm:pt>
    <dgm:pt modelId="{7F504D7C-960C-4F8D-A737-FC9BC8B1C683}" type="pres">
      <dgm:prSet presAssocID="{78FA1D15-128F-42EF-86FD-D18D91EE3E19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09CB5C-0C99-42E5-B131-D3F4BE7A169A}" type="pres">
      <dgm:prSet presAssocID="{9C10669E-3F4D-48CB-938D-9EA87920EAD0}" presName="spacing" presStyleCnt="0"/>
      <dgm:spPr/>
      <dgm:t>
        <a:bodyPr/>
        <a:lstStyle/>
        <a:p>
          <a:endParaRPr lang="ru-RU"/>
        </a:p>
      </dgm:t>
    </dgm:pt>
    <dgm:pt modelId="{EF69F55D-00D8-49B2-8308-6044C83CEA57}" type="pres">
      <dgm:prSet presAssocID="{B1CDE133-8FF6-4F76-AAF9-3E8A3310DE1F}" presName="composite" presStyleCnt="0"/>
      <dgm:spPr/>
      <dgm:t>
        <a:bodyPr/>
        <a:lstStyle/>
        <a:p>
          <a:endParaRPr lang="ru-RU"/>
        </a:p>
      </dgm:t>
    </dgm:pt>
    <dgm:pt modelId="{F5A7993B-F66C-45CC-A9BB-56F59FFBCAF3}" type="pres">
      <dgm:prSet presAssocID="{B1CDE133-8FF6-4F76-AAF9-3E8A3310DE1F}" presName="imgShp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  <a:ln>
          <a:solidFill>
            <a:schemeClr val="bg1"/>
          </a:solidFill>
        </a:ln>
      </dgm:spPr>
      <dgm:t>
        <a:bodyPr/>
        <a:lstStyle/>
        <a:p>
          <a:endParaRPr lang="ru-RU"/>
        </a:p>
      </dgm:t>
    </dgm:pt>
    <dgm:pt modelId="{D475AE3F-0A15-4773-A27B-1DBDEFD7EBD7}" type="pres">
      <dgm:prSet presAssocID="{B1CDE133-8FF6-4F76-AAF9-3E8A3310DE1F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A1C227-94F1-492D-935C-60943EE2E97F}" type="pres">
      <dgm:prSet presAssocID="{58AD6F20-0F73-450A-816D-969FADEB9033}" presName="spacing" presStyleCnt="0"/>
      <dgm:spPr/>
    </dgm:pt>
    <dgm:pt modelId="{0B8072B1-C490-40B2-8DBB-E572F6E33417}" type="pres">
      <dgm:prSet presAssocID="{678165A1-0D79-4224-9E26-81F321C1903A}" presName="composite" presStyleCnt="0"/>
      <dgm:spPr/>
    </dgm:pt>
    <dgm:pt modelId="{DFCC7EAE-ABE9-424F-800A-A757F63A07DE}" type="pres">
      <dgm:prSet presAssocID="{678165A1-0D79-4224-9E26-81F321C1903A}" presName="imgShp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B842AA3B-67A8-49F1-8031-AD9E427AD189}" type="pres">
      <dgm:prSet presAssocID="{678165A1-0D79-4224-9E26-81F321C1903A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55612FB-D2AD-4670-9D27-EE6048036E14}" type="presOf" srcId="{1B1F78A2-0CDF-4C2E-BFF4-0C7462A877E0}" destId="{E443E9A3-03A4-4CED-B995-477FE0A19A64}" srcOrd="0" destOrd="0" presId="urn:microsoft.com/office/officeart/2005/8/layout/vList3#1"/>
    <dgm:cxn modelId="{A2B4C59E-6458-49A2-9796-A85237524331}" type="presOf" srcId="{678165A1-0D79-4224-9E26-81F321C1903A}" destId="{B842AA3B-67A8-49F1-8031-AD9E427AD189}" srcOrd="0" destOrd="0" presId="urn:microsoft.com/office/officeart/2005/8/layout/vList3#1"/>
    <dgm:cxn modelId="{D2D50EB5-3889-4AEC-ABC3-4A26CD1577B2}" srcId="{85F5CA1B-CC53-4C07-B136-ED524CFE3537}" destId="{78FA1D15-128F-42EF-86FD-D18D91EE3E19}" srcOrd="2" destOrd="0" parTransId="{1E42615E-3EB0-4BBD-9731-6BB3764069B8}" sibTransId="{9C10669E-3F4D-48CB-938D-9EA87920EAD0}"/>
    <dgm:cxn modelId="{00F84A20-F26D-40A5-9B7F-3097EF6C1BAB}" type="presOf" srcId="{78FA1D15-128F-42EF-86FD-D18D91EE3E19}" destId="{7F504D7C-960C-4F8D-A737-FC9BC8B1C683}" srcOrd="0" destOrd="0" presId="urn:microsoft.com/office/officeart/2005/8/layout/vList3#1"/>
    <dgm:cxn modelId="{F7C3F9A3-F713-466A-8853-4812B58B13CE}" type="presOf" srcId="{E9094015-3B0A-476D-9585-33803DB7D484}" destId="{5AA89E59-EBE2-4B7F-A399-AE5C8568C974}" srcOrd="0" destOrd="0" presId="urn:microsoft.com/office/officeart/2005/8/layout/vList3#1"/>
    <dgm:cxn modelId="{BB834B9D-7F1E-4F94-A257-6EFBEAB50F45}" srcId="{85F5CA1B-CC53-4C07-B136-ED524CFE3537}" destId="{B1CDE133-8FF6-4F76-AAF9-3E8A3310DE1F}" srcOrd="3" destOrd="0" parTransId="{E918ED72-3D2F-4967-A583-3A006C3D6231}" sibTransId="{58AD6F20-0F73-450A-816D-969FADEB9033}"/>
    <dgm:cxn modelId="{D2AEA129-B2C4-4E29-8C43-A2F340AB19F6}" srcId="{85F5CA1B-CC53-4C07-B136-ED524CFE3537}" destId="{1B1F78A2-0CDF-4C2E-BFF4-0C7462A877E0}" srcOrd="0" destOrd="0" parTransId="{B7FD8998-28BC-428C-BA4C-C0D145A716E5}" sibTransId="{2BAC9417-7DA0-40CA-8098-4310D2FD12DD}"/>
    <dgm:cxn modelId="{69E0C191-CDB5-4B18-B86B-CE04231EBD3A}" type="presOf" srcId="{85F5CA1B-CC53-4C07-B136-ED524CFE3537}" destId="{75CCF793-9338-4FA2-A029-75A24137569C}" srcOrd="0" destOrd="0" presId="urn:microsoft.com/office/officeart/2005/8/layout/vList3#1"/>
    <dgm:cxn modelId="{CF5ED999-7076-4495-8B34-F6177A0DD871}" srcId="{85F5CA1B-CC53-4C07-B136-ED524CFE3537}" destId="{E9094015-3B0A-476D-9585-33803DB7D484}" srcOrd="1" destOrd="0" parTransId="{E0FD875B-095F-456C-ADEA-96E83D138E95}" sibTransId="{FA7F6158-0AFD-4B89-9762-9DEACA505747}"/>
    <dgm:cxn modelId="{6347CA05-75A1-4514-BD12-7CF4649C1701}" srcId="{85F5CA1B-CC53-4C07-B136-ED524CFE3537}" destId="{678165A1-0D79-4224-9E26-81F321C1903A}" srcOrd="4" destOrd="0" parTransId="{7E096772-1164-4BC1-822D-731738D06D63}" sibTransId="{55AF9D06-AD6E-4D02-900A-7D8997E56473}"/>
    <dgm:cxn modelId="{7F11E69F-BDD0-4FCE-BAA3-94F3B52E286C}" type="presOf" srcId="{B1CDE133-8FF6-4F76-AAF9-3E8A3310DE1F}" destId="{D475AE3F-0A15-4773-A27B-1DBDEFD7EBD7}" srcOrd="0" destOrd="0" presId="urn:microsoft.com/office/officeart/2005/8/layout/vList3#1"/>
    <dgm:cxn modelId="{D8220147-2B0D-4F91-98E4-0B3818000FA3}" type="presParOf" srcId="{75CCF793-9338-4FA2-A029-75A24137569C}" destId="{03164A87-D0B6-40E1-8567-360FF00C4589}" srcOrd="0" destOrd="0" presId="urn:microsoft.com/office/officeart/2005/8/layout/vList3#1"/>
    <dgm:cxn modelId="{A0304FCE-F45F-4E4B-B06E-A72689F1CE96}" type="presParOf" srcId="{03164A87-D0B6-40E1-8567-360FF00C4589}" destId="{06E4D575-1077-46CD-A545-B75ECE706281}" srcOrd="0" destOrd="0" presId="urn:microsoft.com/office/officeart/2005/8/layout/vList3#1"/>
    <dgm:cxn modelId="{22598F17-5F29-4459-9350-B8F214BC6C41}" type="presParOf" srcId="{03164A87-D0B6-40E1-8567-360FF00C4589}" destId="{E443E9A3-03A4-4CED-B995-477FE0A19A64}" srcOrd="1" destOrd="0" presId="urn:microsoft.com/office/officeart/2005/8/layout/vList3#1"/>
    <dgm:cxn modelId="{BD4BFD97-4A9C-4844-BD95-AC140593C4B9}" type="presParOf" srcId="{75CCF793-9338-4FA2-A029-75A24137569C}" destId="{107D6423-0DCE-428D-838A-932B6F0DCDEC}" srcOrd="1" destOrd="0" presId="urn:microsoft.com/office/officeart/2005/8/layout/vList3#1"/>
    <dgm:cxn modelId="{A1617395-3A9B-4448-8E89-4764DB0BCF47}" type="presParOf" srcId="{75CCF793-9338-4FA2-A029-75A24137569C}" destId="{40E3759B-2427-48CB-84A3-E23451A47015}" srcOrd="2" destOrd="0" presId="urn:microsoft.com/office/officeart/2005/8/layout/vList3#1"/>
    <dgm:cxn modelId="{7E50813C-D08F-408C-AB15-D5CBE8F8E665}" type="presParOf" srcId="{40E3759B-2427-48CB-84A3-E23451A47015}" destId="{90800EA5-DB1E-439A-A1A0-11DA9D523205}" srcOrd="0" destOrd="0" presId="urn:microsoft.com/office/officeart/2005/8/layout/vList3#1"/>
    <dgm:cxn modelId="{9CBB1CBE-6A3A-474E-8DCF-1828578FAA3C}" type="presParOf" srcId="{40E3759B-2427-48CB-84A3-E23451A47015}" destId="{5AA89E59-EBE2-4B7F-A399-AE5C8568C974}" srcOrd="1" destOrd="0" presId="urn:microsoft.com/office/officeart/2005/8/layout/vList3#1"/>
    <dgm:cxn modelId="{374CB01C-3956-435E-957F-65C7A1FEA90E}" type="presParOf" srcId="{75CCF793-9338-4FA2-A029-75A24137569C}" destId="{991C51FC-026D-46A0-BA1F-A815382ABF07}" srcOrd="3" destOrd="0" presId="urn:microsoft.com/office/officeart/2005/8/layout/vList3#1"/>
    <dgm:cxn modelId="{69D85AC3-7FF1-40BE-8EC3-E1988193A40E}" type="presParOf" srcId="{75CCF793-9338-4FA2-A029-75A24137569C}" destId="{E30990D7-B4BD-4E1F-8176-CD777A6ACAF5}" srcOrd="4" destOrd="0" presId="urn:microsoft.com/office/officeart/2005/8/layout/vList3#1"/>
    <dgm:cxn modelId="{1ADF474F-BC93-44B0-AC8F-89D202BD11ED}" type="presParOf" srcId="{E30990D7-B4BD-4E1F-8176-CD777A6ACAF5}" destId="{9E0E5009-F722-43F3-8A97-EEF5A6817801}" srcOrd="0" destOrd="0" presId="urn:microsoft.com/office/officeart/2005/8/layout/vList3#1"/>
    <dgm:cxn modelId="{F3726887-E725-4F0F-A3BB-9D5D42227E29}" type="presParOf" srcId="{E30990D7-B4BD-4E1F-8176-CD777A6ACAF5}" destId="{7F504D7C-960C-4F8D-A737-FC9BC8B1C683}" srcOrd="1" destOrd="0" presId="urn:microsoft.com/office/officeart/2005/8/layout/vList3#1"/>
    <dgm:cxn modelId="{59D28150-2ADE-43C0-844A-A7089ED4E15E}" type="presParOf" srcId="{75CCF793-9338-4FA2-A029-75A24137569C}" destId="{7409CB5C-0C99-42E5-B131-D3F4BE7A169A}" srcOrd="5" destOrd="0" presId="urn:microsoft.com/office/officeart/2005/8/layout/vList3#1"/>
    <dgm:cxn modelId="{AA6EDB1E-8DA8-466F-96B5-6EAA3053DEA0}" type="presParOf" srcId="{75CCF793-9338-4FA2-A029-75A24137569C}" destId="{EF69F55D-00D8-49B2-8308-6044C83CEA57}" srcOrd="6" destOrd="0" presId="urn:microsoft.com/office/officeart/2005/8/layout/vList3#1"/>
    <dgm:cxn modelId="{6BA4E940-1586-49DF-9F85-1239E610D2D9}" type="presParOf" srcId="{EF69F55D-00D8-49B2-8308-6044C83CEA57}" destId="{F5A7993B-F66C-45CC-A9BB-56F59FFBCAF3}" srcOrd="0" destOrd="0" presId="urn:microsoft.com/office/officeart/2005/8/layout/vList3#1"/>
    <dgm:cxn modelId="{D88D436E-9F39-40E7-A4F2-C380C5C7A4EA}" type="presParOf" srcId="{EF69F55D-00D8-49B2-8308-6044C83CEA57}" destId="{D475AE3F-0A15-4773-A27B-1DBDEFD7EBD7}" srcOrd="1" destOrd="0" presId="urn:microsoft.com/office/officeart/2005/8/layout/vList3#1"/>
    <dgm:cxn modelId="{BA434FFD-97DE-4240-8CC6-13BEC38FA4B1}" type="presParOf" srcId="{75CCF793-9338-4FA2-A029-75A24137569C}" destId="{EBA1C227-94F1-492D-935C-60943EE2E97F}" srcOrd="7" destOrd="0" presId="urn:microsoft.com/office/officeart/2005/8/layout/vList3#1"/>
    <dgm:cxn modelId="{C6F67A19-2A45-484E-8D03-2A3927D5C05E}" type="presParOf" srcId="{75CCF793-9338-4FA2-A029-75A24137569C}" destId="{0B8072B1-C490-40B2-8DBB-E572F6E33417}" srcOrd="8" destOrd="0" presId="urn:microsoft.com/office/officeart/2005/8/layout/vList3#1"/>
    <dgm:cxn modelId="{0D503DEA-0D45-42C4-B0BE-87A82C909C5F}" type="presParOf" srcId="{0B8072B1-C490-40B2-8DBB-E572F6E33417}" destId="{DFCC7EAE-ABE9-424F-800A-A757F63A07DE}" srcOrd="0" destOrd="0" presId="urn:microsoft.com/office/officeart/2005/8/layout/vList3#1"/>
    <dgm:cxn modelId="{5589CD02-6892-4946-8FD4-BF5D242D17BE}" type="presParOf" srcId="{0B8072B1-C490-40B2-8DBB-E572F6E33417}" destId="{B842AA3B-67A8-49F1-8031-AD9E427AD189}" srcOrd="1" destOrd="0" presId="urn:microsoft.com/office/officeart/2005/8/layout/vList3#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A9CDE2-3EE0-354C-BBAF-4E0B0420FBE5}" type="doc">
      <dgm:prSet loTypeId="urn:microsoft.com/office/officeart/2008/layout/HorizontalMultiLevelHierarchy" loCatId="" qsTypeId="urn:microsoft.com/office/officeart/2005/8/quickstyle/simple4" qsCatId="simple" csTypeId="urn:microsoft.com/office/officeart/2005/8/colors/accent1_2#1" csCatId="accent1" phldr="1"/>
      <dgm:spPr/>
      <dgm:t>
        <a:bodyPr/>
        <a:lstStyle/>
        <a:p>
          <a:endParaRPr lang="ru-RU"/>
        </a:p>
      </dgm:t>
    </dgm:pt>
    <dgm:pt modelId="{4DA63735-49B1-5D41-9C22-CC99490F804C}">
      <dgm:prSet phldrT="[Текст]"/>
      <dgm:spPr>
        <a:solidFill>
          <a:schemeClr val="accent2"/>
        </a:solidFill>
      </dgm:spPr>
      <dgm:t>
        <a:bodyPr/>
        <a:lstStyle/>
        <a:p>
          <a:r>
            <a:rPr lang="ru-RU" dirty="0" smtClean="0"/>
            <a:t>СОВЕТ</a:t>
          </a:r>
          <a:endParaRPr lang="ru-RU" dirty="0"/>
        </a:p>
      </dgm:t>
    </dgm:pt>
    <dgm:pt modelId="{77D5FAD6-B81B-5B43-A32E-D9660DF10BE6}" type="parTrans" cxnId="{8CFA6D67-5553-3B49-9B06-C1E09D71E731}">
      <dgm:prSet/>
      <dgm:spPr/>
      <dgm:t>
        <a:bodyPr/>
        <a:lstStyle/>
        <a:p>
          <a:endParaRPr lang="ru-RU"/>
        </a:p>
      </dgm:t>
    </dgm:pt>
    <dgm:pt modelId="{3276FB97-6773-654B-B0DB-4FDCD9C7F4D9}" type="sibTrans" cxnId="{8CFA6D67-5553-3B49-9B06-C1E09D71E731}">
      <dgm:prSet/>
      <dgm:spPr/>
      <dgm:t>
        <a:bodyPr/>
        <a:lstStyle/>
        <a:p>
          <a:endParaRPr lang="ru-RU"/>
        </a:p>
      </dgm:t>
    </dgm:pt>
    <dgm:pt modelId="{B939CA91-5832-644B-9250-EDB51074BA01}">
      <dgm:prSet phldrT="[Текст]" custT="1"/>
      <dgm:spPr>
        <a:solidFill>
          <a:schemeClr val="bg1">
            <a:lumMod val="95000"/>
          </a:schemeClr>
        </a:solidFill>
        <a:ln>
          <a:solidFill>
            <a:schemeClr val="bg1"/>
          </a:solidFill>
        </a:ln>
      </dgm:spPr>
      <dgm:t>
        <a:bodyPr/>
        <a:lstStyle/>
        <a:p>
          <a:pPr algn="ctr"/>
          <a:r>
            <a:rPr lang="ru-RU" sz="1800" b="1" dirty="0" smtClean="0">
              <a:solidFill>
                <a:srgbClr val="C00000"/>
              </a:solidFill>
            </a:rPr>
            <a:t>РГ № 1 </a:t>
          </a:r>
          <a:r>
            <a:rPr lang="ru-RU" sz="1800" b="1" dirty="0" smtClean="0">
              <a:solidFill>
                <a:schemeClr val="tx1"/>
              </a:solidFill>
            </a:rPr>
            <a:t>‒ по разработке нормативных документов по развитию  НМО </a:t>
          </a:r>
          <a:r>
            <a:rPr lang="ru-RU" sz="1800" b="0" dirty="0" smtClean="0">
              <a:solidFill>
                <a:schemeClr val="tx1"/>
              </a:solidFill>
            </a:rPr>
            <a:t>(Андрей Алексеевич Свистунов)</a:t>
          </a:r>
          <a:endParaRPr lang="ru-RU" sz="1800" b="0" dirty="0">
            <a:solidFill>
              <a:schemeClr val="tx1"/>
            </a:solidFill>
          </a:endParaRPr>
        </a:p>
      </dgm:t>
    </dgm:pt>
    <dgm:pt modelId="{C7829D59-8805-E349-A1DF-A338C3ABF48C}" type="parTrans" cxnId="{48A4C584-C57B-9A4F-98F3-A683EB1D3129}">
      <dgm:prSet/>
      <dgm:spPr/>
      <dgm:t>
        <a:bodyPr/>
        <a:lstStyle/>
        <a:p>
          <a:endParaRPr lang="ru-RU" dirty="0"/>
        </a:p>
      </dgm:t>
    </dgm:pt>
    <dgm:pt modelId="{F6B50903-3A00-F844-A10A-685A561BBCC2}" type="sibTrans" cxnId="{48A4C584-C57B-9A4F-98F3-A683EB1D3129}">
      <dgm:prSet/>
      <dgm:spPr/>
      <dgm:t>
        <a:bodyPr/>
        <a:lstStyle/>
        <a:p>
          <a:endParaRPr lang="ru-RU"/>
        </a:p>
      </dgm:t>
    </dgm:pt>
    <dgm:pt modelId="{3BDE5014-39E0-B444-9B5D-0636ECBC1E42}">
      <dgm:prSet phldrT="[Текст]" custT="1"/>
      <dgm:spPr>
        <a:solidFill>
          <a:schemeClr val="bg1">
            <a:lumMod val="95000"/>
          </a:schemeClr>
        </a:solidFill>
        <a:ln>
          <a:solidFill>
            <a:schemeClr val="bg1"/>
          </a:solidFill>
        </a:ln>
      </dgm:spPr>
      <dgm:t>
        <a:bodyPr/>
        <a:lstStyle/>
        <a:p>
          <a:pPr algn="ctr"/>
          <a:r>
            <a:rPr lang="ru-RU" sz="1800" b="1" dirty="0" smtClean="0">
              <a:solidFill>
                <a:srgbClr val="C00000"/>
              </a:solidFill>
            </a:rPr>
            <a:t>РГ № 2 </a:t>
          </a:r>
          <a:r>
            <a:rPr lang="ru-RU" sz="1800" b="1" dirty="0" smtClean="0">
              <a:solidFill>
                <a:schemeClr val="tx1"/>
              </a:solidFill>
            </a:rPr>
            <a:t>‒ по методологии создания учебных и контрольно-измерительных материалов </a:t>
          </a:r>
          <a:r>
            <a:rPr lang="ru-RU" sz="1800" b="0" dirty="0" smtClean="0">
              <a:solidFill>
                <a:schemeClr val="tx1"/>
              </a:solidFill>
            </a:rPr>
            <a:t>(Александр Григорьевич Чучалин)</a:t>
          </a:r>
          <a:endParaRPr lang="ru-RU" sz="1800" b="0" dirty="0">
            <a:solidFill>
              <a:schemeClr val="tx1"/>
            </a:solidFill>
          </a:endParaRPr>
        </a:p>
      </dgm:t>
    </dgm:pt>
    <dgm:pt modelId="{BD70D0C7-F2D9-6C42-BED1-6E628FA148BD}" type="parTrans" cxnId="{69A1ADF6-01C5-5E4D-9911-8EE5E0F9AEB0}">
      <dgm:prSet/>
      <dgm:spPr/>
      <dgm:t>
        <a:bodyPr/>
        <a:lstStyle/>
        <a:p>
          <a:endParaRPr lang="ru-RU" dirty="0"/>
        </a:p>
      </dgm:t>
    </dgm:pt>
    <dgm:pt modelId="{F2F4861A-8116-B244-9CCB-DA7F58509098}" type="sibTrans" cxnId="{69A1ADF6-01C5-5E4D-9911-8EE5E0F9AEB0}">
      <dgm:prSet/>
      <dgm:spPr/>
      <dgm:t>
        <a:bodyPr/>
        <a:lstStyle/>
        <a:p>
          <a:endParaRPr lang="ru-RU"/>
        </a:p>
      </dgm:t>
    </dgm:pt>
    <dgm:pt modelId="{F3F80E74-DC9C-D842-9BE6-5FA59CFE3278}">
      <dgm:prSet phldrT="[Текст]" custT="1"/>
      <dgm:spPr>
        <a:solidFill>
          <a:schemeClr val="bg1">
            <a:lumMod val="95000"/>
          </a:schemeClr>
        </a:solidFill>
        <a:ln>
          <a:solidFill>
            <a:schemeClr val="bg1"/>
          </a:solidFill>
        </a:ln>
      </dgm:spPr>
      <dgm:t>
        <a:bodyPr/>
        <a:lstStyle/>
        <a:p>
          <a:pPr algn="ctr"/>
          <a:r>
            <a:rPr lang="ru-RU" sz="1800" b="1" dirty="0" smtClean="0">
              <a:solidFill>
                <a:srgbClr val="C00000"/>
              </a:solidFill>
            </a:rPr>
            <a:t>РГ № 3 </a:t>
          </a:r>
          <a:r>
            <a:rPr lang="ru-RU" sz="1800" b="1" dirty="0" smtClean="0">
              <a:solidFill>
                <a:schemeClr val="tx1"/>
              </a:solidFill>
            </a:rPr>
            <a:t>‒ по внедрению инновационных образовательных технологий в НМО  и проведению пилотных проектов </a:t>
          </a:r>
          <a:r>
            <a:rPr lang="ru-RU" sz="1800" b="0" dirty="0" smtClean="0">
              <a:solidFill>
                <a:schemeClr val="tx1"/>
              </a:solidFill>
            </a:rPr>
            <a:t>(Гузель Эрнстовна Улумбекова) </a:t>
          </a:r>
          <a:endParaRPr lang="ru-RU" sz="1800" b="0" dirty="0">
            <a:solidFill>
              <a:schemeClr val="tx1"/>
            </a:solidFill>
          </a:endParaRPr>
        </a:p>
      </dgm:t>
    </dgm:pt>
    <dgm:pt modelId="{B0F15CDA-A519-974F-A017-4D59824D6988}" type="parTrans" cxnId="{D819425D-1A74-4E4F-820A-802F5E28DC62}">
      <dgm:prSet/>
      <dgm:spPr/>
      <dgm:t>
        <a:bodyPr/>
        <a:lstStyle/>
        <a:p>
          <a:endParaRPr lang="ru-RU" dirty="0"/>
        </a:p>
      </dgm:t>
    </dgm:pt>
    <dgm:pt modelId="{7A9A886F-12AD-5948-B5CF-8A003F0C7872}" type="sibTrans" cxnId="{D819425D-1A74-4E4F-820A-802F5E28DC62}">
      <dgm:prSet/>
      <dgm:spPr/>
      <dgm:t>
        <a:bodyPr/>
        <a:lstStyle/>
        <a:p>
          <a:endParaRPr lang="ru-RU"/>
        </a:p>
      </dgm:t>
    </dgm:pt>
    <dgm:pt modelId="{2BBFC23F-034C-3B46-9966-1A9B8681A046}">
      <dgm:prSet phldrT="[Текст]" custT="1"/>
      <dgm:spPr>
        <a:solidFill>
          <a:schemeClr val="bg1">
            <a:lumMod val="95000"/>
          </a:schemeClr>
        </a:solidFill>
        <a:ln>
          <a:solidFill>
            <a:schemeClr val="bg1"/>
          </a:solidFill>
        </a:ln>
      </dgm:spPr>
      <dgm:t>
        <a:bodyPr/>
        <a:lstStyle/>
        <a:p>
          <a:r>
            <a:rPr lang="ru-RU" sz="1800" b="1" dirty="0" smtClean="0">
              <a:solidFill>
                <a:srgbClr val="C00000"/>
              </a:solidFill>
            </a:rPr>
            <a:t>Комиссия</a:t>
          </a:r>
          <a:r>
            <a:rPr lang="ru-RU" sz="1800" b="1" dirty="0" smtClean="0">
              <a:solidFill>
                <a:schemeClr val="tx1"/>
              </a:solidFill>
            </a:rPr>
            <a:t> по оценке соответствия образовательных мероприятий и материалов для НМО установленным требованиям </a:t>
          </a:r>
          <a:r>
            <a:rPr lang="ru-RU" sz="1800" b="0" dirty="0" smtClean="0">
              <a:solidFill>
                <a:schemeClr val="tx1"/>
              </a:solidFill>
            </a:rPr>
            <a:t>(Николай Дмитриевич Ющук)</a:t>
          </a:r>
          <a:endParaRPr lang="ru-RU" sz="1800" b="0" dirty="0">
            <a:solidFill>
              <a:schemeClr val="tx1"/>
            </a:solidFill>
          </a:endParaRPr>
        </a:p>
      </dgm:t>
    </dgm:pt>
    <dgm:pt modelId="{0F5833CD-561C-4C46-8008-24BBE76F1562}" type="parTrans" cxnId="{7CA85B05-DAC4-9140-97AE-D6ECCDB44FC0}">
      <dgm:prSet/>
      <dgm:spPr/>
      <dgm:t>
        <a:bodyPr/>
        <a:lstStyle/>
        <a:p>
          <a:endParaRPr lang="ru-RU" dirty="0"/>
        </a:p>
      </dgm:t>
    </dgm:pt>
    <dgm:pt modelId="{F03FA7BB-2A33-A741-8560-8A653140B7DB}" type="sibTrans" cxnId="{7CA85B05-DAC4-9140-97AE-D6ECCDB44FC0}">
      <dgm:prSet/>
      <dgm:spPr/>
      <dgm:t>
        <a:bodyPr/>
        <a:lstStyle/>
        <a:p>
          <a:endParaRPr lang="ru-RU"/>
        </a:p>
      </dgm:t>
    </dgm:pt>
    <dgm:pt modelId="{F68DEBD1-A480-E84E-B0C0-6012CD0FAC4D}" type="pres">
      <dgm:prSet presAssocID="{4EA9CDE2-3EE0-354C-BBAF-4E0B0420FBE5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DD35257-8C0E-CC49-9E18-B2B2915B514C}" type="pres">
      <dgm:prSet presAssocID="{4DA63735-49B1-5D41-9C22-CC99490F804C}" presName="root1" presStyleCnt="0"/>
      <dgm:spPr/>
    </dgm:pt>
    <dgm:pt modelId="{D429535C-8E34-4243-9BFE-87B5F666C50C}" type="pres">
      <dgm:prSet presAssocID="{4DA63735-49B1-5D41-9C22-CC99490F804C}" presName="LevelOneTextNode" presStyleLbl="node0" presStyleIdx="0" presStyleCnt="1" custScaleY="829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EBA5FE8-3B5B-BD40-8A0D-34839731909F}" type="pres">
      <dgm:prSet presAssocID="{4DA63735-49B1-5D41-9C22-CC99490F804C}" presName="level2hierChild" presStyleCnt="0"/>
      <dgm:spPr/>
    </dgm:pt>
    <dgm:pt modelId="{0330EEAD-F71A-A14B-B2BB-B8A189360FD3}" type="pres">
      <dgm:prSet presAssocID="{C7829D59-8805-E349-A1DF-A338C3ABF48C}" presName="conn2-1" presStyleLbl="parChTrans1D2" presStyleIdx="0" presStyleCnt="4"/>
      <dgm:spPr/>
      <dgm:t>
        <a:bodyPr/>
        <a:lstStyle/>
        <a:p>
          <a:endParaRPr lang="ru-RU"/>
        </a:p>
      </dgm:t>
    </dgm:pt>
    <dgm:pt modelId="{D8EF5780-B107-BC49-88E2-79B98C4ADBBE}" type="pres">
      <dgm:prSet presAssocID="{C7829D59-8805-E349-A1DF-A338C3ABF48C}" presName="connTx" presStyleLbl="parChTrans1D2" presStyleIdx="0" presStyleCnt="4"/>
      <dgm:spPr/>
      <dgm:t>
        <a:bodyPr/>
        <a:lstStyle/>
        <a:p>
          <a:endParaRPr lang="ru-RU"/>
        </a:p>
      </dgm:t>
    </dgm:pt>
    <dgm:pt modelId="{3370B281-8672-4145-8D59-AB384084726A}" type="pres">
      <dgm:prSet presAssocID="{B939CA91-5832-644B-9250-EDB51074BA01}" presName="root2" presStyleCnt="0"/>
      <dgm:spPr/>
    </dgm:pt>
    <dgm:pt modelId="{37137555-B312-D94D-9686-C0B4CEB1CDE1}" type="pres">
      <dgm:prSet presAssocID="{B939CA91-5832-644B-9250-EDB51074BA01}" presName="LevelTwoTextNode" presStyleLbl="node2" presStyleIdx="0" presStyleCnt="4" custScaleX="241196" custScaleY="10814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30E196F-A4ED-9E4D-BFE5-2A4215D4BAD4}" type="pres">
      <dgm:prSet presAssocID="{B939CA91-5832-644B-9250-EDB51074BA01}" presName="level3hierChild" presStyleCnt="0"/>
      <dgm:spPr/>
    </dgm:pt>
    <dgm:pt modelId="{9D88C75B-110E-8B42-8223-A9DA98DCA390}" type="pres">
      <dgm:prSet presAssocID="{BD70D0C7-F2D9-6C42-BED1-6E628FA148BD}" presName="conn2-1" presStyleLbl="parChTrans1D2" presStyleIdx="1" presStyleCnt="4"/>
      <dgm:spPr/>
      <dgm:t>
        <a:bodyPr/>
        <a:lstStyle/>
        <a:p>
          <a:endParaRPr lang="ru-RU"/>
        </a:p>
      </dgm:t>
    </dgm:pt>
    <dgm:pt modelId="{F7F557C2-2601-CC4D-AB2D-F11468839EDC}" type="pres">
      <dgm:prSet presAssocID="{BD70D0C7-F2D9-6C42-BED1-6E628FA148BD}" presName="connTx" presStyleLbl="parChTrans1D2" presStyleIdx="1" presStyleCnt="4"/>
      <dgm:spPr/>
      <dgm:t>
        <a:bodyPr/>
        <a:lstStyle/>
        <a:p>
          <a:endParaRPr lang="ru-RU"/>
        </a:p>
      </dgm:t>
    </dgm:pt>
    <dgm:pt modelId="{AB8F0868-53E7-B443-8EBE-4246ECC685C9}" type="pres">
      <dgm:prSet presAssocID="{3BDE5014-39E0-B444-9B5D-0636ECBC1E42}" presName="root2" presStyleCnt="0"/>
      <dgm:spPr/>
    </dgm:pt>
    <dgm:pt modelId="{A241B44E-EF0E-4846-ADA7-08196645D266}" type="pres">
      <dgm:prSet presAssocID="{3BDE5014-39E0-B444-9B5D-0636ECBC1E42}" presName="LevelTwoTextNode" presStyleLbl="node2" presStyleIdx="1" presStyleCnt="4" custScaleX="24288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2D7E911-3B4C-2F4D-A71B-2674CC0AA2C3}" type="pres">
      <dgm:prSet presAssocID="{3BDE5014-39E0-B444-9B5D-0636ECBC1E42}" presName="level3hierChild" presStyleCnt="0"/>
      <dgm:spPr/>
    </dgm:pt>
    <dgm:pt modelId="{1B3E018C-A147-F042-8AD8-6797AC845194}" type="pres">
      <dgm:prSet presAssocID="{B0F15CDA-A519-974F-A017-4D59824D6988}" presName="conn2-1" presStyleLbl="parChTrans1D2" presStyleIdx="2" presStyleCnt="4"/>
      <dgm:spPr/>
      <dgm:t>
        <a:bodyPr/>
        <a:lstStyle/>
        <a:p>
          <a:endParaRPr lang="ru-RU"/>
        </a:p>
      </dgm:t>
    </dgm:pt>
    <dgm:pt modelId="{E41BC871-CF3C-2B43-814F-5C21C04F8947}" type="pres">
      <dgm:prSet presAssocID="{B0F15CDA-A519-974F-A017-4D59824D6988}" presName="connTx" presStyleLbl="parChTrans1D2" presStyleIdx="2" presStyleCnt="4"/>
      <dgm:spPr/>
      <dgm:t>
        <a:bodyPr/>
        <a:lstStyle/>
        <a:p>
          <a:endParaRPr lang="ru-RU"/>
        </a:p>
      </dgm:t>
    </dgm:pt>
    <dgm:pt modelId="{743AA24B-5BB6-9C42-9E17-EEFDCE44A4C0}" type="pres">
      <dgm:prSet presAssocID="{F3F80E74-DC9C-D842-9BE6-5FA59CFE3278}" presName="root2" presStyleCnt="0"/>
      <dgm:spPr/>
    </dgm:pt>
    <dgm:pt modelId="{FB62C046-75A0-9545-8D29-F006EA025A8E}" type="pres">
      <dgm:prSet presAssocID="{F3F80E74-DC9C-D842-9BE6-5FA59CFE3278}" presName="LevelTwoTextNode" presStyleLbl="node2" presStyleIdx="2" presStyleCnt="4" custScaleX="24266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790BE77-CBDE-FD40-846F-9199108BA2E4}" type="pres">
      <dgm:prSet presAssocID="{F3F80E74-DC9C-D842-9BE6-5FA59CFE3278}" presName="level3hierChild" presStyleCnt="0"/>
      <dgm:spPr/>
    </dgm:pt>
    <dgm:pt modelId="{A431BE54-F64E-8E4D-A4ED-0DEA639625BB}" type="pres">
      <dgm:prSet presAssocID="{0F5833CD-561C-4C46-8008-24BBE76F1562}" presName="conn2-1" presStyleLbl="parChTrans1D2" presStyleIdx="3" presStyleCnt="4"/>
      <dgm:spPr/>
      <dgm:t>
        <a:bodyPr/>
        <a:lstStyle/>
        <a:p>
          <a:endParaRPr lang="ru-RU"/>
        </a:p>
      </dgm:t>
    </dgm:pt>
    <dgm:pt modelId="{C456DDCA-D334-5541-8967-56291730E816}" type="pres">
      <dgm:prSet presAssocID="{0F5833CD-561C-4C46-8008-24BBE76F1562}" presName="connTx" presStyleLbl="parChTrans1D2" presStyleIdx="3" presStyleCnt="4"/>
      <dgm:spPr/>
      <dgm:t>
        <a:bodyPr/>
        <a:lstStyle/>
        <a:p>
          <a:endParaRPr lang="ru-RU"/>
        </a:p>
      </dgm:t>
    </dgm:pt>
    <dgm:pt modelId="{6FE9DF84-B879-2F4B-83BB-47E397760169}" type="pres">
      <dgm:prSet presAssocID="{2BBFC23F-034C-3B46-9966-1A9B8681A046}" presName="root2" presStyleCnt="0"/>
      <dgm:spPr/>
    </dgm:pt>
    <dgm:pt modelId="{9D1ECE26-B28E-B546-994A-DC33DDC99A21}" type="pres">
      <dgm:prSet presAssocID="{2BBFC23F-034C-3B46-9966-1A9B8681A046}" presName="LevelTwoTextNode" presStyleLbl="node2" presStyleIdx="3" presStyleCnt="4" custScaleX="24359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8327F31-6DCA-D24F-B3E1-E0B17C57ACAF}" type="pres">
      <dgm:prSet presAssocID="{2BBFC23F-034C-3B46-9966-1A9B8681A046}" presName="level3hierChild" presStyleCnt="0"/>
      <dgm:spPr/>
    </dgm:pt>
  </dgm:ptLst>
  <dgm:cxnLst>
    <dgm:cxn modelId="{23639893-BDAB-49F7-A5B5-18259BB48DF0}" type="presOf" srcId="{BD70D0C7-F2D9-6C42-BED1-6E628FA148BD}" destId="{9D88C75B-110E-8B42-8223-A9DA98DCA390}" srcOrd="0" destOrd="0" presId="urn:microsoft.com/office/officeart/2008/layout/HorizontalMultiLevelHierarchy"/>
    <dgm:cxn modelId="{379B2546-124C-4AD9-B35E-381861F25B7D}" type="presOf" srcId="{C7829D59-8805-E349-A1DF-A338C3ABF48C}" destId="{0330EEAD-F71A-A14B-B2BB-B8A189360FD3}" srcOrd="0" destOrd="0" presId="urn:microsoft.com/office/officeart/2008/layout/HorizontalMultiLevelHierarchy"/>
    <dgm:cxn modelId="{69A1ADF6-01C5-5E4D-9911-8EE5E0F9AEB0}" srcId="{4DA63735-49B1-5D41-9C22-CC99490F804C}" destId="{3BDE5014-39E0-B444-9B5D-0636ECBC1E42}" srcOrd="1" destOrd="0" parTransId="{BD70D0C7-F2D9-6C42-BED1-6E628FA148BD}" sibTransId="{F2F4861A-8116-B244-9CCB-DA7F58509098}"/>
    <dgm:cxn modelId="{D819425D-1A74-4E4F-820A-802F5E28DC62}" srcId="{4DA63735-49B1-5D41-9C22-CC99490F804C}" destId="{F3F80E74-DC9C-D842-9BE6-5FA59CFE3278}" srcOrd="2" destOrd="0" parTransId="{B0F15CDA-A519-974F-A017-4D59824D6988}" sibTransId="{7A9A886F-12AD-5948-B5CF-8A003F0C7872}"/>
    <dgm:cxn modelId="{B4C1B103-812A-45F8-B72B-1041ACE78843}" type="presOf" srcId="{C7829D59-8805-E349-A1DF-A338C3ABF48C}" destId="{D8EF5780-B107-BC49-88E2-79B98C4ADBBE}" srcOrd="1" destOrd="0" presId="urn:microsoft.com/office/officeart/2008/layout/HorizontalMultiLevelHierarchy"/>
    <dgm:cxn modelId="{1917F5B7-5660-407B-A71D-D304111D5A1B}" type="presOf" srcId="{0F5833CD-561C-4C46-8008-24BBE76F1562}" destId="{A431BE54-F64E-8E4D-A4ED-0DEA639625BB}" srcOrd="0" destOrd="0" presId="urn:microsoft.com/office/officeart/2008/layout/HorizontalMultiLevelHierarchy"/>
    <dgm:cxn modelId="{A2771E25-8EE4-43C7-BA01-09FCB3CC1C5F}" type="presOf" srcId="{3BDE5014-39E0-B444-9B5D-0636ECBC1E42}" destId="{A241B44E-EF0E-4846-ADA7-08196645D266}" srcOrd="0" destOrd="0" presId="urn:microsoft.com/office/officeart/2008/layout/HorizontalMultiLevelHierarchy"/>
    <dgm:cxn modelId="{9144C158-A597-45E7-862F-85B6AB0AE6C4}" type="presOf" srcId="{B0F15CDA-A519-974F-A017-4D59824D6988}" destId="{E41BC871-CF3C-2B43-814F-5C21C04F8947}" srcOrd="1" destOrd="0" presId="urn:microsoft.com/office/officeart/2008/layout/HorizontalMultiLevelHierarchy"/>
    <dgm:cxn modelId="{7CA85B05-DAC4-9140-97AE-D6ECCDB44FC0}" srcId="{4DA63735-49B1-5D41-9C22-CC99490F804C}" destId="{2BBFC23F-034C-3B46-9966-1A9B8681A046}" srcOrd="3" destOrd="0" parTransId="{0F5833CD-561C-4C46-8008-24BBE76F1562}" sibTransId="{F03FA7BB-2A33-A741-8560-8A653140B7DB}"/>
    <dgm:cxn modelId="{8CFA6D67-5553-3B49-9B06-C1E09D71E731}" srcId="{4EA9CDE2-3EE0-354C-BBAF-4E0B0420FBE5}" destId="{4DA63735-49B1-5D41-9C22-CC99490F804C}" srcOrd="0" destOrd="0" parTransId="{77D5FAD6-B81B-5B43-A32E-D9660DF10BE6}" sibTransId="{3276FB97-6773-654B-B0DB-4FDCD9C7F4D9}"/>
    <dgm:cxn modelId="{617A6805-2983-40CD-8F4C-C2A334B8FD83}" type="presOf" srcId="{F3F80E74-DC9C-D842-9BE6-5FA59CFE3278}" destId="{FB62C046-75A0-9545-8D29-F006EA025A8E}" srcOrd="0" destOrd="0" presId="urn:microsoft.com/office/officeart/2008/layout/HorizontalMultiLevelHierarchy"/>
    <dgm:cxn modelId="{A4A32CAE-9E7C-4B06-97C7-8E8A186861D8}" type="presOf" srcId="{0F5833CD-561C-4C46-8008-24BBE76F1562}" destId="{C456DDCA-D334-5541-8967-56291730E816}" srcOrd="1" destOrd="0" presId="urn:microsoft.com/office/officeart/2008/layout/HorizontalMultiLevelHierarchy"/>
    <dgm:cxn modelId="{48A4C584-C57B-9A4F-98F3-A683EB1D3129}" srcId="{4DA63735-49B1-5D41-9C22-CC99490F804C}" destId="{B939CA91-5832-644B-9250-EDB51074BA01}" srcOrd="0" destOrd="0" parTransId="{C7829D59-8805-E349-A1DF-A338C3ABF48C}" sibTransId="{F6B50903-3A00-F844-A10A-685A561BBCC2}"/>
    <dgm:cxn modelId="{B899DAAA-C524-4475-88B3-3B4EFDE05C8A}" type="presOf" srcId="{4EA9CDE2-3EE0-354C-BBAF-4E0B0420FBE5}" destId="{F68DEBD1-A480-E84E-B0C0-6012CD0FAC4D}" srcOrd="0" destOrd="0" presId="urn:microsoft.com/office/officeart/2008/layout/HorizontalMultiLevelHierarchy"/>
    <dgm:cxn modelId="{D7F161D3-52DD-4FA8-9D26-5DBF98874504}" type="presOf" srcId="{B0F15CDA-A519-974F-A017-4D59824D6988}" destId="{1B3E018C-A147-F042-8AD8-6797AC845194}" srcOrd="0" destOrd="0" presId="urn:microsoft.com/office/officeart/2008/layout/HorizontalMultiLevelHierarchy"/>
    <dgm:cxn modelId="{CD329332-E3A9-4E53-B35D-AC72C5E29B22}" type="presOf" srcId="{4DA63735-49B1-5D41-9C22-CC99490F804C}" destId="{D429535C-8E34-4243-9BFE-87B5F666C50C}" srcOrd="0" destOrd="0" presId="urn:microsoft.com/office/officeart/2008/layout/HorizontalMultiLevelHierarchy"/>
    <dgm:cxn modelId="{ED5FC5E3-C810-41AB-81AB-2A43EFF386EE}" type="presOf" srcId="{BD70D0C7-F2D9-6C42-BED1-6E628FA148BD}" destId="{F7F557C2-2601-CC4D-AB2D-F11468839EDC}" srcOrd="1" destOrd="0" presId="urn:microsoft.com/office/officeart/2008/layout/HorizontalMultiLevelHierarchy"/>
    <dgm:cxn modelId="{A407C703-7DB4-49C1-AE2B-A4022714D23C}" type="presOf" srcId="{B939CA91-5832-644B-9250-EDB51074BA01}" destId="{37137555-B312-D94D-9686-C0B4CEB1CDE1}" srcOrd="0" destOrd="0" presId="urn:microsoft.com/office/officeart/2008/layout/HorizontalMultiLevelHierarchy"/>
    <dgm:cxn modelId="{D2855240-09F9-4AE8-89D8-7F8A9F183231}" type="presOf" srcId="{2BBFC23F-034C-3B46-9966-1A9B8681A046}" destId="{9D1ECE26-B28E-B546-994A-DC33DDC99A21}" srcOrd="0" destOrd="0" presId="urn:microsoft.com/office/officeart/2008/layout/HorizontalMultiLevelHierarchy"/>
    <dgm:cxn modelId="{FE2778FE-C4F5-4276-A35D-BB323F13A631}" type="presParOf" srcId="{F68DEBD1-A480-E84E-B0C0-6012CD0FAC4D}" destId="{2DD35257-8C0E-CC49-9E18-B2B2915B514C}" srcOrd="0" destOrd="0" presId="urn:microsoft.com/office/officeart/2008/layout/HorizontalMultiLevelHierarchy"/>
    <dgm:cxn modelId="{E4D3ABB5-69F4-4A70-849B-6EC6C3105F42}" type="presParOf" srcId="{2DD35257-8C0E-CC49-9E18-B2B2915B514C}" destId="{D429535C-8E34-4243-9BFE-87B5F666C50C}" srcOrd="0" destOrd="0" presId="urn:microsoft.com/office/officeart/2008/layout/HorizontalMultiLevelHierarchy"/>
    <dgm:cxn modelId="{2B3D5E70-1CF0-45F5-8AF7-2AD26912E9F6}" type="presParOf" srcId="{2DD35257-8C0E-CC49-9E18-B2B2915B514C}" destId="{FEBA5FE8-3B5B-BD40-8A0D-34839731909F}" srcOrd="1" destOrd="0" presId="urn:microsoft.com/office/officeart/2008/layout/HorizontalMultiLevelHierarchy"/>
    <dgm:cxn modelId="{0E52A38C-B3D6-4E3C-AFF9-8146367B4FF7}" type="presParOf" srcId="{FEBA5FE8-3B5B-BD40-8A0D-34839731909F}" destId="{0330EEAD-F71A-A14B-B2BB-B8A189360FD3}" srcOrd="0" destOrd="0" presId="urn:microsoft.com/office/officeart/2008/layout/HorizontalMultiLevelHierarchy"/>
    <dgm:cxn modelId="{E9E4E54A-D2D4-4E43-879F-0B18BFBC453B}" type="presParOf" srcId="{0330EEAD-F71A-A14B-B2BB-B8A189360FD3}" destId="{D8EF5780-B107-BC49-88E2-79B98C4ADBBE}" srcOrd="0" destOrd="0" presId="urn:microsoft.com/office/officeart/2008/layout/HorizontalMultiLevelHierarchy"/>
    <dgm:cxn modelId="{45EC678F-E774-42EC-80D6-B2D26ADC1D28}" type="presParOf" srcId="{FEBA5FE8-3B5B-BD40-8A0D-34839731909F}" destId="{3370B281-8672-4145-8D59-AB384084726A}" srcOrd="1" destOrd="0" presId="urn:microsoft.com/office/officeart/2008/layout/HorizontalMultiLevelHierarchy"/>
    <dgm:cxn modelId="{EEA5FB9D-A219-45BF-98AD-4A9CAD50751D}" type="presParOf" srcId="{3370B281-8672-4145-8D59-AB384084726A}" destId="{37137555-B312-D94D-9686-C0B4CEB1CDE1}" srcOrd="0" destOrd="0" presId="urn:microsoft.com/office/officeart/2008/layout/HorizontalMultiLevelHierarchy"/>
    <dgm:cxn modelId="{9BDAAF8F-A6ED-45ED-9329-9C3702B34567}" type="presParOf" srcId="{3370B281-8672-4145-8D59-AB384084726A}" destId="{630E196F-A4ED-9E4D-BFE5-2A4215D4BAD4}" srcOrd="1" destOrd="0" presId="urn:microsoft.com/office/officeart/2008/layout/HorizontalMultiLevelHierarchy"/>
    <dgm:cxn modelId="{E201D4A2-9F64-4F90-97A0-9C1586DAA11A}" type="presParOf" srcId="{FEBA5FE8-3B5B-BD40-8A0D-34839731909F}" destId="{9D88C75B-110E-8B42-8223-A9DA98DCA390}" srcOrd="2" destOrd="0" presId="urn:microsoft.com/office/officeart/2008/layout/HorizontalMultiLevelHierarchy"/>
    <dgm:cxn modelId="{046898D8-71CF-4CD0-8149-DE82DC98B220}" type="presParOf" srcId="{9D88C75B-110E-8B42-8223-A9DA98DCA390}" destId="{F7F557C2-2601-CC4D-AB2D-F11468839EDC}" srcOrd="0" destOrd="0" presId="urn:microsoft.com/office/officeart/2008/layout/HorizontalMultiLevelHierarchy"/>
    <dgm:cxn modelId="{723C6239-F7D0-4567-804A-18015CAC3874}" type="presParOf" srcId="{FEBA5FE8-3B5B-BD40-8A0D-34839731909F}" destId="{AB8F0868-53E7-B443-8EBE-4246ECC685C9}" srcOrd="3" destOrd="0" presId="urn:microsoft.com/office/officeart/2008/layout/HorizontalMultiLevelHierarchy"/>
    <dgm:cxn modelId="{1ABB812B-89B4-49A5-AF44-EC37D25F9EF4}" type="presParOf" srcId="{AB8F0868-53E7-B443-8EBE-4246ECC685C9}" destId="{A241B44E-EF0E-4846-ADA7-08196645D266}" srcOrd="0" destOrd="0" presId="urn:microsoft.com/office/officeart/2008/layout/HorizontalMultiLevelHierarchy"/>
    <dgm:cxn modelId="{9DEFC1AE-E54C-4BA7-9A29-4C2B5CC6A6DD}" type="presParOf" srcId="{AB8F0868-53E7-B443-8EBE-4246ECC685C9}" destId="{62D7E911-3B4C-2F4D-A71B-2674CC0AA2C3}" srcOrd="1" destOrd="0" presId="urn:microsoft.com/office/officeart/2008/layout/HorizontalMultiLevelHierarchy"/>
    <dgm:cxn modelId="{AF8745A3-9DD7-4D7B-8D39-9F57745719DD}" type="presParOf" srcId="{FEBA5FE8-3B5B-BD40-8A0D-34839731909F}" destId="{1B3E018C-A147-F042-8AD8-6797AC845194}" srcOrd="4" destOrd="0" presId="urn:microsoft.com/office/officeart/2008/layout/HorizontalMultiLevelHierarchy"/>
    <dgm:cxn modelId="{BABCF5B7-DB0F-40A3-B05A-B9506206F05D}" type="presParOf" srcId="{1B3E018C-A147-F042-8AD8-6797AC845194}" destId="{E41BC871-CF3C-2B43-814F-5C21C04F8947}" srcOrd="0" destOrd="0" presId="urn:microsoft.com/office/officeart/2008/layout/HorizontalMultiLevelHierarchy"/>
    <dgm:cxn modelId="{FC0B6E20-3EB5-407E-905A-4850D6D82079}" type="presParOf" srcId="{FEBA5FE8-3B5B-BD40-8A0D-34839731909F}" destId="{743AA24B-5BB6-9C42-9E17-EEFDCE44A4C0}" srcOrd="5" destOrd="0" presId="urn:microsoft.com/office/officeart/2008/layout/HorizontalMultiLevelHierarchy"/>
    <dgm:cxn modelId="{37822273-1E71-497F-8DBF-E9475A6FAF56}" type="presParOf" srcId="{743AA24B-5BB6-9C42-9E17-EEFDCE44A4C0}" destId="{FB62C046-75A0-9545-8D29-F006EA025A8E}" srcOrd="0" destOrd="0" presId="urn:microsoft.com/office/officeart/2008/layout/HorizontalMultiLevelHierarchy"/>
    <dgm:cxn modelId="{13877D12-0AE3-4337-A33A-87AAF34EFE6A}" type="presParOf" srcId="{743AA24B-5BB6-9C42-9E17-EEFDCE44A4C0}" destId="{A790BE77-CBDE-FD40-846F-9199108BA2E4}" srcOrd="1" destOrd="0" presId="urn:microsoft.com/office/officeart/2008/layout/HorizontalMultiLevelHierarchy"/>
    <dgm:cxn modelId="{E9211491-ACEF-400F-B345-F89D1EE7145B}" type="presParOf" srcId="{FEBA5FE8-3B5B-BD40-8A0D-34839731909F}" destId="{A431BE54-F64E-8E4D-A4ED-0DEA639625BB}" srcOrd="6" destOrd="0" presId="urn:microsoft.com/office/officeart/2008/layout/HorizontalMultiLevelHierarchy"/>
    <dgm:cxn modelId="{95395067-38C1-40D0-80A3-518C7C3AE6CA}" type="presParOf" srcId="{A431BE54-F64E-8E4D-A4ED-0DEA639625BB}" destId="{C456DDCA-D334-5541-8967-56291730E816}" srcOrd="0" destOrd="0" presId="urn:microsoft.com/office/officeart/2008/layout/HorizontalMultiLevelHierarchy"/>
    <dgm:cxn modelId="{2220C222-F5E9-4C3B-8C91-3224FEAF50A3}" type="presParOf" srcId="{FEBA5FE8-3B5B-BD40-8A0D-34839731909F}" destId="{6FE9DF84-B879-2F4B-83BB-47E397760169}" srcOrd="7" destOrd="0" presId="urn:microsoft.com/office/officeart/2008/layout/HorizontalMultiLevelHierarchy"/>
    <dgm:cxn modelId="{87F0B9B0-9D9C-480C-8640-66134360CB95}" type="presParOf" srcId="{6FE9DF84-B879-2F4B-83BB-47E397760169}" destId="{9D1ECE26-B28E-B546-994A-DC33DDC99A21}" srcOrd="0" destOrd="0" presId="urn:microsoft.com/office/officeart/2008/layout/HorizontalMultiLevelHierarchy"/>
    <dgm:cxn modelId="{0F13A6D8-0DEA-4355-8550-A3B8B1240314}" type="presParOf" srcId="{6FE9DF84-B879-2F4B-83BB-47E397760169}" destId="{98327F31-6DCA-D24F-B3E1-E0B17C57ACAF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077352B-D711-4AA4-AC8A-223C45B0E04F}" type="doc">
      <dgm:prSet loTypeId="urn:microsoft.com/office/officeart/2005/8/layout/equation1" loCatId="process" qsTypeId="urn:microsoft.com/office/officeart/2005/8/quickstyle/3d1" qsCatId="3D" csTypeId="urn:microsoft.com/office/officeart/2005/8/colors/accent1_2" csCatId="accent1" phldr="1"/>
      <dgm:spPr/>
    </dgm:pt>
    <dgm:pt modelId="{CAE310FA-9BDF-4ACB-B1F5-F181DA113911}">
      <dgm:prSet phldrT="[Текст]" custT="1"/>
      <dgm:spPr/>
      <dgm:t>
        <a:bodyPr/>
        <a:lstStyle/>
        <a:p>
          <a:r>
            <a:rPr lang="ru-RU" sz="2000" b="1" dirty="0" smtClean="0">
              <a:solidFill>
                <a:srgbClr val="FF0000"/>
              </a:solidFill>
            </a:rPr>
            <a:t>108 ч. </a:t>
          </a:r>
          <a:endParaRPr lang="ru-RU" sz="2000" b="1" dirty="0">
            <a:solidFill>
              <a:srgbClr val="FF0000"/>
            </a:solidFill>
          </a:endParaRPr>
        </a:p>
      </dgm:t>
    </dgm:pt>
    <dgm:pt modelId="{3D64E2DD-F7F7-46C5-879A-3DF49AC152F6}" type="parTrans" cxnId="{D82BE0A5-55BC-4675-9458-A54E9BAA71DD}">
      <dgm:prSet/>
      <dgm:spPr/>
      <dgm:t>
        <a:bodyPr/>
        <a:lstStyle/>
        <a:p>
          <a:endParaRPr lang="ru-RU"/>
        </a:p>
      </dgm:t>
    </dgm:pt>
    <dgm:pt modelId="{18D680F2-5D65-422A-81BC-0D1458FCB1EC}" type="sibTrans" cxnId="{D82BE0A5-55BC-4675-9458-A54E9BAA71DD}">
      <dgm:prSet/>
      <dgm:spPr/>
      <dgm:t>
        <a:bodyPr/>
        <a:lstStyle/>
        <a:p>
          <a:endParaRPr lang="ru-RU"/>
        </a:p>
      </dgm:t>
    </dgm:pt>
    <dgm:pt modelId="{5A2E9CB5-19C9-433C-A1C2-175BA9A4F12C}">
      <dgm:prSet phldrT="[Текст]" custT="1"/>
      <dgm:spPr/>
      <dgm:t>
        <a:bodyPr/>
        <a:lstStyle/>
        <a:p>
          <a:r>
            <a:rPr lang="ru-RU" sz="2800" b="1" dirty="0" smtClean="0">
              <a:solidFill>
                <a:srgbClr val="FF0000"/>
              </a:solidFill>
            </a:rPr>
            <a:t>36 ч.</a:t>
          </a:r>
          <a:endParaRPr lang="ru-RU" sz="2800" b="1" dirty="0">
            <a:solidFill>
              <a:srgbClr val="FF0000"/>
            </a:solidFill>
          </a:endParaRPr>
        </a:p>
      </dgm:t>
    </dgm:pt>
    <dgm:pt modelId="{23D19E43-1FB0-4982-A95F-DB719E36C7C2}" type="parTrans" cxnId="{06E449E9-9E5A-48B0-8A7A-5499641C717E}">
      <dgm:prSet/>
      <dgm:spPr/>
      <dgm:t>
        <a:bodyPr/>
        <a:lstStyle/>
        <a:p>
          <a:endParaRPr lang="ru-RU"/>
        </a:p>
      </dgm:t>
    </dgm:pt>
    <dgm:pt modelId="{89EF6ED1-90AC-4776-9885-DE24868E530C}" type="sibTrans" cxnId="{06E449E9-9E5A-48B0-8A7A-5499641C717E}">
      <dgm:prSet/>
      <dgm:spPr/>
      <dgm:t>
        <a:bodyPr/>
        <a:lstStyle/>
        <a:p>
          <a:endParaRPr lang="ru-RU"/>
        </a:p>
      </dgm:t>
    </dgm:pt>
    <dgm:pt modelId="{B26317E7-8D4C-430C-AD0C-F42016492082}">
      <dgm:prSet phldrT="[Текст]" custT="1"/>
      <dgm:spPr/>
      <dgm:t>
        <a:bodyPr/>
        <a:lstStyle/>
        <a:p>
          <a:r>
            <a:rPr lang="ru-RU" sz="2000" b="1" dirty="0" smtClean="0">
              <a:solidFill>
                <a:srgbClr val="FF0000"/>
              </a:solidFill>
            </a:rPr>
            <a:t>144 ч. </a:t>
          </a:r>
          <a:endParaRPr lang="ru-RU" sz="2000" b="1" dirty="0">
            <a:solidFill>
              <a:srgbClr val="FF0000"/>
            </a:solidFill>
          </a:endParaRPr>
        </a:p>
      </dgm:t>
    </dgm:pt>
    <dgm:pt modelId="{E7E89072-E2C8-42A9-91B4-79B2EBD0FDAB}" type="parTrans" cxnId="{9C011C52-125E-4DE3-91EF-71B64FDA6BF0}">
      <dgm:prSet/>
      <dgm:spPr/>
      <dgm:t>
        <a:bodyPr/>
        <a:lstStyle/>
        <a:p>
          <a:endParaRPr lang="ru-RU"/>
        </a:p>
      </dgm:t>
    </dgm:pt>
    <dgm:pt modelId="{9CD245ED-48AF-4B5C-B871-DDFFC866043B}" type="sibTrans" cxnId="{9C011C52-125E-4DE3-91EF-71B64FDA6BF0}">
      <dgm:prSet/>
      <dgm:spPr/>
      <dgm:t>
        <a:bodyPr/>
        <a:lstStyle/>
        <a:p>
          <a:endParaRPr lang="ru-RU"/>
        </a:p>
      </dgm:t>
    </dgm:pt>
    <dgm:pt modelId="{AEE6BD90-A430-440D-8D1E-F01020D4CAA5}" type="pres">
      <dgm:prSet presAssocID="{8077352B-D711-4AA4-AC8A-223C45B0E04F}" presName="linearFlow" presStyleCnt="0">
        <dgm:presLayoutVars>
          <dgm:dir/>
          <dgm:resizeHandles val="exact"/>
        </dgm:presLayoutVars>
      </dgm:prSet>
      <dgm:spPr/>
    </dgm:pt>
    <dgm:pt modelId="{EB84B931-0976-4E39-BF1A-C3575D1ECFB6}" type="pres">
      <dgm:prSet presAssocID="{CAE310FA-9BDF-4ACB-B1F5-F181DA11391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705F7F-A5A0-4A65-BCB0-E67E2E79D535}" type="pres">
      <dgm:prSet presAssocID="{18D680F2-5D65-422A-81BC-0D1458FCB1EC}" presName="spacerL" presStyleCnt="0"/>
      <dgm:spPr/>
    </dgm:pt>
    <dgm:pt modelId="{0992389E-0A81-4C80-8533-DFAAC6932B9B}" type="pres">
      <dgm:prSet presAssocID="{18D680F2-5D65-422A-81BC-0D1458FCB1EC}" presName="sibTrans" presStyleLbl="sibTrans2D1" presStyleIdx="0" presStyleCnt="2"/>
      <dgm:spPr/>
      <dgm:t>
        <a:bodyPr/>
        <a:lstStyle/>
        <a:p>
          <a:endParaRPr lang="ru-RU"/>
        </a:p>
      </dgm:t>
    </dgm:pt>
    <dgm:pt modelId="{C2EBE374-2EEA-4FDB-AACE-ECE3373155CA}" type="pres">
      <dgm:prSet presAssocID="{18D680F2-5D65-422A-81BC-0D1458FCB1EC}" presName="spacerR" presStyleCnt="0"/>
      <dgm:spPr/>
    </dgm:pt>
    <dgm:pt modelId="{820F13CF-62C1-4819-B276-7B8E4A79E441}" type="pres">
      <dgm:prSet presAssocID="{5A2E9CB5-19C9-433C-A1C2-175BA9A4F12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67707D-9C7E-4433-84EF-8154D38D7055}" type="pres">
      <dgm:prSet presAssocID="{89EF6ED1-90AC-4776-9885-DE24868E530C}" presName="spacerL" presStyleCnt="0"/>
      <dgm:spPr/>
    </dgm:pt>
    <dgm:pt modelId="{CAB31D9E-0BBE-4EF4-8C62-128E8C915E53}" type="pres">
      <dgm:prSet presAssocID="{89EF6ED1-90AC-4776-9885-DE24868E530C}" presName="sibTrans" presStyleLbl="sibTrans2D1" presStyleIdx="1" presStyleCnt="2"/>
      <dgm:spPr/>
      <dgm:t>
        <a:bodyPr/>
        <a:lstStyle/>
        <a:p>
          <a:endParaRPr lang="ru-RU"/>
        </a:p>
      </dgm:t>
    </dgm:pt>
    <dgm:pt modelId="{D93488C5-0DEE-4999-8A07-4BBCAEF55D38}" type="pres">
      <dgm:prSet presAssocID="{89EF6ED1-90AC-4776-9885-DE24868E530C}" presName="spacerR" presStyleCnt="0"/>
      <dgm:spPr/>
    </dgm:pt>
    <dgm:pt modelId="{8B647B8A-7DF2-4F70-B0AB-B5DFB334B1A4}" type="pres">
      <dgm:prSet presAssocID="{B26317E7-8D4C-430C-AD0C-F4201649208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53E5D12-76F4-4567-B2FD-14BEDFD3AB54}" type="presOf" srcId="{5A2E9CB5-19C9-433C-A1C2-175BA9A4F12C}" destId="{820F13CF-62C1-4819-B276-7B8E4A79E441}" srcOrd="0" destOrd="0" presId="urn:microsoft.com/office/officeart/2005/8/layout/equation1"/>
    <dgm:cxn modelId="{06E449E9-9E5A-48B0-8A7A-5499641C717E}" srcId="{8077352B-D711-4AA4-AC8A-223C45B0E04F}" destId="{5A2E9CB5-19C9-433C-A1C2-175BA9A4F12C}" srcOrd="1" destOrd="0" parTransId="{23D19E43-1FB0-4982-A95F-DB719E36C7C2}" sibTransId="{89EF6ED1-90AC-4776-9885-DE24868E530C}"/>
    <dgm:cxn modelId="{A43B26FE-02E3-4D3A-8F85-02D6F1577355}" type="presOf" srcId="{89EF6ED1-90AC-4776-9885-DE24868E530C}" destId="{CAB31D9E-0BBE-4EF4-8C62-128E8C915E53}" srcOrd="0" destOrd="0" presId="urn:microsoft.com/office/officeart/2005/8/layout/equation1"/>
    <dgm:cxn modelId="{A4C0A5EC-D2DF-4298-8518-4FC635CE4BF2}" type="presOf" srcId="{B26317E7-8D4C-430C-AD0C-F42016492082}" destId="{8B647B8A-7DF2-4F70-B0AB-B5DFB334B1A4}" srcOrd="0" destOrd="0" presId="urn:microsoft.com/office/officeart/2005/8/layout/equation1"/>
    <dgm:cxn modelId="{9CBDCE89-8A98-4051-94E0-FFC147382374}" type="presOf" srcId="{CAE310FA-9BDF-4ACB-B1F5-F181DA113911}" destId="{EB84B931-0976-4E39-BF1A-C3575D1ECFB6}" srcOrd="0" destOrd="0" presId="urn:microsoft.com/office/officeart/2005/8/layout/equation1"/>
    <dgm:cxn modelId="{D82BE0A5-55BC-4675-9458-A54E9BAA71DD}" srcId="{8077352B-D711-4AA4-AC8A-223C45B0E04F}" destId="{CAE310FA-9BDF-4ACB-B1F5-F181DA113911}" srcOrd="0" destOrd="0" parTransId="{3D64E2DD-F7F7-46C5-879A-3DF49AC152F6}" sibTransId="{18D680F2-5D65-422A-81BC-0D1458FCB1EC}"/>
    <dgm:cxn modelId="{FCC69CE6-A2F6-4591-81C1-E41CB7C14B73}" type="presOf" srcId="{8077352B-D711-4AA4-AC8A-223C45B0E04F}" destId="{AEE6BD90-A430-440D-8D1E-F01020D4CAA5}" srcOrd="0" destOrd="0" presId="urn:microsoft.com/office/officeart/2005/8/layout/equation1"/>
    <dgm:cxn modelId="{9C011C52-125E-4DE3-91EF-71B64FDA6BF0}" srcId="{8077352B-D711-4AA4-AC8A-223C45B0E04F}" destId="{B26317E7-8D4C-430C-AD0C-F42016492082}" srcOrd="2" destOrd="0" parTransId="{E7E89072-E2C8-42A9-91B4-79B2EBD0FDAB}" sibTransId="{9CD245ED-48AF-4B5C-B871-DDFFC866043B}"/>
    <dgm:cxn modelId="{2D57063F-96FB-42DD-BA09-09654F32BE67}" type="presOf" srcId="{18D680F2-5D65-422A-81BC-0D1458FCB1EC}" destId="{0992389E-0A81-4C80-8533-DFAAC6932B9B}" srcOrd="0" destOrd="0" presId="urn:microsoft.com/office/officeart/2005/8/layout/equation1"/>
    <dgm:cxn modelId="{F11366DE-2635-4079-8B60-FD6FF9DC7258}" type="presParOf" srcId="{AEE6BD90-A430-440D-8D1E-F01020D4CAA5}" destId="{EB84B931-0976-4E39-BF1A-C3575D1ECFB6}" srcOrd="0" destOrd="0" presId="urn:microsoft.com/office/officeart/2005/8/layout/equation1"/>
    <dgm:cxn modelId="{37B07580-7EF6-4743-8D0B-86207CEED819}" type="presParOf" srcId="{AEE6BD90-A430-440D-8D1E-F01020D4CAA5}" destId="{6F705F7F-A5A0-4A65-BCB0-E67E2E79D535}" srcOrd="1" destOrd="0" presId="urn:microsoft.com/office/officeart/2005/8/layout/equation1"/>
    <dgm:cxn modelId="{9784B8B4-CA78-445B-B60B-A0E579C3EE6F}" type="presParOf" srcId="{AEE6BD90-A430-440D-8D1E-F01020D4CAA5}" destId="{0992389E-0A81-4C80-8533-DFAAC6932B9B}" srcOrd="2" destOrd="0" presId="urn:microsoft.com/office/officeart/2005/8/layout/equation1"/>
    <dgm:cxn modelId="{B60CB466-20D4-477C-8FCF-31E5C6CE7F1F}" type="presParOf" srcId="{AEE6BD90-A430-440D-8D1E-F01020D4CAA5}" destId="{C2EBE374-2EEA-4FDB-AACE-ECE3373155CA}" srcOrd="3" destOrd="0" presId="urn:microsoft.com/office/officeart/2005/8/layout/equation1"/>
    <dgm:cxn modelId="{1E1BC4D4-D0A1-468B-96E0-5A7944246F15}" type="presParOf" srcId="{AEE6BD90-A430-440D-8D1E-F01020D4CAA5}" destId="{820F13CF-62C1-4819-B276-7B8E4A79E441}" srcOrd="4" destOrd="0" presId="urn:microsoft.com/office/officeart/2005/8/layout/equation1"/>
    <dgm:cxn modelId="{5D0DF40F-B994-4B99-AABE-9A8E644DD085}" type="presParOf" srcId="{AEE6BD90-A430-440D-8D1E-F01020D4CAA5}" destId="{8B67707D-9C7E-4433-84EF-8154D38D7055}" srcOrd="5" destOrd="0" presId="urn:microsoft.com/office/officeart/2005/8/layout/equation1"/>
    <dgm:cxn modelId="{92565119-D005-4290-B66F-E3FCFC5A7B88}" type="presParOf" srcId="{AEE6BD90-A430-440D-8D1E-F01020D4CAA5}" destId="{CAB31D9E-0BBE-4EF4-8C62-128E8C915E53}" srcOrd="6" destOrd="0" presId="urn:microsoft.com/office/officeart/2005/8/layout/equation1"/>
    <dgm:cxn modelId="{CB88F086-C609-4C09-8841-7E8697D09042}" type="presParOf" srcId="{AEE6BD90-A430-440D-8D1E-F01020D4CAA5}" destId="{D93488C5-0DEE-4999-8A07-4BBCAEF55D38}" srcOrd="7" destOrd="0" presId="urn:microsoft.com/office/officeart/2005/8/layout/equation1"/>
    <dgm:cxn modelId="{7EEF98AA-8C07-4552-9215-C2D76C02EAFD}" type="presParOf" srcId="{AEE6BD90-A430-440D-8D1E-F01020D4CAA5}" destId="{8B647B8A-7DF2-4F70-B0AB-B5DFB334B1A4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F7B27F5-73D2-48FA-B14E-CF995BEFFA58}" type="doc">
      <dgm:prSet loTypeId="urn:microsoft.com/office/officeart/2005/8/layout/pyramid1" loCatId="pyramid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0D0ED754-ED88-4993-B17B-B509EC1BFC3D}">
      <dgm:prSet phldrT="[Текст]"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rgbClr val="C6D9F1">
            <a:alpha val="27843"/>
          </a:srgbClr>
        </a:solidFill>
        <a:ln/>
      </dgm:spPr>
      <dgm:t>
        <a:bodyPr/>
        <a:lstStyle/>
        <a:p>
          <a:endParaRPr lang="ru-RU" sz="1600" dirty="0">
            <a:latin typeface="Arial" pitchFamily="34" charset="0"/>
            <a:cs typeface="Arial" pitchFamily="34" charset="0"/>
          </a:endParaRPr>
        </a:p>
      </dgm:t>
    </dgm:pt>
    <dgm:pt modelId="{04FEFB80-7AC6-4164-AF62-A167BEC1A71E}" type="parTrans" cxnId="{931C2CC2-F765-436D-93C1-B956C8DC6E8F}">
      <dgm:prSet/>
      <dgm:spPr/>
      <dgm:t>
        <a:bodyPr/>
        <a:lstStyle/>
        <a:p>
          <a:endParaRPr lang="ru-RU"/>
        </a:p>
      </dgm:t>
    </dgm:pt>
    <dgm:pt modelId="{E44952D9-5BC5-40B0-BE02-073C26149628}" type="sibTrans" cxnId="{931C2CC2-F765-436D-93C1-B956C8DC6E8F}">
      <dgm:prSet/>
      <dgm:spPr/>
      <dgm:t>
        <a:bodyPr/>
        <a:lstStyle/>
        <a:p>
          <a:endParaRPr lang="ru-RU"/>
        </a:p>
      </dgm:t>
    </dgm:pt>
    <dgm:pt modelId="{2C4444A1-FD17-4CD5-8E42-916DA08E4810}">
      <dgm:prSet phldrT="[Текст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rgbClr val="8EB4E3">
            <a:alpha val="43922"/>
          </a:srgbClr>
        </a:solidFill>
        <a:ln/>
      </dgm:spPr>
      <dgm:t>
        <a:bodyPr/>
        <a:lstStyle/>
        <a:p>
          <a:endParaRPr lang="ru-RU" dirty="0"/>
        </a:p>
      </dgm:t>
    </dgm:pt>
    <dgm:pt modelId="{DE9B8C63-C26D-4EFC-AAA6-0AEFD6EA1364}" type="parTrans" cxnId="{D44E34AA-2C9B-4E87-B40A-43C4E51424B1}">
      <dgm:prSet/>
      <dgm:spPr/>
      <dgm:t>
        <a:bodyPr/>
        <a:lstStyle/>
        <a:p>
          <a:endParaRPr lang="ru-RU"/>
        </a:p>
      </dgm:t>
    </dgm:pt>
    <dgm:pt modelId="{DD798EFB-1CEA-4A36-8A02-8F835538D30D}" type="sibTrans" cxnId="{D44E34AA-2C9B-4E87-B40A-43C4E51424B1}">
      <dgm:prSet/>
      <dgm:spPr/>
      <dgm:t>
        <a:bodyPr/>
        <a:lstStyle/>
        <a:p>
          <a:endParaRPr lang="ru-RU"/>
        </a:p>
      </dgm:t>
    </dgm:pt>
    <dgm:pt modelId="{BEF646B7-DB82-40E0-A462-9F40B01F3076}">
      <dgm:prSet phldrT="[Текст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chemeClr val="tx2">
            <a:lumMod val="60000"/>
            <a:lumOff val="40000"/>
          </a:schemeClr>
        </a:solidFill>
        <a:ln/>
      </dgm:spPr>
      <dgm:t>
        <a:bodyPr/>
        <a:lstStyle/>
        <a:p>
          <a:endParaRPr lang="ru-RU" dirty="0"/>
        </a:p>
      </dgm:t>
    </dgm:pt>
    <dgm:pt modelId="{B2E16F60-3CAB-49D5-8D1B-DA441F8C72BF}" type="parTrans" cxnId="{FEBF0B40-D685-4A0D-98C5-C7B81BAF9924}">
      <dgm:prSet/>
      <dgm:spPr/>
      <dgm:t>
        <a:bodyPr/>
        <a:lstStyle/>
        <a:p>
          <a:endParaRPr lang="ru-RU"/>
        </a:p>
      </dgm:t>
    </dgm:pt>
    <dgm:pt modelId="{D165F693-9B5B-4FAC-85EF-D31A410F71F7}" type="sibTrans" cxnId="{FEBF0B40-D685-4A0D-98C5-C7B81BAF9924}">
      <dgm:prSet/>
      <dgm:spPr/>
      <dgm:t>
        <a:bodyPr/>
        <a:lstStyle/>
        <a:p>
          <a:endParaRPr lang="ru-RU"/>
        </a:p>
      </dgm:t>
    </dgm:pt>
    <dgm:pt modelId="{E7162DF6-3850-415F-9583-AB33A05CE4DF}">
      <dgm:prSet phldrT="[Текст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rgbClr val="558ED5">
            <a:alpha val="61176"/>
          </a:srgbClr>
        </a:solidFill>
        <a:ln/>
      </dgm:spPr>
      <dgm:t>
        <a:bodyPr/>
        <a:lstStyle/>
        <a:p>
          <a:endParaRPr lang="ru-RU" dirty="0"/>
        </a:p>
      </dgm:t>
    </dgm:pt>
    <dgm:pt modelId="{A025D98B-2902-4DD6-96F8-9D8FB38355ED}" type="sibTrans" cxnId="{8097DCF7-FF03-41EF-A81A-BBB0A5AF31B1}">
      <dgm:prSet/>
      <dgm:spPr/>
      <dgm:t>
        <a:bodyPr/>
        <a:lstStyle/>
        <a:p>
          <a:endParaRPr lang="ru-RU"/>
        </a:p>
      </dgm:t>
    </dgm:pt>
    <dgm:pt modelId="{D2EDD208-6281-4DDA-8B19-80AD6BF03ACD}" type="parTrans" cxnId="{8097DCF7-FF03-41EF-A81A-BBB0A5AF31B1}">
      <dgm:prSet/>
      <dgm:spPr/>
      <dgm:t>
        <a:bodyPr/>
        <a:lstStyle/>
        <a:p>
          <a:endParaRPr lang="ru-RU"/>
        </a:p>
      </dgm:t>
    </dgm:pt>
    <dgm:pt modelId="{9C42A3BB-584C-4FC9-AC69-122B0CDB5510}" type="pres">
      <dgm:prSet presAssocID="{4F7B27F5-73D2-48FA-B14E-CF995BEFFA5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A61B179-1EA0-41E4-9C0B-5F46ABE2E1B3}" type="pres">
      <dgm:prSet presAssocID="{0D0ED754-ED88-4993-B17B-B509EC1BFC3D}" presName="Name8" presStyleCnt="0"/>
      <dgm:spPr/>
    </dgm:pt>
    <dgm:pt modelId="{A656FFCA-8BE0-4CF2-B19F-B0C9C77F551C}" type="pres">
      <dgm:prSet presAssocID="{0D0ED754-ED88-4993-B17B-B509EC1BFC3D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140577-E8C7-4E68-882C-3B02FA23F2DE}" type="pres">
      <dgm:prSet presAssocID="{0D0ED754-ED88-4993-B17B-B509EC1BFC3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7C4170-6C80-49D5-B0C1-4FB12B5F0BF5}" type="pres">
      <dgm:prSet presAssocID="{2C4444A1-FD17-4CD5-8E42-916DA08E4810}" presName="Name8" presStyleCnt="0"/>
      <dgm:spPr/>
    </dgm:pt>
    <dgm:pt modelId="{888404BC-7A69-4CAC-A222-7CD5C4F88DEA}" type="pres">
      <dgm:prSet presAssocID="{2C4444A1-FD17-4CD5-8E42-916DA08E4810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ABF0A2-34C8-48F1-B6C5-662D48547E32}" type="pres">
      <dgm:prSet presAssocID="{2C4444A1-FD17-4CD5-8E42-916DA08E481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6C34F3-D784-4347-AF12-2474DEB9406B}" type="pres">
      <dgm:prSet presAssocID="{E7162DF6-3850-415F-9583-AB33A05CE4DF}" presName="Name8" presStyleCnt="0"/>
      <dgm:spPr/>
    </dgm:pt>
    <dgm:pt modelId="{BE3B4D88-D1D0-45C3-821F-1498D4F0A4D3}" type="pres">
      <dgm:prSet presAssocID="{E7162DF6-3850-415F-9583-AB33A05CE4DF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E1CDAF-6476-4843-9C3E-5790A44617CE}" type="pres">
      <dgm:prSet presAssocID="{E7162DF6-3850-415F-9583-AB33A05CE4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D19B2D-B99B-4373-81F5-F617514FB2AC}" type="pres">
      <dgm:prSet presAssocID="{BEF646B7-DB82-40E0-A462-9F40B01F3076}" presName="Name8" presStyleCnt="0"/>
      <dgm:spPr/>
    </dgm:pt>
    <dgm:pt modelId="{5666DB77-4F91-49EF-AB89-8CC13293706F}" type="pres">
      <dgm:prSet presAssocID="{BEF646B7-DB82-40E0-A462-9F40B01F3076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B77506-95EC-498E-8E94-D8BC3E1F736D}" type="pres">
      <dgm:prSet presAssocID="{BEF646B7-DB82-40E0-A462-9F40B01F307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4A835C6-38FB-4FF0-BDB8-B937B2899230}" type="presOf" srcId="{2C4444A1-FD17-4CD5-8E42-916DA08E4810}" destId="{888404BC-7A69-4CAC-A222-7CD5C4F88DEA}" srcOrd="0" destOrd="0" presId="urn:microsoft.com/office/officeart/2005/8/layout/pyramid1"/>
    <dgm:cxn modelId="{6BD8A1C2-511D-4838-8819-629FC5FED812}" type="presOf" srcId="{2C4444A1-FD17-4CD5-8E42-916DA08E4810}" destId="{82ABF0A2-34C8-48F1-B6C5-662D48547E32}" srcOrd="1" destOrd="0" presId="urn:microsoft.com/office/officeart/2005/8/layout/pyramid1"/>
    <dgm:cxn modelId="{563D2D4B-2483-4873-9F48-8D27609D3299}" type="presOf" srcId="{4F7B27F5-73D2-48FA-B14E-CF995BEFFA58}" destId="{9C42A3BB-584C-4FC9-AC69-122B0CDB5510}" srcOrd="0" destOrd="0" presId="urn:microsoft.com/office/officeart/2005/8/layout/pyramid1"/>
    <dgm:cxn modelId="{CD038EA4-1339-4D84-8016-53A25551C3A7}" type="presOf" srcId="{E7162DF6-3850-415F-9583-AB33A05CE4DF}" destId="{BE3B4D88-D1D0-45C3-821F-1498D4F0A4D3}" srcOrd="0" destOrd="0" presId="urn:microsoft.com/office/officeart/2005/8/layout/pyramid1"/>
    <dgm:cxn modelId="{D44E34AA-2C9B-4E87-B40A-43C4E51424B1}" srcId="{4F7B27F5-73D2-48FA-B14E-CF995BEFFA58}" destId="{2C4444A1-FD17-4CD5-8E42-916DA08E4810}" srcOrd="1" destOrd="0" parTransId="{DE9B8C63-C26D-4EFC-AAA6-0AEFD6EA1364}" sibTransId="{DD798EFB-1CEA-4A36-8A02-8F835538D30D}"/>
    <dgm:cxn modelId="{E402EF9F-1D20-49B4-9AA3-B08BE8C8A981}" type="presOf" srcId="{BEF646B7-DB82-40E0-A462-9F40B01F3076}" destId="{87B77506-95EC-498E-8E94-D8BC3E1F736D}" srcOrd="1" destOrd="0" presId="urn:microsoft.com/office/officeart/2005/8/layout/pyramid1"/>
    <dgm:cxn modelId="{FEBF0B40-D685-4A0D-98C5-C7B81BAF9924}" srcId="{4F7B27F5-73D2-48FA-B14E-CF995BEFFA58}" destId="{BEF646B7-DB82-40E0-A462-9F40B01F3076}" srcOrd="3" destOrd="0" parTransId="{B2E16F60-3CAB-49D5-8D1B-DA441F8C72BF}" sibTransId="{D165F693-9B5B-4FAC-85EF-D31A410F71F7}"/>
    <dgm:cxn modelId="{931C2CC2-F765-436D-93C1-B956C8DC6E8F}" srcId="{4F7B27F5-73D2-48FA-B14E-CF995BEFFA58}" destId="{0D0ED754-ED88-4993-B17B-B509EC1BFC3D}" srcOrd="0" destOrd="0" parTransId="{04FEFB80-7AC6-4164-AF62-A167BEC1A71E}" sibTransId="{E44952D9-5BC5-40B0-BE02-073C26149628}"/>
    <dgm:cxn modelId="{8097DCF7-FF03-41EF-A81A-BBB0A5AF31B1}" srcId="{4F7B27F5-73D2-48FA-B14E-CF995BEFFA58}" destId="{E7162DF6-3850-415F-9583-AB33A05CE4DF}" srcOrd="2" destOrd="0" parTransId="{D2EDD208-6281-4DDA-8B19-80AD6BF03ACD}" sibTransId="{A025D98B-2902-4DD6-96F8-9D8FB38355ED}"/>
    <dgm:cxn modelId="{4D467E95-2C24-4AED-852C-73D61D7BE952}" type="presOf" srcId="{0D0ED754-ED88-4993-B17B-B509EC1BFC3D}" destId="{A656FFCA-8BE0-4CF2-B19F-B0C9C77F551C}" srcOrd="0" destOrd="0" presId="urn:microsoft.com/office/officeart/2005/8/layout/pyramid1"/>
    <dgm:cxn modelId="{19A4CF50-E152-4FB0-A069-CB4E9C970522}" type="presOf" srcId="{BEF646B7-DB82-40E0-A462-9F40B01F3076}" destId="{5666DB77-4F91-49EF-AB89-8CC13293706F}" srcOrd="0" destOrd="0" presId="urn:microsoft.com/office/officeart/2005/8/layout/pyramid1"/>
    <dgm:cxn modelId="{83CAA053-7042-4B94-9DB9-CFE832D33D19}" type="presOf" srcId="{E7162DF6-3850-415F-9583-AB33A05CE4DF}" destId="{EEE1CDAF-6476-4843-9C3E-5790A44617CE}" srcOrd="1" destOrd="0" presId="urn:microsoft.com/office/officeart/2005/8/layout/pyramid1"/>
    <dgm:cxn modelId="{44A0BD41-5D5C-4709-A2E4-350FECCAC75B}" type="presOf" srcId="{0D0ED754-ED88-4993-B17B-B509EC1BFC3D}" destId="{63140577-E8C7-4E68-882C-3B02FA23F2DE}" srcOrd="1" destOrd="0" presId="urn:microsoft.com/office/officeart/2005/8/layout/pyramid1"/>
    <dgm:cxn modelId="{8F85590A-031A-46B2-96B8-8A62DE6BF897}" type="presParOf" srcId="{9C42A3BB-584C-4FC9-AC69-122B0CDB5510}" destId="{2A61B179-1EA0-41E4-9C0B-5F46ABE2E1B3}" srcOrd="0" destOrd="0" presId="urn:microsoft.com/office/officeart/2005/8/layout/pyramid1"/>
    <dgm:cxn modelId="{E0B8EBA1-9648-4B9A-9E99-BB877313C186}" type="presParOf" srcId="{2A61B179-1EA0-41E4-9C0B-5F46ABE2E1B3}" destId="{A656FFCA-8BE0-4CF2-B19F-B0C9C77F551C}" srcOrd="0" destOrd="0" presId="urn:microsoft.com/office/officeart/2005/8/layout/pyramid1"/>
    <dgm:cxn modelId="{1848D9A4-3B60-44FA-BA1C-021CE0EE46A7}" type="presParOf" srcId="{2A61B179-1EA0-41E4-9C0B-5F46ABE2E1B3}" destId="{63140577-E8C7-4E68-882C-3B02FA23F2DE}" srcOrd="1" destOrd="0" presId="urn:microsoft.com/office/officeart/2005/8/layout/pyramid1"/>
    <dgm:cxn modelId="{6D6FE065-558A-4BBC-B82C-6BF59AEBB6B3}" type="presParOf" srcId="{9C42A3BB-584C-4FC9-AC69-122B0CDB5510}" destId="{F47C4170-6C80-49D5-B0C1-4FB12B5F0BF5}" srcOrd="1" destOrd="0" presId="urn:microsoft.com/office/officeart/2005/8/layout/pyramid1"/>
    <dgm:cxn modelId="{13C71318-54A8-427C-B686-6D3522CCFD29}" type="presParOf" srcId="{F47C4170-6C80-49D5-B0C1-4FB12B5F0BF5}" destId="{888404BC-7A69-4CAC-A222-7CD5C4F88DEA}" srcOrd="0" destOrd="0" presId="urn:microsoft.com/office/officeart/2005/8/layout/pyramid1"/>
    <dgm:cxn modelId="{86CA7A0F-B903-446A-9D80-541A67938FAF}" type="presParOf" srcId="{F47C4170-6C80-49D5-B0C1-4FB12B5F0BF5}" destId="{82ABF0A2-34C8-48F1-B6C5-662D48547E32}" srcOrd="1" destOrd="0" presId="urn:microsoft.com/office/officeart/2005/8/layout/pyramid1"/>
    <dgm:cxn modelId="{58C2181F-EAE4-4309-B5FB-4E17758C38FC}" type="presParOf" srcId="{9C42A3BB-584C-4FC9-AC69-122B0CDB5510}" destId="{CC6C34F3-D784-4347-AF12-2474DEB9406B}" srcOrd="2" destOrd="0" presId="urn:microsoft.com/office/officeart/2005/8/layout/pyramid1"/>
    <dgm:cxn modelId="{D54C132F-FAF6-457C-9818-95D7B38DBDB5}" type="presParOf" srcId="{CC6C34F3-D784-4347-AF12-2474DEB9406B}" destId="{BE3B4D88-D1D0-45C3-821F-1498D4F0A4D3}" srcOrd="0" destOrd="0" presId="urn:microsoft.com/office/officeart/2005/8/layout/pyramid1"/>
    <dgm:cxn modelId="{E2E3D672-A0E0-461D-800C-8F034BD9B886}" type="presParOf" srcId="{CC6C34F3-D784-4347-AF12-2474DEB9406B}" destId="{EEE1CDAF-6476-4843-9C3E-5790A44617CE}" srcOrd="1" destOrd="0" presId="urn:microsoft.com/office/officeart/2005/8/layout/pyramid1"/>
    <dgm:cxn modelId="{B8115DAA-9E05-42F5-B319-5093576C3711}" type="presParOf" srcId="{9C42A3BB-584C-4FC9-AC69-122B0CDB5510}" destId="{02D19B2D-B99B-4373-81F5-F617514FB2AC}" srcOrd="3" destOrd="0" presId="urn:microsoft.com/office/officeart/2005/8/layout/pyramid1"/>
    <dgm:cxn modelId="{7FAA92FE-BED7-4560-B6FD-200D6479A13E}" type="presParOf" srcId="{02D19B2D-B99B-4373-81F5-F617514FB2AC}" destId="{5666DB77-4F91-49EF-AB89-8CC13293706F}" srcOrd="0" destOrd="0" presId="urn:microsoft.com/office/officeart/2005/8/layout/pyramid1"/>
    <dgm:cxn modelId="{B42C0D8F-FC75-40EB-8738-244EA68C5B3A}" type="presParOf" srcId="{02D19B2D-B99B-4373-81F5-F617514FB2AC}" destId="{87B77506-95EC-498E-8E94-D8BC3E1F736D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43E9A3-03A4-4CED-B995-477FE0A19A64}">
      <dsp:nvSpPr>
        <dsp:cNvPr id="0" name=""/>
        <dsp:cNvSpPr/>
      </dsp:nvSpPr>
      <dsp:spPr>
        <a:xfrm rot="10800000">
          <a:off x="2212914" y="1136"/>
          <a:ext cx="7996847" cy="79468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0433" tIns="91440" rIns="170688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C00000"/>
              </a:solidFill>
            </a:rPr>
            <a:t>UEMS</a:t>
          </a:r>
          <a:r>
            <a:rPr lang="en-US" sz="2400" kern="1200" dirty="0" smtClean="0"/>
            <a:t> </a:t>
          </a:r>
          <a:r>
            <a:rPr lang="ru-RU" sz="2400" kern="1200" dirty="0" smtClean="0"/>
            <a:t>– Европейский союз медицинских специалистов – гармонизация медицинского образования в ЕС</a:t>
          </a:r>
          <a:endParaRPr lang="ru-RU" sz="2400" kern="1200" dirty="0"/>
        </a:p>
      </dsp:txBody>
      <dsp:txXfrm rot="10800000">
        <a:off x="2411584" y="1136"/>
        <a:ext cx="7798177" cy="794682"/>
      </dsp:txXfrm>
    </dsp:sp>
    <dsp:sp modelId="{06E4D575-1077-46CD-A545-B75ECE706281}">
      <dsp:nvSpPr>
        <dsp:cNvPr id="0" name=""/>
        <dsp:cNvSpPr/>
      </dsp:nvSpPr>
      <dsp:spPr>
        <a:xfrm>
          <a:off x="1815573" y="1136"/>
          <a:ext cx="794682" cy="794682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A89E59-EBE2-4B7F-A399-AE5C8568C974}">
      <dsp:nvSpPr>
        <dsp:cNvPr id="0" name=""/>
        <dsp:cNvSpPr/>
      </dsp:nvSpPr>
      <dsp:spPr>
        <a:xfrm rot="10800000">
          <a:off x="2212914" y="1033036"/>
          <a:ext cx="7996847" cy="79468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0433" tIns="91440" rIns="170688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C00000"/>
              </a:solidFill>
            </a:rPr>
            <a:t>AMEE</a:t>
          </a:r>
          <a:r>
            <a:rPr lang="en-US" sz="2400" kern="1200" dirty="0" smtClean="0"/>
            <a:t> </a:t>
          </a:r>
          <a:r>
            <a:rPr lang="ru-RU" sz="2400" kern="1200" dirty="0" smtClean="0"/>
            <a:t>– Ассоциация по медицинскому образованию в Европе – повышение уровня преподавания</a:t>
          </a:r>
          <a:endParaRPr lang="ru-RU" sz="2400" kern="1200" dirty="0"/>
        </a:p>
      </dsp:txBody>
      <dsp:txXfrm rot="10800000">
        <a:off x="2411584" y="1033036"/>
        <a:ext cx="7798177" cy="794682"/>
      </dsp:txXfrm>
    </dsp:sp>
    <dsp:sp modelId="{90800EA5-DB1E-439A-A1A0-11DA9D523205}">
      <dsp:nvSpPr>
        <dsp:cNvPr id="0" name=""/>
        <dsp:cNvSpPr/>
      </dsp:nvSpPr>
      <dsp:spPr>
        <a:xfrm>
          <a:off x="1815573" y="1033036"/>
          <a:ext cx="794682" cy="794682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F504D7C-960C-4F8D-A737-FC9BC8B1C683}">
      <dsp:nvSpPr>
        <dsp:cNvPr id="0" name=""/>
        <dsp:cNvSpPr/>
      </dsp:nvSpPr>
      <dsp:spPr>
        <a:xfrm rot="10800000">
          <a:off x="2212914" y="2064937"/>
          <a:ext cx="7996847" cy="79468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0433" tIns="91440" rIns="170688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C00000"/>
              </a:solidFill>
            </a:rPr>
            <a:t>NBME</a:t>
          </a:r>
          <a:r>
            <a:rPr lang="ru-RU" sz="2400" kern="1200" dirty="0" smtClean="0"/>
            <a:t> – Национальный Совет медицинских экзаменаторов – организация медицинского лицензионного экзамена в США</a:t>
          </a:r>
          <a:endParaRPr lang="ru-RU" sz="2400" kern="1200" dirty="0"/>
        </a:p>
      </dsp:txBody>
      <dsp:txXfrm rot="10800000">
        <a:off x="2411584" y="2064937"/>
        <a:ext cx="7798177" cy="794682"/>
      </dsp:txXfrm>
    </dsp:sp>
    <dsp:sp modelId="{9E0E5009-F722-43F3-8A97-EEF5A6817801}">
      <dsp:nvSpPr>
        <dsp:cNvPr id="0" name=""/>
        <dsp:cNvSpPr/>
      </dsp:nvSpPr>
      <dsp:spPr>
        <a:xfrm>
          <a:off x="1815573" y="2064937"/>
          <a:ext cx="794682" cy="794682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75AE3F-0A15-4773-A27B-1DBDEFD7EBD7}">
      <dsp:nvSpPr>
        <dsp:cNvPr id="0" name=""/>
        <dsp:cNvSpPr/>
      </dsp:nvSpPr>
      <dsp:spPr>
        <a:xfrm rot="10800000">
          <a:off x="2212914" y="3096838"/>
          <a:ext cx="7996847" cy="79468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0433" tIns="91440" rIns="170688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C00000"/>
              </a:solidFill>
            </a:rPr>
            <a:t>FSMB</a:t>
          </a:r>
          <a:r>
            <a:rPr lang="en-US" sz="2400" b="1" kern="1200" dirty="0" smtClean="0"/>
            <a:t> </a:t>
          </a:r>
          <a:r>
            <a:rPr lang="en-US" sz="2400" b="0" kern="1200" dirty="0" smtClean="0"/>
            <a:t>–</a:t>
          </a:r>
          <a:r>
            <a:rPr lang="ru-RU" sz="2400" b="0" kern="1200" dirty="0" smtClean="0"/>
            <a:t> Федерация </a:t>
          </a:r>
          <a:r>
            <a:rPr lang="ru-RU" sz="2400" kern="1200" dirty="0" smtClean="0"/>
            <a:t>медицинских советов Штатов</a:t>
          </a:r>
          <a:endParaRPr lang="ru-RU" sz="2400" kern="1200" dirty="0"/>
        </a:p>
      </dsp:txBody>
      <dsp:txXfrm rot="10800000">
        <a:off x="2411584" y="3096838"/>
        <a:ext cx="7798177" cy="794682"/>
      </dsp:txXfrm>
    </dsp:sp>
    <dsp:sp modelId="{F5A7993B-F66C-45CC-A9BB-56F59FFBCAF3}">
      <dsp:nvSpPr>
        <dsp:cNvPr id="0" name=""/>
        <dsp:cNvSpPr/>
      </dsp:nvSpPr>
      <dsp:spPr>
        <a:xfrm>
          <a:off x="1815573" y="3096838"/>
          <a:ext cx="794682" cy="794682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842AA3B-67A8-49F1-8031-AD9E427AD189}">
      <dsp:nvSpPr>
        <dsp:cNvPr id="0" name=""/>
        <dsp:cNvSpPr/>
      </dsp:nvSpPr>
      <dsp:spPr>
        <a:xfrm rot="10800000">
          <a:off x="2212914" y="4128738"/>
          <a:ext cx="7996847" cy="79468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0433" tIns="91440" rIns="170688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C00000"/>
              </a:solidFill>
            </a:rPr>
            <a:t>WFME</a:t>
          </a:r>
          <a:r>
            <a:rPr lang="ru-RU" sz="2400" kern="1200" dirty="0" smtClean="0"/>
            <a:t> – Всемирная федерация по медицинскому образованию</a:t>
          </a:r>
          <a:endParaRPr lang="ru-RU" sz="2400" kern="1200" dirty="0"/>
        </a:p>
      </dsp:txBody>
      <dsp:txXfrm rot="10800000">
        <a:off x="2411584" y="4128738"/>
        <a:ext cx="7798177" cy="794682"/>
      </dsp:txXfrm>
    </dsp:sp>
    <dsp:sp modelId="{DFCC7EAE-ABE9-424F-800A-A757F63A07DE}">
      <dsp:nvSpPr>
        <dsp:cNvPr id="0" name=""/>
        <dsp:cNvSpPr/>
      </dsp:nvSpPr>
      <dsp:spPr>
        <a:xfrm>
          <a:off x="1815573" y="4128738"/>
          <a:ext cx="794682" cy="794682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31BE54-F64E-8E4D-A4ED-0DEA639625BB}">
      <dsp:nvSpPr>
        <dsp:cNvPr id="0" name=""/>
        <dsp:cNvSpPr/>
      </dsp:nvSpPr>
      <dsp:spPr>
        <a:xfrm>
          <a:off x="884108" y="2480872"/>
          <a:ext cx="575593" cy="16809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87796" y="0"/>
              </a:lnTo>
              <a:lnTo>
                <a:pt x="287796" y="1680926"/>
              </a:lnTo>
              <a:lnTo>
                <a:pt x="575593" y="1680926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 dirty="0"/>
        </a:p>
      </dsp:txBody>
      <dsp:txXfrm>
        <a:off x="1127486" y="3276917"/>
        <a:ext cx="88837" cy="88837"/>
      </dsp:txXfrm>
    </dsp:sp>
    <dsp:sp modelId="{1B3E018C-A147-F042-8AD8-6797AC845194}">
      <dsp:nvSpPr>
        <dsp:cNvPr id="0" name=""/>
        <dsp:cNvSpPr/>
      </dsp:nvSpPr>
      <dsp:spPr>
        <a:xfrm>
          <a:off x="884108" y="2480872"/>
          <a:ext cx="575593" cy="5841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87796" y="0"/>
              </a:lnTo>
              <a:lnTo>
                <a:pt x="287796" y="584139"/>
              </a:lnTo>
              <a:lnTo>
                <a:pt x="575593" y="584139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 dirty="0"/>
        </a:p>
      </dsp:txBody>
      <dsp:txXfrm>
        <a:off x="1151403" y="2752440"/>
        <a:ext cx="41003" cy="41003"/>
      </dsp:txXfrm>
    </dsp:sp>
    <dsp:sp modelId="{9D88C75B-110E-8B42-8223-A9DA98DCA390}">
      <dsp:nvSpPr>
        <dsp:cNvPr id="0" name=""/>
        <dsp:cNvSpPr/>
      </dsp:nvSpPr>
      <dsp:spPr>
        <a:xfrm>
          <a:off x="884108" y="1968225"/>
          <a:ext cx="575593" cy="512646"/>
        </a:xfrm>
        <a:custGeom>
          <a:avLst/>
          <a:gdLst/>
          <a:ahLst/>
          <a:cxnLst/>
          <a:rect l="0" t="0" r="0" b="0"/>
          <a:pathLst>
            <a:path>
              <a:moveTo>
                <a:pt x="0" y="512646"/>
              </a:moveTo>
              <a:lnTo>
                <a:pt x="287796" y="512646"/>
              </a:lnTo>
              <a:lnTo>
                <a:pt x="287796" y="0"/>
              </a:lnTo>
              <a:lnTo>
                <a:pt x="575593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 dirty="0"/>
        </a:p>
      </dsp:txBody>
      <dsp:txXfrm>
        <a:off x="1152635" y="2205279"/>
        <a:ext cx="38539" cy="38539"/>
      </dsp:txXfrm>
    </dsp:sp>
    <dsp:sp modelId="{0330EEAD-F71A-A14B-B2BB-B8A189360FD3}">
      <dsp:nvSpPr>
        <dsp:cNvPr id="0" name=""/>
        <dsp:cNvSpPr/>
      </dsp:nvSpPr>
      <dsp:spPr>
        <a:xfrm>
          <a:off x="884108" y="835692"/>
          <a:ext cx="575593" cy="1645179"/>
        </a:xfrm>
        <a:custGeom>
          <a:avLst/>
          <a:gdLst/>
          <a:ahLst/>
          <a:cxnLst/>
          <a:rect l="0" t="0" r="0" b="0"/>
          <a:pathLst>
            <a:path>
              <a:moveTo>
                <a:pt x="0" y="1645179"/>
              </a:moveTo>
              <a:lnTo>
                <a:pt x="287796" y="1645179"/>
              </a:lnTo>
              <a:lnTo>
                <a:pt x="287796" y="0"/>
              </a:lnTo>
              <a:lnTo>
                <a:pt x="575593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kern="1200" dirty="0"/>
        </a:p>
      </dsp:txBody>
      <dsp:txXfrm>
        <a:off x="1128331" y="1614708"/>
        <a:ext cx="87148" cy="87148"/>
      </dsp:txXfrm>
    </dsp:sp>
    <dsp:sp modelId="{D429535C-8E34-4243-9BFE-87B5F666C50C}">
      <dsp:nvSpPr>
        <dsp:cNvPr id="0" name=""/>
        <dsp:cNvSpPr/>
      </dsp:nvSpPr>
      <dsp:spPr>
        <a:xfrm rot="16200000">
          <a:off x="-1470703" y="2042157"/>
          <a:ext cx="3832195" cy="87742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accent1">
              <a:hueOff val="0"/>
              <a:satOff val="0"/>
              <a:lumOff val="0"/>
              <a:alphaOff val="0"/>
              <a:shade val="8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700" kern="1200" dirty="0" smtClean="0"/>
            <a:t>СОВЕТ</a:t>
          </a:r>
          <a:endParaRPr lang="ru-RU" sz="5700" kern="1200" dirty="0"/>
        </a:p>
      </dsp:txBody>
      <dsp:txXfrm>
        <a:off x="-1470703" y="2042157"/>
        <a:ext cx="3832195" cy="877429"/>
      </dsp:txXfrm>
    </dsp:sp>
    <dsp:sp modelId="{37137555-B312-D94D-9686-C0B4CEB1CDE1}">
      <dsp:nvSpPr>
        <dsp:cNvPr id="0" name=""/>
        <dsp:cNvSpPr/>
      </dsp:nvSpPr>
      <dsp:spPr>
        <a:xfrm>
          <a:off x="1459702" y="361231"/>
          <a:ext cx="6941544" cy="948922"/>
        </a:xfrm>
        <a:prstGeom prst="rect">
          <a:avLst/>
        </a:prstGeom>
        <a:solidFill>
          <a:schemeClr val="bg1">
            <a:lumMod val="95000"/>
          </a:schemeClr>
        </a:solidFill>
        <a:ln>
          <a:solidFill>
            <a:schemeClr val="bg1"/>
          </a:solidFill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accent1">
              <a:hueOff val="0"/>
              <a:satOff val="0"/>
              <a:lumOff val="0"/>
              <a:alphaOff val="0"/>
              <a:shade val="8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C00000"/>
              </a:solidFill>
            </a:rPr>
            <a:t>РГ № 1 </a:t>
          </a:r>
          <a:r>
            <a:rPr lang="ru-RU" sz="1800" b="1" kern="1200" dirty="0" smtClean="0">
              <a:solidFill>
                <a:schemeClr val="tx1"/>
              </a:solidFill>
            </a:rPr>
            <a:t>‒ по разработке нормативных документов по развитию  НМО </a:t>
          </a:r>
          <a:r>
            <a:rPr lang="ru-RU" sz="1800" b="0" kern="1200" dirty="0" smtClean="0">
              <a:solidFill>
                <a:schemeClr val="tx1"/>
              </a:solidFill>
            </a:rPr>
            <a:t>(Андрей Алексеевич Свистунов)</a:t>
          </a:r>
          <a:endParaRPr lang="ru-RU" sz="1800" b="0" kern="1200" dirty="0">
            <a:solidFill>
              <a:schemeClr val="tx1"/>
            </a:solidFill>
          </a:endParaRPr>
        </a:p>
      </dsp:txBody>
      <dsp:txXfrm>
        <a:off x="1459702" y="361231"/>
        <a:ext cx="6941544" cy="948922"/>
      </dsp:txXfrm>
    </dsp:sp>
    <dsp:sp modelId="{A241B44E-EF0E-4846-ADA7-08196645D266}">
      <dsp:nvSpPr>
        <dsp:cNvPr id="0" name=""/>
        <dsp:cNvSpPr/>
      </dsp:nvSpPr>
      <dsp:spPr>
        <a:xfrm>
          <a:off x="1459702" y="1529510"/>
          <a:ext cx="6990124" cy="877429"/>
        </a:xfrm>
        <a:prstGeom prst="rect">
          <a:avLst/>
        </a:prstGeom>
        <a:solidFill>
          <a:schemeClr val="bg1">
            <a:lumMod val="95000"/>
          </a:schemeClr>
        </a:solidFill>
        <a:ln>
          <a:solidFill>
            <a:schemeClr val="bg1"/>
          </a:solidFill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accent1">
              <a:hueOff val="0"/>
              <a:satOff val="0"/>
              <a:lumOff val="0"/>
              <a:alphaOff val="0"/>
              <a:shade val="8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C00000"/>
              </a:solidFill>
            </a:rPr>
            <a:t>РГ № 2 </a:t>
          </a:r>
          <a:r>
            <a:rPr lang="ru-RU" sz="1800" b="1" kern="1200" dirty="0" smtClean="0">
              <a:solidFill>
                <a:schemeClr val="tx1"/>
              </a:solidFill>
            </a:rPr>
            <a:t>‒ по методологии создания учебных и контрольно-измерительных материалов </a:t>
          </a:r>
          <a:r>
            <a:rPr lang="ru-RU" sz="1800" b="0" kern="1200" dirty="0" smtClean="0">
              <a:solidFill>
                <a:schemeClr val="tx1"/>
              </a:solidFill>
            </a:rPr>
            <a:t>(Александр Григорьевич Чучалин)</a:t>
          </a:r>
          <a:endParaRPr lang="ru-RU" sz="1800" b="0" kern="1200" dirty="0">
            <a:solidFill>
              <a:schemeClr val="tx1"/>
            </a:solidFill>
          </a:endParaRPr>
        </a:p>
      </dsp:txBody>
      <dsp:txXfrm>
        <a:off x="1459702" y="1529510"/>
        <a:ext cx="6990124" cy="877429"/>
      </dsp:txXfrm>
    </dsp:sp>
    <dsp:sp modelId="{FB62C046-75A0-9545-8D29-F006EA025A8E}">
      <dsp:nvSpPr>
        <dsp:cNvPr id="0" name=""/>
        <dsp:cNvSpPr/>
      </dsp:nvSpPr>
      <dsp:spPr>
        <a:xfrm>
          <a:off x="1459702" y="2626297"/>
          <a:ext cx="6983706" cy="877429"/>
        </a:xfrm>
        <a:prstGeom prst="rect">
          <a:avLst/>
        </a:prstGeom>
        <a:solidFill>
          <a:schemeClr val="bg1">
            <a:lumMod val="95000"/>
          </a:schemeClr>
        </a:solidFill>
        <a:ln>
          <a:solidFill>
            <a:schemeClr val="bg1"/>
          </a:solidFill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accent1">
              <a:hueOff val="0"/>
              <a:satOff val="0"/>
              <a:lumOff val="0"/>
              <a:alphaOff val="0"/>
              <a:shade val="8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C00000"/>
              </a:solidFill>
            </a:rPr>
            <a:t>РГ № 3 </a:t>
          </a:r>
          <a:r>
            <a:rPr lang="ru-RU" sz="1800" b="1" kern="1200" dirty="0" smtClean="0">
              <a:solidFill>
                <a:schemeClr val="tx1"/>
              </a:solidFill>
            </a:rPr>
            <a:t>‒ по внедрению инновационных образовательных технологий в НМО  и проведению пилотных проектов </a:t>
          </a:r>
          <a:r>
            <a:rPr lang="ru-RU" sz="1800" b="0" kern="1200" dirty="0" smtClean="0">
              <a:solidFill>
                <a:schemeClr val="tx1"/>
              </a:solidFill>
            </a:rPr>
            <a:t>(Гузель Эрнстовна Улумбекова) </a:t>
          </a:r>
          <a:endParaRPr lang="ru-RU" sz="1800" b="0" kern="1200" dirty="0">
            <a:solidFill>
              <a:schemeClr val="tx1"/>
            </a:solidFill>
          </a:endParaRPr>
        </a:p>
      </dsp:txBody>
      <dsp:txXfrm>
        <a:off x="1459702" y="2626297"/>
        <a:ext cx="6983706" cy="877429"/>
      </dsp:txXfrm>
    </dsp:sp>
    <dsp:sp modelId="{9D1ECE26-B28E-B546-994A-DC33DDC99A21}">
      <dsp:nvSpPr>
        <dsp:cNvPr id="0" name=""/>
        <dsp:cNvSpPr/>
      </dsp:nvSpPr>
      <dsp:spPr>
        <a:xfrm>
          <a:off x="1459702" y="3723084"/>
          <a:ext cx="7010557" cy="877429"/>
        </a:xfrm>
        <a:prstGeom prst="rect">
          <a:avLst/>
        </a:prstGeom>
        <a:solidFill>
          <a:schemeClr val="bg1">
            <a:lumMod val="95000"/>
          </a:schemeClr>
        </a:solidFill>
        <a:ln>
          <a:solidFill>
            <a:schemeClr val="bg1"/>
          </a:solidFill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accent1">
              <a:hueOff val="0"/>
              <a:satOff val="0"/>
              <a:lumOff val="0"/>
              <a:alphaOff val="0"/>
              <a:shade val="80000"/>
            </a:schemeClr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C00000"/>
              </a:solidFill>
            </a:rPr>
            <a:t>Комиссия</a:t>
          </a:r>
          <a:r>
            <a:rPr lang="ru-RU" sz="1800" b="1" kern="1200" dirty="0" smtClean="0">
              <a:solidFill>
                <a:schemeClr val="tx1"/>
              </a:solidFill>
            </a:rPr>
            <a:t> по оценке соответствия образовательных мероприятий и материалов для НМО установленным требованиям </a:t>
          </a:r>
          <a:r>
            <a:rPr lang="ru-RU" sz="1800" b="0" kern="1200" dirty="0" smtClean="0">
              <a:solidFill>
                <a:schemeClr val="tx1"/>
              </a:solidFill>
            </a:rPr>
            <a:t>(Николай Дмитриевич Ющук)</a:t>
          </a:r>
          <a:endParaRPr lang="ru-RU" sz="1800" b="0" kern="1200" dirty="0">
            <a:solidFill>
              <a:schemeClr val="tx1"/>
            </a:solidFill>
          </a:endParaRPr>
        </a:p>
      </dsp:txBody>
      <dsp:txXfrm>
        <a:off x="1459702" y="3723084"/>
        <a:ext cx="7010557" cy="87742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84B931-0976-4E39-BF1A-C3575D1ECFB6}">
      <dsp:nvSpPr>
        <dsp:cNvPr id="0" name=""/>
        <dsp:cNvSpPr/>
      </dsp:nvSpPr>
      <dsp:spPr>
        <a:xfrm>
          <a:off x="892090" y="548"/>
          <a:ext cx="961429" cy="96142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2000"/>
                <a:satMod val="170000"/>
              </a:schemeClr>
            </a:gs>
            <a:gs pos="15000">
              <a:schemeClr val="accent1">
                <a:hueOff val="0"/>
                <a:satOff val="0"/>
                <a:lumOff val="0"/>
                <a:alphaOff val="0"/>
                <a:tint val="92000"/>
                <a:shade val="99000"/>
                <a:satMod val="170000"/>
              </a:schemeClr>
            </a:gs>
            <a:gs pos="62000">
              <a:schemeClr val="accent1">
                <a:hueOff val="0"/>
                <a:satOff val="0"/>
                <a:lumOff val="0"/>
                <a:alphaOff val="0"/>
                <a:tint val="96000"/>
                <a:shade val="80000"/>
                <a:satMod val="170000"/>
              </a:schemeClr>
            </a:gs>
            <a:gs pos="97000">
              <a:schemeClr val="accent1">
                <a:hueOff val="0"/>
                <a:satOff val="0"/>
                <a:lumOff val="0"/>
                <a:alphaOff val="0"/>
                <a:tint val="98000"/>
                <a:shade val="63000"/>
                <a:satMod val="17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rgbClr val="FF0000"/>
              </a:solidFill>
            </a:rPr>
            <a:t>108 ч. </a:t>
          </a:r>
          <a:endParaRPr lang="ru-RU" sz="2000" b="1" kern="1200" dirty="0">
            <a:solidFill>
              <a:srgbClr val="FF0000"/>
            </a:solidFill>
          </a:endParaRPr>
        </a:p>
      </dsp:txBody>
      <dsp:txXfrm>
        <a:off x="1032888" y="141346"/>
        <a:ext cx="679833" cy="679833"/>
      </dsp:txXfrm>
    </dsp:sp>
    <dsp:sp modelId="{0992389E-0A81-4C80-8533-DFAAC6932B9B}">
      <dsp:nvSpPr>
        <dsp:cNvPr id="0" name=""/>
        <dsp:cNvSpPr/>
      </dsp:nvSpPr>
      <dsp:spPr>
        <a:xfrm>
          <a:off x="1931587" y="202448"/>
          <a:ext cx="557629" cy="557629"/>
        </a:xfrm>
        <a:prstGeom prst="mathPlus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92000"/>
                <a:satMod val="170000"/>
              </a:schemeClr>
            </a:gs>
            <a:gs pos="15000">
              <a:schemeClr val="accent1">
                <a:tint val="60000"/>
                <a:hueOff val="0"/>
                <a:satOff val="0"/>
                <a:lumOff val="0"/>
                <a:alphaOff val="0"/>
                <a:tint val="92000"/>
                <a:shade val="99000"/>
                <a:satMod val="170000"/>
              </a:schemeClr>
            </a:gs>
            <a:gs pos="62000">
              <a:schemeClr val="accent1">
                <a:tint val="60000"/>
                <a:hueOff val="0"/>
                <a:satOff val="0"/>
                <a:lumOff val="0"/>
                <a:alphaOff val="0"/>
                <a:tint val="96000"/>
                <a:shade val="80000"/>
                <a:satMod val="170000"/>
              </a:schemeClr>
            </a:gs>
            <a:gs pos="97000">
              <a:schemeClr val="accent1">
                <a:tint val="60000"/>
                <a:hueOff val="0"/>
                <a:satOff val="0"/>
                <a:lumOff val="0"/>
                <a:alphaOff val="0"/>
                <a:tint val="98000"/>
                <a:shade val="63000"/>
                <a:satMod val="17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/>
        </a:p>
      </dsp:txBody>
      <dsp:txXfrm>
        <a:off x="2005501" y="415685"/>
        <a:ext cx="409801" cy="131155"/>
      </dsp:txXfrm>
    </dsp:sp>
    <dsp:sp modelId="{820F13CF-62C1-4819-B276-7B8E4A79E441}">
      <dsp:nvSpPr>
        <dsp:cNvPr id="0" name=""/>
        <dsp:cNvSpPr/>
      </dsp:nvSpPr>
      <dsp:spPr>
        <a:xfrm>
          <a:off x="2567285" y="548"/>
          <a:ext cx="961429" cy="96142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2000"/>
                <a:satMod val="170000"/>
              </a:schemeClr>
            </a:gs>
            <a:gs pos="15000">
              <a:schemeClr val="accent1">
                <a:hueOff val="0"/>
                <a:satOff val="0"/>
                <a:lumOff val="0"/>
                <a:alphaOff val="0"/>
                <a:tint val="92000"/>
                <a:shade val="99000"/>
                <a:satMod val="170000"/>
              </a:schemeClr>
            </a:gs>
            <a:gs pos="62000">
              <a:schemeClr val="accent1">
                <a:hueOff val="0"/>
                <a:satOff val="0"/>
                <a:lumOff val="0"/>
                <a:alphaOff val="0"/>
                <a:tint val="96000"/>
                <a:shade val="80000"/>
                <a:satMod val="170000"/>
              </a:schemeClr>
            </a:gs>
            <a:gs pos="97000">
              <a:schemeClr val="accent1">
                <a:hueOff val="0"/>
                <a:satOff val="0"/>
                <a:lumOff val="0"/>
                <a:alphaOff val="0"/>
                <a:tint val="98000"/>
                <a:shade val="63000"/>
                <a:satMod val="17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solidFill>
                <a:srgbClr val="FF0000"/>
              </a:solidFill>
            </a:rPr>
            <a:t>36 ч.</a:t>
          </a:r>
          <a:endParaRPr lang="ru-RU" sz="2800" b="1" kern="1200" dirty="0">
            <a:solidFill>
              <a:srgbClr val="FF0000"/>
            </a:solidFill>
          </a:endParaRPr>
        </a:p>
      </dsp:txBody>
      <dsp:txXfrm>
        <a:off x="2708083" y="141346"/>
        <a:ext cx="679833" cy="679833"/>
      </dsp:txXfrm>
    </dsp:sp>
    <dsp:sp modelId="{CAB31D9E-0BBE-4EF4-8C62-128E8C915E53}">
      <dsp:nvSpPr>
        <dsp:cNvPr id="0" name=""/>
        <dsp:cNvSpPr/>
      </dsp:nvSpPr>
      <dsp:spPr>
        <a:xfrm>
          <a:off x="3606782" y="202448"/>
          <a:ext cx="557629" cy="557629"/>
        </a:xfrm>
        <a:prstGeom prst="mathEqual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92000"/>
                <a:satMod val="170000"/>
              </a:schemeClr>
            </a:gs>
            <a:gs pos="15000">
              <a:schemeClr val="accent1">
                <a:tint val="60000"/>
                <a:hueOff val="0"/>
                <a:satOff val="0"/>
                <a:lumOff val="0"/>
                <a:alphaOff val="0"/>
                <a:tint val="92000"/>
                <a:shade val="99000"/>
                <a:satMod val="170000"/>
              </a:schemeClr>
            </a:gs>
            <a:gs pos="62000">
              <a:schemeClr val="accent1">
                <a:tint val="60000"/>
                <a:hueOff val="0"/>
                <a:satOff val="0"/>
                <a:lumOff val="0"/>
                <a:alphaOff val="0"/>
                <a:tint val="96000"/>
                <a:shade val="80000"/>
                <a:satMod val="170000"/>
              </a:schemeClr>
            </a:gs>
            <a:gs pos="97000">
              <a:schemeClr val="accent1">
                <a:tint val="60000"/>
                <a:hueOff val="0"/>
                <a:satOff val="0"/>
                <a:lumOff val="0"/>
                <a:alphaOff val="0"/>
                <a:tint val="98000"/>
                <a:shade val="63000"/>
                <a:satMod val="17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3680696" y="317320"/>
        <a:ext cx="409801" cy="327885"/>
      </dsp:txXfrm>
    </dsp:sp>
    <dsp:sp modelId="{8B647B8A-7DF2-4F70-B0AB-B5DFB334B1A4}">
      <dsp:nvSpPr>
        <dsp:cNvPr id="0" name=""/>
        <dsp:cNvSpPr/>
      </dsp:nvSpPr>
      <dsp:spPr>
        <a:xfrm>
          <a:off x="4242480" y="548"/>
          <a:ext cx="961429" cy="96142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2000"/>
                <a:satMod val="170000"/>
              </a:schemeClr>
            </a:gs>
            <a:gs pos="15000">
              <a:schemeClr val="accent1">
                <a:hueOff val="0"/>
                <a:satOff val="0"/>
                <a:lumOff val="0"/>
                <a:alphaOff val="0"/>
                <a:tint val="92000"/>
                <a:shade val="99000"/>
                <a:satMod val="170000"/>
              </a:schemeClr>
            </a:gs>
            <a:gs pos="62000">
              <a:schemeClr val="accent1">
                <a:hueOff val="0"/>
                <a:satOff val="0"/>
                <a:lumOff val="0"/>
                <a:alphaOff val="0"/>
                <a:tint val="96000"/>
                <a:shade val="80000"/>
                <a:satMod val="170000"/>
              </a:schemeClr>
            </a:gs>
            <a:gs pos="97000">
              <a:schemeClr val="accent1">
                <a:hueOff val="0"/>
                <a:satOff val="0"/>
                <a:lumOff val="0"/>
                <a:alphaOff val="0"/>
                <a:tint val="98000"/>
                <a:shade val="63000"/>
                <a:satMod val="17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rgbClr val="FF0000"/>
              </a:solidFill>
            </a:rPr>
            <a:t>144 ч. </a:t>
          </a:r>
          <a:endParaRPr lang="ru-RU" sz="2000" b="1" kern="1200" dirty="0">
            <a:solidFill>
              <a:srgbClr val="FF0000"/>
            </a:solidFill>
          </a:endParaRPr>
        </a:p>
      </dsp:txBody>
      <dsp:txXfrm>
        <a:off x="4383278" y="141346"/>
        <a:ext cx="679833" cy="67983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56FFCA-8BE0-4CF2-B19F-B0C9C77F551C}">
      <dsp:nvSpPr>
        <dsp:cNvPr id="0" name=""/>
        <dsp:cNvSpPr/>
      </dsp:nvSpPr>
      <dsp:spPr>
        <a:xfrm>
          <a:off x="2277086" y="0"/>
          <a:ext cx="1518057" cy="1268024"/>
        </a:xfrm>
        <a:prstGeom prst="trapezoid">
          <a:avLst>
            <a:gd name="adj" fmla="val 59859"/>
          </a:avLst>
        </a:prstGeom>
        <a:solidFill>
          <a:srgbClr val="C6D9F1">
            <a:alpha val="27843"/>
          </a:srgbClr>
        </a:soli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accent1"/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>
            <a:latin typeface="Arial" pitchFamily="34" charset="0"/>
            <a:cs typeface="Arial" pitchFamily="34" charset="0"/>
          </a:endParaRPr>
        </a:p>
      </dsp:txBody>
      <dsp:txXfrm>
        <a:off x="2277086" y="0"/>
        <a:ext cx="1518057" cy="1268024"/>
      </dsp:txXfrm>
    </dsp:sp>
    <dsp:sp modelId="{888404BC-7A69-4CAC-A222-7CD5C4F88DEA}">
      <dsp:nvSpPr>
        <dsp:cNvPr id="0" name=""/>
        <dsp:cNvSpPr/>
      </dsp:nvSpPr>
      <dsp:spPr>
        <a:xfrm>
          <a:off x="1518057" y="1268024"/>
          <a:ext cx="3036115" cy="1268024"/>
        </a:xfrm>
        <a:prstGeom prst="trapezoid">
          <a:avLst>
            <a:gd name="adj" fmla="val 59859"/>
          </a:avLst>
        </a:prstGeom>
        <a:solidFill>
          <a:srgbClr val="8EB4E3">
            <a:alpha val="43922"/>
          </a:srgbClr>
        </a:soli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accent1"/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2049377" y="1268024"/>
        <a:ext cx="1973474" cy="1268024"/>
      </dsp:txXfrm>
    </dsp:sp>
    <dsp:sp modelId="{BE3B4D88-D1D0-45C3-821F-1498D4F0A4D3}">
      <dsp:nvSpPr>
        <dsp:cNvPr id="0" name=""/>
        <dsp:cNvSpPr/>
      </dsp:nvSpPr>
      <dsp:spPr>
        <a:xfrm>
          <a:off x="759028" y="2536049"/>
          <a:ext cx="4554172" cy="1268024"/>
        </a:xfrm>
        <a:prstGeom prst="trapezoid">
          <a:avLst>
            <a:gd name="adj" fmla="val 59859"/>
          </a:avLst>
        </a:prstGeom>
        <a:solidFill>
          <a:srgbClr val="558ED5">
            <a:alpha val="61176"/>
          </a:srgbClr>
        </a:soli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accent1"/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1556008" y="2536049"/>
        <a:ext cx="2960212" cy="1268024"/>
      </dsp:txXfrm>
    </dsp:sp>
    <dsp:sp modelId="{5666DB77-4F91-49EF-AB89-8CC13293706F}">
      <dsp:nvSpPr>
        <dsp:cNvPr id="0" name=""/>
        <dsp:cNvSpPr/>
      </dsp:nvSpPr>
      <dsp:spPr>
        <a:xfrm>
          <a:off x="0" y="3804073"/>
          <a:ext cx="6072230" cy="1268024"/>
        </a:xfrm>
        <a:prstGeom prst="trapezoid">
          <a:avLst>
            <a:gd name="adj" fmla="val 59859"/>
          </a:avLst>
        </a:prstGeom>
        <a:solidFill>
          <a:schemeClr val="tx2">
            <a:lumMod val="60000"/>
            <a:lumOff val="40000"/>
          </a:schemeClr>
        </a:solidFill>
        <a:ln>
          <a:noFill/>
        </a:ln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accent1"/>
          </a:contourClr>
        </a:sp3d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1062640" y="3804073"/>
        <a:ext cx="3946949" cy="12680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3888" cy="355600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794375" y="0"/>
            <a:ext cx="4435475" cy="355600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60987FD-EF32-42A6-95E3-E9B563ED9FDC}" type="datetimeFigureOut">
              <a:rPr lang="ru-RU"/>
              <a:pPr>
                <a:defRPr/>
              </a:pPr>
              <a:t>27.02.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746875"/>
            <a:ext cx="4433888" cy="35401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794375" y="6746875"/>
            <a:ext cx="4435475" cy="35401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4E7ADE-0713-4BF4-B8D2-CF4B7BAB90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85274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433888" cy="355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89599" tIns="44799" rIns="89599" bIns="44799" numCol="1" anchor="t" anchorCtr="0" compatLnSpc="1">
            <a:prstTxWarp prst="textNoShape">
              <a:avLst/>
            </a:prstTxWarp>
          </a:bodyPr>
          <a:lstStyle>
            <a:lvl1pPr>
              <a:defRPr sz="11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795963" y="0"/>
            <a:ext cx="4433887" cy="355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89599" tIns="44799" rIns="89599" bIns="44799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95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341688" y="531813"/>
            <a:ext cx="3548062" cy="26622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023938" y="3373438"/>
            <a:ext cx="8185150" cy="3195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89599" tIns="44799" rIns="89599" bIns="447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60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746875"/>
            <a:ext cx="4433888" cy="354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89599" tIns="44799" rIns="89599" bIns="44799" numCol="1" anchor="b" anchorCtr="0" compatLnSpc="1">
            <a:prstTxWarp prst="textNoShape">
              <a:avLst/>
            </a:prstTxWarp>
          </a:bodyPr>
          <a:lstStyle>
            <a:lvl1pPr>
              <a:defRPr sz="11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60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95963" y="6746875"/>
            <a:ext cx="4433887" cy="354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89599" tIns="44799" rIns="89599" bIns="44799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6C3BFAB-CFCD-4F5D-BC50-7DA49BC2770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56028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2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4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5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7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340100" y="531813"/>
            <a:ext cx="3551238" cy="2662237"/>
          </a:xfrm>
          <a:ln/>
        </p:spPr>
      </p:sp>
      <p:sp>
        <p:nvSpPr>
          <p:cNvPr id="11059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105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A5CF1C0-4EEF-4DF0-AB74-40835C800745}" type="slidenum">
              <a:rPr lang="ru-RU" smtClean="0">
                <a:solidFill>
                  <a:srgbClr val="000000"/>
                </a:solidFill>
              </a:rPr>
              <a:pPr/>
              <a:t>1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7"/>
          <p:cNvSpPr txBox="1">
            <a:spLocks noGrp="1" noChangeArrowheads="1"/>
          </p:cNvSpPr>
          <p:nvPr/>
        </p:nvSpPr>
        <p:spPr bwMode="auto">
          <a:xfrm>
            <a:off x="5794375" y="6745288"/>
            <a:ext cx="4433888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522" tIns="47261" rIns="94522" bIns="47261" anchor="b"/>
          <a:lstStyle/>
          <a:p>
            <a:pPr algn="r" defTabSz="912813"/>
            <a:fld id="{1259E487-4486-430E-8506-D67E103ABA44}" type="slidenum">
              <a:rPr lang="ru-RU" sz="1200">
                <a:solidFill>
                  <a:srgbClr val="000000"/>
                </a:solidFill>
              </a:rPr>
              <a:pPr algn="r" defTabSz="912813"/>
              <a:t>11</a:t>
            </a:fld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1208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343275" y="531813"/>
            <a:ext cx="3549650" cy="2662237"/>
          </a:xfrm>
          <a:ln/>
        </p:spPr>
      </p:sp>
      <p:sp>
        <p:nvSpPr>
          <p:cNvPr id="1208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22350" y="3373438"/>
            <a:ext cx="8186738" cy="3195637"/>
          </a:xfrm>
          <a:noFill/>
        </p:spPr>
        <p:txBody>
          <a:bodyPr lIns="94522" tIns="47261" rIns="94522" bIns="47261"/>
          <a:lstStyle/>
          <a:p>
            <a:pPr defTabSz="946150" eaLnBrk="1" hangingPunct="1"/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185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lnSpc>
                <a:spcPct val="90000"/>
              </a:lnSpc>
            </a:pPr>
            <a:endParaRPr lang="ru-RU" sz="1100" smtClean="0"/>
          </a:p>
        </p:txBody>
      </p:sp>
      <p:sp>
        <p:nvSpPr>
          <p:cNvPr id="12186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2A3B25F-31F2-414C-BD67-F953135449F6}" type="slidenum">
              <a:rPr lang="ru-RU" smtClean="0">
                <a:solidFill>
                  <a:srgbClr val="000000"/>
                </a:solidFill>
              </a:rPr>
              <a:pPr/>
              <a:t>12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88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228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5365B93-4800-4F0B-8ABD-4011EF85B3EA}" type="slidenum">
              <a:rPr lang="ru-RU" smtClean="0">
                <a:solidFill>
                  <a:srgbClr val="000000"/>
                </a:solidFill>
              </a:rPr>
              <a:pPr/>
              <a:t>13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39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smtClean="0"/>
              <a:t>Сверить нумерацию</a:t>
            </a:r>
          </a:p>
        </p:txBody>
      </p:sp>
      <p:sp>
        <p:nvSpPr>
          <p:cNvPr id="1239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D966811-25A7-49AE-B197-CD0D9304783F}" type="slidenum">
              <a:rPr lang="ru-RU" smtClean="0">
                <a:solidFill>
                  <a:srgbClr val="000000"/>
                </a:solidFill>
              </a:rPr>
              <a:pPr/>
              <a:t>14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49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249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1C3DD17-71A9-40F9-BC5F-822F512A081F}" type="slidenum">
              <a:rPr lang="ru-RU" smtClean="0">
                <a:solidFill>
                  <a:srgbClr val="000000"/>
                </a:solidFill>
              </a:rPr>
              <a:pPr/>
              <a:t>15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595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2595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426BB2A-1194-4EBD-ABA2-50FFDFD7A8F5}" type="slidenum">
              <a:rPr lang="ru-RU" smtClean="0">
                <a:solidFill>
                  <a:srgbClr val="000000"/>
                </a:solidFill>
              </a:rPr>
              <a:pPr/>
              <a:t>16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697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2698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5AD2961-8E7F-4771-8548-2D57E660D03F}" type="slidenum">
              <a:rPr lang="ru-RU" smtClean="0">
                <a:solidFill>
                  <a:srgbClr val="000000"/>
                </a:solidFill>
              </a:rPr>
              <a:pPr/>
              <a:t>17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800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2800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BBAD9BA-7FC0-4CEE-894F-3FE28F1997B2}" type="slidenum">
              <a:rPr lang="ru-RU" smtClean="0">
                <a:solidFill>
                  <a:srgbClr val="000000"/>
                </a:solidFill>
              </a:rPr>
              <a:pPr/>
              <a:t>19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902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2902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A6CB6FA-0F60-4A0B-98EC-5FC8F83A7DD9}" type="slidenum">
              <a:rPr lang="ru-RU" smtClean="0">
                <a:solidFill>
                  <a:srgbClr val="000000"/>
                </a:solidFill>
              </a:rPr>
              <a:pPr/>
              <a:t>20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005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300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068538F-6C3E-4A2A-AFBE-16F8F5980DD4}" type="slidenum">
              <a:rPr lang="ru-RU" smtClean="0">
                <a:solidFill>
                  <a:srgbClr val="000000"/>
                </a:solidFill>
              </a:rPr>
              <a:pPr/>
              <a:t>21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264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126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42D5CF0-EF34-4B1E-9AF3-17F8E2C56FB1}" type="slidenum">
              <a:rPr lang="ru-RU" smtClean="0">
                <a:solidFill>
                  <a:srgbClr val="000000"/>
                </a:solidFill>
              </a:rPr>
              <a:pPr/>
              <a:t>2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107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310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8BD66A4D-0354-476C-B5E0-8B8BCAE8CFCB}" type="slidenum">
              <a:rPr lang="ru-RU" smtClean="0">
                <a:solidFill>
                  <a:srgbClr val="000000"/>
                </a:solidFill>
              </a:rPr>
              <a:pPr/>
              <a:t>22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209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3210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FBB35DF-5276-4B47-B040-101596A07FBA}" type="slidenum">
              <a:rPr lang="ru-RU" smtClean="0">
                <a:solidFill>
                  <a:srgbClr val="000000"/>
                </a:solidFill>
              </a:rPr>
              <a:pPr/>
              <a:t>23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2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331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4763994-827B-4804-AD95-35AD450E5571}" type="slidenum">
              <a:rPr lang="ru-RU" smtClean="0">
                <a:solidFill>
                  <a:srgbClr val="000000"/>
                </a:solidFill>
              </a:rPr>
              <a:pPr/>
              <a:t>24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414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34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E1CC9320-B877-45D6-B220-B69A6DA44095}" type="slidenum">
              <a:rPr lang="ru-RU" smtClean="0">
                <a:solidFill>
                  <a:srgbClr val="000000"/>
                </a:solidFill>
              </a:rPr>
              <a:pPr/>
              <a:t>25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517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351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8EEA01F8-713A-4331-B091-9D0F61499763}" type="slidenum">
              <a:rPr lang="ru-RU" smtClean="0">
                <a:solidFill>
                  <a:srgbClr val="000000"/>
                </a:solidFill>
              </a:rPr>
              <a:pPr/>
              <a:t>26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029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4029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854ABC44-79BB-4305-B3E0-364FDC204C22}" type="slidenum">
              <a:rPr lang="ru-RU" smtClean="0">
                <a:solidFill>
                  <a:srgbClr val="000000"/>
                </a:solidFill>
              </a:rPr>
              <a:pPr/>
              <a:t>28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619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lnSpc>
                <a:spcPct val="90000"/>
              </a:lnSpc>
            </a:pPr>
            <a:endParaRPr lang="ru-RU" smtClean="0"/>
          </a:p>
        </p:txBody>
      </p:sp>
      <p:sp>
        <p:nvSpPr>
          <p:cNvPr id="136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91E9132-33A0-4B19-A6E0-CC29DD28C7F1}" type="slidenum">
              <a:rPr lang="ru-RU" smtClean="0">
                <a:solidFill>
                  <a:srgbClr val="000000"/>
                </a:solidFill>
              </a:rPr>
              <a:pPr/>
              <a:t>32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619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lnSpc>
                <a:spcPct val="90000"/>
              </a:lnSpc>
            </a:pPr>
            <a:endParaRPr lang="ru-RU" smtClean="0"/>
          </a:p>
        </p:txBody>
      </p:sp>
      <p:sp>
        <p:nvSpPr>
          <p:cNvPr id="1361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91E9132-33A0-4B19-A6E0-CC29DD28C7F1}" type="slidenum">
              <a:rPr lang="ru-RU" smtClean="0">
                <a:solidFill>
                  <a:srgbClr val="000000"/>
                </a:solidFill>
              </a:rPr>
              <a:pPr/>
              <a:t>33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029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4029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854ABC44-79BB-4305-B3E0-364FDC204C22}" type="slidenum">
              <a:rPr lang="ru-RU" smtClean="0">
                <a:solidFill>
                  <a:srgbClr val="000000"/>
                </a:solidFill>
              </a:rPr>
              <a:pPr/>
              <a:t>41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131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lnSpc>
                <a:spcPct val="90000"/>
              </a:lnSpc>
            </a:pPr>
            <a:endParaRPr lang="ru-RU" sz="1100" smtClean="0"/>
          </a:p>
        </p:txBody>
      </p:sp>
      <p:sp>
        <p:nvSpPr>
          <p:cNvPr id="14131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4B06E06-7A4E-4961-B3BA-99AE985FFED7}" type="slidenum">
              <a:rPr lang="ru-RU" smtClean="0">
                <a:solidFill>
                  <a:srgbClr val="000000"/>
                </a:solidFill>
              </a:rPr>
              <a:pPr/>
              <a:t>42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36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1366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884E55A-9A7D-4567-B4AF-FA6204782E07}" type="slidenum">
              <a:rPr lang="ru-RU" smtClean="0">
                <a:solidFill>
                  <a:srgbClr val="000000"/>
                </a:solidFill>
              </a:rPr>
              <a:pPr/>
              <a:t>3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233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4234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6C2295C-DC37-41F9-84FF-5B1C8696E732}" type="slidenum">
              <a:rPr lang="ru-RU" smtClean="0">
                <a:solidFill>
                  <a:srgbClr val="000000"/>
                </a:solidFill>
              </a:rPr>
              <a:pPr/>
              <a:t>44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6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lnSpc>
                <a:spcPct val="90000"/>
              </a:lnSpc>
            </a:pPr>
            <a:endParaRPr lang="ru-RU" sz="1100" smtClean="0"/>
          </a:p>
        </p:txBody>
      </p:sp>
      <p:sp>
        <p:nvSpPr>
          <p:cNvPr id="14336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4814C64-121B-4A3A-A3BD-8F30D4E74ACC}" type="slidenum">
              <a:rPr lang="ru-RU" smtClean="0">
                <a:solidFill>
                  <a:srgbClr val="000000"/>
                </a:solidFill>
              </a:rPr>
              <a:pPr/>
              <a:t>45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373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2C0AE41-453E-4252-9B6F-805541CAA07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1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CE066D9-DFC5-47AB-9350-1BB7071F1844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2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8DD0BFB-3C91-4C8B-9358-7A4E68A915EF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3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68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7512A11-1589-4B69-99CD-096E677EEE41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4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>
                <a:cs typeface="Arial" pitchFamily="34" charset="0"/>
              </a:rPr>
              <a:t>См. выше</a:t>
            </a:r>
          </a:p>
        </p:txBody>
      </p:sp>
      <p:sp>
        <p:nvSpPr>
          <p:cNvPr id="59395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B77D8F3F-E540-4ADC-9F96-D4C62948A604}" type="slidenum">
              <a:rPr lang="ru-RU" smtClean="0"/>
              <a:pPr>
                <a:defRPr/>
              </a:pPr>
              <a:t>55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951817E-1C6F-4B4F-B14B-F286D69C5AA6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6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340100" y="531813"/>
            <a:ext cx="3551238" cy="2662237"/>
          </a:xfrm>
          <a:ln/>
        </p:spPr>
      </p:sp>
      <p:sp>
        <p:nvSpPr>
          <p:cNvPr id="15360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5360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C0D1219-2EDE-412E-9B39-A1FC2964C96B}" type="slidenum">
              <a:rPr lang="ru-RU" smtClean="0">
                <a:solidFill>
                  <a:srgbClr val="000000"/>
                </a:solidFill>
              </a:rPr>
              <a:pPr/>
              <a:t>57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340100" y="531813"/>
            <a:ext cx="3551238" cy="2662237"/>
          </a:xfrm>
          <a:ln/>
        </p:spPr>
      </p:sp>
      <p:sp>
        <p:nvSpPr>
          <p:cNvPr id="15360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5360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C0D1219-2EDE-412E-9B39-A1FC2964C96B}" type="slidenum">
              <a:rPr lang="ru-RU" smtClean="0">
                <a:solidFill>
                  <a:srgbClr val="000000"/>
                </a:solidFill>
              </a:rPr>
              <a:pPr/>
              <a:t>58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469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1469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35E63E1-4482-40BE-B74E-7954E1451603}" type="slidenum">
              <a:rPr lang="ru-RU" smtClean="0">
                <a:solidFill>
                  <a:srgbClr val="000000"/>
                </a:solidFill>
              </a:rPr>
              <a:pPr/>
              <a:t>4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defTabSz="895350"/>
            <a:endParaRPr lang="ru-RU" smtClean="0">
              <a:latin typeface="Verdana" pitchFamily="34" charset="0"/>
            </a:endParaRPr>
          </a:p>
        </p:txBody>
      </p:sp>
      <p:sp>
        <p:nvSpPr>
          <p:cNvPr id="11571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EED4FEB-C01A-4487-ADA3-0F694913B9DA}" type="slidenum">
              <a:rPr lang="ru-RU" smtClean="0">
                <a:solidFill>
                  <a:srgbClr val="000000"/>
                </a:solidFill>
              </a:rPr>
              <a:pPr/>
              <a:t>6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6739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1674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88EDA47-3433-47CD-AB05-6E73DB5C33FB}" type="slidenum">
              <a:rPr lang="ru-RU" smtClean="0">
                <a:solidFill>
                  <a:srgbClr val="000000"/>
                </a:solidFill>
              </a:rPr>
              <a:pPr/>
              <a:t>7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776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11776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E74BED8-67C5-48FD-8328-EA3DFD44F3C3}" type="slidenum">
              <a:rPr lang="ru-RU" smtClean="0">
                <a:solidFill>
                  <a:srgbClr val="000000"/>
                </a:solidFill>
              </a:rPr>
              <a:pPr/>
              <a:t>8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7"/>
          <p:cNvSpPr txBox="1">
            <a:spLocks noGrp="1" noChangeArrowheads="1"/>
          </p:cNvSpPr>
          <p:nvPr/>
        </p:nvSpPr>
        <p:spPr bwMode="auto">
          <a:xfrm>
            <a:off x="5794375" y="6745288"/>
            <a:ext cx="4433888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522" tIns="47261" rIns="94522" bIns="47261" anchor="b"/>
          <a:lstStyle/>
          <a:p>
            <a:pPr algn="r" defTabSz="912813"/>
            <a:fld id="{025AEF80-18E2-4417-BAD7-BD990A75F436}" type="slidenum">
              <a:rPr lang="ru-RU" sz="1200">
                <a:solidFill>
                  <a:srgbClr val="000000"/>
                </a:solidFill>
              </a:rPr>
              <a:pPr algn="r" defTabSz="912813"/>
              <a:t>9</a:t>
            </a:fld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1187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343275" y="531813"/>
            <a:ext cx="3549650" cy="2662237"/>
          </a:xfrm>
          <a:ln/>
        </p:spPr>
      </p:sp>
      <p:sp>
        <p:nvSpPr>
          <p:cNvPr id="1187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22350" y="3373438"/>
            <a:ext cx="8186738" cy="3195637"/>
          </a:xfrm>
          <a:noFill/>
        </p:spPr>
        <p:txBody>
          <a:bodyPr lIns="94522" tIns="47261" rIns="94522" bIns="47261"/>
          <a:lstStyle/>
          <a:p>
            <a:pPr defTabSz="946150" eaLnBrk="1" hangingPunct="1"/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Rectangle 7"/>
          <p:cNvSpPr txBox="1">
            <a:spLocks noGrp="1" noChangeArrowheads="1"/>
          </p:cNvSpPr>
          <p:nvPr/>
        </p:nvSpPr>
        <p:spPr bwMode="auto">
          <a:xfrm>
            <a:off x="5794375" y="6745288"/>
            <a:ext cx="4433888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522" tIns="47261" rIns="94522" bIns="47261" anchor="b"/>
          <a:lstStyle/>
          <a:p>
            <a:pPr algn="r" defTabSz="912813"/>
            <a:fld id="{96EDA4AB-522D-4877-8035-0EE1204FB421}" type="slidenum">
              <a:rPr lang="ru-RU" sz="1200">
                <a:solidFill>
                  <a:srgbClr val="000000"/>
                </a:solidFill>
              </a:rPr>
              <a:pPr algn="r" defTabSz="912813"/>
              <a:t>10</a:t>
            </a:fld>
            <a:endParaRPr lang="ru-RU" sz="1200">
              <a:solidFill>
                <a:srgbClr val="000000"/>
              </a:solidFill>
            </a:endParaRPr>
          </a:p>
        </p:txBody>
      </p:sp>
      <p:sp>
        <p:nvSpPr>
          <p:cNvPr id="1198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343275" y="531813"/>
            <a:ext cx="3549650" cy="2662237"/>
          </a:xfrm>
          <a:ln/>
        </p:spPr>
      </p:sp>
      <p:sp>
        <p:nvSpPr>
          <p:cNvPr id="1198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22350" y="3373438"/>
            <a:ext cx="8186738" cy="3195637"/>
          </a:xfrm>
          <a:noFill/>
        </p:spPr>
        <p:txBody>
          <a:bodyPr lIns="94522" tIns="47261" rIns="94522" bIns="47261"/>
          <a:lstStyle/>
          <a:p>
            <a:pPr defTabSz="946150" eaLnBrk="1" hangingPunct="1"/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FB87906-9A54-402B-A6BE-542FD798F6E8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06022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448134-BEAE-47BA-8744-FB7D936FDB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2023BF-5B0A-44A5-85BD-80CA323D58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72F47-00B3-4CEF-B4A3-7CAF6F7EC72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45A214-3598-48F8-9210-C21D92FC58B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DEE9CA-1B61-4D68-BFAD-987E9F6A010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272104-F510-4C22-B6F1-18407CFE10E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7E6604-55BA-43FF-AC27-23660C8227C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ADF7B8-B0A9-46EE-8207-8A6DC491AF2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5586B7-3C05-437C-B19D-09D0B10967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5DF321-4846-4AFF-BF33-22BD26DAC4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E9826-28F1-4D3A-8DF1-1AE8FB23ACC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C05179-5070-4954-ABE7-D2E8AFBFFD1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7FB054-6DD5-470B-8AA5-911066F677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86F17C-05C0-4177-B12B-23BDF26277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E7666C-523D-4B2D-8E3C-2EEFDFE481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A8F64-E4D6-4EC9-88BB-47D59DC783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959F7-6F9B-4809-86F5-137A1350247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6F9BBF-DD4D-481A-A0A4-BB36E3EA867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B9A696-5C12-419C-AB38-BE3F515E47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0590CF-40BC-4E7C-9AC8-8ABCCA8E1C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346DC8-7DCB-4EA9-B809-985389BAF6A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0054BC-097F-41D4-BBE6-323B6EEE7B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A108E7-4B44-45F7-BDEA-9066B68A25D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13EC0C-1E68-4E76-B71B-00841298C7C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52E88E-D972-4AD3-B10F-85E4111537B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D5B8EA-08F2-4616-BC9D-14B779B3C7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86D6C-D8AE-43D6-BB5C-C28C1C4751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0DAC8B-A408-4139-8B19-323D04D1A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57C53F-2F6F-4AE5-8980-581406E6D29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482A69-D507-4404-AEFC-FDB930390CF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4273F6-A6ED-4353-B0A2-59FD46FFC51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9441F8-A04C-45B8-A341-D84F2015DE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EAD2A4-D5EC-41D3-80AE-5189E42461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9422EC-0C99-403B-9DC8-D63701E817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7AB77-4932-45ED-AA34-C588325139E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68FB23-23BE-42C9-B930-E56F1DAA377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3E8711-5182-4C6B-B419-091DE6E798B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3A21D-115E-40CC-9E21-BADDC674BEF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261963-0322-4BA9-BA33-877766B575D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0ED88D-D211-4590-A12B-9E3B1C13E4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5BF163-F2E9-44A0-8A1B-105EF4F846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A38BFE-9DC1-4A1E-A18B-7E5C4D85DD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1E5222-8564-4BBF-AEC3-CAC30F7378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AF4C18-E680-4A25-BEDA-CE93B96E69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2574D1-8159-4A03-A1F1-846D849B4F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1294B3-7538-4102-8B03-217064677D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A9EDEC-1F40-4CE8-AF46-BB1B219AE2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740A0-19D7-4744-98A6-9EADCF1257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66CF2B-8031-4703-AF28-AC9F1D3FA9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4A49B0-C153-4EF9-AA87-4F0A5D5018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F9C5A9-F4E4-419C-96C2-4BA18D453D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11D3CD-1579-417F-B3BA-64F60BCEFC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4895B3-63E8-4D90-85BF-CF79E951D4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754D9-6D0D-4F45-9DA3-B6A02D3518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8302FA-B006-4445-87B4-8AE0B893F6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389AFE-7530-48C2-B6C8-CDC7400884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EE91EC-3737-4BA4-8399-78CD6B7B4F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E376DA-423D-4A85-B25C-09B01D8CF4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3320A2-B6A1-46A9-8F6E-413E439B42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1C23E8-A3C3-4680-A11C-DE1E70F3D8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3A2CB0-1E0B-44C6-8B7E-99BAF9426A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5CAD63-0E6F-4713-8CBB-A308D6DBBD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8069FF-CCE7-4848-8C37-D366F26E62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734188-1182-4254-88C4-F87DE088FC0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6385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372961-07B9-4B4F-A05F-572BA916AB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450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E4F7D0-D8DB-46BD-A1F9-DCEC7553F2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CDC789-0558-45E5-B2CD-3FC51F9F3B4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19720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8C0284-FD79-411D-A52F-952B55F2642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9532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70871D-6361-4779-A51D-7C8942F5724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43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852563-3322-4624-BB36-89EC76255C3B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9360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40D54E-ACFB-4320-ACC7-38CE245EDA7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0737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AFCD37-5D4A-4E78-905D-D1A7BA899EF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6006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3762CF-FE42-4AE5-ADCE-F871163BF42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7031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81910-C918-4DFB-A3D1-ED0782B1810F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4698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CFA6DF-8851-4881-B3F4-6E4AF7340C6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07959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542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45383B-5E85-4FF1-84EC-91B23C13E1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546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5389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2510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9833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6573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6250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0223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08480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2448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/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8F7908-6DE1-45C5-9644-D415B6419A61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4553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DE443-3E60-42E6-A28E-6CB2CD722D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831013" y="65198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017C4-8620-465B-BAC4-18A6A73D1665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pt-PT" dirty="0">
              <a:solidFill>
                <a:prstClr val="black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 rot="-180000">
            <a:off x="168275" y="261938"/>
            <a:ext cx="8799513" cy="935037"/>
          </a:xfrm>
        </p:spPr>
        <p:txBody>
          <a:bodyPr/>
          <a:lstStyle/>
          <a:p>
            <a:r>
              <a:rPr lang="pt-PT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318194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831013" y="65198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017C4-8620-465B-BAC4-18A6A73D1665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pt-PT" dirty="0">
              <a:solidFill>
                <a:prstClr val="black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 rot="-180000">
            <a:off x="168275" y="261938"/>
            <a:ext cx="8799513" cy="935037"/>
          </a:xfrm>
        </p:spPr>
        <p:txBody>
          <a:bodyPr/>
          <a:lstStyle/>
          <a:p>
            <a:r>
              <a:rPr lang="pt-PT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621702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pt-PT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403648" y="1600200"/>
            <a:ext cx="7560840" cy="4709120"/>
          </a:xfrm>
        </p:spPr>
        <p:txBody>
          <a:bodyPr>
            <a:normAutofit/>
          </a:bodyPr>
          <a:lstStyle>
            <a:lvl1pPr marL="0" indent="0">
              <a:buClr>
                <a:schemeClr val="accent1"/>
              </a:buClr>
              <a:buNone/>
              <a:defRPr sz="2200"/>
            </a:lvl1pPr>
            <a:lvl2pPr marL="538163" indent="-285750">
              <a:buClr>
                <a:schemeClr val="accent1"/>
              </a:buClr>
              <a:buFont typeface="Arial" pitchFamily="34" charset="0"/>
              <a:buChar char="•"/>
              <a:defRPr sz="2200"/>
            </a:lvl2pPr>
            <a:lvl3pPr marL="906463" indent="-228600">
              <a:buClr>
                <a:schemeClr val="accent1"/>
              </a:buClr>
              <a:buFont typeface="Verdana" pitchFamily="34" charset="0"/>
              <a:buChar char="–"/>
              <a:defRPr sz="2200"/>
            </a:lvl3pPr>
            <a:lvl4pPr marL="1346200" indent="-228600">
              <a:buClr>
                <a:schemeClr val="accent1"/>
              </a:buClr>
              <a:buFont typeface="Arial" pitchFamily="34" charset="0"/>
              <a:buChar char="•"/>
              <a:defRPr sz="2200"/>
            </a:lvl4pPr>
            <a:lvl5pPr marL="1700213" indent="-342900">
              <a:buClr>
                <a:schemeClr val="accent1"/>
              </a:buClr>
              <a:buFont typeface="Verdana" pitchFamily="34" charset="0"/>
              <a:buChar char="–"/>
              <a:defRPr sz="2200"/>
            </a:lvl5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pt-PT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64E7FB-1FD2-408E-A08D-643A9554E6F1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pt-P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4143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mtClean="0"/>
              <a:t>Click to edit Master title style</a:t>
            </a:r>
            <a:endParaRPr lang="pt-PT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403648" y="1600200"/>
            <a:ext cx="7560840" cy="4709120"/>
          </a:xfrm>
        </p:spPr>
        <p:txBody>
          <a:bodyPr>
            <a:normAutofit/>
          </a:bodyPr>
          <a:lstStyle>
            <a:lvl1pPr marL="0" indent="0">
              <a:buClr>
                <a:schemeClr val="accent1"/>
              </a:buClr>
              <a:buNone/>
              <a:defRPr sz="2200"/>
            </a:lvl1pPr>
            <a:lvl2pPr marL="538163" indent="-285750">
              <a:buClr>
                <a:schemeClr val="accent1"/>
              </a:buClr>
              <a:buFont typeface="Arial" pitchFamily="34" charset="0"/>
              <a:buChar char="•"/>
              <a:defRPr sz="2200"/>
            </a:lvl2pPr>
            <a:lvl3pPr marL="906463" indent="-228600">
              <a:buClr>
                <a:schemeClr val="accent1"/>
              </a:buClr>
              <a:buFont typeface="Verdana" pitchFamily="34" charset="0"/>
              <a:buChar char="–"/>
              <a:defRPr sz="2200"/>
            </a:lvl3pPr>
            <a:lvl4pPr marL="1346200" indent="-228600">
              <a:buClr>
                <a:schemeClr val="accent1"/>
              </a:buClr>
              <a:buFont typeface="Arial" pitchFamily="34" charset="0"/>
              <a:buChar char="•"/>
              <a:defRPr sz="2200"/>
            </a:lvl4pPr>
            <a:lvl5pPr marL="1700213" indent="-342900">
              <a:buClr>
                <a:schemeClr val="accent1"/>
              </a:buClr>
              <a:buFont typeface="Verdana" pitchFamily="34" charset="0"/>
              <a:buChar char="–"/>
              <a:defRPr sz="2200"/>
            </a:lvl5pPr>
          </a:lstStyle>
          <a:p>
            <a:pPr lvl="0"/>
            <a:r>
              <a:rPr lang="pt-PT" smtClean="0"/>
              <a:t>Click to edit Master text styles</a:t>
            </a:r>
          </a:p>
          <a:p>
            <a:pPr lvl="1"/>
            <a:r>
              <a:rPr lang="pt-PT" smtClean="0"/>
              <a:t>Second level</a:t>
            </a:r>
          </a:p>
          <a:p>
            <a:pPr lvl="2"/>
            <a:r>
              <a:rPr lang="pt-PT" smtClean="0"/>
              <a:t>Third level</a:t>
            </a:r>
          </a:p>
          <a:p>
            <a:pPr lvl="3"/>
            <a:r>
              <a:rPr lang="pt-PT" smtClean="0"/>
              <a:t>Fourth level</a:t>
            </a:r>
          </a:p>
          <a:p>
            <a:pPr lvl="4"/>
            <a:r>
              <a:rPr lang="pt-PT" smtClean="0"/>
              <a:t>Fifth level</a:t>
            </a:r>
            <a:endParaRPr lang="pt-PT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E2D3EC-2A00-40E2-A6A6-CE7994BCBFC6}" type="slidenum">
              <a:rPr lang="pt-PT" smtClean="0">
                <a:solidFill>
                  <a:srgbClr val="272F3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pt-PT" dirty="0">
              <a:solidFill>
                <a:srgbClr val="272F3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7471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6831013" y="65198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017C4-8620-465B-BAC4-18A6A73D1665}" type="slidenum">
              <a:rPr lang="pt-PT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pt-PT" dirty="0">
              <a:solidFill>
                <a:prstClr val="black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 rot="-180000">
            <a:off x="168275" y="261938"/>
            <a:ext cx="8799513" cy="935037"/>
          </a:xfrm>
        </p:spPr>
        <p:txBody>
          <a:bodyPr/>
          <a:lstStyle/>
          <a:p>
            <a:r>
              <a:rPr lang="pt-PT" smtClean="0"/>
              <a:t>Click to edit Master title sty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729834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4.xml"/><Relationship Id="rId3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7.xml"/><Relationship Id="rId6" Type="http://schemas.openxmlformats.org/officeDocument/2006/relationships/slideLayout" Target="../slideLayouts/slideLayout18.xml"/><Relationship Id="rId7" Type="http://schemas.openxmlformats.org/officeDocument/2006/relationships/slideLayout" Target="../slideLayouts/slideLayout19.xml"/><Relationship Id="rId8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1.xml"/><Relationship Id="rId8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2.xml"/><Relationship Id="rId8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9.xml"/><Relationship Id="rId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3.xml"/><Relationship Id="rId8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6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8.xml"/><Relationship Id="rId12" Type="http://schemas.openxmlformats.org/officeDocument/2006/relationships/theme" Target="../theme/theme7.xml"/><Relationship Id="rId1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9.xml"/><Relationship Id="rId3" Type="http://schemas.openxmlformats.org/officeDocument/2006/relationships/slideLayout" Target="../slideLayouts/slideLayout70.xml"/><Relationship Id="rId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4.xml"/><Relationship Id="rId8" Type="http://schemas.openxmlformats.org/officeDocument/2006/relationships/slideLayout" Target="../slideLayouts/slideLayout75.xml"/><Relationship Id="rId9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7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7.xml"/><Relationship Id="rId20" Type="http://schemas.openxmlformats.org/officeDocument/2006/relationships/image" Target="../media/image3.png"/><Relationship Id="rId21" Type="http://schemas.openxmlformats.org/officeDocument/2006/relationships/image" Target="../media/image4.png"/><Relationship Id="rId10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94.xml"/><Relationship Id="rId17" Type="http://schemas.openxmlformats.org/officeDocument/2006/relationships/theme" Target="../theme/theme8.xml"/><Relationship Id="rId18" Type="http://schemas.openxmlformats.org/officeDocument/2006/relationships/image" Target="../media/image1.png"/><Relationship Id="rId19" Type="http://schemas.openxmlformats.org/officeDocument/2006/relationships/image" Target="../media/image2.png"/><Relationship Id="rId1" Type="http://schemas.openxmlformats.org/officeDocument/2006/relationships/slideLayout" Target="../slideLayouts/slideLayout79.xml"/><Relationship Id="rId2" Type="http://schemas.openxmlformats.org/officeDocument/2006/relationships/slideLayout" Target="../slideLayouts/slideLayout80.xml"/><Relationship Id="rId3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5.xml"/><Relationship Id="rId8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47AB"/>
            </a:gs>
            <a:gs pos="20000">
              <a:srgbClr val="0047AB"/>
            </a:gs>
            <a:gs pos="21000">
              <a:schemeClr val="bg1"/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FB87906-9A54-402B-A6BE-542FD798F6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3" r:id="rId1"/>
    <p:sldLayoutId id="2147484284" r:id="rId2"/>
    <p:sldLayoutId id="2147484285" r:id="rId3"/>
    <p:sldLayoutId id="2147484286" r:id="rId4"/>
    <p:sldLayoutId id="2147484287" r:id="rId5"/>
    <p:sldLayoutId id="2147484288" r:id="rId6"/>
    <p:sldLayoutId id="2147484289" r:id="rId7"/>
    <p:sldLayoutId id="2147484290" r:id="rId8"/>
    <p:sldLayoutId id="2147484291" r:id="rId9"/>
    <p:sldLayoutId id="2147484292" r:id="rId10"/>
    <p:sldLayoutId id="2147484293" r:id="rId11"/>
    <p:sldLayoutId id="2147484294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47AB"/>
            </a:gs>
            <a:gs pos="20000">
              <a:srgbClr val="0047AB"/>
            </a:gs>
            <a:gs pos="21000">
              <a:schemeClr val="bg1"/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036D37D-6141-4971-8BB7-2CA8A4A4DC1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3" r:id="rId9"/>
    <p:sldLayoutId id="2147484304" r:id="rId10"/>
    <p:sldLayoutId id="2147484305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47AB"/>
            </a:gs>
            <a:gs pos="20000">
              <a:srgbClr val="0047AB"/>
            </a:gs>
            <a:gs pos="21000">
              <a:schemeClr val="bg1"/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409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2C574DF-0276-4ADE-9B7F-ABC3DAB169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308" r:id="rId3"/>
    <p:sldLayoutId id="2147484309" r:id="rId4"/>
    <p:sldLayoutId id="2147484310" r:id="rId5"/>
    <p:sldLayoutId id="2147484311" r:id="rId6"/>
    <p:sldLayoutId id="2147484312" r:id="rId7"/>
    <p:sldLayoutId id="2147484313" r:id="rId8"/>
    <p:sldLayoutId id="2147484314" r:id="rId9"/>
    <p:sldLayoutId id="2147484315" r:id="rId10"/>
    <p:sldLayoutId id="2147484316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47AB"/>
            </a:gs>
            <a:gs pos="20000">
              <a:srgbClr val="0047AB"/>
            </a:gs>
            <a:gs pos="21000">
              <a:schemeClr val="bg1"/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14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495ED47-69E0-40D1-B93C-F608D5BBD77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8" r:id="rId1"/>
    <p:sldLayoutId id="2147484329" r:id="rId2"/>
    <p:sldLayoutId id="2147484330" r:id="rId3"/>
    <p:sldLayoutId id="2147484331" r:id="rId4"/>
    <p:sldLayoutId id="2147484332" r:id="rId5"/>
    <p:sldLayoutId id="2147484333" r:id="rId6"/>
    <p:sldLayoutId id="2147484334" r:id="rId7"/>
    <p:sldLayoutId id="2147484335" r:id="rId8"/>
    <p:sldLayoutId id="2147484336" r:id="rId9"/>
    <p:sldLayoutId id="2147484337" r:id="rId10"/>
    <p:sldLayoutId id="2147484338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47AB"/>
            </a:gs>
            <a:gs pos="20000">
              <a:srgbClr val="0047AB"/>
            </a:gs>
            <a:gs pos="21000">
              <a:schemeClr val="bg1"/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717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0" sz="1200">
                <a:solidFill>
                  <a:prstClr val="black">
                    <a:tint val="75000"/>
                  </a:prst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0" sz="1200">
                <a:solidFill>
                  <a:prstClr val="black">
                    <a:tint val="75000"/>
                  </a:prst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kumimoji="0" sz="12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3D627E9-2ECA-4204-81D3-1E077EB2C8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41" r:id="rId3"/>
    <p:sldLayoutId id="2147484342" r:id="rId4"/>
    <p:sldLayoutId id="2147484343" r:id="rId5"/>
    <p:sldLayoutId id="2147484344" r:id="rId6"/>
    <p:sldLayoutId id="2147484345" r:id="rId7"/>
    <p:sldLayoutId id="2147484346" r:id="rId8"/>
    <p:sldLayoutId id="2147484347" r:id="rId9"/>
    <p:sldLayoutId id="2147484348" r:id="rId10"/>
    <p:sldLayoutId id="2147484349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47AB"/>
            </a:gs>
            <a:gs pos="20000">
              <a:srgbClr val="0047AB"/>
            </a:gs>
            <a:gs pos="21000">
              <a:schemeClr val="bg1"/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19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kumimoji="0" sz="1200">
                <a:solidFill>
                  <a:prstClr val="black">
                    <a:tint val="75000"/>
                  </a:prst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kumimoji="0" sz="1200">
                <a:solidFill>
                  <a:prstClr val="black">
                    <a:tint val="75000"/>
                  </a:prstClr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kumimoji="0" sz="1200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073BDD4-B227-430A-9FB7-C62351B2C5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0" r:id="rId1"/>
    <p:sldLayoutId id="2147484351" r:id="rId2"/>
    <p:sldLayoutId id="2147484352" r:id="rId3"/>
    <p:sldLayoutId id="2147484353" r:id="rId4"/>
    <p:sldLayoutId id="2147484354" r:id="rId5"/>
    <p:sldLayoutId id="2147484355" r:id="rId6"/>
    <p:sldLayoutId id="2147484356" r:id="rId7"/>
    <p:sldLayoutId id="2147484357" r:id="rId8"/>
    <p:sldLayoutId id="2147484358" r:id="rId9"/>
    <p:sldLayoutId id="2147484359" r:id="rId10"/>
    <p:sldLayoutId id="2147484360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47AB"/>
            </a:gs>
            <a:gs pos="20000">
              <a:srgbClr val="0047AB"/>
            </a:gs>
            <a:gs pos="21000">
              <a:schemeClr val="bg1"/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A5BAC8C-A692-4E0D-8E79-B3ECA746E3E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075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  <p:sldLayoutId id="2147484366" r:id="rId5"/>
    <p:sldLayoutId id="2147484367" r:id="rId6"/>
    <p:sldLayoutId id="2147484368" r:id="rId7"/>
    <p:sldLayoutId id="2147484369" r:id="rId8"/>
    <p:sldLayoutId id="2147484370" r:id="rId9"/>
    <p:sldLayoutId id="2147484371" r:id="rId10"/>
    <p:sldLayoutId id="2147484372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D5BF62F-0BE0-4B68-94F7-F4194C6ECD03}" type="datetimeFigureOut">
              <a:rPr lang="en-GB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7.02.1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08F7908-6DE1-45C5-9644-D415B6419A61}" type="slidenum">
              <a:rPr lang="en-GB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Rectangle 46"/>
          <p:cNvSpPr txBox="1">
            <a:spLocks noChangeArrowheads="1"/>
          </p:cNvSpPr>
          <p:nvPr userDrawn="1"/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2C6DA72-F670-47E4-A135-52CB64839D6E}" type="slidenum">
              <a:rPr lang="en-GB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6410378"/>
            <a:ext cx="9144000" cy="447621"/>
          </a:xfrm>
          <a:prstGeom prst="rect">
            <a:avLst/>
          </a:prstGeom>
          <a:solidFill>
            <a:srgbClr val="002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381328"/>
            <a:ext cx="9144000" cy="0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9" y="6484051"/>
            <a:ext cx="1296144" cy="30027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424" y="6410379"/>
            <a:ext cx="636427" cy="447620"/>
          </a:xfrm>
          <a:prstGeom prst="rect">
            <a:avLst/>
          </a:prstGeom>
        </p:spPr>
      </p:pic>
      <p:pic>
        <p:nvPicPr>
          <p:cNvPr id="12" name="Picture 19" descr="ASMOK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6435056"/>
            <a:ext cx="1296144" cy="37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Изображение 2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1" y="6429414"/>
            <a:ext cx="1512168" cy="41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9" descr="ASMOK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6435056"/>
            <a:ext cx="1296144" cy="37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641089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75" r:id="rId1"/>
    <p:sldLayoutId id="2147484376" r:id="rId2"/>
    <p:sldLayoutId id="2147484377" r:id="rId3"/>
    <p:sldLayoutId id="2147484378" r:id="rId4"/>
    <p:sldLayoutId id="2147484379" r:id="rId5"/>
    <p:sldLayoutId id="2147484380" r:id="rId6"/>
    <p:sldLayoutId id="2147484381" r:id="rId7"/>
    <p:sldLayoutId id="2147484382" r:id="rId8"/>
    <p:sldLayoutId id="2147484383" r:id="rId9"/>
    <p:sldLayoutId id="2147484384" r:id="rId10"/>
    <p:sldLayoutId id="2147484385" r:id="rId11"/>
    <p:sldLayoutId id="2147484386" r:id="rId12"/>
    <p:sldLayoutId id="2147484387" r:id="rId13"/>
    <p:sldLayoutId id="2147484388" r:id="rId14"/>
    <p:sldLayoutId id="2147484389" r:id="rId15"/>
    <p:sldLayoutId id="2147484390" r:id="rId16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68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Relationship Id="rId2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Relationship Id="rId2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47.xml"/><Relationship Id="rId2" Type="http://schemas.openxmlformats.org/officeDocument/2006/relationships/diagramData" Target="../diagrams/data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2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18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2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2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2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1" Type="http://schemas.openxmlformats.org/officeDocument/2006/relationships/slideLayout" Target="../slideLayouts/slideLayout60.xml"/><Relationship Id="rId2" Type="http://schemas.openxmlformats.org/officeDocument/2006/relationships/diagramData" Target="../diagrams/data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6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image" Target="../media/image20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28.xml"/></Relationships>
</file>

<file path=ppt/slides/_rels/slide42.xml.rels><?xml version="1.0" encoding="UTF-8" standalone="yes"?>
<Relationships xmlns="http://schemas.openxmlformats.org/package/2006/relationships"><Relationship Id="rId20" Type="http://schemas.openxmlformats.org/officeDocument/2006/relationships/image" Target="../media/image38.jpeg"/><Relationship Id="rId21" Type="http://schemas.openxmlformats.org/officeDocument/2006/relationships/image" Target="../media/image39.jpeg"/><Relationship Id="rId22" Type="http://schemas.openxmlformats.org/officeDocument/2006/relationships/image" Target="../media/image40.jpeg"/><Relationship Id="rId23" Type="http://schemas.openxmlformats.org/officeDocument/2006/relationships/image" Target="../media/image41.jpeg"/><Relationship Id="rId24" Type="http://schemas.openxmlformats.org/officeDocument/2006/relationships/image" Target="../media/image42.png"/><Relationship Id="rId25" Type="http://schemas.openxmlformats.org/officeDocument/2006/relationships/image" Target="../media/image43.png"/><Relationship Id="rId26" Type="http://schemas.openxmlformats.org/officeDocument/2006/relationships/image" Target="../media/image44.png"/><Relationship Id="rId27" Type="http://schemas.openxmlformats.org/officeDocument/2006/relationships/image" Target="../media/image45.jpeg"/><Relationship Id="rId28" Type="http://schemas.openxmlformats.org/officeDocument/2006/relationships/image" Target="../media/image46.png"/><Relationship Id="rId29" Type="http://schemas.openxmlformats.org/officeDocument/2006/relationships/image" Target="../media/image47.jpeg"/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29.xml"/><Relationship Id="rId3" Type="http://schemas.openxmlformats.org/officeDocument/2006/relationships/image" Target="../media/image21.png"/><Relationship Id="rId4" Type="http://schemas.openxmlformats.org/officeDocument/2006/relationships/image" Target="../media/image22.jpeg"/><Relationship Id="rId5" Type="http://schemas.openxmlformats.org/officeDocument/2006/relationships/image" Target="../media/image23.jpeg"/><Relationship Id="rId30" Type="http://schemas.openxmlformats.org/officeDocument/2006/relationships/image" Target="../media/image48.png"/><Relationship Id="rId31" Type="http://schemas.openxmlformats.org/officeDocument/2006/relationships/image" Target="../media/image49.png"/><Relationship Id="rId32" Type="http://schemas.openxmlformats.org/officeDocument/2006/relationships/image" Target="../media/image50.jpeg"/><Relationship Id="rId9" Type="http://schemas.openxmlformats.org/officeDocument/2006/relationships/image" Target="../media/image27.jpeg"/><Relationship Id="rId6" Type="http://schemas.openxmlformats.org/officeDocument/2006/relationships/image" Target="../media/image24.jpeg"/><Relationship Id="rId7" Type="http://schemas.openxmlformats.org/officeDocument/2006/relationships/image" Target="../media/image25.jpeg"/><Relationship Id="rId8" Type="http://schemas.openxmlformats.org/officeDocument/2006/relationships/image" Target="../media/image26.jpeg"/><Relationship Id="rId33" Type="http://schemas.openxmlformats.org/officeDocument/2006/relationships/image" Target="../media/image51.png"/><Relationship Id="rId34" Type="http://schemas.openxmlformats.org/officeDocument/2006/relationships/image" Target="../media/image52.jpeg"/><Relationship Id="rId10" Type="http://schemas.openxmlformats.org/officeDocument/2006/relationships/image" Target="../media/image28.jpeg"/><Relationship Id="rId11" Type="http://schemas.openxmlformats.org/officeDocument/2006/relationships/image" Target="../media/image29.jpeg"/><Relationship Id="rId12" Type="http://schemas.openxmlformats.org/officeDocument/2006/relationships/image" Target="../media/image30.jpeg"/><Relationship Id="rId13" Type="http://schemas.openxmlformats.org/officeDocument/2006/relationships/image" Target="../media/image31.jpeg"/><Relationship Id="rId14" Type="http://schemas.openxmlformats.org/officeDocument/2006/relationships/image" Target="../media/image32.jpeg"/><Relationship Id="rId15" Type="http://schemas.openxmlformats.org/officeDocument/2006/relationships/image" Target="../media/image33.jpeg"/><Relationship Id="rId16" Type="http://schemas.openxmlformats.org/officeDocument/2006/relationships/image" Target="../media/image34.jpeg"/><Relationship Id="rId17" Type="http://schemas.openxmlformats.org/officeDocument/2006/relationships/image" Target="../media/image35.jpeg"/><Relationship Id="rId18" Type="http://schemas.openxmlformats.org/officeDocument/2006/relationships/image" Target="../media/image36.jpeg"/><Relationship Id="rId19" Type="http://schemas.openxmlformats.org/officeDocument/2006/relationships/image" Target="../media/image37.jpe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image" Target="../media/image53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4" Type="http://schemas.openxmlformats.org/officeDocument/2006/relationships/image" Target="../media/image55.jpeg"/><Relationship Id="rId5" Type="http://schemas.openxmlformats.org/officeDocument/2006/relationships/image" Target="../media/image56.jpeg"/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3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4" Type="http://schemas.openxmlformats.org/officeDocument/2006/relationships/image" Target="../media/image58.png"/><Relationship Id="rId5" Type="http://schemas.openxmlformats.org/officeDocument/2006/relationships/image" Target="../media/image59.png"/><Relationship Id="rId6" Type="http://schemas.openxmlformats.org/officeDocument/2006/relationships/image" Target="../media/image60.png"/><Relationship Id="rId1" Type="http://schemas.openxmlformats.org/officeDocument/2006/relationships/slideLayout" Target="../slideLayouts/slideLayout47.xml"/><Relationship Id="rId2" Type="http://schemas.openxmlformats.org/officeDocument/2006/relationships/notesSlide" Target="../notesSlides/notesSlide3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4" Type="http://schemas.openxmlformats.org/officeDocument/2006/relationships/diagramQuickStyle" Target="../diagrams/quickStyle4.xml"/><Relationship Id="rId5" Type="http://schemas.openxmlformats.org/officeDocument/2006/relationships/diagramColors" Target="../diagrams/colors4.xml"/><Relationship Id="rId6" Type="http://schemas.microsoft.com/office/2007/relationships/diagramDrawing" Target="../diagrams/drawing4.xml"/><Relationship Id="rId1" Type="http://schemas.openxmlformats.org/officeDocument/2006/relationships/slideLayout" Target="../slideLayouts/slideLayout47.xml"/><Relationship Id="rId2" Type="http://schemas.openxmlformats.org/officeDocument/2006/relationships/diagramData" Target="../diagrams/data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image" Target="../media/image61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image" Target="../media/image6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image" Target="../media/image7.jpeg"/><Relationship Id="rId3" Type="http://schemas.openxmlformats.org/officeDocument/2006/relationships/image" Target="../media/image8.jpe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image" Target="../media/image6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5.jpeg"/><Relationship Id="rId5" Type="http://schemas.openxmlformats.org/officeDocument/2006/relationships/image" Target="../media/image66.jpeg"/><Relationship Id="rId6" Type="http://schemas.openxmlformats.org/officeDocument/2006/relationships/image" Target="../media/image67.jpeg"/><Relationship Id="rId7" Type="http://schemas.openxmlformats.org/officeDocument/2006/relationships/image" Target="../media/image68.png"/><Relationship Id="rId8" Type="http://schemas.openxmlformats.org/officeDocument/2006/relationships/image" Target="../media/image69.jpeg"/><Relationship Id="rId9" Type="http://schemas.openxmlformats.org/officeDocument/2006/relationships/image" Target="../media/image70.jpeg"/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3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8.png"/><Relationship Id="rId5" Type="http://schemas.openxmlformats.org/officeDocument/2006/relationships/image" Target="../media/image71.jpeg"/><Relationship Id="rId6" Type="http://schemas.openxmlformats.org/officeDocument/2006/relationships/image" Target="../media/image72.jpeg"/><Relationship Id="rId7" Type="http://schemas.openxmlformats.org/officeDocument/2006/relationships/image" Target="../media/image73.jpeg"/><Relationship Id="rId8" Type="http://schemas.openxmlformats.org/officeDocument/2006/relationships/image" Target="../media/image74.jpeg"/><Relationship Id="rId9" Type="http://schemas.openxmlformats.org/officeDocument/2006/relationships/image" Target="../media/image75.jpeg"/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33.xml"/></Relationships>
</file>

<file path=ppt/slides/_rels/slide5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3.jpeg"/><Relationship Id="rId12" Type="http://schemas.openxmlformats.org/officeDocument/2006/relationships/image" Target="../media/image68.png"/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34.xml"/><Relationship Id="rId3" Type="http://schemas.openxmlformats.org/officeDocument/2006/relationships/image" Target="../media/image64.png"/><Relationship Id="rId4" Type="http://schemas.openxmlformats.org/officeDocument/2006/relationships/image" Target="../media/image76.jpeg"/><Relationship Id="rId5" Type="http://schemas.openxmlformats.org/officeDocument/2006/relationships/image" Target="../media/image77.jpeg"/><Relationship Id="rId6" Type="http://schemas.openxmlformats.org/officeDocument/2006/relationships/image" Target="../media/image78.jpeg"/><Relationship Id="rId7" Type="http://schemas.openxmlformats.org/officeDocument/2006/relationships/image" Target="../media/image79.jpeg"/><Relationship Id="rId8" Type="http://schemas.openxmlformats.org/officeDocument/2006/relationships/image" Target="../media/image80.jpeg"/><Relationship Id="rId9" Type="http://schemas.openxmlformats.org/officeDocument/2006/relationships/image" Target="../media/image81.png"/><Relationship Id="rId10" Type="http://schemas.openxmlformats.org/officeDocument/2006/relationships/image" Target="../media/image82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8.png"/><Relationship Id="rId5" Type="http://schemas.openxmlformats.org/officeDocument/2006/relationships/image" Target="../media/image84.jpeg"/><Relationship Id="rId6" Type="http://schemas.openxmlformats.org/officeDocument/2006/relationships/image" Target="../media/image85.png"/><Relationship Id="rId7" Type="http://schemas.openxmlformats.org/officeDocument/2006/relationships/image" Target="../media/image86.jpeg"/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3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8.png"/><Relationship Id="rId5" Type="http://schemas.openxmlformats.org/officeDocument/2006/relationships/image" Target="../media/image87.png"/><Relationship Id="rId1" Type="http://schemas.openxmlformats.org/officeDocument/2006/relationships/slideLayout" Target="../slideLayouts/slideLayout52.xml"/><Relationship Id="rId2" Type="http://schemas.openxmlformats.org/officeDocument/2006/relationships/notesSlide" Target="../notesSlides/notesSlide3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8.png"/><Relationship Id="rId5" Type="http://schemas.openxmlformats.org/officeDocument/2006/relationships/image" Target="../media/image88.png"/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3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3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35.xml"/><Relationship Id="rId2" Type="http://schemas.openxmlformats.org/officeDocument/2006/relationships/notesSlide" Target="../notesSlides/notesSlide3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Relationship Id="rId2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47AB"/>
            </a:gs>
            <a:gs pos="46000">
              <a:srgbClr val="0054D0"/>
            </a:gs>
            <a:gs pos="100000">
              <a:srgbClr val="0047AB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Заголовок 1"/>
          <p:cNvSpPr>
            <a:spLocks noGrp="1"/>
          </p:cNvSpPr>
          <p:nvPr>
            <p:ph type="ctrTitle"/>
          </p:nvPr>
        </p:nvSpPr>
        <p:spPr>
          <a:xfrm>
            <a:off x="539552" y="1268761"/>
            <a:ext cx="8423275" cy="4104456"/>
          </a:xfrm>
        </p:spPr>
        <p:txBody>
          <a:bodyPr/>
          <a:lstStyle/>
          <a:p>
            <a:r>
              <a:rPr lang="ru-RU" sz="3600" b="1" dirty="0">
                <a:solidFill>
                  <a:schemeClr val="bg1"/>
                </a:solidFill>
              </a:rPr>
              <a:t>Развитие </a:t>
            </a:r>
            <a:r>
              <a:rPr lang="ru-RU" sz="3600" b="1" dirty="0" smtClean="0">
                <a:solidFill>
                  <a:schemeClr val="bg1"/>
                </a:solidFill>
              </a:rPr>
              <a:t>непрерывного медицинского образования в Российской Федерации.</a:t>
            </a:r>
            <a:r>
              <a:rPr lang="ru-RU" sz="3600" b="1" dirty="0">
                <a:solidFill>
                  <a:schemeClr val="bg1"/>
                </a:solidFill>
              </a:rPr>
              <a:t> </a:t>
            </a:r>
            <a:r>
              <a:rPr lang="ru-RU" sz="3600" b="1" dirty="0" smtClean="0">
                <a:solidFill>
                  <a:schemeClr val="bg1"/>
                </a:solidFill>
              </a:rPr>
              <a:t>Пилотный проект по внедрению НМО в Российской Федерации</a:t>
            </a:r>
            <a:endParaRPr lang="ru-RU" sz="3600" dirty="0">
              <a:solidFill>
                <a:schemeClr val="bg1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0" y="-458788"/>
            <a:ext cx="9144000" cy="1565276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1835697" y="116632"/>
            <a:ext cx="978795" cy="972000"/>
          </a:xfrm>
          <a:prstGeom prst="roundRect">
            <a:avLst/>
          </a:prstGeom>
          <a:noFill/>
          <a:ln>
            <a:noFill/>
          </a:ln>
          <a:extLst/>
        </p:spPr>
      </p:pic>
      <p:pic>
        <p:nvPicPr>
          <p:cNvPr id="36869" name="Picture 19" descr="ASMOK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725" y="242888"/>
            <a:ext cx="24638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70" name="Rectangle 2"/>
          <p:cNvSpPr txBox="1">
            <a:spLocks noChangeArrowheads="1"/>
          </p:cNvSpPr>
          <p:nvPr/>
        </p:nvSpPr>
        <p:spPr bwMode="auto">
          <a:xfrm>
            <a:off x="2886075" y="249238"/>
            <a:ext cx="219075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400" b="1">
                <a:solidFill>
                  <a:srgbClr val="0070C0"/>
                </a:solidFill>
                <a:latin typeface="Verdana" pitchFamily="34" charset="0"/>
              </a:rPr>
              <a:t>НАЦИОНАЛЬНАЯ МЕДИЦИНСКАЯ ПАЛАТ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0" y="6005349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b="1" dirty="0" err="1" smtClean="0">
                <a:solidFill>
                  <a:prstClr val="white"/>
                </a:solidFill>
              </a:rPr>
              <a:t>Балкизов</a:t>
            </a:r>
            <a:r>
              <a:rPr lang="ru-RU" sz="2400" b="1" dirty="0" smtClean="0">
                <a:solidFill>
                  <a:prstClr val="white"/>
                </a:solidFill>
              </a:rPr>
              <a:t> </a:t>
            </a:r>
            <a:r>
              <a:rPr lang="ru-RU" sz="2400" b="1" dirty="0" err="1" smtClean="0">
                <a:solidFill>
                  <a:prstClr val="white"/>
                </a:solidFill>
              </a:rPr>
              <a:t>Залим</a:t>
            </a:r>
            <a:r>
              <a:rPr lang="ru-RU" sz="2400" b="1" dirty="0" smtClean="0">
                <a:solidFill>
                  <a:prstClr val="white"/>
                </a:solidFill>
              </a:rPr>
              <a:t> </a:t>
            </a:r>
            <a:r>
              <a:rPr lang="ru-RU" sz="2400" b="1" dirty="0" err="1" smtClean="0">
                <a:solidFill>
                  <a:prstClr val="white"/>
                </a:solidFill>
              </a:rPr>
              <a:t>Замирович</a:t>
            </a:r>
            <a:endParaRPr lang="ru-RU" sz="2000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6385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4"/>
          <p:cNvSpPr>
            <a:spLocks noChangeArrowheads="1"/>
          </p:cNvSpPr>
          <p:nvPr/>
        </p:nvSpPr>
        <p:spPr bwMode="auto">
          <a:xfrm>
            <a:off x="971550" y="1125538"/>
            <a:ext cx="80295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/>
          <a:lstStyle/>
          <a:p>
            <a:pPr defTabSz="912813">
              <a:spcAft>
                <a:spcPct val="35000"/>
              </a:spcAft>
            </a:pPr>
            <a:endParaRPr lang="en-US" sz="2200" b="1">
              <a:solidFill>
                <a:srgbClr val="0000FF"/>
              </a:solidFill>
              <a:latin typeface="Verdana" pitchFamily="34" charset="0"/>
            </a:endParaRPr>
          </a:p>
        </p:txBody>
      </p:sp>
      <p:sp>
        <p:nvSpPr>
          <p:cNvPr id="47107" name="Rectangle 5"/>
          <p:cNvSpPr>
            <a:spLocks noChangeArrowheads="1"/>
          </p:cNvSpPr>
          <p:nvPr/>
        </p:nvSpPr>
        <p:spPr bwMode="auto">
          <a:xfrm>
            <a:off x="979488" y="2055813"/>
            <a:ext cx="7707312" cy="324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>
            <a:spAutoFit/>
          </a:bodyPr>
          <a:lstStyle/>
          <a:p>
            <a:pPr defTabSz="912813">
              <a:spcAft>
                <a:spcPts val="600"/>
              </a:spcAft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Статья 76. Профессиональные некоммерческие организации, создаваемые медицинскими работниками и фармацевтическими работниками</a:t>
            </a:r>
            <a:endParaRPr lang="en-US" sz="2000" b="1">
              <a:solidFill>
                <a:srgbClr val="000000"/>
              </a:solidFill>
              <a:latin typeface="Calibri" pitchFamily="34" charset="0"/>
            </a:endParaRPr>
          </a:p>
          <a:p>
            <a:pPr defTabSz="912813"/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Профессиональные некоммерческие организации могут</a:t>
            </a:r>
            <a:r>
              <a:rPr lang="en-US" sz="2000" b="1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в установленном законодательством Российской Федерации </a:t>
            </a:r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порядке</a:t>
            </a:r>
            <a:r>
              <a:rPr lang="ru-RU" sz="2000" u="sng">
                <a:solidFill>
                  <a:srgbClr val="FF0000"/>
                </a:solidFill>
                <a:latin typeface="Calibri" pitchFamily="34" charset="0"/>
              </a:rPr>
              <a:t> 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принимать участие в разработке … </a:t>
            </a:r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программ подготовки и повышения квалификации 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медицинских работников и фармацевтических работников, принимать участие в аттестации медицинских работников и фармацевтических работников для получения ими квалификационных категорий.</a:t>
            </a:r>
          </a:p>
        </p:txBody>
      </p:sp>
      <p:sp>
        <p:nvSpPr>
          <p:cNvPr id="47108" name="Rectangle 13"/>
          <p:cNvSpPr>
            <a:spLocks noChangeArrowheads="1"/>
          </p:cNvSpPr>
          <p:nvPr/>
        </p:nvSpPr>
        <p:spPr bwMode="auto">
          <a:xfrm>
            <a:off x="0" y="0"/>
            <a:ext cx="9144000" cy="140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1" tIns="45697" rIns="91391" bIns="45697" anchor="ctr"/>
          <a:lstStyle/>
          <a:p>
            <a:pPr algn="ctr" defTabSz="912813"/>
            <a:r>
              <a:rPr lang="ru-RU" sz="3600" b="1" dirty="0">
                <a:solidFill>
                  <a:srgbClr val="FFFFFF"/>
                </a:solidFill>
                <a:latin typeface="Calibri" pitchFamily="34" charset="0"/>
              </a:rPr>
              <a:t>323-ФЗ «Об основах охраны здоровья граждан в РФ» от 21.11.2011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75576" y="2168880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4"/>
          <p:cNvSpPr>
            <a:spLocks noChangeArrowheads="1"/>
          </p:cNvSpPr>
          <p:nvPr/>
        </p:nvSpPr>
        <p:spPr bwMode="auto">
          <a:xfrm>
            <a:off x="971550" y="1125538"/>
            <a:ext cx="80295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/>
          <a:lstStyle/>
          <a:p>
            <a:pPr defTabSz="912813">
              <a:spcAft>
                <a:spcPct val="35000"/>
              </a:spcAft>
            </a:pPr>
            <a:endParaRPr lang="en-US" sz="2200" b="1">
              <a:solidFill>
                <a:srgbClr val="0000FF"/>
              </a:solidFill>
              <a:latin typeface="Verdana" pitchFamily="34" charset="0"/>
            </a:endParaRPr>
          </a:p>
        </p:txBody>
      </p:sp>
      <p:sp>
        <p:nvSpPr>
          <p:cNvPr id="48131" name="Rectangle 5"/>
          <p:cNvSpPr>
            <a:spLocks noChangeArrowheads="1"/>
          </p:cNvSpPr>
          <p:nvPr/>
        </p:nvSpPr>
        <p:spPr bwMode="auto">
          <a:xfrm>
            <a:off x="827088" y="1628775"/>
            <a:ext cx="8208962" cy="5075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>
            <a:spAutoFit/>
          </a:bodyPr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2100" b="1" dirty="0">
                <a:solidFill>
                  <a:srgbClr val="C00000"/>
                </a:solidFill>
                <a:latin typeface="Calibri" pitchFamily="34" charset="0"/>
              </a:rPr>
              <a:t>Содержание, сроки и длительность обучения 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по Программам устанавливается организацией, осуществляющей образовательную деятельность, </a:t>
            </a:r>
            <a:r>
              <a:rPr lang="ru-RU" sz="2100" b="1" dirty="0">
                <a:solidFill>
                  <a:srgbClr val="C00000"/>
                </a:solidFill>
                <a:latin typeface="Calibri" pitchFamily="34" charset="0"/>
              </a:rPr>
              <a:t>в соответствии с типовой программой 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(статья</a:t>
            </a:r>
            <a:r>
              <a:rPr lang="en-US" sz="2100" dirty="0">
                <a:solidFill>
                  <a:srgbClr val="000000"/>
                </a:solidFill>
                <a:latin typeface="Calibri" pitchFamily="34" charset="0"/>
              </a:rPr>
              <a:t> 8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2</a:t>
            </a:r>
            <a:r>
              <a:rPr lang="en-US" sz="2100" dirty="0">
                <a:solidFill>
                  <a:srgbClr val="000000"/>
                </a:solidFill>
                <a:latin typeface="Calibri" pitchFamily="34" charset="0"/>
              </a:rPr>
              <a:t>)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.</a:t>
            </a:r>
            <a:br>
              <a:rPr lang="ru-RU" sz="2100" dirty="0">
                <a:solidFill>
                  <a:srgbClr val="000000"/>
                </a:solidFill>
                <a:latin typeface="Calibri" pitchFamily="34" charset="0"/>
              </a:rPr>
            </a:br>
            <a:endParaRPr lang="ru-RU" sz="2100" dirty="0">
              <a:solidFill>
                <a:srgbClr val="000000"/>
              </a:solidFill>
              <a:latin typeface="Calibri" pitchFamily="34" charset="0"/>
            </a:endParaRP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Обучение может осуществляться посредством освоения отдельных </a:t>
            </a:r>
            <a:r>
              <a:rPr lang="ru-RU" sz="2100" b="1" dirty="0">
                <a:solidFill>
                  <a:srgbClr val="C00000"/>
                </a:solidFill>
                <a:latin typeface="Calibri" pitchFamily="34" charset="0"/>
              </a:rPr>
              <a:t>учебных курсов, предметов, дисциплин, модулей, прохождения практик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, а также посредством </a:t>
            </a:r>
            <a:r>
              <a:rPr lang="ru-RU" sz="2100" b="1" dirty="0">
                <a:solidFill>
                  <a:srgbClr val="000000"/>
                </a:solidFill>
                <a:latin typeface="Calibri" pitchFamily="34" charset="0"/>
              </a:rPr>
              <a:t>сетевых форм обучения 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(статья 82).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В организации учебного процесса может быть предусмотрена </a:t>
            </a:r>
            <a:r>
              <a:rPr lang="ru-RU" sz="2100" b="1" dirty="0">
                <a:solidFill>
                  <a:srgbClr val="C00000"/>
                </a:solidFill>
                <a:latin typeface="Calibri" pitchFamily="34" charset="0"/>
              </a:rPr>
              <a:t>кредитно-модульная  система 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(статья 13).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В обучении при всех формах могут использоваться </a:t>
            </a:r>
            <a:r>
              <a:rPr lang="ru-RU" sz="2100" b="1" dirty="0">
                <a:solidFill>
                  <a:srgbClr val="C00000"/>
                </a:solidFill>
                <a:latin typeface="Calibri" pitchFamily="34" charset="0"/>
              </a:rPr>
              <a:t>дистанционные образовательные технологии и электронное обучение 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(статья 16).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Контроль качества обучения могут осуществлять объединения профессиональных организаций (ассоциаций) и работодателей путём проведения </a:t>
            </a:r>
            <a:r>
              <a:rPr lang="ru-RU" sz="2100" b="1" dirty="0">
                <a:solidFill>
                  <a:srgbClr val="C00000"/>
                </a:solidFill>
                <a:latin typeface="Calibri" pitchFamily="34" charset="0"/>
              </a:rPr>
              <a:t>профессионально-общественной аккредитации </a:t>
            </a:r>
            <a:r>
              <a:rPr lang="ru-RU" sz="2100" dirty="0">
                <a:solidFill>
                  <a:srgbClr val="000000"/>
                </a:solidFill>
                <a:latin typeface="Calibri" pitchFamily="34" charset="0"/>
              </a:rPr>
              <a:t>(статья 96).</a:t>
            </a:r>
          </a:p>
        </p:txBody>
      </p:sp>
      <p:sp>
        <p:nvSpPr>
          <p:cNvPr id="48132" name="Rectangle 13"/>
          <p:cNvSpPr>
            <a:spLocks noChangeArrowheads="1"/>
          </p:cNvSpPr>
          <p:nvPr/>
        </p:nvSpPr>
        <p:spPr bwMode="auto">
          <a:xfrm>
            <a:off x="0" y="0"/>
            <a:ext cx="9144000" cy="140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1" tIns="45697" rIns="91391" bIns="45697" anchor="ctr"/>
          <a:lstStyle/>
          <a:p>
            <a:pPr algn="ctr" defTabSz="912813"/>
            <a:r>
              <a:rPr lang="ru-RU" sz="3600" b="1">
                <a:solidFill>
                  <a:srgbClr val="FFFFFF"/>
                </a:solidFill>
                <a:latin typeface="Calibri" pitchFamily="34" charset="0"/>
              </a:rPr>
              <a:t>Федеральный закон ФЗ-273 от 22 декабря 2012 г. «Об образовании в РФ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47630" y="1700808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47630" y="2996952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47630" y="4025589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47630" y="4761168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47630" y="5517232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7638"/>
          </a:xfrm>
        </p:spPr>
        <p:txBody>
          <a:bodyPr/>
          <a:lstStyle/>
          <a:p>
            <a:pPr eaLnBrk="1" hangingPunct="1"/>
            <a:r>
              <a:rPr kumimoji="0" lang="ru-RU" sz="3600" b="1" smtClean="0">
                <a:solidFill>
                  <a:schemeClr val="bg1"/>
                </a:solidFill>
              </a:rPr>
              <a:t>Предпосылки для развития НМО</a:t>
            </a:r>
          </a:p>
        </p:txBody>
      </p:sp>
      <p:sp>
        <p:nvSpPr>
          <p:cNvPr id="49155" name="Rectangle 5"/>
          <p:cNvSpPr>
            <a:spLocks noChangeArrowheads="1"/>
          </p:cNvSpPr>
          <p:nvPr/>
        </p:nvSpPr>
        <p:spPr bwMode="auto">
          <a:xfrm>
            <a:off x="395288" y="1773238"/>
            <a:ext cx="8208962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>
            <a:spAutoFit/>
          </a:bodyPr>
          <a:lstStyle/>
          <a:p>
            <a:pPr marL="628650" indent="-260350" defTabSz="912813">
              <a:spcBef>
                <a:spcPts val="1200"/>
              </a:spcBef>
              <a:spcAft>
                <a:spcPts val="600"/>
              </a:spcAft>
            </a:pPr>
            <a:r>
              <a:rPr lang="ru-RU" sz="2500" b="1">
                <a:solidFill>
                  <a:srgbClr val="C00000"/>
                </a:solidFill>
                <a:latin typeface="Calibri" pitchFamily="34" charset="0"/>
              </a:rPr>
              <a:t>Готовность</a:t>
            </a:r>
            <a:r>
              <a:rPr lang="ru-RU" sz="2500">
                <a:solidFill>
                  <a:srgbClr val="000000"/>
                </a:solidFill>
                <a:latin typeface="Calibri" pitchFamily="34" charset="0"/>
              </a:rPr>
              <a:t> Национальной медицинской палаты и профессиональных медицинских организаций по специальностям к реализации обучения по программам повышения квалификации</a:t>
            </a:r>
          </a:p>
          <a:p>
            <a:pPr marL="628650" indent="-260350" defTabSz="912813">
              <a:spcBef>
                <a:spcPts val="1200"/>
              </a:spcBef>
              <a:spcAft>
                <a:spcPts val="600"/>
              </a:spcAft>
            </a:pPr>
            <a:r>
              <a:rPr lang="ru-RU" sz="2500" b="1">
                <a:solidFill>
                  <a:srgbClr val="C00000"/>
                </a:solidFill>
                <a:latin typeface="Calibri" pitchFamily="34" charset="0"/>
              </a:rPr>
              <a:t>Начало работ по информатизации </a:t>
            </a:r>
            <a:r>
              <a:rPr lang="ru-RU" sz="2500">
                <a:solidFill>
                  <a:srgbClr val="000000"/>
                </a:solidFill>
                <a:latin typeface="Calibri" pitchFamily="34" charset="0"/>
              </a:rPr>
              <a:t>здравоохранения и наличие пилотных проектов в этой области</a:t>
            </a:r>
          </a:p>
          <a:p>
            <a:pPr marL="628650" indent="-260350" defTabSz="912813">
              <a:spcBef>
                <a:spcPts val="1200"/>
              </a:spcBef>
              <a:spcAft>
                <a:spcPts val="600"/>
              </a:spcAft>
            </a:pPr>
            <a:r>
              <a:rPr lang="ru-RU" sz="2500" b="1">
                <a:solidFill>
                  <a:srgbClr val="C00000"/>
                </a:solidFill>
                <a:latin typeface="Calibri" pitchFamily="34" charset="0"/>
              </a:rPr>
              <a:t>Наличие отечественных решений</a:t>
            </a:r>
            <a:r>
              <a:rPr lang="ru-RU" sz="2500">
                <a:solidFill>
                  <a:srgbClr val="000000"/>
                </a:solidFill>
                <a:latin typeface="Calibri" pitchFamily="34" charset="0"/>
              </a:rPr>
              <a:t>: электронных библиотечных систем, учебно-методических комплектов и программных комплексов для реализации «образовательной среды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31560" y="1916832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1560" y="3661998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31560" y="4653136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47AB"/>
            </a:gs>
            <a:gs pos="46000">
              <a:srgbClr val="0054D0"/>
            </a:gs>
            <a:gs pos="100000">
              <a:srgbClr val="0047AB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2751063"/>
            <a:ext cx="9144000" cy="1974081"/>
          </a:xfrm>
          <a:extLst/>
        </p:spPr>
        <p:txBody>
          <a:bodyPr/>
          <a:lstStyle/>
          <a:p>
            <a:pPr marL="539750" indent="-539750" eaLnBrk="1" hangingPunct="1">
              <a:defRPr/>
            </a:pPr>
            <a:r>
              <a:rPr kumimoji="0" lang="ru-RU" sz="4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. </a:t>
            </a:r>
            <a:r>
              <a:rPr kumimoji="0" lang="ru-RU" sz="40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ринципы </a:t>
            </a:r>
            <a:r>
              <a:rPr kumimoji="0" lang="ru-RU" sz="4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развития НМО</a:t>
            </a:r>
            <a:endParaRPr kumimoji="0" lang="ru-RU" sz="5400" b="1" cap="small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+mj-ea"/>
              <a:cs typeface="+mj-c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524" y="4065588"/>
            <a:ext cx="8568952" cy="0"/>
          </a:xfrm>
          <a:prstGeom prst="line">
            <a:avLst/>
          </a:prstGeom>
          <a:ln w="38100" cap="rnd" cmpd="sng">
            <a:solidFill>
              <a:srgbClr val="C00000"/>
            </a:solidFill>
          </a:ln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bg1"/>
            </a:contourClr>
          </a:sp3d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eaLnBrk="1" hangingPunct="1"/>
            <a:r>
              <a:rPr kumimoji="0" lang="ru-RU" sz="5400" b="1" smtClean="0">
                <a:solidFill>
                  <a:schemeClr val="bg1"/>
                </a:solidFill>
              </a:rPr>
              <a:t>Принципы развития НМО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07950" y="1484784"/>
            <a:ext cx="8964613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Использование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отечественного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опыта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Гармонизация с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международными 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нормами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Партнерство с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профессиональными 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организациями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C00000"/>
                </a:solidFill>
                <a:latin typeface="Calibri" pitchFamily="34" charset="0"/>
              </a:rPr>
              <a:t>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Комплексность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обучения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2800" dirty="0" err="1">
                <a:solidFill>
                  <a:srgbClr val="000000"/>
                </a:solidFill>
                <a:latin typeface="Calibri" pitchFamily="34" charset="0"/>
              </a:rPr>
              <a:t>Персонифицированность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,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непрерывность и контроль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Удобство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для врача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Применение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инновационных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технологий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Высокое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качество</a:t>
            </a:r>
            <a:endParaRPr lang="ru-RU" sz="2800" dirty="0">
              <a:solidFill>
                <a:srgbClr val="000000"/>
              </a:solidFill>
              <a:latin typeface="Calibri" pitchFamily="34" charset="0"/>
            </a:endParaRP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Независимость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образования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Система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мотивации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к обучению</a:t>
            </a:r>
          </a:p>
          <a:p>
            <a:pPr marL="449263" indent="-449263">
              <a:spcBef>
                <a:spcPts val="300"/>
              </a:spcBef>
              <a:buClr>
                <a:srgbClr val="C00000"/>
              </a:buClr>
              <a:buFont typeface="Calibri" pitchFamily="34" charset="0"/>
              <a:buAutoNum type="arabicPeriod"/>
            </a:pP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2800" b="1" dirty="0">
                <a:solidFill>
                  <a:srgbClr val="C00000"/>
                </a:solidFill>
                <a:latin typeface="Calibri" pitchFamily="34" charset="0"/>
              </a:rPr>
              <a:t>Бесплатность</a:t>
            </a:r>
            <a:r>
              <a:rPr lang="ru-RU" sz="2800" dirty="0">
                <a:solidFill>
                  <a:srgbClr val="000000"/>
                </a:solidFill>
                <a:latin typeface="Calibri" pitchFamily="34" charset="0"/>
              </a:rPr>
              <a:t> для работников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трелка вправо 18"/>
          <p:cNvSpPr>
            <a:spLocks noChangeArrowheads="1"/>
          </p:cNvSpPr>
          <p:nvPr/>
        </p:nvSpPr>
        <p:spPr bwMode="auto">
          <a:xfrm>
            <a:off x="5964238" y="2628900"/>
            <a:ext cx="1628775" cy="439738"/>
          </a:xfrm>
          <a:prstGeom prst="rightArrow">
            <a:avLst>
              <a:gd name="adj1" fmla="val 50000"/>
              <a:gd name="adj2" fmla="val 50004"/>
            </a:avLst>
          </a:prstGeom>
          <a:solidFill>
            <a:srgbClr val="984807"/>
          </a:solidFill>
          <a:ln w="38100">
            <a:noFill/>
            <a:round/>
            <a:headEnd/>
            <a:tailEnd/>
          </a:ln>
          <a:effectLst>
            <a:outerShdw dist="27940" dir="5400000" algn="ctr" rotWithShape="0">
              <a:srgbClr val="808080">
                <a:alpha val="31999"/>
              </a:srgbClr>
            </a:outerShdw>
          </a:effectLst>
        </p:spPr>
        <p:txBody>
          <a:bodyPr lIns="75232" tIns="37617" rIns="75232" bIns="37617" anchor="ctr"/>
          <a:lstStyle/>
          <a:p>
            <a:pPr algn="ctr" defTabSz="751691">
              <a:defRPr/>
            </a:pPr>
            <a:endParaRPr lang="ru-RU" b="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6627" name="Стрелка вправо 19"/>
          <p:cNvSpPr>
            <a:spLocks noChangeArrowheads="1"/>
          </p:cNvSpPr>
          <p:nvPr/>
        </p:nvSpPr>
        <p:spPr bwMode="auto">
          <a:xfrm>
            <a:off x="6372225" y="5608638"/>
            <a:ext cx="1220788" cy="439737"/>
          </a:xfrm>
          <a:prstGeom prst="rightArrow">
            <a:avLst>
              <a:gd name="adj1" fmla="val 50000"/>
              <a:gd name="adj2" fmla="val 49997"/>
            </a:avLst>
          </a:prstGeom>
          <a:solidFill>
            <a:srgbClr val="C00000"/>
          </a:solidFill>
          <a:ln w="38100">
            <a:noFill/>
            <a:round/>
            <a:headEnd/>
            <a:tailEnd/>
          </a:ln>
          <a:effectLst>
            <a:outerShdw dist="27940" dir="5400000" algn="ctr" rotWithShape="0">
              <a:srgbClr val="808080">
                <a:alpha val="31998"/>
              </a:srgbClr>
            </a:outerShdw>
          </a:effectLst>
        </p:spPr>
        <p:txBody>
          <a:bodyPr lIns="75232" tIns="37617" rIns="75232" bIns="37617"/>
          <a:lstStyle/>
          <a:p>
            <a:pPr algn="ctr" defTabSz="750888">
              <a:defRPr/>
            </a:pPr>
            <a:endParaRPr lang="ru-RU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228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kumimoji="0" lang="ru-RU" sz="3600" b="1" smtClean="0">
                <a:solidFill>
                  <a:schemeClr val="bg1"/>
                </a:solidFill>
              </a:rPr>
              <a:t>Принцип 1. Сохранение и развитие</a:t>
            </a:r>
            <a:br>
              <a:rPr kumimoji="0" lang="ru-RU" sz="3600" b="1" smtClean="0">
                <a:solidFill>
                  <a:schemeClr val="bg1"/>
                </a:solidFill>
              </a:rPr>
            </a:br>
            <a:r>
              <a:rPr kumimoji="0" lang="ru-RU" sz="3600" b="1" smtClean="0">
                <a:solidFill>
                  <a:schemeClr val="bg1"/>
                </a:solidFill>
              </a:rPr>
              <a:t>лучшего отечественного опыта</a:t>
            </a:r>
            <a:endParaRPr kumimoji="0" lang="ru-RU" sz="2800" b="1" smtClean="0">
              <a:solidFill>
                <a:schemeClr val="bg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 flipH="1">
            <a:off x="179508" y="5383671"/>
            <a:ext cx="2935535" cy="135769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5232" tIns="37617" rIns="75232" bIns="37617" anchor="ctr"/>
          <a:lstStyle/>
          <a:p>
            <a:pPr algn="ctr" defTabSz="750888">
              <a:lnSpc>
                <a:spcPct val="90000"/>
              </a:lnSpc>
              <a:defRPr/>
            </a:pPr>
            <a:r>
              <a:rPr lang="ru-RU" sz="2800" b="1">
                <a:solidFill>
                  <a:srgbClr val="FFFFFF"/>
                </a:solidFill>
                <a:cs typeface="Arial" pitchFamily="34" charset="0"/>
              </a:rPr>
              <a:t>72-288 ч. </a:t>
            </a:r>
          </a:p>
          <a:p>
            <a:pPr algn="ctr" defTabSz="750888">
              <a:lnSpc>
                <a:spcPct val="90000"/>
              </a:lnSpc>
              <a:defRPr/>
            </a:pPr>
            <a:r>
              <a:rPr lang="ru-RU" sz="2800" b="1">
                <a:solidFill>
                  <a:srgbClr val="FFFFFF"/>
                </a:solidFill>
                <a:cs typeface="Arial" pitchFamily="34" charset="0"/>
              </a:rPr>
              <a:t>1 раз в 5 лет</a:t>
            </a:r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auto">
          <a:xfrm>
            <a:off x="7592821" y="1635502"/>
            <a:ext cx="1371667" cy="5105866"/>
          </a:xfrm>
          <a:prstGeom prst="roundRect">
            <a:avLst>
              <a:gd name="adj" fmla="val 16667"/>
            </a:avLst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wordArtVert" lIns="75232" tIns="37617" rIns="75232" bIns="37617" anchor="ctr"/>
          <a:lstStyle/>
          <a:p>
            <a:pPr algn="ctr" defTabSz="751691">
              <a:defRPr/>
            </a:pPr>
            <a:r>
              <a:rPr lang="ru-RU" sz="2400" b="1" dirty="0">
                <a:solidFill>
                  <a:srgbClr val="FFFFFF"/>
                </a:solidFill>
              </a:rPr>
              <a:t>АККРЕДИТАЦИЯ</a:t>
            </a:r>
          </a:p>
        </p:txBody>
      </p:sp>
      <p:sp>
        <p:nvSpPr>
          <p:cNvPr id="14" name="Скругленный прямоугольник 8"/>
          <p:cNvSpPr>
            <a:spLocks noChangeArrowheads="1"/>
          </p:cNvSpPr>
          <p:nvPr/>
        </p:nvSpPr>
        <p:spPr bwMode="auto">
          <a:xfrm flipH="1">
            <a:off x="3475086" y="5373216"/>
            <a:ext cx="2897114" cy="1357697"/>
          </a:xfrm>
          <a:prstGeom prst="roundRect">
            <a:avLst/>
          </a:prstGeom>
          <a:solidFill>
            <a:srgbClr val="C00000"/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5232" tIns="37617" rIns="75232" bIns="37617" anchor="ctr"/>
          <a:lstStyle/>
          <a:p>
            <a:pPr algn="ctr" defTabSz="750888">
              <a:defRPr/>
            </a:pP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0</a:t>
            </a: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ч. ежегодно</a:t>
            </a:r>
          </a:p>
          <a:p>
            <a:pPr algn="ctr" defTabSz="750888">
              <a:defRPr/>
            </a:pP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25</a:t>
            </a:r>
            <a:r>
              <a:rPr lang="en-US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0</a:t>
            </a: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ч. за 5 лет)</a:t>
            </a: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667672" y="1484783"/>
            <a:ext cx="5296294" cy="108000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5232" tIns="37617" rIns="75232" bIns="37617" anchor="ctr"/>
          <a:lstStyle/>
          <a:p>
            <a:pPr algn="ctr" defTabSz="750888">
              <a:defRPr/>
            </a:pPr>
            <a:r>
              <a:rPr lang="ru-RU" b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Высшее образование</a:t>
            </a:r>
            <a:br>
              <a:rPr lang="ru-RU" b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</a:br>
            <a:r>
              <a:rPr lang="ru-RU" b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(вуз 5-6 лет)</a:t>
            </a:r>
          </a:p>
        </p:txBody>
      </p:sp>
      <p:sp>
        <p:nvSpPr>
          <p:cNvPr id="26639" name="Выгнутая вверх стрелка 4"/>
          <p:cNvSpPr>
            <a:spLocks/>
          </p:cNvSpPr>
          <p:nvPr/>
        </p:nvSpPr>
        <p:spPr bwMode="auto">
          <a:xfrm rot="5400000" flipV="1">
            <a:off x="2688431" y="4663282"/>
            <a:ext cx="1101725" cy="792162"/>
          </a:xfrm>
          <a:custGeom>
            <a:avLst/>
            <a:gdLst>
              <a:gd name="T0" fmla="*/ 530145 w 447745"/>
              <a:gd name="T1" fmla="*/ 0 h 288212"/>
              <a:gd name="T2" fmla="*/ 2224161 w 447745"/>
              <a:gd name="T3" fmla="*/ 956525 h 288212"/>
              <a:gd name="T4" fmla="*/ 2710914 w 447745"/>
              <a:gd name="T5" fmla="*/ 956525 h 288212"/>
              <a:gd name="T6" fmla="*/ 2045836 w 447745"/>
              <a:gd name="T7" fmla="*/ 2177288 h 288212"/>
              <a:gd name="T8" fmla="*/ 677122 w 447745"/>
              <a:gd name="T9" fmla="*/ 956525 h 288212"/>
              <a:gd name="T10" fmla="*/ 1163875 w 447745"/>
              <a:gd name="T11" fmla="*/ 956525 h 2882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47745" h="288212" stroke="0" extrusionOk="0">
                <a:moveTo>
                  <a:pt x="337898" y="288212"/>
                </a:moveTo>
                <a:lnTo>
                  <a:pt x="111836" y="126617"/>
                </a:lnTo>
                <a:lnTo>
                  <a:pt x="192230" y="126617"/>
                </a:lnTo>
                <a:cubicBezTo>
                  <a:pt x="188184" y="105514"/>
                  <a:pt x="58374" y="0"/>
                  <a:pt x="87561" y="0"/>
                </a:cubicBezTo>
                <a:cubicBezTo>
                  <a:pt x="199676" y="0"/>
                  <a:pt x="304490" y="47433"/>
                  <a:pt x="367351" y="126617"/>
                </a:cubicBezTo>
                <a:lnTo>
                  <a:pt x="447745" y="126617"/>
                </a:lnTo>
                <a:lnTo>
                  <a:pt x="337898" y="288212"/>
                </a:lnTo>
                <a:close/>
              </a:path>
              <a:path w="447745" h="288212" stroke="0" extrusionOk="0">
                <a:moveTo>
                  <a:pt x="1" y="9845"/>
                </a:moveTo>
                <a:lnTo>
                  <a:pt x="0" y="9844"/>
                </a:lnTo>
                <a:lnTo>
                  <a:pt x="1" y="9845"/>
                </a:lnTo>
                <a:close/>
              </a:path>
              <a:path w="447745" h="288212" fill="none" extrusionOk="0">
                <a:moveTo>
                  <a:pt x="87561" y="0"/>
                </a:moveTo>
                <a:cubicBezTo>
                  <a:pt x="199676" y="0"/>
                  <a:pt x="304490" y="47433"/>
                  <a:pt x="367351" y="126617"/>
                </a:cubicBezTo>
                <a:lnTo>
                  <a:pt x="447745" y="126617"/>
                </a:lnTo>
                <a:lnTo>
                  <a:pt x="337898" y="288212"/>
                </a:lnTo>
                <a:lnTo>
                  <a:pt x="111836" y="126617"/>
                </a:lnTo>
                <a:lnTo>
                  <a:pt x="192230" y="126617"/>
                </a:lnTo>
              </a:path>
            </a:pathLst>
          </a:custGeom>
          <a:solidFill>
            <a:srgbClr val="C00000"/>
          </a:solidFill>
          <a:ln w="38100">
            <a:noFill/>
            <a:round/>
            <a:headEnd/>
            <a:tailEnd/>
          </a:ln>
          <a:effectLst>
            <a:outerShdw dist="27940" dir="5400000" algn="ctr" rotWithShape="0">
              <a:srgbClr val="000000">
                <a:alpha val="31998"/>
              </a:srgbClr>
            </a:outerShdw>
          </a:effectLst>
        </p:spPr>
        <p:txBody>
          <a:bodyPr lIns="82937" tIns="41469" rIns="82937" bIns="41469" anchor="ctr"/>
          <a:lstStyle/>
          <a:p>
            <a:pPr>
              <a:defRPr/>
            </a:pPr>
            <a:endParaRPr kumimoji="1" lang="ru-RU" sz="24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 bwMode="auto">
          <a:xfrm>
            <a:off x="668190" y="2564904"/>
            <a:ext cx="5295776" cy="1080000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75232" tIns="37617" rIns="75232" bIns="37617" anchor="ctr"/>
          <a:lstStyle/>
          <a:p>
            <a:pPr algn="ctr" defTabSz="750888">
              <a:defRPr/>
            </a:pPr>
            <a:r>
              <a:rPr lang="ru-RU" b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Послевузовское образование</a:t>
            </a:r>
            <a:br>
              <a:rPr lang="ru-RU" b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</a:br>
            <a:r>
              <a:rPr lang="ru-RU" b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(ординатура 2-5 лет)</a:t>
            </a:r>
          </a:p>
        </p:txBody>
      </p:sp>
      <p:sp>
        <p:nvSpPr>
          <p:cNvPr id="52243" name="TextBox 3"/>
          <p:cNvSpPr txBox="1">
            <a:spLocks noChangeArrowheads="1"/>
          </p:cNvSpPr>
          <p:nvPr/>
        </p:nvSpPr>
        <p:spPr bwMode="auto">
          <a:xfrm>
            <a:off x="947738" y="4840288"/>
            <a:ext cx="1400175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b="1">
                <a:solidFill>
                  <a:srgbClr val="000000"/>
                </a:solidFill>
                <a:latin typeface="Calibri" pitchFamily="34" charset="0"/>
              </a:rPr>
              <a:t>СЕГОДНЯ</a:t>
            </a:r>
          </a:p>
        </p:txBody>
      </p:sp>
      <p:sp>
        <p:nvSpPr>
          <p:cNvPr id="52244" name="TextBox 23"/>
          <p:cNvSpPr txBox="1">
            <a:spLocks noChangeArrowheads="1"/>
          </p:cNvSpPr>
          <p:nvPr/>
        </p:nvSpPr>
        <p:spPr bwMode="auto">
          <a:xfrm>
            <a:off x="3787775" y="4840288"/>
            <a:ext cx="227171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b="1">
                <a:solidFill>
                  <a:srgbClr val="000000"/>
                </a:solidFill>
                <a:latin typeface="Calibri" pitchFamily="34" charset="0"/>
              </a:rPr>
              <a:t>ПРЕДЛОЖЕНИЕ</a:t>
            </a:r>
          </a:p>
        </p:txBody>
      </p:sp>
      <p:sp>
        <p:nvSpPr>
          <p:cNvPr id="52245" name="TextBox 14"/>
          <p:cNvSpPr txBox="1">
            <a:spLocks noChangeArrowheads="1"/>
          </p:cNvSpPr>
          <p:nvPr/>
        </p:nvSpPr>
        <p:spPr bwMode="auto">
          <a:xfrm>
            <a:off x="6011863" y="3017838"/>
            <a:ext cx="14446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по окончании</a:t>
            </a:r>
          </a:p>
        </p:txBody>
      </p:sp>
      <p:sp>
        <p:nvSpPr>
          <p:cNvPr id="52246" name="TextBox 15"/>
          <p:cNvSpPr txBox="1">
            <a:spLocks noChangeArrowheads="1"/>
          </p:cNvSpPr>
          <p:nvPr/>
        </p:nvSpPr>
        <p:spPr bwMode="auto">
          <a:xfrm>
            <a:off x="6402388" y="6011863"/>
            <a:ext cx="919162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каждые</a:t>
            </a:r>
          </a:p>
          <a:p>
            <a:pPr algn="ctr"/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5 лет</a:t>
            </a:r>
          </a:p>
        </p:txBody>
      </p:sp>
      <p:sp>
        <p:nvSpPr>
          <p:cNvPr id="17" name="Скругленный прямоугольник 16"/>
          <p:cNvSpPr>
            <a:spLocks noChangeArrowheads="1"/>
          </p:cNvSpPr>
          <p:nvPr/>
        </p:nvSpPr>
        <p:spPr bwMode="auto">
          <a:xfrm>
            <a:off x="668190" y="3645024"/>
            <a:ext cx="5295776" cy="1080000"/>
          </a:xfrm>
          <a:prstGeom prst="roundRect">
            <a:avLst>
              <a:gd name="adj" fmla="val 16667"/>
            </a:avLst>
          </a:prstGeom>
          <a:solidFill>
            <a:srgbClr val="E637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400" b="1">
                <a:solidFill>
                  <a:srgbClr val="FFFFFF"/>
                </a:solidFill>
                <a:cs typeface="Arial" pitchFamily="34" charset="0"/>
              </a:rPr>
              <a:t>Дополнительное образование</a:t>
            </a:r>
          </a:p>
          <a:p>
            <a:pPr algn="ctr" defTabSz="828675">
              <a:defRPr/>
            </a:pPr>
            <a:r>
              <a:rPr lang="ru-RU" b="1">
                <a:solidFill>
                  <a:srgbClr val="FFFFFF"/>
                </a:solidFill>
                <a:cs typeface="Arial" pitchFamily="34" charset="0"/>
              </a:rPr>
              <a:t>(программы повышения квалификации)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2875"/>
          </a:xfrm>
        </p:spPr>
        <p:txBody>
          <a:bodyPr/>
          <a:lstStyle/>
          <a:p>
            <a:pPr marL="3175" eaLnBrk="1" hangingPunct="1">
              <a:lnSpc>
                <a:spcPct val="90000"/>
              </a:lnSpc>
            </a:pPr>
            <a:r>
              <a:rPr kumimoji="0" lang="ru-RU" sz="3600" b="1" dirty="0" smtClean="0">
                <a:solidFill>
                  <a:schemeClr val="bg1"/>
                </a:solidFill>
              </a:rPr>
              <a:t>Принцип 2. Гармонизация требований </a:t>
            </a:r>
            <a:r>
              <a:rPr kumimoji="0" lang="en-US" sz="3600" b="1" dirty="0" smtClean="0">
                <a:solidFill>
                  <a:schemeClr val="bg1"/>
                </a:solidFill>
              </a:rPr>
              <a:t> </a:t>
            </a:r>
            <a:r>
              <a:rPr kumimoji="0" lang="ru-RU" sz="3600" b="1" dirty="0" smtClean="0">
                <a:solidFill>
                  <a:schemeClr val="bg1"/>
                </a:solidFill>
              </a:rPr>
              <a:t>к НМО с требованиями в развитых странах</a:t>
            </a:r>
          </a:p>
        </p:txBody>
      </p:sp>
      <p:graphicFrame>
        <p:nvGraphicFramePr>
          <p:cNvPr id="19" name="Схема 18"/>
          <p:cNvGraphicFramePr/>
          <p:nvPr/>
        </p:nvGraphicFramePr>
        <p:xfrm>
          <a:off x="-1404664" y="1628800"/>
          <a:ext cx="12025335" cy="49245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06E4D575-1077-46CD-A545-B75ECE70628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9">
                                            <p:graphicEl>
                                              <a:dgm id="{06E4D575-1077-46CD-A545-B75ECE70628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E443E9A3-03A4-4CED-B995-477FE0A19A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9">
                                            <p:graphicEl>
                                              <a:dgm id="{E443E9A3-03A4-4CED-B995-477FE0A19A6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90800EA5-DB1E-439A-A1A0-11DA9D5232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9">
                                            <p:graphicEl>
                                              <a:dgm id="{90800EA5-DB1E-439A-A1A0-11DA9D52320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5AA89E59-EBE2-4B7F-A399-AE5C8568C9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9">
                                            <p:graphicEl>
                                              <a:dgm id="{5AA89E59-EBE2-4B7F-A399-AE5C8568C97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9E0E5009-F722-43F3-8A97-EEF5A681780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9">
                                            <p:graphicEl>
                                              <a:dgm id="{9E0E5009-F722-43F3-8A97-EEF5A681780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7F504D7C-960C-4F8D-A737-FC9BC8B1C68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9">
                                            <p:graphicEl>
                                              <a:dgm id="{7F504D7C-960C-4F8D-A737-FC9BC8B1C68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F5A7993B-F66C-45CC-A9BB-56F59FFBCAF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9">
                                            <p:graphicEl>
                                              <a:dgm id="{F5A7993B-F66C-45CC-A9BB-56F59FFBCAF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D475AE3F-0A15-4773-A27B-1DBDEFD7EB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9">
                                            <p:graphicEl>
                                              <a:dgm id="{D475AE3F-0A15-4773-A27B-1DBDEFD7EBD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DFCC7EAE-ABE9-424F-800A-A757F63A07D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19">
                                            <p:graphicEl>
                                              <a:dgm id="{DFCC7EAE-ABE9-424F-800A-A757F63A07D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graphicEl>
                                              <a:dgm id="{B842AA3B-67A8-49F1-8031-AD9E427AD18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9">
                                            <p:graphicEl>
                                              <a:dgm id="{B842AA3B-67A8-49F1-8031-AD9E427AD18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9" grpId="0">
        <p:bldSub>
          <a:bldDgm bld="one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2875"/>
          </a:xfrm>
        </p:spPr>
        <p:txBody>
          <a:bodyPr/>
          <a:lstStyle/>
          <a:p>
            <a:pPr marL="3175" eaLnBrk="1" hangingPunct="1">
              <a:lnSpc>
                <a:spcPct val="90000"/>
              </a:lnSpc>
            </a:pPr>
            <a:r>
              <a:rPr kumimoji="0" lang="ru-RU" sz="3600" b="1" smtClean="0">
                <a:solidFill>
                  <a:schemeClr val="bg1"/>
                </a:solidFill>
              </a:rPr>
              <a:t>Принцип 3. Партнёрство государства и профессиональных организаций</a:t>
            </a:r>
          </a:p>
        </p:txBody>
      </p:sp>
      <p:sp>
        <p:nvSpPr>
          <p:cNvPr id="8" name="Стрелка вправо 30"/>
          <p:cNvSpPr/>
          <p:nvPr/>
        </p:nvSpPr>
        <p:spPr>
          <a:xfrm flipH="1">
            <a:off x="4449164" y="2407616"/>
            <a:ext cx="684000" cy="468000"/>
          </a:xfrm>
          <a:custGeom>
            <a:avLst/>
            <a:gdLst>
              <a:gd name="connsiteX0" fmla="*/ 0 w 1708784"/>
              <a:gd name="connsiteY0" fmla="*/ 173164 h 692657"/>
              <a:gd name="connsiteX1" fmla="*/ 1362456 w 1708784"/>
              <a:gd name="connsiteY1" fmla="*/ 173164 h 692657"/>
              <a:gd name="connsiteX2" fmla="*/ 1362456 w 1708784"/>
              <a:gd name="connsiteY2" fmla="*/ 0 h 692657"/>
              <a:gd name="connsiteX3" fmla="*/ 1708784 w 1708784"/>
              <a:gd name="connsiteY3" fmla="*/ 346329 h 692657"/>
              <a:gd name="connsiteX4" fmla="*/ 1362456 w 1708784"/>
              <a:gd name="connsiteY4" fmla="*/ 692657 h 692657"/>
              <a:gd name="connsiteX5" fmla="*/ 1362456 w 1708784"/>
              <a:gd name="connsiteY5" fmla="*/ 519493 h 692657"/>
              <a:gd name="connsiteX6" fmla="*/ 0 w 1708784"/>
              <a:gd name="connsiteY6" fmla="*/ 519493 h 692657"/>
              <a:gd name="connsiteX7" fmla="*/ 0 w 1708784"/>
              <a:gd name="connsiteY7" fmla="*/ 173164 h 692657"/>
              <a:gd name="connsiteX0" fmla="*/ 0 w 1708784"/>
              <a:gd name="connsiteY0" fmla="*/ 173164 h 857249"/>
              <a:gd name="connsiteX1" fmla="*/ 1362456 w 1708784"/>
              <a:gd name="connsiteY1" fmla="*/ 173164 h 857249"/>
              <a:gd name="connsiteX2" fmla="*/ 1362456 w 1708784"/>
              <a:gd name="connsiteY2" fmla="*/ 0 h 857249"/>
              <a:gd name="connsiteX3" fmla="*/ 1708784 w 1708784"/>
              <a:gd name="connsiteY3" fmla="*/ 346329 h 857249"/>
              <a:gd name="connsiteX4" fmla="*/ 667512 w 1708784"/>
              <a:gd name="connsiteY4" fmla="*/ 857249 h 857249"/>
              <a:gd name="connsiteX5" fmla="*/ 1362456 w 1708784"/>
              <a:gd name="connsiteY5" fmla="*/ 519493 h 857249"/>
              <a:gd name="connsiteX6" fmla="*/ 0 w 1708784"/>
              <a:gd name="connsiteY6" fmla="*/ 519493 h 857249"/>
              <a:gd name="connsiteX7" fmla="*/ 0 w 1708784"/>
              <a:gd name="connsiteY7" fmla="*/ 173164 h 857249"/>
              <a:gd name="connsiteX0" fmla="*/ 0 w 1708784"/>
              <a:gd name="connsiteY0" fmla="*/ 173164 h 857249"/>
              <a:gd name="connsiteX1" fmla="*/ 1362456 w 1708784"/>
              <a:gd name="connsiteY1" fmla="*/ 173164 h 857249"/>
              <a:gd name="connsiteX2" fmla="*/ 1362456 w 1708784"/>
              <a:gd name="connsiteY2" fmla="*/ 0 h 857249"/>
              <a:gd name="connsiteX3" fmla="*/ 1708784 w 1708784"/>
              <a:gd name="connsiteY3" fmla="*/ 346329 h 857249"/>
              <a:gd name="connsiteX4" fmla="*/ 667512 w 1708784"/>
              <a:gd name="connsiteY4" fmla="*/ 857249 h 857249"/>
              <a:gd name="connsiteX5" fmla="*/ 676656 w 1708784"/>
              <a:gd name="connsiteY5" fmla="*/ 693229 h 857249"/>
              <a:gd name="connsiteX6" fmla="*/ 0 w 1708784"/>
              <a:gd name="connsiteY6" fmla="*/ 519493 h 857249"/>
              <a:gd name="connsiteX7" fmla="*/ 0 w 1708784"/>
              <a:gd name="connsiteY7" fmla="*/ 173164 h 857249"/>
              <a:gd name="connsiteX0" fmla="*/ 0 w 1708784"/>
              <a:gd name="connsiteY0" fmla="*/ 173164 h 1131569"/>
              <a:gd name="connsiteX1" fmla="*/ 1362456 w 1708784"/>
              <a:gd name="connsiteY1" fmla="*/ 173164 h 1131569"/>
              <a:gd name="connsiteX2" fmla="*/ 1362456 w 1708784"/>
              <a:gd name="connsiteY2" fmla="*/ 0 h 1131569"/>
              <a:gd name="connsiteX3" fmla="*/ 1708784 w 1708784"/>
              <a:gd name="connsiteY3" fmla="*/ 346329 h 1131569"/>
              <a:gd name="connsiteX4" fmla="*/ 740664 w 1708784"/>
              <a:gd name="connsiteY4" fmla="*/ 1131569 h 1131569"/>
              <a:gd name="connsiteX5" fmla="*/ 676656 w 1708784"/>
              <a:gd name="connsiteY5" fmla="*/ 693229 h 1131569"/>
              <a:gd name="connsiteX6" fmla="*/ 0 w 1708784"/>
              <a:gd name="connsiteY6" fmla="*/ 519493 h 1131569"/>
              <a:gd name="connsiteX7" fmla="*/ 0 w 1708784"/>
              <a:gd name="connsiteY7" fmla="*/ 173164 h 1131569"/>
              <a:gd name="connsiteX0" fmla="*/ 0 w 1708784"/>
              <a:gd name="connsiteY0" fmla="*/ 173164 h 1131569"/>
              <a:gd name="connsiteX1" fmla="*/ 1362456 w 1708784"/>
              <a:gd name="connsiteY1" fmla="*/ 173164 h 1131569"/>
              <a:gd name="connsiteX2" fmla="*/ 1362456 w 1708784"/>
              <a:gd name="connsiteY2" fmla="*/ 0 h 1131569"/>
              <a:gd name="connsiteX3" fmla="*/ 1708784 w 1708784"/>
              <a:gd name="connsiteY3" fmla="*/ 346329 h 1131569"/>
              <a:gd name="connsiteX4" fmla="*/ 740664 w 1708784"/>
              <a:gd name="connsiteY4" fmla="*/ 1131569 h 1131569"/>
              <a:gd name="connsiteX5" fmla="*/ 886968 w 1708784"/>
              <a:gd name="connsiteY5" fmla="*/ 775525 h 1131569"/>
              <a:gd name="connsiteX6" fmla="*/ 0 w 1708784"/>
              <a:gd name="connsiteY6" fmla="*/ 519493 h 1131569"/>
              <a:gd name="connsiteX7" fmla="*/ 0 w 1708784"/>
              <a:gd name="connsiteY7" fmla="*/ 173164 h 1131569"/>
              <a:gd name="connsiteX0" fmla="*/ 0 w 1708784"/>
              <a:gd name="connsiteY0" fmla="*/ 173164 h 1131569"/>
              <a:gd name="connsiteX1" fmla="*/ 1060704 w 1708784"/>
              <a:gd name="connsiteY1" fmla="*/ 566356 h 1131569"/>
              <a:gd name="connsiteX2" fmla="*/ 1362456 w 1708784"/>
              <a:gd name="connsiteY2" fmla="*/ 0 h 1131569"/>
              <a:gd name="connsiteX3" fmla="*/ 1708784 w 1708784"/>
              <a:gd name="connsiteY3" fmla="*/ 346329 h 1131569"/>
              <a:gd name="connsiteX4" fmla="*/ 740664 w 1708784"/>
              <a:gd name="connsiteY4" fmla="*/ 1131569 h 1131569"/>
              <a:gd name="connsiteX5" fmla="*/ 886968 w 1708784"/>
              <a:gd name="connsiteY5" fmla="*/ 775525 h 1131569"/>
              <a:gd name="connsiteX6" fmla="*/ 0 w 1708784"/>
              <a:gd name="connsiteY6" fmla="*/ 519493 h 1131569"/>
              <a:gd name="connsiteX7" fmla="*/ 0 w 1708784"/>
              <a:gd name="connsiteY7" fmla="*/ 173164 h 1131569"/>
              <a:gd name="connsiteX0" fmla="*/ 0 w 1708784"/>
              <a:gd name="connsiteY0" fmla="*/ 173164 h 1131569"/>
              <a:gd name="connsiteX1" fmla="*/ 1060704 w 1708784"/>
              <a:gd name="connsiteY1" fmla="*/ 566356 h 1131569"/>
              <a:gd name="connsiteX2" fmla="*/ 1362456 w 1708784"/>
              <a:gd name="connsiteY2" fmla="*/ 0 h 1131569"/>
              <a:gd name="connsiteX3" fmla="*/ 1708784 w 1708784"/>
              <a:gd name="connsiteY3" fmla="*/ 346329 h 1131569"/>
              <a:gd name="connsiteX4" fmla="*/ 740664 w 1708784"/>
              <a:gd name="connsiteY4" fmla="*/ 1131569 h 1131569"/>
              <a:gd name="connsiteX5" fmla="*/ 886968 w 1708784"/>
              <a:gd name="connsiteY5" fmla="*/ 775525 h 1131569"/>
              <a:gd name="connsiteX6" fmla="*/ 0 w 1708784"/>
              <a:gd name="connsiteY6" fmla="*/ 519493 h 1131569"/>
              <a:gd name="connsiteX7" fmla="*/ 0 w 1708784"/>
              <a:gd name="connsiteY7" fmla="*/ 173164 h 1131569"/>
              <a:gd name="connsiteX0" fmla="*/ 0 w 1708784"/>
              <a:gd name="connsiteY0" fmla="*/ 173164 h 1131569"/>
              <a:gd name="connsiteX1" fmla="*/ 1060704 w 1708784"/>
              <a:gd name="connsiteY1" fmla="*/ 566356 h 1131569"/>
              <a:gd name="connsiteX2" fmla="*/ 1362456 w 1708784"/>
              <a:gd name="connsiteY2" fmla="*/ 0 h 1131569"/>
              <a:gd name="connsiteX3" fmla="*/ 1708784 w 1708784"/>
              <a:gd name="connsiteY3" fmla="*/ 346329 h 1131569"/>
              <a:gd name="connsiteX4" fmla="*/ 740664 w 1708784"/>
              <a:gd name="connsiteY4" fmla="*/ 1131569 h 1131569"/>
              <a:gd name="connsiteX5" fmla="*/ 886968 w 1708784"/>
              <a:gd name="connsiteY5" fmla="*/ 775525 h 1131569"/>
              <a:gd name="connsiteX6" fmla="*/ 0 w 1708784"/>
              <a:gd name="connsiteY6" fmla="*/ 519493 h 1131569"/>
              <a:gd name="connsiteX7" fmla="*/ 0 w 1708784"/>
              <a:gd name="connsiteY7" fmla="*/ 173164 h 1131569"/>
              <a:gd name="connsiteX0" fmla="*/ 0 w 1708784"/>
              <a:gd name="connsiteY0" fmla="*/ 0 h 958405"/>
              <a:gd name="connsiteX1" fmla="*/ 1060704 w 1708784"/>
              <a:gd name="connsiteY1" fmla="*/ 393192 h 958405"/>
              <a:gd name="connsiteX2" fmla="*/ 1417320 w 1708784"/>
              <a:gd name="connsiteY2" fmla="*/ 174308 h 958405"/>
              <a:gd name="connsiteX3" fmla="*/ 1708784 w 1708784"/>
              <a:gd name="connsiteY3" fmla="*/ 173165 h 958405"/>
              <a:gd name="connsiteX4" fmla="*/ 740664 w 1708784"/>
              <a:gd name="connsiteY4" fmla="*/ 958405 h 958405"/>
              <a:gd name="connsiteX5" fmla="*/ 886968 w 1708784"/>
              <a:gd name="connsiteY5" fmla="*/ 602361 h 958405"/>
              <a:gd name="connsiteX6" fmla="*/ 0 w 1708784"/>
              <a:gd name="connsiteY6" fmla="*/ 346329 h 958405"/>
              <a:gd name="connsiteX7" fmla="*/ 0 w 1708784"/>
              <a:gd name="connsiteY7" fmla="*/ 0 h 958405"/>
              <a:gd name="connsiteX0" fmla="*/ 0 w 1708784"/>
              <a:gd name="connsiteY0" fmla="*/ 0 h 958405"/>
              <a:gd name="connsiteX1" fmla="*/ 1060704 w 1708784"/>
              <a:gd name="connsiteY1" fmla="*/ 393192 h 958405"/>
              <a:gd name="connsiteX2" fmla="*/ 1289304 w 1708784"/>
              <a:gd name="connsiteY2" fmla="*/ 92012 h 958405"/>
              <a:gd name="connsiteX3" fmla="*/ 1708784 w 1708784"/>
              <a:gd name="connsiteY3" fmla="*/ 173165 h 958405"/>
              <a:gd name="connsiteX4" fmla="*/ 740664 w 1708784"/>
              <a:gd name="connsiteY4" fmla="*/ 958405 h 958405"/>
              <a:gd name="connsiteX5" fmla="*/ 886968 w 1708784"/>
              <a:gd name="connsiteY5" fmla="*/ 602361 h 958405"/>
              <a:gd name="connsiteX6" fmla="*/ 0 w 1708784"/>
              <a:gd name="connsiteY6" fmla="*/ 346329 h 958405"/>
              <a:gd name="connsiteX7" fmla="*/ 0 w 1708784"/>
              <a:gd name="connsiteY7" fmla="*/ 0 h 958405"/>
              <a:gd name="connsiteX0" fmla="*/ 0 w 1416176"/>
              <a:gd name="connsiteY0" fmla="*/ 0 h 959549"/>
              <a:gd name="connsiteX1" fmla="*/ 1060704 w 1416176"/>
              <a:gd name="connsiteY1" fmla="*/ 393192 h 959549"/>
              <a:gd name="connsiteX2" fmla="*/ 1289304 w 1416176"/>
              <a:gd name="connsiteY2" fmla="*/ 92012 h 959549"/>
              <a:gd name="connsiteX3" fmla="*/ 1416176 w 1416176"/>
              <a:gd name="connsiteY3" fmla="*/ 959549 h 959549"/>
              <a:gd name="connsiteX4" fmla="*/ 740664 w 1416176"/>
              <a:gd name="connsiteY4" fmla="*/ 958405 h 959549"/>
              <a:gd name="connsiteX5" fmla="*/ 886968 w 1416176"/>
              <a:gd name="connsiteY5" fmla="*/ 602361 h 959549"/>
              <a:gd name="connsiteX6" fmla="*/ 0 w 1416176"/>
              <a:gd name="connsiteY6" fmla="*/ 346329 h 959549"/>
              <a:gd name="connsiteX7" fmla="*/ 0 w 1416176"/>
              <a:gd name="connsiteY7" fmla="*/ 0 h 959549"/>
              <a:gd name="connsiteX0" fmla="*/ 0 w 1289304"/>
              <a:gd name="connsiteY0" fmla="*/ 0 h 1069277"/>
              <a:gd name="connsiteX1" fmla="*/ 1060704 w 1289304"/>
              <a:gd name="connsiteY1" fmla="*/ 393192 h 1069277"/>
              <a:gd name="connsiteX2" fmla="*/ 1289304 w 1289304"/>
              <a:gd name="connsiteY2" fmla="*/ 92012 h 1069277"/>
              <a:gd name="connsiteX3" fmla="*/ 1187576 w 1289304"/>
              <a:gd name="connsiteY3" fmla="*/ 1069277 h 1069277"/>
              <a:gd name="connsiteX4" fmla="*/ 740664 w 1289304"/>
              <a:gd name="connsiteY4" fmla="*/ 958405 h 1069277"/>
              <a:gd name="connsiteX5" fmla="*/ 886968 w 1289304"/>
              <a:gd name="connsiteY5" fmla="*/ 602361 h 1069277"/>
              <a:gd name="connsiteX6" fmla="*/ 0 w 1289304"/>
              <a:gd name="connsiteY6" fmla="*/ 346329 h 1069277"/>
              <a:gd name="connsiteX7" fmla="*/ 0 w 1289304"/>
              <a:gd name="connsiteY7" fmla="*/ 0 h 1069277"/>
              <a:gd name="connsiteX0" fmla="*/ 0 w 1289304"/>
              <a:gd name="connsiteY0" fmla="*/ 0 h 1069277"/>
              <a:gd name="connsiteX1" fmla="*/ 1060704 w 1289304"/>
              <a:gd name="connsiteY1" fmla="*/ 393192 h 1069277"/>
              <a:gd name="connsiteX2" fmla="*/ 1289304 w 1289304"/>
              <a:gd name="connsiteY2" fmla="*/ 92012 h 1069277"/>
              <a:gd name="connsiteX3" fmla="*/ 1187576 w 1289304"/>
              <a:gd name="connsiteY3" fmla="*/ 1069277 h 1069277"/>
              <a:gd name="connsiteX4" fmla="*/ 685800 w 1289304"/>
              <a:gd name="connsiteY4" fmla="*/ 757237 h 1069277"/>
              <a:gd name="connsiteX5" fmla="*/ 886968 w 1289304"/>
              <a:gd name="connsiteY5" fmla="*/ 602361 h 1069277"/>
              <a:gd name="connsiteX6" fmla="*/ 0 w 1289304"/>
              <a:gd name="connsiteY6" fmla="*/ 346329 h 1069277"/>
              <a:gd name="connsiteX7" fmla="*/ 0 w 1289304"/>
              <a:gd name="connsiteY7" fmla="*/ 0 h 1069277"/>
              <a:gd name="connsiteX0" fmla="*/ 0 w 1271016"/>
              <a:gd name="connsiteY0" fmla="*/ 0 h 1069277"/>
              <a:gd name="connsiteX1" fmla="*/ 1060704 w 1271016"/>
              <a:gd name="connsiteY1" fmla="*/ 393192 h 1069277"/>
              <a:gd name="connsiteX2" fmla="*/ 1271016 w 1271016"/>
              <a:gd name="connsiteY2" fmla="*/ 146876 h 1069277"/>
              <a:gd name="connsiteX3" fmla="*/ 1187576 w 1271016"/>
              <a:gd name="connsiteY3" fmla="*/ 1069277 h 1069277"/>
              <a:gd name="connsiteX4" fmla="*/ 685800 w 1271016"/>
              <a:gd name="connsiteY4" fmla="*/ 757237 h 1069277"/>
              <a:gd name="connsiteX5" fmla="*/ 886968 w 1271016"/>
              <a:gd name="connsiteY5" fmla="*/ 602361 h 1069277"/>
              <a:gd name="connsiteX6" fmla="*/ 0 w 1271016"/>
              <a:gd name="connsiteY6" fmla="*/ 346329 h 1069277"/>
              <a:gd name="connsiteX7" fmla="*/ 0 w 1271016"/>
              <a:gd name="connsiteY7" fmla="*/ 0 h 1069277"/>
              <a:gd name="connsiteX0" fmla="*/ 0 w 1399032"/>
              <a:gd name="connsiteY0" fmla="*/ 0 h 1069277"/>
              <a:gd name="connsiteX1" fmla="*/ 1060704 w 1399032"/>
              <a:gd name="connsiteY1" fmla="*/ 393192 h 1069277"/>
              <a:gd name="connsiteX2" fmla="*/ 1399032 w 1399032"/>
              <a:gd name="connsiteY2" fmla="*/ 384620 h 1069277"/>
              <a:gd name="connsiteX3" fmla="*/ 1187576 w 1399032"/>
              <a:gd name="connsiteY3" fmla="*/ 1069277 h 1069277"/>
              <a:gd name="connsiteX4" fmla="*/ 685800 w 1399032"/>
              <a:gd name="connsiteY4" fmla="*/ 757237 h 1069277"/>
              <a:gd name="connsiteX5" fmla="*/ 886968 w 1399032"/>
              <a:gd name="connsiteY5" fmla="*/ 602361 h 1069277"/>
              <a:gd name="connsiteX6" fmla="*/ 0 w 1399032"/>
              <a:gd name="connsiteY6" fmla="*/ 346329 h 1069277"/>
              <a:gd name="connsiteX7" fmla="*/ 0 w 1399032"/>
              <a:gd name="connsiteY7" fmla="*/ 0 h 1069277"/>
              <a:gd name="connsiteX0" fmla="*/ 0 w 1399032"/>
              <a:gd name="connsiteY0" fmla="*/ 0 h 1069277"/>
              <a:gd name="connsiteX1" fmla="*/ 1060704 w 1399032"/>
              <a:gd name="connsiteY1" fmla="*/ 393192 h 1069277"/>
              <a:gd name="connsiteX2" fmla="*/ 1399032 w 1399032"/>
              <a:gd name="connsiteY2" fmla="*/ 384620 h 1069277"/>
              <a:gd name="connsiteX3" fmla="*/ 1187576 w 1399032"/>
              <a:gd name="connsiteY3" fmla="*/ 1069277 h 1069277"/>
              <a:gd name="connsiteX4" fmla="*/ 594360 w 1399032"/>
              <a:gd name="connsiteY4" fmla="*/ 629221 h 1069277"/>
              <a:gd name="connsiteX5" fmla="*/ 886968 w 1399032"/>
              <a:gd name="connsiteY5" fmla="*/ 602361 h 1069277"/>
              <a:gd name="connsiteX6" fmla="*/ 0 w 1399032"/>
              <a:gd name="connsiteY6" fmla="*/ 346329 h 1069277"/>
              <a:gd name="connsiteX7" fmla="*/ 0 w 1399032"/>
              <a:gd name="connsiteY7" fmla="*/ 0 h 1069277"/>
              <a:gd name="connsiteX0" fmla="*/ 0 w 1399032"/>
              <a:gd name="connsiteY0" fmla="*/ 0 h 1069277"/>
              <a:gd name="connsiteX1" fmla="*/ 1179576 w 1399032"/>
              <a:gd name="connsiteY1" fmla="*/ 521208 h 1069277"/>
              <a:gd name="connsiteX2" fmla="*/ 1399032 w 1399032"/>
              <a:gd name="connsiteY2" fmla="*/ 384620 h 1069277"/>
              <a:gd name="connsiteX3" fmla="*/ 1187576 w 1399032"/>
              <a:gd name="connsiteY3" fmla="*/ 1069277 h 1069277"/>
              <a:gd name="connsiteX4" fmla="*/ 594360 w 1399032"/>
              <a:gd name="connsiteY4" fmla="*/ 629221 h 1069277"/>
              <a:gd name="connsiteX5" fmla="*/ 886968 w 1399032"/>
              <a:gd name="connsiteY5" fmla="*/ 602361 h 1069277"/>
              <a:gd name="connsiteX6" fmla="*/ 0 w 1399032"/>
              <a:gd name="connsiteY6" fmla="*/ 346329 h 1069277"/>
              <a:gd name="connsiteX7" fmla="*/ 0 w 1399032"/>
              <a:gd name="connsiteY7" fmla="*/ 0 h 1069277"/>
              <a:gd name="connsiteX0" fmla="*/ 0 w 1499616"/>
              <a:gd name="connsiteY0" fmla="*/ 0 h 1069277"/>
              <a:gd name="connsiteX1" fmla="*/ 1179576 w 1499616"/>
              <a:gd name="connsiteY1" fmla="*/ 521208 h 1069277"/>
              <a:gd name="connsiteX2" fmla="*/ 1499616 w 1499616"/>
              <a:gd name="connsiteY2" fmla="*/ 594932 h 1069277"/>
              <a:gd name="connsiteX3" fmla="*/ 1187576 w 1499616"/>
              <a:gd name="connsiteY3" fmla="*/ 1069277 h 1069277"/>
              <a:gd name="connsiteX4" fmla="*/ 594360 w 1499616"/>
              <a:gd name="connsiteY4" fmla="*/ 629221 h 1069277"/>
              <a:gd name="connsiteX5" fmla="*/ 886968 w 1499616"/>
              <a:gd name="connsiteY5" fmla="*/ 602361 h 1069277"/>
              <a:gd name="connsiteX6" fmla="*/ 0 w 1499616"/>
              <a:gd name="connsiteY6" fmla="*/ 346329 h 1069277"/>
              <a:gd name="connsiteX7" fmla="*/ 0 w 1499616"/>
              <a:gd name="connsiteY7" fmla="*/ 0 h 1069277"/>
              <a:gd name="connsiteX0" fmla="*/ 0 w 1490472"/>
              <a:gd name="connsiteY0" fmla="*/ 0 h 1069277"/>
              <a:gd name="connsiteX1" fmla="*/ 1179576 w 1490472"/>
              <a:gd name="connsiteY1" fmla="*/ 521208 h 1069277"/>
              <a:gd name="connsiteX2" fmla="*/ 1490472 w 1490472"/>
              <a:gd name="connsiteY2" fmla="*/ 476060 h 1069277"/>
              <a:gd name="connsiteX3" fmla="*/ 1187576 w 1490472"/>
              <a:gd name="connsiteY3" fmla="*/ 1069277 h 1069277"/>
              <a:gd name="connsiteX4" fmla="*/ 594360 w 1490472"/>
              <a:gd name="connsiteY4" fmla="*/ 629221 h 1069277"/>
              <a:gd name="connsiteX5" fmla="*/ 886968 w 1490472"/>
              <a:gd name="connsiteY5" fmla="*/ 602361 h 1069277"/>
              <a:gd name="connsiteX6" fmla="*/ 0 w 1490472"/>
              <a:gd name="connsiteY6" fmla="*/ 346329 h 1069277"/>
              <a:gd name="connsiteX7" fmla="*/ 0 w 1490472"/>
              <a:gd name="connsiteY7" fmla="*/ 0 h 1069277"/>
              <a:gd name="connsiteX0" fmla="*/ 0 w 1490472"/>
              <a:gd name="connsiteY0" fmla="*/ 0 h 1069277"/>
              <a:gd name="connsiteX1" fmla="*/ 1179576 w 1490472"/>
              <a:gd name="connsiteY1" fmla="*/ 726068 h 1069277"/>
              <a:gd name="connsiteX2" fmla="*/ 1490472 w 1490472"/>
              <a:gd name="connsiteY2" fmla="*/ 476060 h 1069277"/>
              <a:gd name="connsiteX3" fmla="*/ 1187576 w 1490472"/>
              <a:gd name="connsiteY3" fmla="*/ 1069277 h 1069277"/>
              <a:gd name="connsiteX4" fmla="*/ 594360 w 1490472"/>
              <a:gd name="connsiteY4" fmla="*/ 629221 h 1069277"/>
              <a:gd name="connsiteX5" fmla="*/ 886968 w 1490472"/>
              <a:gd name="connsiteY5" fmla="*/ 602361 h 1069277"/>
              <a:gd name="connsiteX6" fmla="*/ 0 w 1490472"/>
              <a:gd name="connsiteY6" fmla="*/ 346329 h 1069277"/>
              <a:gd name="connsiteX7" fmla="*/ 0 w 1490472"/>
              <a:gd name="connsiteY7" fmla="*/ 0 h 1069277"/>
              <a:gd name="connsiteX0" fmla="*/ 0 w 1490472"/>
              <a:gd name="connsiteY0" fmla="*/ 0 h 1069277"/>
              <a:gd name="connsiteX1" fmla="*/ 1179576 w 1490472"/>
              <a:gd name="connsiteY1" fmla="*/ 726068 h 1069277"/>
              <a:gd name="connsiteX2" fmla="*/ 1490472 w 1490472"/>
              <a:gd name="connsiteY2" fmla="*/ 476060 h 1069277"/>
              <a:gd name="connsiteX3" fmla="*/ 1187576 w 1490472"/>
              <a:gd name="connsiteY3" fmla="*/ 1069277 h 1069277"/>
              <a:gd name="connsiteX4" fmla="*/ 594360 w 1490472"/>
              <a:gd name="connsiteY4" fmla="*/ 629221 h 1069277"/>
              <a:gd name="connsiteX5" fmla="*/ 886968 w 1490472"/>
              <a:gd name="connsiteY5" fmla="*/ 602361 h 1069277"/>
              <a:gd name="connsiteX6" fmla="*/ 0 w 1490472"/>
              <a:gd name="connsiteY6" fmla="*/ 346329 h 1069277"/>
              <a:gd name="connsiteX7" fmla="*/ 0 w 1490472"/>
              <a:gd name="connsiteY7" fmla="*/ 0 h 1069277"/>
              <a:gd name="connsiteX0" fmla="*/ 0 w 1322547"/>
              <a:gd name="connsiteY0" fmla="*/ 0 h 1069277"/>
              <a:gd name="connsiteX1" fmla="*/ 1179576 w 1322547"/>
              <a:gd name="connsiteY1" fmla="*/ 726068 h 1069277"/>
              <a:gd name="connsiteX2" fmla="*/ 1322547 w 1322547"/>
              <a:gd name="connsiteY2" fmla="*/ 486842 h 1069277"/>
              <a:gd name="connsiteX3" fmla="*/ 1187576 w 1322547"/>
              <a:gd name="connsiteY3" fmla="*/ 1069277 h 1069277"/>
              <a:gd name="connsiteX4" fmla="*/ 594360 w 1322547"/>
              <a:gd name="connsiteY4" fmla="*/ 629221 h 1069277"/>
              <a:gd name="connsiteX5" fmla="*/ 886968 w 1322547"/>
              <a:gd name="connsiteY5" fmla="*/ 602361 h 1069277"/>
              <a:gd name="connsiteX6" fmla="*/ 0 w 1322547"/>
              <a:gd name="connsiteY6" fmla="*/ 346329 h 1069277"/>
              <a:gd name="connsiteX7" fmla="*/ 0 w 1322547"/>
              <a:gd name="connsiteY7" fmla="*/ 0 h 1069277"/>
              <a:gd name="connsiteX0" fmla="*/ 0 w 1458986"/>
              <a:gd name="connsiteY0" fmla="*/ 0 h 1069277"/>
              <a:gd name="connsiteX1" fmla="*/ 1179576 w 1458986"/>
              <a:gd name="connsiteY1" fmla="*/ 726068 h 1069277"/>
              <a:gd name="connsiteX2" fmla="*/ 1458986 w 1458986"/>
              <a:gd name="connsiteY2" fmla="*/ 486842 h 1069277"/>
              <a:gd name="connsiteX3" fmla="*/ 1187576 w 1458986"/>
              <a:gd name="connsiteY3" fmla="*/ 1069277 h 1069277"/>
              <a:gd name="connsiteX4" fmla="*/ 594360 w 1458986"/>
              <a:gd name="connsiteY4" fmla="*/ 629221 h 1069277"/>
              <a:gd name="connsiteX5" fmla="*/ 886968 w 1458986"/>
              <a:gd name="connsiteY5" fmla="*/ 602361 h 1069277"/>
              <a:gd name="connsiteX6" fmla="*/ 0 w 1458986"/>
              <a:gd name="connsiteY6" fmla="*/ 346329 h 1069277"/>
              <a:gd name="connsiteX7" fmla="*/ 0 w 1458986"/>
              <a:gd name="connsiteY7" fmla="*/ 0 h 1069277"/>
              <a:gd name="connsiteX0" fmla="*/ 0 w 1458986"/>
              <a:gd name="connsiteY0" fmla="*/ 0 h 1069277"/>
              <a:gd name="connsiteX1" fmla="*/ 1179576 w 1458986"/>
              <a:gd name="connsiteY1" fmla="*/ 726068 h 1069277"/>
              <a:gd name="connsiteX2" fmla="*/ 1458986 w 1458986"/>
              <a:gd name="connsiteY2" fmla="*/ 486842 h 1069277"/>
              <a:gd name="connsiteX3" fmla="*/ 1187576 w 1458986"/>
              <a:gd name="connsiteY3" fmla="*/ 1069277 h 1069277"/>
              <a:gd name="connsiteX4" fmla="*/ 594360 w 1458986"/>
              <a:gd name="connsiteY4" fmla="*/ 629221 h 1069277"/>
              <a:gd name="connsiteX5" fmla="*/ 886968 w 1458986"/>
              <a:gd name="connsiteY5" fmla="*/ 602361 h 1069277"/>
              <a:gd name="connsiteX6" fmla="*/ 0 w 1458986"/>
              <a:gd name="connsiteY6" fmla="*/ 346329 h 1069277"/>
              <a:gd name="connsiteX7" fmla="*/ 0 w 1458986"/>
              <a:gd name="connsiteY7" fmla="*/ 0 h 1069277"/>
              <a:gd name="connsiteX0" fmla="*/ 0 w 1375024"/>
              <a:gd name="connsiteY0" fmla="*/ 0 h 1069277"/>
              <a:gd name="connsiteX1" fmla="*/ 1179576 w 1375024"/>
              <a:gd name="connsiteY1" fmla="*/ 726068 h 1069277"/>
              <a:gd name="connsiteX2" fmla="*/ 1375024 w 1375024"/>
              <a:gd name="connsiteY2" fmla="*/ 454496 h 1069277"/>
              <a:gd name="connsiteX3" fmla="*/ 1187576 w 1375024"/>
              <a:gd name="connsiteY3" fmla="*/ 1069277 h 1069277"/>
              <a:gd name="connsiteX4" fmla="*/ 594360 w 1375024"/>
              <a:gd name="connsiteY4" fmla="*/ 629221 h 1069277"/>
              <a:gd name="connsiteX5" fmla="*/ 886968 w 1375024"/>
              <a:gd name="connsiteY5" fmla="*/ 602361 h 1069277"/>
              <a:gd name="connsiteX6" fmla="*/ 0 w 1375024"/>
              <a:gd name="connsiteY6" fmla="*/ 346329 h 1069277"/>
              <a:gd name="connsiteX7" fmla="*/ 0 w 1375024"/>
              <a:gd name="connsiteY7" fmla="*/ 0 h 1069277"/>
              <a:gd name="connsiteX0" fmla="*/ 0 w 1375024"/>
              <a:gd name="connsiteY0" fmla="*/ 0 h 1069277"/>
              <a:gd name="connsiteX1" fmla="*/ 1179576 w 1375024"/>
              <a:gd name="connsiteY1" fmla="*/ 726068 h 1069277"/>
              <a:gd name="connsiteX2" fmla="*/ 1375024 w 1375024"/>
              <a:gd name="connsiteY2" fmla="*/ 454496 h 1069277"/>
              <a:gd name="connsiteX3" fmla="*/ 1187576 w 1375024"/>
              <a:gd name="connsiteY3" fmla="*/ 1069277 h 1069277"/>
              <a:gd name="connsiteX4" fmla="*/ 594360 w 1375024"/>
              <a:gd name="connsiteY4" fmla="*/ 629221 h 1069277"/>
              <a:gd name="connsiteX5" fmla="*/ 886968 w 1375024"/>
              <a:gd name="connsiteY5" fmla="*/ 602361 h 1069277"/>
              <a:gd name="connsiteX6" fmla="*/ 0 w 1375024"/>
              <a:gd name="connsiteY6" fmla="*/ 346329 h 1069277"/>
              <a:gd name="connsiteX7" fmla="*/ 0 w 1375024"/>
              <a:gd name="connsiteY7" fmla="*/ 0 h 1069277"/>
              <a:gd name="connsiteX0" fmla="*/ 0 w 1383908"/>
              <a:gd name="connsiteY0" fmla="*/ 0 h 1069277"/>
              <a:gd name="connsiteX1" fmla="*/ 1179576 w 1383908"/>
              <a:gd name="connsiteY1" fmla="*/ 726068 h 1069277"/>
              <a:gd name="connsiteX2" fmla="*/ 1375024 w 1383908"/>
              <a:gd name="connsiteY2" fmla="*/ 454496 h 1069277"/>
              <a:gd name="connsiteX3" fmla="*/ 1187576 w 1383908"/>
              <a:gd name="connsiteY3" fmla="*/ 1069277 h 1069277"/>
              <a:gd name="connsiteX4" fmla="*/ 594360 w 1383908"/>
              <a:gd name="connsiteY4" fmla="*/ 629221 h 1069277"/>
              <a:gd name="connsiteX5" fmla="*/ 886968 w 1383908"/>
              <a:gd name="connsiteY5" fmla="*/ 602361 h 1069277"/>
              <a:gd name="connsiteX6" fmla="*/ 0 w 1383908"/>
              <a:gd name="connsiteY6" fmla="*/ 346329 h 1069277"/>
              <a:gd name="connsiteX7" fmla="*/ 0 w 1383908"/>
              <a:gd name="connsiteY7" fmla="*/ 0 h 1069277"/>
              <a:gd name="connsiteX0" fmla="*/ 0 w 1383908"/>
              <a:gd name="connsiteY0" fmla="*/ 0 h 1069277"/>
              <a:gd name="connsiteX1" fmla="*/ 1179576 w 1383908"/>
              <a:gd name="connsiteY1" fmla="*/ 726068 h 1069277"/>
              <a:gd name="connsiteX2" fmla="*/ 1375024 w 1383908"/>
              <a:gd name="connsiteY2" fmla="*/ 454496 h 1069277"/>
              <a:gd name="connsiteX3" fmla="*/ 1187576 w 1383908"/>
              <a:gd name="connsiteY3" fmla="*/ 1069277 h 1069277"/>
              <a:gd name="connsiteX4" fmla="*/ 594360 w 1383908"/>
              <a:gd name="connsiteY4" fmla="*/ 629221 h 1069277"/>
              <a:gd name="connsiteX5" fmla="*/ 1012912 w 1383908"/>
              <a:gd name="connsiteY5" fmla="*/ 731747 h 1069277"/>
              <a:gd name="connsiteX6" fmla="*/ 0 w 1383908"/>
              <a:gd name="connsiteY6" fmla="*/ 346329 h 1069277"/>
              <a:gd name="connsiteX7" fmla="*/ 0 w 1383908"/>
              <a:gd name="connsiteY7" fmla="*/ 0 h 1069277"/>
              <a:gd name="connsiteX0" fmla="*/ 0 w 1383908"/>
              <a:gd name="connsiteY0" fmla="*/ 0 h 1069277"/>
              <a:gd name="connsiteX1" fmla="*/ 1179576 w 1383908"/>
              <a:gd name="connsiteY1" fmla="*/ 726068 h 1069277"/>
              <a:gd name="connsiteX2" fmla="*/ 1375024 w 1383908"/>
              <a:gd name="connsiteY2" fmla="*/ 454496 h 1069277"/>
              <a:gd name="connsiteX3" fmla="*/ 1187576 w 1383908"/>
              <a:gd name="connsiteY3" fmla="*/ 1069277 h 1069277"/>
              <a:gd name="connsiteX4" fmla="*/ 678323 w 1383908"/>
              <a:gd name="connsiteY4" fmla="*/ 618439 h 1069277"/>
              <a:gd name="connsiteX5" fmla="*/ 1012912 w 1383908"/>
              <a:gd name="connsiteY5" fmla="*/ 731747 h 1069277"/>
              <a:gd name="connsiteX6" fmla="*/ 0 w 1383908"/>
              <a:gd name="connsiteY6" fmla="*/ 346329 h 1069277"/>
              <a:gd name="connsiteX7" fmla="*/ 0 w 1383908"/>
              <a:gd name="connsiteY7" fmla="*/ 0 h 1069277"/>
              <a:gd name="connsiteX0" fmla="*/ 0 w 1383908"/>
              <a:gd name="connsiteY0" fmla="*/ 0 h 1069277"/>
              <a:gd name="connsiteX1" fmla="*/ 1179576 w 1383908"/>
              <a:gd name="connsiteY1" fmla="*/ 726068 h 1069277"/>
              <a:gd name="connsiteX2" fmla="*/ 1375024 w 1383908"/>
              <a:gd name="connsiteY2" fmla="*/ 454496 h 1069277"/>
              <a:gd name="connsiteX3" fmla="*/ 1187576 w 1383908"/>
              <a:gd name="connsiteY3" fmla="*/ 1069277 h 1069277"/>
              <a:gd name="connsiteX4" fmla="*/ 678323 w 1383908"/>
              <a:gd name="connsiteY4" fmla="*/ 618439 h 1069277"/>
              <a:gd name="connsiteX5" fmla="*/ 1012912 w 1383908"/>
              <a:gd name="connsiteY5" fmla="*/ 731747 h 1069277"/>
              <a:gd name="connsiteX6" fmla="*/ 0 w 1383908"/>
              <a:gd name="connsiteY6" fmla="*/ 346329 h 1069277"/>
              <a:gd name="connsiteX7" fmla="*/ 0 w 1383908"/>
              <a:gd name="connsiteY7" fmla="*/ 0 h 1069277"/>
              <a:gd name="connsiteX0" fmla="*/ 0 w 1383908"/>
              <a:gd name="connsiteY0" fmla="*/ 0 h 1069277"/>
              <a:gd name="connsiteX1" fmla="*/ 1179576 w 1383908"/>
              <a:gd name="connsiteY1" fmla="*/ 726068 h 1069277"/>
              <a:gd name="connsiteX2" fmla="*/ 1375024 w 1383908"/>
              <a:gd name="connsiteY2" fmla="*/ 454496 h 1069277"/>
              <a:gd name="connsiteX3" fmla="*/ 1187576 w 1383908"/>
              <a:gd name="connsiteY3" fmla="*/ 1069277 h 1069277"/>
              <a:gd name="connsiteX4" fmla="*/ 678323 w 1383908"/>
              <a:gd name="connsiteY4" fmla="*/ 618439 h 1069277"/>
              <a:gd name="connsiteX5" fmla="*/ 1012912 w 1383908"/>
              <a:gd name="connsiteY5" fmla="*/ 731747 h 1069277"/>
              <a:gd name="connsiteX6" fmla="*/ 0 w 1383908"/>
              <a:gd name="connsiteY6" fmla="*/ 346329 h 1069277"/>
              <a:gd name="connsiteX7" fmla="*/ 0 w 1383908"/>
              <a:gd name="connsiteY7" fmla="*/ 0 h 1069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3908" h="1069277">
                <a:moveTo>
                  <a:pt x="0" y="0"/>
                </a:moveTo>
                <a:cubicBezTo>
                  <a:pt x="353568" y="131064"/>
                  <a:pt x="1160191" y="219415"/>
                  <a:pt x="1179576" y="726068"/>
                </a:cubicBezTo>
                <a:cubicBezTo>
                  <a:pt x="1244725" y="635544"/>
                  <a:pt x="1288884" y="663623"/>
                  <a:pt x="1375024" y="454496"/>
                </a:cubicBezTo>
                <a:cubicBezTo>
                  <a:pt x="1420993" y="702551"/>
                  <a:pt x="1278046" y="875132"/>
                  <a:pt x="1187576" y="1069277"/>
                </a:cubicBezTo>
                <a:cubicBezTo>
                  <a:pt x="1017825" y="918998"/>
                  <a:pt x="816588" y="854974"/>
                  <a:pt x="678323" y="618439"/>
                </a:cubicBezTo>
                <a:cubicBezTo>
                  <a:pt x="863320" y="731683"/>
                  <a:pt x="901382" y="693978"/>
                  <a:pt x="1012912" y="731747"/>
                </a:cubicBezTo>
                <a:cubicBezTo>
                  <a:pt x="753832" y="372083"/>
                  <a:pt x="295656" y="431673"/>
                  <a:pt x="0" y="346329"/>
                </a:cubicBezTo>
                <a:lnTo>
                  <a:pt x="0" y="0"/>
                </a:lnTo>
                <a:close/>
              </a:path>
            </a:pathLst>
          </a:custGeom>
          <a:solidFill>
            <a:srgbClr val="E637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2000" b="1" dirty="0">
              <a:solidFill>
                <a:srgbClr val="FFFFFF"/>
              </a:solidFill>
            </a:endParaRPr>
          </a:p>
        </p:txBody>
      </p:sp>
      <p:sp>
        <p:nvSpPr>
          <p:cNvPr id="9" name="Стрелка вправо 30"/>
          <p:cNvSpPr>
            <a:spLocks/>
          </p:cNvSpPr>
          <p:nvPr/>
        </p:nvSpPr>
        <p:spPr bwMode="auto">
          <a:xfrm>
            <a:off x="3765550" y="2408238"/>
            <a:ext cx="684213" cy="466725"/>
          </a:xfrm>
          <a:custGeom>
            <a:avLst/>
            <a:gdLst>
              <a:gd name="T0" fmla="*/ 0 w 1383908"/>
              <a:gd name="T1" fmla="*/ 0 h 1069277"/>
              <a:gd name="T2" fmla="*/ 288333 w 1383908"/>
              <a:gd name="T3" fmla="*/ 138331 h 1069277"/>
              <a:gd name="T4" fmla="*/ 336108 w 1383908"/>
              <a:gd name="T5" fmla="*/ 86591 h 1069277"/>
              <a:gd name="T6" fmla="*/ 290288 w 1383908"/>
              <a:gd name="T7" fmla="*/ 203719 h 1069277"/>
              <a:gd name="T8" fmla="*/ 165808 w 1383908"/>
              <a:gd name="T9" fmla="*/ 117825 h 1069277"/>
              <a:gd name="T10" fmla="*/ 247594 w 1383908"/>
              <a:gd name="T11" fmla="*/ 139413 h 1069277"/>
              <a:gd name="T12" fmla="*/ 0 w 1383908"/>
              <a:gd name="T13" fmla="*/ 65983 h 1069277"/>
              <a:gd name="T14" fmla="*/ 0 w 1383908"/>
              <a:gd name="T15" fmla="*/ 0 h 106927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83908" h="1069277">
                <a:moveTo>
                  <a:pt x="0" y="0"/>
                </a:moveTo>
                <a:cubicBezTo>
                  <a:pt x="353568" y="131064"/>
                  <a:pt x="1160191" y="219415"/>
                  <a:pt x="1179576" y="726068"/>
                </a:cubicBezTo>
                <a:cubicBezTo>
                  <a:pt x="1244725" y="635544"/>
                  <a:pt x="1288884" y="663623"/>
                  <a:pt x="1375024" y="454496"/>
                </a:cubicBezTo>
                <a:cubicBezTo>
                  <a:pt x="1420993" y="702551"/>
                  <a:pt x="1278046" y="875132"/>
                  <a:pt x="1187576" y="1069277"/>
                </a:cubicBezTo>
                <a:cubicBezTo>
                  <a:pt x="1017825" y="918998"/>
                  <a:pt x="816588" y="854974"/>
                  <a:pt x="678323" y="618439"/>
                </a:cubicBezTo>
                <a:cubicBezTo>
                  <a:pt x="863320" y="731683"/>
                  <a:pt x="901382" y="693978"/>
                  <a:pt x="1012912" y="731747"/>
                </a:cubicBezTo>
                <a:cubicBezTo>
                  <a:pt x="753832" y="372083"/>
                  <a:pt x="295656" y="431673"/>
                  <a:pt x="0" y="346329"/>
                </a:cubicBezTo>
                <a:lnTo>
                  <a:pt x="0" y="0"/>
                </a:lnTo>
                <a:close/>
              </a:path>
            </a:pathLst>
          </a:custGeom>
          <a:solidFill>
            <a:srgbClr val="008200"/>
          </a:solidFill>
          <a:ln w="38100">
            <a:noFill/>
            <a:round/>
            <a:headEnd/>
            <a:tailEnd/>
          </a:ln>
          <a:effectLst>
            <a:outerShdw dist="27940" dir="5400000" algn="ctr" rotWithShape="0">
              <a:srgbClr val="000000">
                <a:alpha val="31998"/>
              </a:srgbClr>
            </a:outerShdw>
          </a:effectLst>
        </p:spPr>
        <p:txBody>
          <a:bodyPr lIns="82937" tIns="41469" rIns="82937" bIns="41469" anchor="ctr"/>
          <a:lstStyle/>
          <a:p>
            <a:pPr>
              <a:defRPr/>
            </a:pPr>
            <a:endParaRPr kumimoji="1" lang="ru-RU" sz="24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Скругленный прямоугольник 9"/>
          <p:cNvSpPr>
            <a:spLocks noChangeArrowheads="1"/>
          </p:cNvSpPr>
          <p:nvPr/>
        </p:nvSpPr>
        <p:spPr bwMode="auto">
          <a:xfrm>
            <a:off x="179512" y="1520920"/>
            <a:ext cx="3672408" cy="1188000"/>
          </a:xfrm>
          <a:prstGeom prst="roundRect">
            <a:avLst>
              <a:gd name="adj" fmla="val 16667"/>
            </a:avLst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4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Министерство здравоохранения</a:t>
            </a:r>
          </a:p>
        </p:txBody>
      </p:sp>
      <p:sp>
        <p:nvSpPr>
          <p:cNvPr id="11" name="Скругленный прямоугольник 10"/>
          <p:cNvSpPr>
            <a:spLocks noChangeArrowheads="1"/>
          </p:cNvSpPr>
          <p:nvPr/>
        </p:nvSpPr>
        <p:spPr bwMode="auto">
          <a:xfrm>
            <a:off x="323809" y="5301368"/>
            <a:ext cx="2520000" cy="1440000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Медицинские и фармацевтические вузы и научные организации</a:t>
            </a:r>
          </a:p>
        </p:txBody>
      </p:sp>
      <p:sp>
        <p:nvSpPr>
          <p:cNvPr id="12" name="Скругленный прямоугольник 11"/>
          <p:cNvSpPr>
            <a:spLocks noChangeArrowheads="1"/>
          </p:cNvSpPr>
          <p:nvPr/>
        </p:nvSpPr>
        <p:spPr bwMode="auto">
          <a:xfrm>
            <a:off x="5031636" y="1520920"/>
            <a:ext cx="3932852" cy="1188000"/>
          </a:xfrm>
          <a:prstGeom prst="roundRect">
            <a:avLst>
              <a:gd name="adj" fmla="val 16667"/>
            </a:avLst>
          </a:prstGeom>
          <a:solidFill>
            <a:srgbClr val="E637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Общероссийская профессиональная медицинская организация</a:t>
            </a:r>
          </a:p>
        </p:txBody>
      </p:sp>
      <p:sp>
        <p:nvSpPr>
          <p:cNvPr id="13" name="Скругленный прямоугольник 8"/>
          <p:cNvSpPr>
            <a:spLocks noChangeArrowheads="1"/>
          </p:cNvSpPr>
          <p:nvPr/>
        </p:nvSpPr>
        <p:spPr bwMode="auto">
          <a:xfrm>
            <a:off x="179512" y="2924944"/>
            <a:ext cx="8829395" cy="1944216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/>
          <a:lstStyle/>
          <a:p>
            <a:pPr algn="ctr" defTabSz="828675">
              <a:defRPr/>
            </a:pPr>
            <a:r>
              <a:rPr lang="ru-RU" sz="32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ООРДИНАЦИОННЫЙ СОВЕТ</a:t>
            </a:r>
            <a:endParaRPr lang="ru-RU" sz="2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828675">
              <a:defRPr/>
            </a:pPr>
            <a:r>
              <a:rPr lang="ru-RU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о развитию непрерывного медицинского и фармацевтического </a:t>
            </a:r>
            <a:br>
              <a:rPr lang="ru-RU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бразования</a:t>
            </a:r>
          </a:p>
        </p:txBody>
      </p:sp>
      <p:sp>
        <p:nvSpPr>
          <p:cNvPr id="15" name="Скругленный прямоугольник 14"/>
          <p:cNvSpPr>
            <a:spLocks noChangeArrowheads="1"/>
          </p:cNvSpPr>
          <p:nvPr/>
        </p:nvSpPr>
        <p:spPr bwMode="auto">
          <a:xfrm>
            <a:off x="6228464" y="5301368"/>
            <a:ext cx="2520000" cy="1440000"/>
          </a:xfrm>
          <a:prstGeom prst="roundRect">
            <a:avLst>
              <a:gd name="adj" fmla="val 16667"/>
            </a:avLst>
          </a:prstGeom>
          <a:solidFill>
            <a:schemeClr val="accent6">
              <a:lumMod val="50000"/>
            </a:schemeClr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Профессиональные организации по специальностям</a:t>
            </a:r>
          </a:p>
        </p:txBody>
      </p:sp>
      <p:sp>
        <p:nvSpPr>
          <p:cNvPr id="16" name="Скругленный прямоугольник 15"/>
          <p:cNvSpPr>
            <a:spLocks noChangeArrowheads="1"/>
          </p:cNvSpPr>
          <p:nvPr/>
        </p:nvSpPr>
        <p:spPr bwMode="auto">
          <a:xfrm>
            <a:off x="3276137" y="5301368"/>
            <a:ext cx="2520000" cy="144000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 dirty="0" smtClean="0">
                <a:solidFill>
                  <a:srgbClr val="FFFFFF"/>
                </a:solidFill>
                <a:cs typeface="Arial" pitchFamily="34" charset="0"/>
              </a:rPr>
              <a:t>Региональные органы управления здравоохранением</a:t>
            </a:r>
            <a:endParaRPr lang="ru-RU" sz="20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7" name="Стрелка вправо 30"/>
          <p:cNvSpPr>
            <a:spLocks/>
          </p:cNvSpPr>
          <p:nvPr/>
        </p:nvSpPr>
        <p:spPr bwMode="auto">
          <a:xfrm flipH="1">
            <a:off x="4416425" y="4856163"/>
            <a:ext cx="239713" cy="431800"/>
          </a:xfrm>
          <a:custGeom>
            <a:avLst/>
            <a:gdLst>
              <a:gd name="T0" fmla="*/ 66470 w 722970"/>
              <a:gd name="T1" fmla="*/ 0 h 1201801"/>
              <a:gd name="T2" fmla="*/ 55703 w 722970"/>
              <a:gd name="T3" fmla="*/ 101062 h 1201801"/>
              <a:gd name="T4" fmla="*/ 79481 w 722970"/>
              <a:gd name="T5" fmla="*/ 94110 h 1201801"/>
              <a:gd name="T6" fmla="*/ 39489 w 722970"/>
              <a:gd name="T7" fmla="*/ 155143 h 1201801"/>
              <a:gd name="T8" fmla="*/ 0 w 722970"/>
              <a:gd name="T9" fmla="*/ 93277 h 1201801"/>
              <a:gd name="T10" fmla="*/ 21360 w 722970"/>
              <a:gd name="T11" fmla="*/ 100573 h 1201801"/>
              <a:gd name="T12" fmla="*/ 8652 w 722970"/>
              <a:gd name="T13" fmla="*/ 717 h 1201801"/>
              <a:gd name="T14" fmla="*/ 66470 w 722970"/>
              <a:gd name="T15" fmla="*/ 0 h 120180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2970" h="1201801">
                <a:moveTo>
                  <a:pt x="604617" y="0"/>
                </a:moveTo>
                <a:cubicBezTo>
                  <a:pt x="581605" y="153217"/>
                  <a:pt x="521250" y="661362"/>
                  <a:pt x="506686" y="782864"/>
                </a:cubicBezTo>
                <a:cubicBezTo>
                  <a:pt x="492036" y="905082"/>
                  <a:pt x="541560" y="871875"/>
                  <a:pt x="722970" y="729010"/>
                </a:cubicBezTo>
                <a:cubicBezTo>
                  <a:pt x="630806" y="1119055"/>
                  <a:pt x="497409" y="1045520"/>
                  <a:pt x="359198" y="1201801"/>
                </a:cubicBezTo>
                <a:cubicBezTo>
                  <a:pt x="160803" y="1013658"/>
                  <a:pt x="100072" y="1082158"/>
                  <a:pt x="0" y="722565"/>
                </a:cubicBezTo>
                <a:cubicBezTo>
                  <a:pt x="142136" y="835809"/>
                  <a:pt x="223330" y="895737"/>
                  <a:pt x="194293" y="779077"/>
                </a:cubicBezTo>
                <a:cubicBezTo>
                  <a:pt x="164549" y="659575"/>
                  <a:pt x="154750" y="251819"/>
                  <a:pt x="78702" y="5553"/>
                </a:cubicBezTo>
                <a:lnTo>
                  <a:pt x="604617" y="0"/>
                </a:lnTo>
                <a:close/>
              </a:path>
            </a:pathLst>
          </a:custGeom>
          <a:solidFill>
            <a:srgbClr val="C00000"/>
          </a:solidFill>
          <a:ln w="38100">
            <a:noFill/>
            <a:round/>
            <a:headEnd/>
            <a:tailEnd/>
          </a:ln>
          <a:effectLst>
            <a:outerShdw dist="27940" dir="5400000" algn="ctr" rotWithShape="0">
              <a:srgbClr val="000000">
                <a:alpha val="31998"/>
              </a:srgbClr>
            </a:outerShdw>
          </a:effectLst>
        </p:spPr>
        <p:txBody>
          <a:bodyPr lIns="82937" tIns="41469" rIns="82937" bIns="41469"/>
          <a:lstStyle/>
          <a:p>
            <a:pPr>
              <a:defRPr/>
            </a:pPr>
            <a:endParaRPr kumimoji="1" lang="ru-RU" sz="24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Стрелка вправо 30"/>
          <p:cNvSpPr>
            <a:spLocks/>
          </p:cNvSpPr>
          <p:nvPr/>
        </p:nvSpPr>
        <p:spPr bwMode="auto">
          <a:xfrm flipH="1">
            <a:off x="7367588" y="4856163"/>
            <a:ext cx="241300" cy="431800"/>
          </a:xfrm>
          <a:custGeom>
            <a:avLst/>
            <a:gdLst>
              <a:gd name="T0" fmla="*/ 67353 w 722970"/>
              <a:gd name="T1" fmla="*/ 0 h 1201801"/>
              <a:gd name="T2" fmla="*/ 56444 w 722970"/>
              <a:gd name="T3" fmla="*/ 101062 h 1201801"/>
              <a:gd name="T4" fmla="*/ 80537 w 722970"/>
              <a:gd name="T5" fmla="*/ 94110 h 1201801"/>
              <a:gd name="T6" fmla="*/ 40014 w 722970"/>
              <a:gd name="T7" fmla="*/ 155143 h 1201801"/>
              <a:gd name="T8" fmla="*/ 0 w 722970"/>
              <a:gd name="T9" fmla="*/ 93277 h 1201801"/>
              <a:gd name="T10" fmla="*/ 21644 w 722970"/>
              <a:gd name="T11" fmla="*/ 100573 h 1201801"/>
              <a:gd name="T12" fmla="*/ 8767 w 722970"/>
              <a:gd name="T13" fmla="*/ 717 h 1201801"/>
              <a:gd name="T14" fmla="*/ 67353 w 722970"/>
              <a:gd name="T15" fmla="*/ 0 h 120180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2970" h="1201801">
                <a:moveTo>
                  <a:pt x="604617" y="0"/>
                </a:moveTo>
                <a:cubicBezTo>
                  <a:pt x="581605" y="153217"/>
                  <a:pt x="521250" y="661362"/>
                  <a:pt x="506686" y="782864"/>
                </a:cubicBezTo>
                <a:cubicBezTo>
                  <a:pt x="492036" y="905082"/>
                  <a:pt x="541560" y="871875"/>
                  <a:pt x="722970" y="729010"/>
                </a:cubicBezTo>
                <a:cubicBezTo>
                  <a:pt x="630806" y="1119055"/>
                  <a:pt x="497409" y="1045520"/>
                  <a:pt x="359198" y="1201801"/>
                </a:cubicBezTo>
                <a:cubicBezTo>
                  <a:pt x="160803" y="1013658"/>
                  <a:pt x="100072" y="1082158"/>
                  <a:pt x="0" y="722565"/>
                </a:cubicBezTo>
                <a:cubicBezTo>
                  <a:pt x="142136" y="835809"/>
                  <a:pt x="223330" y="895737"/>
                  <a:pt x="194293" y="779077"/>
                </a:cubicBezTo>
                <a:cubicBezTo>
                  <a:pt x="164549" y="659575"/>
                  <a:pt x="154750" y="251819"/>
                  <a:pt x="78702" y="5553"/>
                </a:cubicBezTo>
                <a:lnTo>
                  <a:pt x="604617" y="0"/>
                </a:lnTo>
                <a:close/>
              </a:path>
            </a:pathLst>
          </a:custGeom>
          <a:solidFill>
            <a:srgbClr val="C00000"/>
          </a:solidFill>
          <a:ln w="38100">
            <a:noFill/>
            <a:round/>
            <a:headEnd/>
            <a:tailEnd/>
          </a:ln>
          <a:effectLst>
            <a:outerShdw dist="27940" dir="5400000" algn="ctr" rotWithShape="0">
              <a:srgbClr val="000000">
                <a:alpha val="31998"/>
              </a:srgbClr>
            </a:outerShdw>
          </a:effectLst>
        </p:spPr>
        <p:txBody>
          <a:bodyPr lIns="82937" tIns="41469" rIns="82937" bIns="41469"/>
          <a:lstStyle/>
          <a:p>
            <a:pPr>
              <a:defRPr/>
            </a:pPr>
            <a:endParaRPr kumimoji="1" lang="ru-RU" sz="24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Стрелка вправо 30"/>
          <p:cNvSpPr>
            <a:spLocks/>
          </p:cNvSpPr>
          <p:nvPr/>
        </p:nvSpPr>
        <p:spPr bwMode="auto">
          <a:xfrm flipH="1">
            <a:off x="1463675" y="4856163"/>
            <a:ext cx="241300" cy="431800"/>
          </a:xfrm>
          <a:custGeom>
            <a:avLst/>
            <a:gdLst>
              <a:gd name="T0" fmla="*/ 67353 w 722970"/>
              <a:gd name="T1" fmla="*/ 0 h 1201801"/>
              <a:gd name="T2" fmla="*/ 56444 w 722970"/>
              <a:gd name="T3" fmla="*/ 101062 h 1201801"/>
              <a:gd name="T4" fmla="*/ 80537 w 722970"/>
              <a:gd name="T5" fmla="*/ 94110 h 1201801"/>
              <a:gd name="T6" fmla="*/ 40014 w 722970"/>
              <a:gd name="T7" fmla="*/ 155143 h 1201801"/>
              <a:gd name="T8" fmla="*/ 0 w 722970"/>
              <a:gd name="T9" fmla="*/ 93277 h 1201801"/>
              <a:gd name="T10" fmla="*/ 21644 w 722970"/>
              <a:gd name="T11" fmla="*/ 100573 h 1201801"/>
              <a:gd name="T12" fmla="*/ 8767 w 722970"/>
              <a:gd name="T13" fmla="*/ 717 h 1201801"/>
              <a:gd name="T14" fmla="*/ 67353 w 722970"/>
              <a:gd name="T15" fmla="*/ 0 h 120180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22970" h="1201801">
                <a:moveTo>
                  <a:pt x="604617" y="0"/>
                </a:moveTo>
                <a:cubicBezTo>
                  <a:pt x="581605" y="153217"/>
                  <a:pt x="521250" y="661362"/>
                  <a:pt x="506686" y="782864"/>
                </a:cubicBezTo>
                <a:cubicBezTo>
                  <a:pt x="492036" y="905082"/>
                  <a:pt x="541560" y="871875"/>
                  <a:pt x="722970" y="729010"/>
                </a:cubicBezTo>
                <a:cubicBezTo>
                  <a:pt x="630806" y="1119055"/>
                  <a:pt x="497409" y="1045520"/>
                  <a:pt x="359198" y="1201801"/>
                </a:cubicBezTo>
                <a:cubicBezTo>
                  <a:pt x="160803" y="1013658"/>
                  <a:pt x="100072" y="1082158"/>
                  <a:pt x="0" y="722565"/>
                </a:cubicBezTo>
                <a:cubicBezTo>
                  <a:pt x="142136" y="835809"/>
                  <a:pt x="223330" y="895737"/>
                  <a:pt x="194293" y="779077"/>
                </a:cubicBezTo>
                <a:cubicBezTo>
                  <a:pt x="164549" y="659575"/>
                  <a:pt x="154750" y="251819"/>
                  <a:pt x="78702" y="5553"/>
                </a:cubicBezTo>
                <a:lnTo>
                  <a:pt x="604617" y="0"/>
                </a:lnTo>
                <a:close/>
              </a:path>
            </a:pathLst>
          </a:custGeom>
          <a:solidFill>
            <a:srgbClr val="C00000"/>
          </a:solidFill>
          <a:ln w="38100">
            <a:noFill/>
            <a:round/>
            <a:headEnd/>
            <a:tailEnd/>
          </a:ln>
          <a:effectLst>
            <a:outerShdw dist="27940" dir="5400000" algn="ctr" rotWithShape="0">
              <a:srgbClr val="000000">
                <a:alpha val="31998"/>
              </a:srgbClr>
            </a:outerShdw>
          </a:effectLst>
        </p:spPr>
        <p:txBody>
          <a:bodyPr lIns="82937" tIns="41469" rIns="82937" bIns="41469"/>
          <a:lstStyle/>
          <a:p>
            <a:pPr>
              <a:defRPr/>
            </a:pPr>
            <a:endParaRPr kumimoji="1" lang="ru-RU" sz="24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1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1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26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31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Содержимое 2"/>
          <p:cNvSpPr>
            <a:spLocks noGrp="1"/>
          </p:cNvSpPr>
          <p:nvPr>
            <p:ph sz="quarter" idx="1"/>
          </p:nvPr>
        </p:nvSpPr>
        <p:spPr>
          <a:xfrm>
            <a:off x="0" y="0"/>
            <a:ext cx="9144000" cy="1340767"/>
          </a:xfrm>
        </p:spPr>
        <p:txBody>
          <a:bodyPr/>
          <a:lstStyle/>
          <a:p>
            <a:pPr eaLnBrk="1" hangingPunct="1">
              <a:buFont typeface="Wingdings 2" pitchFamily="18" charset="2"/>
              <a:buNone/>
            </a:pPr>
            <a:r>
              <a:rPr kumimoji="0" lang="ru-RU" sz="2800" b="1" dirty="0" smtClean="0">
                <a:solidFill>
                  <a:schemeClr val="bg1"/>
                </a:solidFill>
              </a:rPr>
              <a:t>СОПРЕДСЕДАТЕЛИ КООРДИНАЦИОННОГО СОВЕТА:        президент НМП Л.М.Рошаль и                                               заместитель министра - И.Н. </a:t>
            </a:r>
            <a:r>
              <a:rPr kumimoji="0" lang="ru-RU" sz="2800" b="1" dirty="0" err="1" smtClean="0">
                <a:solidFill>
                  <a:schemeClr val="bg1"/>
                </a:solidFill>
              </a:rPr>
              <a:t>Каграманян</a:t>
            </a:r>
            <a:endParaRPr kumimoji="0" lang="ru-RU" sz="2800" b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457199" y="1678898"/>
          <a:ext cx="8476939" cy="49617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marL="3175" eaLnBrk="1" hangingPunct="1">
              <a:lnSpc>
                <a:spcPct val="90000"/>
              </a:lnSpc>
            </a:pPr>
            <a:r>
              <a:rPr kumimoji="0" lang="ru-RU" sz="3600" b="1" smtClean="0">
                <a:solidFill>
                  <a:schemeClr val="bg1"/>
                </a:solidFill>
              </a:rPr>
              <a:t>Принцип 4. Комплексное обучение медицинских работников</a:t>
            </a:r>
          </a:p>
        </p:txBody>
      </p:sp>
      <p:sp>
        <p:nvSpPr>
          <p:cNvPr id="10" name="Шестиугольник 9"/>
          <p:cNvSpPr/>
          <p:nvPr/>
        </p:nvSpPr>
        <p:spPr>
          <a:xfrm>
            <a:off x="1771804" y="4104368"/>
            <a:ext cx="2160000" cy="1800000"/>
          </a:xfrm>
          <a:prstGeom prst="hexagon">
            <a:avLst/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00706" y="4804313"/>
            <a:ext cx="1702197" cy="400110"/>
          </a:xfrm>
          <a:prstGeom prst="rect">
            <a:avLst/>
          </a:prstGeom>
          <a:noFill/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Управление</a:t>
            </a:r>
          </a:p>
        </p:txBody>
      </p:sp>
      <p:sp>
        <p:nvSpPr>
          <p:cNvPr id="11" name="Шестиугольник 10"/>
          <p:cNvSpPr/>
          <p:nvPr/>
        </p:nvSpPr>
        <p:spPr>
          <a:xfrm>
            <a:off x="5212196" y="4104368"/>
            <a:ext cx="2160000" cy="1800000"/>
          </a:xfrm>
          <a:prstGeom prst="hexagon">
            <a:avLst/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504352" y="4795977"/>
            <a:ext cx="1575689" cy="416781"/>
          </a:xfrm>
          <a:prstGeom prst="rect">
            <a:avLst/>
          </a:prstGeom>
          <a:noFill/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Этика</a:t>
            </a:r>
          </a:p>
        </p:txBody>
      </p:sp>
      <p:sp>
        <p:nvSpPr>
          <p:cNvPr id="9" name="Шестиугольник 8"/>
          <p:cNvSpPr/>
          <p:nvPr/>
        </p:nvSpPr>
        <p:spPr>
          <a:xfrm>
            <a:off x="5212196" y="2331201"/>
            <a:ext cx="2160000" cy="1800000"/>
          </a:xfrm>
          <a:prstGeom prst="hexagon">
            <a:avLst/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652120" y="3031146"/>
            <a:ext cx="1296144" cy="400110"/>
          </a:xfrm>
          <a:prstGeom prst="rect">
            <a:avLst/>
          </a:prstGeom>
          <a:noFill/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Умения</a:t>
            </a:r>
          </a:p>
        </p:txBody>
      </p:sp>
      <p:sp>
        <p:nvSpPr>
          <p:cNvPr id="12" name="Шестиугольник 11"/>
          <p:cNvSpPr/>
          <p:nvPr/>
        </p:nvSpPr>
        <p:spPr>
          <a:xfrm>
            <a:off x="3492000" y="5023256"/>
            <a:ext cx="2160000" cy="1800000"/>
          </a:xfrm>
          <a:prstGeom prst="hexagon">
            <a:avLst/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893769" y="5723201"/>
            <a:ext cx="1356462" cy="400110"/>
          </a:xfrm>
          <a:prstGeom prst="rect">
            <a:avLst/>
          </a:prstGeom>
          <a:noFill/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Общение</a:t>
            </a:r>
          </a:p>
        </p:txBody>
      </p:sp>
      <p:sp>
        <p:nvSpPr>
          <p:cNvPr id="14" name="Шестиугольник 13"/>
          <p:cNvSpPr/>
          <p:nvPr/>
        </p:nvSpPr>
        <p:spPr>
          <a:xfrm>
            <a:off x="3492000" y="1440072"/>
            <a:ext cx="2160000" cy="1728000"/>
          </a:xfrm>
          <a:prstGeom prst="hexagon">
            <a:avLst/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696112" y="1796241"/>
            <a:ext cx="1751777" cy="1015663"/>
          </a:xfrm>
          <a:prstGeom prst="rect">
            <a:avLst/>
          </a:prstGeom>
          <a:noFill/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Профес-сиональные знания</a:t>
            </a:r>
          </a:p>
        </p:txBody>
      </p:sp>
      <p:sp>
        <p:nvSpPr>
          <p:cNvPr id="7" name="Шестиугольник 6"/>
          <p:cNvSpPr/>
          <p:nvPr/>
        </p:nvSpPr>
        <p:spPr>
          <a:xfrm>
            <a:off x="1771804" y="2303905"/>
            <a:ext cx="2160000" cy="1800000"/>
          </a:xfrm>
          <a:prstGeom prst="hexagon">
            <a:avLst/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051720" y="3003850"/>
            <a:ext cx="1584176" cy="400110"/>
          </a:xfrm>
          <a:prstGeom prst="rect">
            <a:avLst/>
          </a:prstGeom>
          <a:noFill/>
          <a:ln w="38100" algn="ctr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Экономика</a:t>
            </a:r>
          </a:p>
        </p:txBody>
      </p:sp>
      <p:sp>
        <p:nvSpPr>
          <p:cNvPr id="8" name="Шестиугольник 7"/>
          <p:cNvSpPr/>
          <p:nvPr/>
        </p:nvSpPr>
        <p:spPr>
          <a:xfrm>
            <a:off x="3492000" y="3199528"/>
            <a:ext cx="2160000" cy="1800000"/>
          </a:xfrm>
          <a:prstGeom prst="hexagon">
            <a:avLst/>
          </a:prstGeom>
          <a:solidFill>
            <a:srgbClr val="E63700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527387" y="4037002"/>
            <a:ext cx="2089225" cy="400110"/>
          </a:xfrm>
          <a:prstGeom prst="rect">
            <a:avLst/>
          </a:prstGeom>
          <a:noFill/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2000" b="1">
                <a:solidFill>
                  <a:srgbClr val="FFFFFF"/>
                </a:solidFill>
                <a:cs typeface="Arial" pitchFamily="34" charset="0"/>
              </a:rPr>
              <a:t>КВАЛИФИКАЦИЯ</a:t>
            </a:r>
          </a:p>
          <a:p>
            <a:pPr algn="ctr" defTabSz="828675">
              <a:defRPr/>
            </a:pPr>
            <a:r>
              <a:rPr lang="ru-RU" sz="2000" b="1">
                <a:solidFill>
                  <a:srgbClr val="FFFFFF"/>
                </a:solidFill>
                <a:cs typeface="Arial" pitchFamily="34" charset="0"/>
              </a:rPr>
              <a:t>ВРАЧА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4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5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57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0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47AB"/>
            </a:gs>
            <a:gs pos="46000">
              <a:srgbClr val="0054D0"/>
            </a:gs>
            <a:gs pos="100000">
              <a:srgbClr val="0047AB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2348880"/>
            <a:ext cx="9144000" cy="1974081"/>
          </a:xfrm>
          <a:extLst/>
        </p:spPr>
        <p:txBody>
          <a:bodyPr/>
          <a:lstStyle/>
          <a:p>
            <a:pPr marL="539750" indent="-539750" eaLnBrk="1" hangingPunct="1">
              <a:defRPr/>
            </a:pPr>
            <a:r>
              <a:rPr kumimoji="0" lang="ru-RU" sz="40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. </a:t>
            </a:r>
            <a:r>
              <a:rPr kumimoji="0" lang="ru-RU" sz="4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пределение НМО и актуальность</a:t>
            </a:r>
            <a:endParaRPr kumimoji="0" lang="ru-RU" sz="5400" b="1" cap="small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+mj-ea"/>
              <a:cs typeface="+mj-c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524" y="4065588"/>
            <a:ext cx="8568952" cy="0"/>
          </a:xfrm>
          <a:prstGeom prst="line">
            <a:avLst/>
          </a:prstGeom>
          <a:ln w="38100" cap="rnd" cmpd="sng">
            <a:solidFill>
              <a:srgbClr val="C00000"/>
            </a:solidFill>
          </a:ln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bg1"/>
            </a:contourClr>
          </a:sp3d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44450"/>
            <a:ext cx="9144000" cy="1301750"/>
          </a:xfrm>
        </p:spPr>
        <p:txBody>
          <a:bodyPr/>
          <a:lstStyle/>
          <a:p>
            <a:pPr eaLnBrk="1" hangingPunct="1"/>
            <a:r>
              <a:rPr kumimoji="0" lang="ru-RU" sz="3600" b="1" smtClean="0">
                <a:solidFill>
                  <a:schemeClr val="bg1"/>
                </a:solidFill>
              </a:rPr>
              <a:t>Принцип 5.</a:t>
            </a:r>
            <a:r>
              <a:rPr kumimoji="0" lang="en-US" sz="3600" b="1" smtClean="0">
                <a:solidFill>
                  <a:schemeClr val="bg1"/>
                </a:solidFill>
              </a:rPr>
              <a:t/>
            </a:r>
            <a:br>
              <a:rPr kumimoji="0" lang="en-US" sz="3600" b="1" smtClean="0">
                <a:solidFill>
                  <a:schemeClr val="bg1"/>
                </a:solidFill>
              </a:rPr>
            </a:br>
            <a:r>
              <a:rPr kumimoji="0" lang="ru-RU" sz="3600" b="1" smtClean="0">
                <a:solidFill>
                  <a:schemeClr val="bg1"/>
                </a:solidFill>
              </a:rPr>
              <a:t>Удобство для медработника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idx="1"/>
          </p:nvPr>
        </p:nvSpPr>
        <p:spPr>
          <a:xfrm>
            <a:off x="250825" y="1700213"/>
            <a:ext cx="8424863" cy="5113337"/>
          </a:xfrm>
        </p:spPr>
        <p:txBody>
          <a:bodyPr/>
          <a:lstStyle/>
          <a:p>
            <a:pPr marL="450850" indent="273050" eaLnBrk="1" hangingPunct="1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2800" dirty="0" smtClean="0"/>
              <a:t>Дистанционное обучение </a:t>
            </a:r>
            <a:r>
              <a:rPr kumimoji="0" lang="ru-RU" sz="2800" b="1" dirty="0" smtClean="0">
                <a:solidFill>
                  <a:srgbClr val="C00000"/>
                </a:solidFill>
              </a:rPr>
              <a:t>на рабочем месте</a:t>
            </a:r>
          </a:p>
          <a:p>
            <a:pPr marL="450850" indent="273050" eaLnBrk="1" hangingPunct="1">
              <a:spcBef>
                <a:spcPts val="1800"/>
              </a:spcBef>
              <a:spcAft>
                <a:spcPts val="6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2800" dirty="0" smtClean="0"/>
              <a:t>Учет </a:t>
            </a:r>
            <a:r>
              <a:rPr kumimoji="0" lang="ru-RU" sz="2800" b="1" dirty="0" smtClean="0">
                <a:solidFill>
                  <a:srgbClr val="C00000"/>
                </a:solidFill>
              </a:rPr>
              <a:t>всех</a:t>
            </a:r>
            <a:r>
              <a:rPr kumimoji="0" lang="ru-RU" sz="2800" dirty="0" smtClean="0"/>
              <a:t> видов образовательной активности:</a:t>
            </a:r>
          </a:p>
          <a:p>
            <a:pPr marL="450850" indent="273050" eaLnBrk="1" hangingPunct="1">
              <a:spcBef>
                <a:spcPct val="0"/>
              </a:spcBef>
              <a:buClr>
                <a:srgbClr val="C00000"/>
              </a:buClr>
              <a:buFont typeface="Wingdings" pitchFamily="2" charset="2"/>
              <a:buChar char="§"/>
            </a:pPr>
            <a:r>
              <a:rPr kumimoji="0" lang="ru-RU" sz="2400" dirty="0" smtClean="0"/>
              <a:t>Наставничество</a:t>
            </a:r>
          </a:p>
          <a:p>
            <a:pPr marL="450850" indent="273050" eaLnBrk="1" hangingPunct="1">
              <a:spcBef>
                <a:spcPct val="0"/>
              </a:spcBef>
              <a:buClr>
                <a:srgbClr val="C00000"/>
              </a:buClr>
              <a:buFont typeface="Wingdings" pitchFamily="2" charset="2"/>
              <a:buChar char="§"/>
            </a:pPr>
            <a:r>
              <a:rPr kumimoji="0" lang="ru-RU" sz="2400" dirty="0" smtClean="0"/>
              <a:t>Участие в патологоанатомических разборах</a:t>
            </a:r>
          </a:p>
          <a:p>
            <a:pPr marL="450850" indent="273050" eaLnBrk="1" hangingPunct="1">
              <a:spcBef>
                <a:spcPct val="0"/>
              </a:spcBef>
              <a:buClr>
                <a:srgbClr val="C00000"/>
              </a:buClr>
              <a:buFont typeface="Wingdings" pitchFamily="2" charset="2"/>
              <a:buChar char="§"/>
            </a:pPr>
            <a:r>
              <a:rPr kumimoji="0" lang="ru-RU" sz="2400" dirty="0" smtClean="0"/>
              <a:t>Обучение в </a:t>
            </a:r>
            <a:r>
              <a:rPr kumimoji="0" lang="ru-RU" sz="2400" dirty="0" err="1" smtClean="0"/>
              <a:t>симуляционных</a:t>
            </a:r>
            <a:r>
              <a:rPr kumimoji="0" lang="ru-RU" sz="2400" dirty="0" smtClean="0"/>
              <a:t> центрах</a:t>
            </a:r>
          </a:p>
          <a:p>
            <a:pPr marL="450850" indent="273050" eaLnBrk="1" hangingPunct="1">
              <a:spcBef>
                <a:spcPct val="0"/>
              </a:spcBef>
              <a:buClr>
                <a:srgbClr val="C00000"/>
              </a:buClr>
              <a:buFont typeface="Wingdings" pitchFamily="2" charset="2"/>
              <a:buChar char="§"/>
            </a:pPr>
            <a:r>
              <a:rPr kumimoji="0" lang="ru-RU" sz="2400" dirty="0" smtClean="0"/>
              <a:t>Выступления на конференциях</a:t>
            </a:r>
          </a:p>
          <a:p>
            <a:pPr marL="450850" indent="273050" eaLnBrk="1" hangingPunct="1">
              <a:spcBef>
                <a:spcPct val="0"/>
              </a:spcBef>
              <a:buClr>
                <a:srgbClr val="C00000"/>
              </a:buClr>
              <a:buFont typeface="Wingdings" pitchFamily="2" charset="2"/>
              <a:buChar char="§"/>
            </a:pPr>
            <a:r>
              <a:rPr kumimoji="0" lang="ru-RU" sz="2400" dirty="0" smtClean="0"/>
              <a:t>Научная работа</a:t>
            </a:r>
            <a:r>
              <a:rPr kumimoji="0" lang="en-US" sz="2400" dirty="0" smtClean="0"/>
              <a:t> </a:t>
            </a:r>
            <a:r>
              <a:rPr kumimoji="0" lang="ru-RU" sz="2400" dirty="0" smtClean="0"/>
              <a:t>и другая активность</a:t>
            </a:r>
          </a:p>
          <a:p>
            <a:pPr marL="450850" indent="273050" eaLnBrk="1" hangingPunct="1">
              <a:spcBef>
                <a:spcPct val="0"/>
              </a:spcBef>
              <a:buClr>
                <a:srgbClr val="C00000"/>
              </a:buClr>
              <a:buFont typeface="Arial" charset="0"/>
              <a:buNone/>
            </a:pPr>
            <a:endParaRPr kumimoji="0" lang="ru-RU" sz="2800" dirty="0" smtClean="0">
              <a:solidFill>
                <a:srgbClr val="000000"/>
              </a:solidFill>
            </a:endParaRPr>
          </a:p>
          <a:p>
            <a:pPr marL="450850" indent="273050" eaLnBrk="1" hangingPunct="1">
              <a:spcBef>
                <a:spcPct val="0"/>
              </a:spcBef>
              <a:buClr>
                <a:srgbClr val="C00000"/>
              </a:buClr>
              <a:buFont typeface="Arial" charset="0"/>
              <a:buNone/>
            </a:pPr>
            <a:r>
              <a:rPr kumimoji="0" lang="ru-RU" sz="2800" dirty="0" smtClean="0">
                <a:solidFill>
                  <a:srgbClr val="000000"/>
                </a:solidFill>
              </a:rPr>
              <a:t>Обучение должно быть </a:t>
            </a:r>
            <a:r>
              <a:rPr kumimoji="0" lang="ru-RU" sz="2800" b="1" dirty="0" smtClean="0">
                <a:solidFill>
                  <a:srgbClr val="C00000"/>
                </a:solidFill>
              </a:rPr>
              <a:t>актуальным и интересным</a:t>
            </a:r>
            <a:endParaRPr kumimoji="0" lang="ru-RU" sz="2400" dirty="0" smtClean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493713" y="1700213"/>
            <a:ext cx="506412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>
              <a:solidFill>
                <a:srgbClr val="C80000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493713" y="2484438"/>
            <a:ext cx="50641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>
              <a:solidFill>
                <a:srgbClr val="C80000"/>
              </a:solidFill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395536" y="5517232"/>
            <a:ext cx="50641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 dirty="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 dirty="0">
              <a:solidFill>
                <a:srgbClr val="C80000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2875"/>
          </a:xfrm>
        </p:spPr>
        <p:txBody>
          <a:bodyPr/>
          <a:lstStyle/>
          <a:p>
            <a:pPr marL="3175" eaLnBrk="1" hangingPunct="1">
              <a:lnSpc>
                <a:spcPct val="90000"/>
              </a:lnSpc>
            </a:pPr>
            <a:r>
              <a:rPr kumimoji="0" lang="ru-RU" sz="3600" b="1" smtClean="0">
                <a:solidFill>
                  <a:schemeClr val="bg1"/>
                </a:solidFill>
              </a:rPr>
              <a:t>Принцип 6. Персонифицированность, непрерывность и контроль</a:t>
            </a: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2592388" y="3213100"/>
            <a:ext cx="4103687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8000">
                <a:solidFill>
                  <a:srgbClr val="C00000"/>
                </a:solidFill>
                <a:latin typeface="Calibri" pitchFamily="34" charset="0"/>
              </a:rPr>
              <a:t>≥</a:t>
            </a:r>
            <a:r>
              <a:rPr lang="ru-RU" sz="8000" b="1">
                <a:solidFill>
                  <a:srgbClr val="C00000"/>
                </a:solidFill>
                <a:latin typeface="Calibri" pitchFamily="34" charset="0"/>
              </a:rPr>
              <a:t> 250 </a:t>
            </a:r>
            <a:r>
              <a:rPr lang="ru-RU" sz="4000" b="1">
                <a:solidFill>
                  <a:srgbClr val="000000"/>
                </a:solidFill>
                <a:latin typeface="Calibri" pitchFamily="34" charset="0"/>
              </a:rPr>
              <a:t>ч.</a:t>
            </a:r>
            <a:endParaRPr lang="ru-RU" sz="2800" b="1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sz="3200" b="1">
                <a:solidFill>
                  <a:srgbClr val="000000"/>
                </a:solidFill>
              </a:rPr>
              <a:t>за</a:t>
            </a:r>
            <a:r>
              <a:rPr lang="ru-RU" sz="3200" b="1">
                <a:solidFill>
                  <a:srgbClr val="C00000"/>
                </a:solidFill>
              </a:rPr>
              <a:t> 5 </a:t>
            </a:r>
            <a:r>
              <a:rPr lang="ru-RU" sz="3200" b="1">
                <a:solidFill>
                  <a:srgbClr val="000000"/>
                </a:solidFill>
              </a:rPr>
              <a:t>лет</a:t>
            </a:r>
            <a:endParaRPr lang="ru-RU" sz="3200" b="1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2" name="AutoShape 36"/>
          <p:cNvSpPr>
            <a:spLocks noChangeArrowheads="1"/>
          </p:cNvSpPr>
          <p:nvPr/>
        </p:nvSpPr>
        <p:spPr bwMode="auto">
          <a:xfrm>
            <a:off x="5364163" y="1916113"/>
            <a:ext cx="3492500" cy="1368425"/>
          </a:xfrm>
          <a:prstGeom prst="roundRect">
            <a:avLst>
              <a:gd name="adj" fmla="val 16667"/>
            </a:avLst>
          </a:pr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ИНДИВИДУАЛЬНЫЙ ПЛАН И</a:t>
            </a:r>
          </a:p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ПЕРСОНИФИЦИРОВАННОЕ</a:t>
            </a:r>
          </a:p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ОБУЧЕНИЕ ВРАЧА </a:t>
            </a:r>
          </a:p>
        </p:txBody>
      </p:sp>
      <p:sp>
        <p:nvSpPr>
          <p:cNvPr id="14" name="AutoShape 49"/>
          <p:cNvSpPr>
            <a:spLocks noChangeArrowheads="1"/>
          </p:cNvSpPr>
          <p:nvPr/>
        </p:nvSpPr>
        <p:spPr bwMode="auto">
          <a:xfrm>
            <a:off x="5364163" y="5029200"/>
            <a:ext cx="3492500" cy="1368425"/>
          </a:xfrm>
          <a:prstGeom prst="roundRect">
            <a:avLst>
              <a:gd name="adj" fmla="val 16667"/>
            </a:avLst>
          </a:pr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ИНТЕРАКТИВНЫЙ КОНТРОЛЬ</a:t>
            </a:r>
            <a:br>
              <a:rPr lang="ru-RU" sz="1400" b="1">
                <a:solidFill>
                  <a:srgbClr val="FFFFFF"/>
                </a:solidFill>
                <a:latin typeface="Verdana" pitchFamily="34" charset="0"/>
              </a:rPr>
            </a:b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ПОЛУЧАЕМЫХ ЗНАНИЙ</a:t>
            </a:r>
          </a:p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ВО ВРЕМЯ ОБУЧЕНИЯ</a:t>
            </a:r>
          </a:p>
        </p:txBody>
      </p:sp>
      <p:sp>
        <p:nvSpPr>
          <p:cNvPr id="20" name="Freeform 45"/>
          <p:cNvSpPr>
            <a:spLocks/>
          </p:cNvSpPr>
          <p:nvPr/>
        </p:nvSpPr>
        <p:spPr bwMode="auto">
          <a:xfrm>
            <a:off x="3708400" y="5949950"/>
            <a:ext cx="1871663" cy="873125"/>
          </a:xfrm>
          <a:custGeom>
            <a:avLst/>
            <a:gdLst>
              <a:gd name="T0" fmla="*/ 2147483647 w 1726"/>
              <a:gd name="T1" fmla="*/ 2147483647 h 790"/>
              <a:gd name="T2" fmla="*/ 2147483647 w 1726"/>
              <a:gd name="T3" fmla="*/ 2147483647 h 790"/>
              <a:gd name="T4" fmla="*/ 2147483647 w 1726"/>
              <a:gd name="T5" fmla="*/ 2147483647 h 790"/>
              <a:gd name="T6" fmla="*/ 2147483647 w 1726"/>
              <a:gd name="T7" fmla="*/ 2147483647 h 790"/>
              <a:gd name="T8" fmla="*/ 2147483647 w 1726"/>
              <a:gd name="T9" fmla="*/ 2147483647 h 790"/>
              <a:gd name="T10" fmla="*/ 2147483647 w 1726"/>
              <a:gd name="T11" fmla="*/ 2147483647 h 790"/>
              <a:gd name="T12" fmla="*/ 2147483647 w 1726"/>
              <a:gd name="T13" fmla="*/ 2147483647 h 790"/>
              <a:gd name="T14" fmla="*/ 2147483647 w 1726"/>
              <a:gd name="T15" fmla="*/ 2147483647 h 790"/>
              <a:gd name="T16" fmla="*/ 2147483647 w 1726"/>
              <a:gd name="T17" fmla="*/ 2147483647 h 790"/>
              <a:gd name="T18" fmla="*/ 2147483647 w 1726"/>
              <a:gd name="T19" fmla="*/ 2147483647 h 790"/>
              <a:gd name="T20" fmla="*/ 2147483647 w 1726"/>
              <a:gd name="T21" fmla="*/ 2147483647 h 790"/>
              <a:gd name="T22" fmla="*/ 2147483647 w 1726"/>
              <a:gd name="T23" fmla="*/ 2147483647 h 790"/>
              <a:gd name="T24" fmla="*/ 2147483647 w 1726"/>
              <a:gd name="T25" fmla="*/ 2147483647 h 790"/>
              <a:gd name="T26" fmla="*/ 2147483647 w 1726"/>
              <a:gd name="T27" fmla="*/ 2147483647 h 790"/>
              <a:gd name="T28" fmla="*/ 2147483647 w 1726"/>
              <a:gd name="T29" fmla="*/ 2147483647 h 790"/>
              <a:gd name="T30" fmla="*/ 2147483647 w 1726"/>
              <a:gd name="T31" fmla="*/ 2147483647 h 790"/>
              <a:gd name="T32" fmla="*/ 2147483647 w 1726"/>
              <a:gd name="T33" fmla="*/ 2147483647 h 790"/>
              <a:gd name="T34" fmla="*/ 2147483647 w 1726"/>
              <a:gd name="T35" fmla="*/ 2147483647 h 790"/>
              <a:gd name="T36" fmla="*/ 2147483647 w 1726"/>
              <a:gd name="T37" fmla="*/ 2147483647 h 790"/>
              <a:gd name="T38" fmla="*/ 2147483647 w 1726"/>
              <a:gd name="T39" fmla="*/ 2147483647 h 790"/>
              <a:gd name="T40" fmla="*/ 2147483647 w 1726"/>
              <a:gd name="T41" fmla="*/ 2147483647 h 790"/>
              <a:gd name="T42" fmla="*/ 2147483647 w 1726"/>
              <a:gd name="T43" fmla="*/ 2147483647 h 790"/>
              <a:gd name="T44" fmla="*/ 2147483647 w 1726"/>
              <a:gd name="T45" fmla="*/ 2147483647 h 790"/>
              <a:gd name="T46" fmla="*/ 2147483647 w 1726"/>
              <a:gd name="T47" fmla="*/ 0 h 790"/>
              <a:gd name="T48" fmla="*/ 0 w 1726"/>
              <a:gd name="T49" fmla="*/ 2147483647 h 790"/>
              <a:gd name="T50" fmla="*/ 2147483647 w 1726"/>
              <a:gd name="T51" fmla="*/ 2147483647 h 790"/>
              <a:gd name="T52" fmla="*/ 2147483647 w 1726"/>
              <a:gd name="T53" fmla="*/ 2147483647 h 790"/>
              <a:gd name="T54" fmla="*/ 2147483647 w 1726"/>
              <a:gd name="T55" fmla="*/ 2147483647 h 790"/>
              <a:gd name="T56" fmla="*/ 2147483647 w 1726"/>
              <a:gd name="T57" fmla="*/ 2147483647 h 790"/>
              <a:gd name="T58" fmla="*/ 2147483647 w 1726"/>
              <a:gd name="T59" fmla="*/ 2147483647 h 790"/>
              <a:gd name="T60" fmla="*/ 2147483647 w 1726"/>
              <a:gd name="T61" fmla="*/ 2147483647 h 790"/>
              <a:gd name="T62" fmla="*/ 2147483647 w 1726"/>
              <a:gd name="T63" fmla="*/ 2147483647 h 790"/>
              <a:gd name="T64" fmla="*/ 2147483647 w 1726"/>
              <a:gd name="T65" fmla="*/ 2147483647 h 790"/>
              <a:gd name="T66" fmla="*/ 2147483647 w 1726"/>
              <a:gd name="T67" fmla="*/ 2147483647 h 790"/>
              <a:gd name="T68" fmla="*/ 2147483647 w 1726"/>
              <a:gd name="T69" fmla="*/ 2147483647 h 790"/>
              <a:gd name="T70" fmla="*/ 2147483647 w 1726"/>
              <a:gd name="T71" fmla="*/ 2147483647 h 790"/>
              <a:gd name="T72" fmla="*/ 2147483647 w 1726"/>
              <a:gd name="T73" fmla="*/ 2147483647 h 790"/>
              <a:gd name="T74" fmla="*/ 2147483647 w 1726"/>
              <a:gd name="T75" fmla="*/ 2147483647 h 790"/>
              <a:gd name="T76" fmla="*/ 2147483647 w 1726"/>
              <a:gd name="T77" fmla="*/ 2147483647 h 790"/>
              <a:gd name="T78" fmla="*/ 2147483647 w 1726"/>
              <a:gd name="T79" fmla="*/ 2147483647 h 79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26"/>
              <a:gd name="T121" fmla="*/ 0 h 790"/>
              <a:gd name="T122" fmla="*/ 1726 w 1726"/>
              <a:gd name="T123" fmla="*/ 790 h 79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26" h="790">
                <a:moveTo>
                  <a:pt x="957" y="790"/>
                </a:moveTo>
                <a:lnTo>
                  <a:pt x="1091" y="773"/>
                </a:lnTo>
                <a:lnTo>
                  <a:pt x="1119" y="769"/>
                </a:lnTo>
                <a:lnTo>
                  <a:pt x="1224" y="740"/>
                </a:lnTo>
                <a:lnTo>
                  <a:pt x="1248" y="733"/>
                </a:lnTo>
                <a:lnTo>
                  <a:pt x="1292" y="718"/>
                </a:lnTo>
                <a:lnTo>
                  <a:pt x="1333" y="703"/>
                </a:lnTo>
                <a:lnTo>
                  <a:pt x="1393" y="678"/>
                </a:lnTo>
                <a:lnTo>
                  <a:pt x="1439" y="654"/>
                </a:lnTo>
                <a:lnTo>
                  <a:pt x="1456" y="645"/>
                </a:lnTo>
                <a:lnTo>
                  <a:pt x="1497" y="623"/>
                </a:lnTo>
                <a:lnTo>
                  <a:pt x="1537" y="596"/>
                </a:lnTo>
                <a:lnTo>
                  <a:pt x="1555" y="586"/>
                </a:lnTo>
                <a:lnTo>
                  <a:pt x="1571" y="575"/>
                </a:lnTo>
                <a:lnTo>
                  <a:pt x="1590" y="561"/>
                </a:lnTo>
                <a:lnTo>
                  <a:pt x="1609" y="549"/>
                </a:lnTo>
                <a:lnTo>
                  <a:pt x="1625" y="537"/>
                </a:lnTo>
                <a:lnTo>
                  <a:pt x="1639" y="525"/>
                </a:lnTo>
                <a:lnTo>
                  <a:pt x="1670" y="501"/>
                </a:lnTo>
                <a:lnTo>
                  <a:pt x="1697" y="476"/>
                </a:lnTo>
                <a:lnTo>
                  <a:pt x="1709" y="463"/>
                </a:lnTo>
                <a:lnTo>
                  <a:pt x="1726" y="449"/>
                </a:lnTo>
                <a:lnTo>
                  <a:pt x="1405" y="124"/>
                </a:lnTo>
                <a:lnTo>
                  <a:pt x="1390" y="140"/>
                </a:lnTo>
                <a:lnTo>
                  <a:pt x="1352" y="173"/>
                </a:lnTo>
                <a:lnTo>
                  <a:pt x="1326" y="194"/>
                </a:lnTo>
                <a:lnTo>
                  <a:pt x="1280" y="223"/>
                </a:lnTo>
                <a:lnTo>
                  <a:pt x="1255" y="237"/>
                </a:lnTo>
                <a:lnTo>
                  <a:pt x="1200" y="266"/>
                </a:lnTo>
                <a:lnTo>
                  <a:pt x="1175" y="278"/>
                </a:lnTo>
                <a:lnTo>
                  <a:pt x="1115" y="300"/>
                </a:lnTo>
                <a:lnTo>
                  <a:pt x="1049" y="317"/>
                </a:lnTo>
                <a:lnTo>
                  <a:pt x="1016" y="323"/>
                </a:lnTo>
                <a:lnTo>
                  <a:pt x="983" y="326"/>
                </a:lnTo>
                <a:lnTo>
                  <a:pt x="932" y="332"/>
                </a:lnTo>
                <a:lnTo>
                  <a:pt x="837" y="332"/>
                </a:lnTo>
                <a:lnTo>
                  <a:pt x="833" y="332"/>
                </a:lnTo>
                <a:lnTo>
                  <a:pt x="780" y="324"/>
                </a:lnTo>
                <a:lnTo>
                  <a:pt x="753" y="320"/>
                </a:lnTo>
                <a:lnTo>
                  <a:pt x="704" y="309"/>
                </a:lnTo>
                <a:lnTo>
                  <a:pt x="678" y="300"/>
                </a:lnTo>
                <a:lnTo>
                  <a:pt x="602" y="270"/>
                </a:lnTo>
                <a:lnTo>
                  <a:pt x="577" y="257"/>
                </a:lnTo>
                <a:lnTo>
                  <a:pt x="555" y="246"/>
                </a:lnTo>
                <a:lnTo>
                  <a:pt x="510" y="220"/>
                </a:lnTo>
                <a:lnTo>
                  <a:pt x="474" y="194"/>
                </a:lnTo>
                <a:lnTo>
                  <a:pt x="443" y="168"/>
                </a:lnTo>
                <a:lnTo>
                  <a:pt x="595" y="0"/>
                </a:lnTo>
                <a:lnTo>
                  <a:pt x="110" y="135"/>
                </a:lnTo>
                <a:lnTo>
                  <a:pt x="0" y="652"/>
                </a:lnTo>
                <a:lnTo>
                  <a:pt x="136" y="505"/>
                </a:lnTo>
                <a:lnTo>
                  <a:pt x="163" y="528"/>
                </a:lnTo>
                <a:lnTo>
                  <a:pt x="184" y="546"/>
                </a:lnTo>
                <a:lnTo>
                  <a:pt x="227" y="577"/>
                </a:lnTo>
                <a:lnTo>
                  <a:pt x="253" y="593"/>
                </a:lnTo>
                <a:lnTo>
                  <a:pt x="272" y="606"/>
                </a:lnTo>
                <a:lnTo>
                  <a:pt x="298" y="623"/>
                </a:lnTo>
                <a:lnTo>
                  <a:pt x="321" y="635"/>
                </a:lnTo>
                <a:lnTo>
                  <a:pt x="343" y="649"/>
                </a:lnTo>
                <a:lnTo>
                  <a:pt x="370" y="664"/>
                </a:lnTo>
                <a:lnTo>
                  <a:pt x="394" y="675"/>
                </a:lnTo>
                <a:lnTo>
                  <a:pt x="417" y="685"/>
                </a:lnTo>
                <a:lnTo>
                  <a:pt x="439" y="694"/>
                </a:lnTo>
                <a:lnTo>
                  <a:pt x="469" y="706"/>
                </a:lnTo>
                <a:lnTo>
                  <a:pt x="556" y="738"/>
                </a:lnTo>
                <a:lnTo>
                  <a:pt x="583" y="745"/>
                </a:lnTo>
                <a:lnTo>
                  <a:pt x="611" y="754"/>
                </a:lnTo>
                <a:lnTo>
                  <a:pt x="636" y="760"/>
                </a:lnTo>
                <a:lnTo>
                  <a:pt x="662" y="766"/>
                </a:lnTo>
                <a:lnTo>
                  <a:pt x="686" y="769"/>
                </a:lnTo>
                <a:lnTo>
                  <a:pt x="708" y="772"/>
                </a:lnTo>
                <a:lnTo>
                  <a:pt x="734" y="778"/>
                </a:lnTo>
                <a:lnTo>
                  <a:pt x="758" y="780"/>
                </a:lnTo>
                <a:lnTo>
                  <a:pt x="800" y="786"/>
                </a:lnTo>
                <a:lnTo>
                  <a:pt x="820" y="787"/>
                </a:lnTo>
                <a:lnTo>
                  <a:pt x="843" y="788"/>
                </a:lnTo>
                <a:lnTo>
                  <a:pt x="864" y="789"/>
                </a:lnTo>
                <a:lnTo>
                  <a:pt x="888" y="790"/>
                </a:lnTo>
                <a:lnTo>
                  <a:pt x="909" y="790"/>
                </a:lnTo>
                <a:lnTo>
                  <a:pt x="934" y="790"/>
                </a:lnTo>
                <a:lnTo>
                  <a:pt x="957" y="790"/>
                </a:lnTo>
                <a:close/>
              </a:path>
            </a:pathLst>
          </a:custGeom>
          <a:solidFill>
            <a:srgbClr val="5555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6" name="AutoShape 52"/>
          <p:cNvSpPr>
            <a:spLocks noChangeArrowheads="1"/>
          </p:cNvSpPr>
          <p:nvPr/>
        </p:nvSpPr>
        <p:spPr bwMode="auto">
          <a:xfrm>
            <a:off x="287338" y="1916113"/>
            <a:ext cx="3492500" cy="1368425"/>
          </a:xfrm>
          <a:prstGeom prst="roundRect">
            <a:avLst>
              <a:gd name="adj" fmla="val 16667"/>
            </a:avLst>
          </a:pr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СИСТЕМАТИЧНОСТЬ:</a:t>
            </a:r>
            <a:br>
              <a:rPr lang="ru-RU" sz="1400" b="1">
                <a:solidFill>
                  <a:srgbClr val="FFFFFF"/>
                </a:solidFill>
                <a:latin typeface="Verdana" pitchFamily="34" charset="0"/>
              </a:rPr>
            </a:b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ЕЖЕГОДНАЯ ПРОГРАММА</a:t>
            </a:r>
          </a:p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ПОВЫШЕНИЯ КВАЛИФИКАЦИИ</a:t>
            </a:r>
          </a:p>
        </p:txBody>
      </p:sp>
      <p:sp>
        <p:nvSpPr>
          <p:cNvPr id="15" name="AutoShape 51"/>
          <p:cNvSpPr>
            <a:spLocks noChangeArrowheads="1"/>
          </p:cNvSpPr>
          <p:nvPr/>
        </p:nvSpPr>
        <p:spPr bwMode="auto">
          <a:xfrm>
            <a:off x="287338" y="5029200"/>
            <a:ext cx="3492500" cy="1368425"/>
          </a:xfrm>
          <a:prstGeom prst="roundRect">
            <a:avLst>
              <a:gd name="adj" fmla="val 16667"/>
            </a:avLst>
          </a:prstGeom>
          <a:solidFill>
            <a:srgbClr val="4D4D4D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ЕЖЕГОДНЫЙ ОТЧЁТ ВРАЧА:</a:t>
            </a:r>
          </a:p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КОНТРОЛЬ ЗНАНИЙ И ИХ</a:t>
            </a:r>
          </a:p>
          <a:p>
            <a:pPr algn="ctr">
              <a:lnSpc>
                <a:spcPct val="110000"/>
              </a:lnSpc>
            </a:pPr>
            <a:r>
              <a:rPr lang="ru-RU" sz="1400" b="1">
                <a:solidFill>
                  <a:srgbClr val="FFFFFF"/>
                </a:solidFill>
                <a:latin typeface="Verdana" pitchFamily="34" charset="0"/>
              </a:rPr>
              <a:t>ПРАКТИЧЕСКОГО ПРИМЕНЕНИЯ</a:t>
            </a:r>
          </a:p>
        </p:txBody>
      </p:sp>
      <p:sp>
        <p:nvSpPr>
          <p:cNvPr id="23" name="Freeform 45"/>
          <p:cNvSpPr>
            <a:spLocks/>
          </p:cNvSpPr>
          <p:nvPr/>
        </p:nvSpPr>
        <p:spPr bwMode="auto">
          <a:xfrm rot="-5400000">
            <a:off x="6148388" y="3702050"/>
            <a:ext cx="1771650" cy="892175"/>
          </a:xfrm>
          <a:custGeom>
            <a:avLst/>
            <a:gdLst>
              <a:gd name="T0" fmla="*/ 2147483647 w 1726"/>
              <a:gd name="T1" fmla="*/ 2147483647 h 790"/>
              <a:gd name="T2" fmla="*/ 2147483647 w 1726"/>
              <a:gd name="T3" fmla="*/ 2147483647 h 790"/>
              <a:gd name="T4" fmla="*/ 2147483647 w 1726"/>
              <a:gd name="T5" fmla="*/ 2147483647 h 790"/>
              <a:gd name="T6" fmla="*/ 2147483647 w 1726"/>
              <a:gd name="T7" fmla="*/ 2147483647 h 790"/>
              <a:gd name="T8" fmla="*/ 2147483647 w 1726"/>
              <a:gd name="T9" fmla="*/ 2147483647 h 790"/>
              <a:gd name="T10" fmla="*/ 2147483647 w 1726"/>
              <a:gd name="T11" fmla="*/ 2147483647 h 790"/>
              <a:gd name="T12" fmla="*/ 2147483647 w 1726"/>
              <a:gd name="T13" fmla="*/ 2147483647 h 790"/>
              <a:gd name="T14" fmla="*/ 2147483647 w 1726"/>
              <a:gd name="T15" fmla="*/ 2147483647 h 790"/>
              <a:gd name="T16" fmla="*/ 2147483647 w 1726"/>
              <a:gd name="T17" fmla="*/ 2147483647 h 790"/>
              <a:gd name="T18" fmla="*/ 2147483647 w 1726"/>
              <a:gd name="T19" fmla="*/ 2147483647 h 790"/>
              <a:gd name="T20" fmla="*/ 2147483647 w 1726"/>
              <a:gd name="T21" fmla="*/ 2147483647 h 790"/>
              <a:gd name="T22" fmla="*/ 2147483647 w 1726"/>
              <a:gd name="T23" fmla="*/ 2147483647 h 790"/>
              <a:gd name="T24" fmla="*/ 2147483647 w 1726"/>
              <a:gd name="T25" fmla="*/ 2147483647 h 790"/>
              <a:gd name="T26" fmla="*/ 2147483647 w 1726"/>
              <a:gd name="T27" fmla="*/ 2147483647 h 790"/>
              <a:gd name="T28" fmla="*/ 2147483647 w 1726"/>
              <a:gd name="T29" fmla="*/ 2147483647 h 790"/>
              <a:gd name="T30" fmla="*/ 2147483647 w 1726"/>
              <a:gd name="T31" fmla="*/ 2147483647 h 790"/>
              <a:gd name="T32" fmla="*/ 2147483647 w 1726"/>
              <a:gd name="T33" fmla="*/ 2147483647 h 790"/>
              <a:gd name="T34" fmla="*/ 2147483647 w 1726"/>
              <a:gd name="T35" fmla="*/ 2147483647 h 790"/>
              <a:gd name="T36" fmla="*/ 2147483647 w 1726"/>
              <a:gd name="T37" fmla="*/ 2147483647 h 790"/>
              <a:gd name="T38" fmla="*/ 2147483647 w 1726"/>
              <a:gd name="T39" fmla="*/ 2147483647 h 790"/>
              <a:gd name="T40" fmla="*/ 2147483647 w 1726"/>
              <a:gd name="T41" fmla="*/ 2147483647 h 790"/>
              <a:gd name="T42" fmla="*/ 2147483647 w 1726"/>
              <a:gd name="T43" fmla="*/ 2147483647 h 790"/>
              <a:gd name="T44" fmla="*/ 2147483647 w 1726"/>
              <a:gd name="T45" fmla="*/ 2147483647 h 790"/>
              <a:gd name="T46" fmla="*/ 2147483647 w 1726"/>
              <a:gd name="T47" fmla="*/ 0 h 790"/>
              <a:gd name="T48" fmla="*/ 0 w 1726"/>
              <a:gd name="T49" fmla="*/ 2147483647 h 790"/>
              <a:gd name="T50" fmla="*/ 2147483647 w 1726"/>
              <a:gd name="T51" fmla="*/ 2147483647 h 790"/>
              <a:gd name="T52" fmla="*/ 2147483647 w 1726"/>
              <a:gd name="T53" fmla="*/ 2147483647 h 790"/>
              <a:gd name="T54" fmla="*/ 2147483647 w 1726"/>
              <a:gd name="T55" fmla="*/ 2147483647 h 790"/>
              <a:gd name="T56" fmla="*/ 2147483647 w 1726"/>
              <a:gd name="T57" fmla="*/ 2147483647 h 790"/>
              <a:gd name="T58" fmla="*/ 2147483647 w 1726"/>
              <a:gd name="T59" fmla="*/ 2147483647 h 790"/>
              <a:gd name="T60" fmla="*/ 2147483647 w 1726"/>
              <a:gd name="T61" fmla="*/ 2147483647 h 790"/>
              <a:gd name="T62" fmla="*/ 2147483647 w 1726"/>
              <a:gd name="T63" fmla="*/ 2147483647 h 790"/>
              <a:gd name="T64" fmla="*/ 2147483647 w 1726"/>
              <a:gd name="T65" fmla="*/ 2147483647 h 790"/>
              <a:gd name="T66" fmla="*/ 2147483647 w 1726"/>
              <a:gd name="T67" fmla="*/ 2147483647 h 790"/>
              <a:gd name="T68" fmla="*/ 2147483647 w 1726"/>
              <a:gd name="T69" fmla="*/ 2147483647 h 790"/>
              <a:gd name="T70" fmla="*/ 2147483647 w 1726"/>
              <a:gd name="T71" fmla="*/ 2147483647 h 790"/>
              <a:gd name="T72" fmla="*/ 2147483647 w 1726"/>
              <a:gd name="T73" fmla="*/ 2147483647 h 790"/>
              <a:gd name="T74" fmla="*/ 2147483647 w 1726"/>
              <a:gd name="T75" fmla="*/ 2147483647 h 790"/>
              <a:gd name="T76" fmla="*/ 2147483647 w 1726"/>
              <a:gd name="T77" fmla="*/ 2147483647 h 790"/>
              <a:gd name="T78" fmla="*/ 2147483647 w 1726"/>
              <a:gd name="T79" fmla="*/ 2147483647 h 79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26"/>
              <a:gd name="T121" fmla="*/ 0 h 790"/>
              <a:gd name="T122" fmla="*/ 1726 w 1726"/>
              <a:gd name="T123" fmla="*/ 790 h 79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26" h="790">
                <a:moveTo>
                  <a:pt x="957" y="790"/>
                </a:moveTo>
                <a:lnTo>
                  <a:pt x="1091" y="773"/>
                </a:lnTo>
                <a:lnTo>
                  <a:pt x="1119" y="769"/>
                </a:lnTo>
                <a:lnTo>
                  <a:pt x="1224" y="740"/>
                </a:lnTo>
                <a:lnTo>
                  <a:pt x="1248" y="733"/>
                </a:lnTo>
                <a:lnTo>
                  <a:pt x="1292" y="718"/>
                </a:lnTo>
                <a:lnTo>
                  <a:pt x="1333" y="703"/>
                </a:lnTo>
                <a:lnTo>
                  <a:pt x="1393" y="678"/>
                </a:lnTo>
                <a:lnTo>
                  <a:pt x="1439" y="654"/>
                </a:lnTo>
                <a:lnTo>
                  <a:pt x="1456" y="645"/>
                </a:lnTo>
                <a:lnTo>
                  <a:pt x="1497" y="623"/>
                </a:lnTo>
                <a:lnTo>
                  <a:pt x="1537" y="596"/>
                </a:lnTo>
                <a:lnTo>
                  <a:pt x="1555" y="586"/>
                </a:lnTo>
                <a:lnTo>
                  <a:pt x="1571" y="575"/>
                </a:lnTo>
                <a:lnTo>
                  <a:pt x="1590" y="561"/>
                </a:lnTo>
                <a:lnTo>
                  <a:pt x="1609" y="549"/>
                </a:lnTo>
                <a:lnTo>
                  <a:pt x="1625" y="537"/>
                </a:lnTo>
                <a:lnTo>
                  <a:pt x="1639" y="525"/>
                </a:lnTo>
                <a:lnTo>
                  <a:pt x="1670" y="501"/>
                </a:lnTo>
                <a:lnTo>
                  <a:pt x="1697" y="476"/>
                </a:lnTo>
                <a:lnTo>
                  <a:pt x="1709" y="463"/>
                </a:lnTo>
                <a:lnTo>
                  <a:pt x="1726" y="449"/>
                </a:lnTo>
                <a:lnTo>
                  <a:pt x="1405" y="124"/>
                </a:lnTo>
                <a:lnTo>
                  <a:pt x="1390" y="140"/>
                </a:lnTo>
                <a:lnTo>
                  <a:pt x="1352" y="173"/>
                </a:lnTo>
                <a:lnTo>
                  <a:pt x="1326" y="194"/>
                </a:lnTo>
                <a:lnTo>
                  <a:pt x="1280" y="223"/>
                </a:lnTo>
                <a:lnTo>
                  <a:pt x="1255" y="237"/>
                </a:lnTo>
                <a:lnTo>
                  <a:pt x="1200" y="266"/>
                </a:lnTo>
                <a:lnTo>
                  <a:pt x="1175" y="278"/>
                </a:lnTo>
                <a:lnTo>
                  <a:pt x="1115" y="300"/>
                </a:lnTo>
                <a:lnTo>
                  <a:pt x="1049" y="317"/>
                </a:lnTo>
                <a:lnTo>
                  <a:pt x="1016" y="323"/>
                </a:lnTo>
                <a:lnTo>
                  <a:pt x="983" y="326"/>
                </a:lnTo>
                <a:lnTo>
                  <a:pt x="932" y="332"/>
                </a:lnTo>
                <a:lnTo>
                  <a:pt x="837" y="332"/>
                </a:lnTo>
                <a:lnTo>
                  <a:pt x="833" y="332"/>
                </a:lnTo>
                <a:lnTo>
                  <a:pt x="780" y="324"/>
                </a:lnTo>
                <a:lnTo>
                  <a:pt x="753" y="320"/>
                </a:lnTo>
                <a:lnTo>
                  <a:pt x="704" y="309"/>
                </a:lnTo>
                <a:lnTo>
                  <a:pt x="678" y="300"/>
                </a:lnTo>
                <a:lnTo>
                  <a:pt x="602" y="270"/>
                </a:lnTo>
                <a:lnTo>
                  <a:pt x="577" y="257"/>
                </a:lnTo>
                <a:lnTo>
                  <a:pt x="555" y="246"/>
                </a:lnTo>
                <a:lnTo>
                  <a:pt x="510" y="220"/>
                </a:lnTo>
                <a:lnTo>
                  <a:pt x="474" y="194"/>
                </a:lnTo>
                <a:lnTo>
                  <a:pt x="443" y="168"/>
                </a:lnTo>
                <a:lnTo>
                  <a:pt x="595" y="0"/>
                </a:lnTo>
                <a:lnTo>
                  <a:pt x="110" y="135"/>
                </a:lnTo>
                <a:lnTo>
                  <a:pt x="0" y="652"/>
                </a:lnTo>
                <a:lnTo>
                  <a:pt x="136" y="505"/>
                </a:lnTo>
                <a:lnTo>
                  <a:pt x="163" y="528"/>
                </a:lnTo>
                <a:lnTo>
                  <a:pt x="184" y="546"/>
                </a:lnTo>
                <a:lnTo>
                  <a:pt x="227" y="577"/>
                </a:lnTo>
                <a:lnTo>
                  <a:pt x="253" y="593"/>
                </a:lnTo>
                <a:lnTo>
                  <a:pt x="272" y="606"/>
                </a:lnTo>
                <a:lnTo>
                  <a:pt x="298" y="623"/>
                </a:lnTo>
                <a:lnTo>
                  <a:pt x="321" y="635"/>
                </a:lnTo>
                <a:lnTo>
                  <a:pt x="343" y="649"/>
                </a:lnTo>
                <a:lnTo>
                  <a:pt x="370" y="664"/>
                </a:lnTo>
                <a:lnTo>
                  <a:pt x="394" y="675"/>
                </a:lnTo>
                <a:lnTo>
                  <a:pt x="417" y="685"/>
                </a:lnTo>
                <a:lnTo>
                  <a:pt x="439" y="694"/>
                </a:lnTo>
                <a:lnTo>
                  <a:pt x="469" y="706"/>
                </a:lnTo>
                <a:lnTo>
                  <a:pt x="556" y="738"/>
                </a:lnTo>
                <a:lnTo>
                  <a:pt x="583" y="745"/>
                </a:lnTo>
                <a:lnTo>
                  <a:pt x="611" y="754"/>
                </a:lnTo>
                <a:lnTo>
                  <a:pt x="636" y="760"/>
                </a:lnTo>
                <a:lnTo>
                  <a:pt x="662" y="766"/>
                </a:lnTo>
                <a:lnTo>
                  <a:pt x="686" y="769"/>
                </a:lnTo>
                <a:lnTo>
                  <a:pt x="708" y="772"/>
                </a:lnTo>
                <a:lnTo>
                  <a:pt x="734" y="778"/>
                </a:lnTo>
                <a:lnTo>
                  <a:pt x="758" y="780"/>
                </a:lnTo>
                <a:lnTo>
                  <a:pt x="800" y="786"/>
                </a:lnTo>
                <a:lnTo>
                  <a:pt x="820" y="787"/>
                </a:lnTo>
                <a:lnTo>
                  <a:pt x="843" y="788"/>
                </a:lnTo>
                <a:lnTo>
                  <a:pt x="864" y="789"/>
                </a:lnTo>
                <a:lnTo>
                  <a:pt x="888" y="790"/>
                </a:lnTo>
                <a:lnTo>
                  <a:pt x="909" y="790"/>
                </a:lnTo>
                <a:lnTo>
                  <a:pt x="934" y="790"/>
                </a:lnTo>
                <a:lnTo>
                  <a:pt x="957" y="790"/>
                </a:lnTo>
                <a:close/>
              </a:path>
            </a:pathLst>
          </a:custGeom>
          <a:solidFill>
            <a:srgbClr val="FF555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4" name="Freeform 45"/>
          <p:cNvSpPr>
            <a:spLocks/>
          </p:cNvSpPr>
          <p:nvPr/>
        </p:nvSpPr>
        <p:spPr bwMode="auto">
          <a:xfrm flipH="1" flipV="1">
            <a:off x="3563938" y="1412875"/>
            <a:ext cx="1871662" cy="874713"/>
          </a:xfrm>
          <a:custGeom>
            <a:avLst/>
            <a:gdLst>
              <a:gd name="T0" fmla="*/ 2147483647 w 1726"/>
              <a:gd name="T1" fmla="*/ 2147483647 h 790"/>
              <a:gd name="T2" fmla="*/ 2147483647 w 1726"/>
              <a:gd name="T3" fmla="*/ 2147483647 h 790"/>
              <a:gd name="T4" fmla="*/ 2147483647 w 1726"/>
              <a:gd name="T5" fmla="*/ 2147483647 h 790"/>
              <a:gd name="T6" fmla="*/ 2147483647 w 1726"/>
              <a:gd name="T7" fmla="*/ 2147483647 h 790"/>
              <a:gd name="T8" fmla="*/ 2147483647 w 1726"/>
              <a:gd name="T9" fmla="*/ 2147483647 h 790"/>
              <a:gd name="T10" fmla="*/ 2147483647 w 1726"/>
              <a:gd name="T11" fmla="*/ 2147483647 h 790"/>
              <a:gd name="T12" fmla="*/ 2147483647 w 1726"/>
              <a:gd name="T13" fmla="*/ 2147483647 h 790"/>
              <a:gd name="T14" fmla="*/ 2147483647 w 1726"/>
              <a:gd name="T15" fmla="*/ 2147483647 h 790"/>
              <a:gd name="T16" fmla="*/ 2147483647 w 1726"/>
              <a:gd name="T17" fmla="*/ 2147483647 h 790"/>
              <a:gd name="T18" fmla="*/ 2147483647 w 1726"/>
              <a:gd name="T19" fmla="*/ 2147483647 h 790"/>
              <a:gd name="T20" fmla="*/ 2147483647 w 1726"/>
              <a:gd name="T21" fmla="*/ 2147483647 h 790"/>
              <a:gd name="T22" fmla="*/ 2147483647 w 1726"/>
              <a:gd name="T23" fmla="*/ 2147483647 h 790"/>
              <a:gd name="T24" fmla="*/ 2147483647 w 1726"/>
              <a:gd name="T25" fmla="*/ 2147483647 h 790"/>
              <a:gd name="T26" fmla="*/ 2147483647 w 1726"/>
              <a:gd name="T27" fmla="*/ 2147483647 h 790"/>
              <a:gd name="T28" fmla="*/ 2147483647 w 1726"/>
              <a:gd name="T29" fmla="*/ 2147483647 h 790"/>
              <a:gd name="T30" fmla="*/ 2147483647 w 1726"/>
              <a:gd name="T31" fmla="*/ 2147483647 h 790"/>
              <a:gd name="T32" fmla="*/ 2147483647 w 1726"/>
              <a:gd name="T33" fmla="*/ 2147483647 h 790"/>
              <a:gd name="T34" fmla="*/ 2147483647 w 1726"/>
              <a:gd name="T35" fmla="*/ 2147483647 h 790"/>
              <a:gd name="T36" fmla="*/ 2147483647 w 1726"/>
              <a:gd name="T37" fmla="*/ 2147483647 h 790"/>
              <a:gd name="T38" fmla="*/ 2147483647 w 1726"/>
              <a:gd name="T39" fmla="*/ 2147483647 h 790"/>
              <a:gd name="T40" fmla="*/ 2147483647 w 1726"/>
              <a:gd name="T41" fmla="*/ 2147483647 h 790"/>
              <a:gd name="T42" fmla="*/ 2147483647 w 1726"/>
              <a:gd name="T43" fmla="*/ 2147483647 h 790"/>
              <a:gd name="T44" fmla="*/ 2147483647 w 1726"/>
              <a:gd name="T45" fmla="*/ 2147483647 h 790"/>
              <a:gd name="T46" fmla="*/ 2147483647 w 1726"/>
              <a:gd name="T47" fmla="*/ 0 h 790"/>
              <a:gd name="T48" fmla="*/ 0 w 1726"/>
              <a:gd name="T49" fmla="*/ 2147483647 h 790"/>
              <a:gd name="T50" fmla="*/ 2147483647 w 1726"/>
              <a:gd name="T51" fmla="*/ 2147483647 h 790"/>
              <a:gd name="T52" fmla="*/ 2147483647 w 1726"/>
              <a:gd name="T53" fmla="*/ 2147483647 h 790"/>
              <a:gd name="T54" fmla="*/ 2147483647 w 1726"/>
              <a:gd name="T55" fmla="*/ 2147483647 h 790"/>
              <a:gd name="T56" fmla="*/ 2147483647 w 1726"/>
              <a:gd name="T57" fmla="*/ 2147483647 h 790"/>
              <a:gd name="T58" fmla="*/ 2147483647 w 1726"/>
              <a:gd name="T59" fmla="*/ 2147483647 h 790"/>
              <a:gd name="T60" fmla="*/ 2147483647 w 1726"/>
              <a:gd name="T61" fmla="*/ 2147483647 h 790"/>
              <a:gd name="T62" fmla="*/ 2147483647 w 1726"/>
              <a:gd name="T63" fmla="*/ 2147483647 h 790"/>
              <a:gd name="T64" fmla="*/ 2147483647 w 1726"/>
              <a:gd name="T65" fmla="*/ 2147483647 h 790"/>
              <a:gd name="T66" fmla="*/ 2147483647 w 1726"/>
              <a:gd name="T67" fmla="*/ 2147483647 h 790"/>
              <a:gd name="T68" fmla="*/ 2147483647 w 1726"/>
              <a:gd name="T69" fmla="*/ 2147483647 h 790"/>
              <a:gd name="T70" fmla="*/ 2147483647 w 1726"/>
              <a:gd name="T71" fmla="*/ 2147483647 h 790"/>
              <a:gd name="T72" fmla="*/ 2147483647 w 1726"/>
              <a:gd name="T73" fmla="*/ 2147483647 h 790"/>
              <a:gd name="T74" fmla="*/ 2147483647 w 1726"/>
              <a:gd name="T75" fmla="*/ 2147483647 h 790"/>
              <a:gd name="T76" fmla="*/ 2147483647 w 1726"/>
              <a:gd name="T77" fmla="*/ 2147483647 h 790"/>
              <a:gd name="T78" fmla="*/ 2147483647 w 1726"/>
              <a:gd name="T79" fmla="*/ 2147483647 h 79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26"/>
              <a:gd name="T121" fmla="*/ 0 h 790"/>
              <a:gd name="T122" fmla="*/ 1726 w 1726"/>
              <a:gd name="T123" fmla="*/ 790 h 79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26" h="790">
                <a:moveTo>
                  <a:pt x="957" y="790"/>
                </a:moveTo>
                <a:lnTo>
                  <a:pt x="1091" y="773"/>
                </a:lnTo>
                <a:lnTo>
                  <a:pt x="1119" y="769"/>
                </a:lnTo>
                <a:lnTo>
                  <a:pt x="1224" y="740"/>
                </a:lnTo>
                <a:lnTo>
                  <a:pt x="1248" y="733"/>
                </a:lnTo>
                <a:lnTo>
                  <a:pt x="1292" y="718"/>
                </a:lnTo>
                <a:lnTo>
                  <a:pt x="1333" y="703"/>
                </a:lnTo>
                <a:lnTo>
                  <a:pt x="1393" y="678"/>
                </a:lnTo>
                <a:lnTo>
                  <a:pt x="1439" y="654"/>
                </a:lnTo>
                <a:lnTo>
                  <a:pt x="1456" y="645"/>
                </a:lnTo>
                <a:lnTo>
                  <a:pt x="1497" y="623"/>
                </a:lnTo>
                <a:lnTo>
                  <a:pt x="1537" y="596"/>
                </a:lnTo>
                <a:lnTo>
                  <a:pt x="1555" y="586"/>
                </a:lnTo>
                <a:lnTo>
                  <a:pt x="1571" y="575"/>
                </a:lnTo>
                <a:lnTo>
                  <a:pt x="1590" y="561"/>
                </a:lnTo>
                <a:lnTo>
                  <a:pt x="1609" y="549"/>
                </a:lnTo>
                <a:lnTo>
                  <a:pt x="1625" y="537"/>
                </a:lnTo>
                <a:lnTo>
                  <a:pt x="1639" y="525"/>
                </a:lnTo>
                <a:lnTo>
                  <a:pt x="1670" y="501"/>
                </a:lnTo>
                <a:lnTo>
                  <a:pt x="1697" y="476"/>
                </a:lnTo>
                <a:lnTo>
                  <a:pt x="1709" y="463"/>
                </a:lnTo>
                <a:lnTo>
                  <a:pt x="1726" y="449"/>
                </a:lnTo>
                <a:lnTo>
                  <a:pt x="1405" y="124"/>
                </a:lnTo>
                <a:lnTo>
                  <a:pt x="1390" y="140"/>
                </a:lnTo>
                <a:lnTo>
                  <a:pt x="1352" y="173"/>
                </a:lnTo>
                <a:lnTo>
                  <a:pt x="1326" y="194"/>
                </a:lnTo>
                <a:lnTo>
                  <a:pt x="1280" y="223"/>
                </a:lnTo>
                <a:lnTo>
                  <a:pt x="1255" y="237"/>
                </a:lnTo>
                <a:lnTo>
                  <a:pt x="1200" y="266"/>
                </a:lnTo>
                <a:lnTo>
                  <a:pt x="1175" y="278"/>
                </a:lnTo>
                <a:lnTo>
                  <a:pt x="1115" y="300"/>
                </a:lnTo>
                <a:lnTo>
                  <a:pt x="1049" y="317"/>
                </a:lnTo>
                <a:lnTo>
                  <a:pt x="1016" y="323"/>
                </a:lnTo>
                <a:lnTo>
                  <a:pt x="983" y="326"/>
                </a:lnTo>
                <a:lnTo>
                  <a:pt x="932" y="332"/>
                </a:lnTo>
                <a:lnTo>
                  <a:pt x="837" y="332"/>
                </a:lnTo>
                <a:lnTo>
                  <a:pt x="833" y="332"/>
                </a:lnTo>
                <a:lnTo>
                  <a:pt x="780" y="324"/>
                </a:lnTo>
                <a:lnTo>
                  <a:pt x="753" y="320"/>
                </a:lnTo>
                <a:lnTo>
                  <a:pt x="704" y="309"/>
                </a:lnTo>
                <a:lnTo>
                  <a:pt x="678" y="300"/>
                </a:lnTo>
                <a:lnTo>
                  <a:pt x="602" y="270"/>
                </a:lnTo>
                <a:lnTo>
                  <a:pt x="577" y="257"/>
                </a:lnTo>
                <a:lnTo>
                  <a:pt x="555" y="246"/>
                </a:lnTo>
                <a:lnTo>
                  <a:pt x="510" y="220"/>
                </a:lnTo>
                <a:lnTo>
                  <a:pt x="474" y="194"/>
                </a:lnTo>
                <a:lnTo>
                  <a:pt x="443" y="168"/>
                </a:lnTo>
                <a:lnTo>
                  <a:pt x="595" y="0"/>
                </a:lnTo>
                <a:lnTo>
                  <a:pt x="110" y="135"/>
                </a:lnTo>
                <a:lnTo>
                  <a:pt x="0" y="652"/>
                </a:lnTo>
                <a:lnTo>
                  <a:pt x="136" y="505"/>
                </a:lnTo>
                <a:lnTo>
                  <a:pt x="163" y="528"/>
                </a:lnTo>
                <a:lnTo>
                  <a:pt x="184" y="546"/>
                </a:lnTo>
                <a:lnTo>
                  <a:pt x="227" y="577"/>
                </a:lnTo>
                <a:lnTo>
                  <a:pt x="253" y="593"/>
                </a:lnTo>
                <a:lnTo>
                  <a:pt x="272" y="606"/>
                </a:lnTo>
                <a:lnTo>
                  <a:pt x="298" y="623"/>
                </a:lnTo>
                <a:lnTo>
                  <a:pt x="321" y="635"/>
                </a:lnTo>
                <a:lnTo>
                  <a:pt x="343" y="649"/>
                </a:lnTo>
                <a:lnTo>
                  <a:pt x="370" y="664"/>
                </a:lnTo>
                <a:lnTo>
                  <a:pt x="394" y="675"/>
                </a:lnTo>
                <a:lnTo>
                  <a:pt x="417" y="685"/>
                </a:lnTo>
                <a:lnTo>
                  <a:pt x="439" y="694"/>
                </a:lnTo>
                <a:lnTo>
                  <a:pt x="469" y="706"/>
                </a:lnTo>
                <a:lnTo>
                  <a:pt x="556" y="738"/>
                </a:lnTo>
                <a:lnTo>
                  <a:pt x="583" y="745"/>
                </a:lnTo>
                <a:lnTo>
                  <a:pt x="611" y="754"/>
                </a:lnTo>
                <a:lnTo>
                  <a:pt x="636" y="760"/>
                </a:lnTo>
                <a:lnTo>
                  <a:pt x="662" y="766"/>
                </a:lnTo>
                <a:lnTo>
                  <a:pt x="686" y="769"/>
                </a:lnTo>
                <a:lnTo>
                  <a:pt x="708" y="772"/>
                </a:lnTo>
                <a:lnTo>
                  <a:pt x="734" y="778"/>
                </a:lnTo>
                <a:lnTo>
                  <a:pt x="758" y="780"/>
                </a:lnTo>
                <a:lnTo>
                  <a:pt x="800" y="786"/>
                </a:lnTo>
                <a:lnTo>
                  <a:pt x="820" y="787"/>
                </a:lnTo>
                <a:lnTo>
                  <a:pt x="843" y="788"/>
                </a:lnTo>
                <a:lnTo>
                  <a:pt x="864" y="789"/>
                </a:lnTo>
                <a:lnTo>
                  <a:pt x="888" y="790"/>
                </a:lnTo>
                <a:lnTo>
                  <a:pt x="909" y="790"/>
                </a:lnTo>
                <a:lnTo>
                  <a:pt x="934" y="790"/>
                </a:lnTo>
                <a:lnTo>
                  <a:pt x="957" y="790"/>
                </a:lnTo>
                <a:close/>
              </a:path>
            </a:pathLst>
          </a:custGeom>
          <a:solidFill>
            <a:srgbClr val="55FF5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25" name="Freeform 45"/>
          <p:cNvSpPr>
            <a:spLocks/>
          </p:cNvSpPr>
          <p:nvPr/>
        </p:nvSpPr>
        <p:spPr bwMode="auto">
          <a:xfrm rot="-5400000" flipH="1" flipV="1">
            <a:off x="1395413" y="3702050"/>
            <a:ext cx="1771650" cy="892175"/>
          </a:xfrm>
          <a:custGeom>
            <a:avLst/>
            <a:gdLst>
              <a:gd name="T0" fmla="*/ 2147483647 w 1726"/>
              <a:gd name="T1" fmla="*/ 2147483647 h 790"/>
              <a:gd name="T2" fmla="*/ 2147483647 w 1726"/>
              <a:gd name="T3" fmla="*/ 2147483647 h 790"/>
              <a:gd name="T4" fmla="*/ 2147483647 w 1726"/>
              <a:gd name="T5" fmla="*/ 2147483647 h 790"/>
              <a:gd name="T6" fmla="*/ 2147483647 w 1726"/>
              <a:gd name="T7" fmla="*/ 2147483647 h 790"/>
              <a:gd name="T8" fmla="*/ 2147483647 w 1726"/>
              <a:gd name="T9" fmla="*/ 2147483647 h 790"/>
              <a:gd name="T10" fmla="*/ 2147483647 w 1726"/>
              <a:gd name="T11" fmla="*/ 2147483647 h 790"/>
              <a:gd name="T12" fmla="*/ 2147483647 w 1726"/>
              <a:gd name="T13" fmla="*/ 2147483647 h 790"/>
              <a:gd name="T14" fmla="*/ 2147483647 w 1726"/>
              <a:gd name="T15" fmla="*/ 2147483647 h 790"/>
              <a:gd name="T16" fmla="*/ 2147483647 w 1726"/>
              <a:gd name="T17" fmla="*/ 2147483647 h 790"/>
              <a:gd name="T18" fmla="*/ 2147483647 w 1726"/>
              <a:gd name="T19" fmla="*/ 2147483647 h 790"/>
              <a:gd name="T20" fmla="*/ 2147483647 w 1726"/>
              <a:gd name="T21" fmla="*/ 2147483647 h 790"/>
              <a:gd name="T22" fmla="*/ 2147483647 w 1726"/>
              <a:gd name="T23" fmla="*/ 2147483647 h 790"/>
              <a:gd name="T24" fmla="*/ 2147483647 w 1726"/>
              <a:gd name="T25" fmla="*/ 2147483647 h 790"/>
              <a:gd name="T26" fmla="*/ 2147483647 w 1726"/>
              <a:gd name="T27" fmla="*/ 2147483647 h 790"/>
              <a:gd name="T28" fmla="*/ 2147483647 w 1726"/>
              <a:gd name="T29" fmla="*/ 2147483647 h 790"/>
              <a:gd name="T30" fmla="*/ 2147483647 w 1726"/>
              <a:gd name="T31" fmla="*/ 2147483647 h 790"/>
              <a:gd name="T32" fmla="*/ 2147483647 w 1726"/>
              <a:gd name="T33" fmla="*/ 2147483647 h 790"/>
              <a:gd name="T34" fmla="*/ 2147483647 w 1726"/>
              <a:gd name="T35" fmla="*/ 2147483647 h 790"/>
              <a:gd name="T36" fmla="*/ 2147483647 w 1726"/>
              <a:gd name="T37" fmla="*/ 2147483647 h 790"/>
              <a:gd name="T38" fmla="*/ 2147483647 w 1726"/>
              <a:gd name="T39" fmla="*/ 2147483647 h 790"/>
              <a:gd name="T40" fmla="*/ 2147483647 w 1726"/>
              <a:gd name="T41" fmla="*/ 2147483647 h 790"/>
              <a:gd name="T42" fmla="*/ 2147483647 w 1726"/>
              <a:gd name="T43" fmla="*/ 2147483647 h 790"/>
              <a:gd name="T44" fmla="*/ 2147483647 w 1726"/>
              <a:gd name="T45" fmla="*/ 2147483647 h 790"/>
              <a:gd name="T46" fmla="*/ 2147483647 w 1726"/>
              <a:gd name="T47" fmla="*/ 0 h 790"/>
              <a:gd name="T48" fmla="*/ 0 w 1726"/>
              <a:gd name="T49" fmla="*/ 2147483647 h 790"/>
              <a:gd name="T50" fmla="*/ 2147483647 w 1726"/>
              <a:gd name="T51" fmla="*/ 2147483647 h 790"/>
              <a:gd name="T52" fmla="*/ 2147483647 w 1726"/>
              <a:gd name="T53" fmla="*/ 2147483647 h 790"/>
              <a:gd name="T54" fmla="*/ 2147483647 w 1726"/>
              <a:gd name="T55" fmla="*/ 2147483647 h 790"/>
              <a:gd name="T56" fmla="*/ 2147483647 w 1726"/>
              <a:gd name="T57" fmla="*/ 2147483647 h 790"/>
              <a:gd name="T58" fmla="*/ 2147483647 w 1726"/>
              <a:gd name="T59" fmla="*/ 2147483647 h 790"/>
              <a:gd name="T60" fmla="*/ 2147483647 w 1726"/>
              <a:gd name="T61" fmla="*/ 2147483647 h 790"/>
              <a:gd name="T62" fmla="*/ 2147483647 w 1726"/>
              <a:gd name="T63" fmla="*/ 2147483647 h 790"/>
              <a:gd name="T64" fmla="*/ 2147483647 w 1726"/>
              <a:gd name="T65" fmla="*/ 2147483647 h 790"/>
              <a:gd name="T66" fmla="*/ 2147483647 w 1726"/>
              <a:gd name="T67" fmla="*/ 2147483647 h 790"/>
              <a:gd name="T68" fmla="*/ 2147483647 w 1726"/>
              <a:gd name="T69" fmla="*/ 2147483647 h 790"/>
              <a:gd name="T70" fmla="*/ 2147483647 w 1726"/>
              <a:gd name="T71" fmla="*/ 2147483647 h 790"/>
              <a:gd name="T72" fmla="*/ 2147483647 w 1726"/>
              <a:gd name="T73" fmla="*/ 2147483647 h 790"/>
              <a:gd name="T74" fmla="*/ 2147483647 w 1726"/>
              <a:gd name="T75" fmla="*/ 2147483647 h 790"/>
              <a:gd name="T76" fmla="*/ 2147483647 w 1726"/>
              <a:gd name="T77" fmla="*/ 2147483647 h 790"/>
              <a:gd name="T78" fmla="*/ 2147483647 w 1726"/>
              <a:gd name="T79" fmla="*/ 2147483647 h 79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26"/>
              <a:gd name="T121" fmla="*/ 0 h 790"/>
              <a:gd name="T122" fmla="*/ 1726 w 1726"/>
              <a:gd name="T123" fmla="*/ 790 h 79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26" h="790">
                <a:moveTo>
                  <a:pt x="957" y="790"/>
                </a:moveTo>
                <a:lnTo>
                  <a:pt x="1091" y="773"/>
                </a:lnTo>
                <a:lnTo>
                  <a:pt x="1119" y="769"/>
                </a:lnTo>
                <a:lnTo>
                  <a:pt x="1224" y="740"/>
                </a:lnTo>
                <a:lnTo>
                  <a:pt x="1248" y="733"/>
                </a:lnTo>
                <a:lnTo>
                  <a:pt x="1292" y="718"/>
                </a:lnTo>
                <a:lnTo>
                  <a:pt x="1333" y="703"/>
                </a:lnTo>
                <a:lnTo>
                  <a:pt x="1393" y="678"/>
                </a:lnTo>
                <a:lnTo>
                  <a:pt x="1439" y="654"/>
                </a:lnTo>
                <a:lnTo>
                  <a:pt x="1456" y="645"/>
                </a:lnTo>
                <a:lnTo>
                  <a:pt x="1497" y="623"/>
                </a:lnTo>
                <a:lnTo>
                  <a:pt x="1537" y="596"/>
                </a:lnTo>
                <a:lnTo>
                  <a:pt x="1555" y="586"/>
                </a:lnTo>
                <a:lnTo>
                  <a:pt x="1571" y="575"/>
                </a:lnTo>
                <a:lnTo>
                  <a:pt x="1590" y="561"/>
                </a:lnTo>
                <a:lnTo>
                  <a:pt x="1609" y="549"/>
                </a:lnTo>
                <a:lnTo>
                  <a:pt x="1625" y="537"/>
                </a:lnTo>
                <a:lnTo>
                  <a:pt x="1639" y="525"/>
                </a:lnTo>
                <a:lnTo>
                  <a:pt x="1670" y="501"/>
                </a:lnTo>
                <a:lnTo>
                  <a:pt x="1697" y="476"/>
                </a:lnTo>
                <a:lnTo>
                  <a:pt x="1709" y="463"/>
                </a:lnTo>
                <a:lnTo>
                  <a:pt x="1726" y="449"/>
                </a:lnTo>
                <a:lnTo>
                  <a:pt x="1405" y="124"/>
                </a:lnTo>
                <a:lnTo>
                  <a:pt x="1390" y="140"/>
                </a:lnTo>
                <a:lnTo>
                  <a:pt x="1352" y="173"/>
                </a:lnTo>
                <a:lnTo>
                  <a:pt x="1326" y="194"/>
                </a:lnTo>
                <a:lnTo>
                  <a:pt x="1280" y="223"/>
                </a:lnTo>
                <a:lnTo>
                  <a:pt x="1255" y="237"/>
                </a:lnTo>
                <a:lnTo>
                  <a:pt x="1200" y="266"/>
                </a:lnTo>
                <a:lnTo>
                  <a:pt x="1175" y="278"/>
                </a:lnTo>
                <a:lnTo>
                  <a:pt x="1115" y="300"/>
                </a:lnTo>
                <a:lnTo>
                  <a:pt x="1049" y="317"/>
                </a:lnTo>
                <a:lnTo>
                  <a:pt x="1016" y="323"/>
                </a:lnTo>
                <a:lnTo>
                  <a:pt x="983" y="326"/>
                </a:lnTo>
                <a:lnTo>
                  <a:pt x="932" y="332"/>
                </a:lnTo>
                <a:lnTo>
                  <a:pt x="837" y="332"/>
                </a:lnTo>
                <a:lnTo>
                  <a:pt x="833" y="332"/>
                </a:lnTo>
                <a:lnTo>
                  <a:pt x="780" y="324"/>
                </a:lnTo>
                <a:lnTo>
                  <a:pt x="753" y="320"/>
                </a:lnTo>
                <a:lnTo>
                  <a:pt x="704" y="309"/>
                </a:lnTo>
                <a:lnTo>
                  <a:pt x="678" y="300"/>
                </a:lnTo>
                <a:lnTo>
                  <a:pt x="602" y="270"/>
                </a:lnTo>
                <a:lnTo>
                  <a:pt x="577" y="257"/>
                </a:lnTo>
                <a:lnTo>
                  <a:pt x="555" y="246"/>
                </a:lnTo>
                <a:lnTo>
                  <a:pt x="510" y="220"/>
                </a:lnTo>
                <a:lnTo>
                  <a:pt x="474" y="194"/>
                </a:lnTo>
                <a:lnTo>
                  <a:pt x="443" y="168"/>
                </a:lnTo>
                <a:lnTo>
                  <a:pt x="595" y="0"/>
                </a:lnTo>
                <a:lnTo>
                  <a:pt x="110" y="135"/>
                </a:lnTo>
                <a:lnTo>
                  <a:pt x="0" y="652"/>
                </a:lnTo>
                <a:lnTo>
                  <a:pt x="136" y="505"/>
                </a:lnTo>
                <a:lnTo>
                  <a:pt x="163" y="528"/>
                </a:lnTo>
                <a:lnTo>
                  <a:pt x="184" y="546"/>
                </a:lnTo>
                <a:lnTo>
                  <a:pt x="227" y="577"/>
                </a:lnTo>
                <a:lnTo>
                  <a:pt x="253" y="593"/>
                </a:lnTo>
                <a:lnTo>
                  <a:pt x="272" y="606"/>
                </a:lnTo>
                <a:lnTo>
                  <a:pt x="298" y="623"/>
                </a:lnTo>
                <a:lnTo>
                  <a:pt x="321" y="635"/>
                </a:lnTo>
                <a:lnTo>
                  <a:pt x="343" y="649"/>
                </a:lnTo>
                <a:lnTo>
                  <a:pt x="370" y="664"/>
                </a:lnTo>
                <a:lnTo>
                  <a:pt x="394" y="675"/>
                </a:lnTo>
                <a:lnTo>
                  <a:pt x="417" y="685"/>
                </a:lnTo>
                <a:lnTo>
                  <a:pt x="439" y="694"/>
                </a:lnTo>
                <a:lnTo>
                  <a:pt x="469" y="706"/>
                </a:lnTo>
                <a:lnTo>
                  <a:pt x="556" y="738"/>
                </a:lnTo>
                <a:lnTo>
                  <a:pt x="583" y="745"/>
                </a:lnTo>
                <a:lnTo>
                  <a:pt x="611" y="754"/>
                </a:lnTo>
                <a:lnTo>
                  <a:pt x="636" y="760"/>
                </a:lnTo>
                <a:lnTo>
                  <a:pt x="662" y="766"/>
                </a:lnTo>
                <a:lnTo>
                  <a:pt x="686" y="769"/>
                </a:lnTo>
                <a:lnTo>
                  <a:pt x="708" y="772"/>
                </a:lnTo>
                <a:lnTo>
                  <a:pt x="734" y="778"/>
                </a:lnTo>
                <a:lnTo>
                  <a:pt x="758" y="780"/>
                </a:lnTo>
                <a:lnTo>
                  <a:pt x="800" y="786"/>
                </a:lnTo>
                <a:lnTo>
                  <a:pt x="820" y="787"/>
                </a:lnTo>
                <a:lnTo>
                  <a:pt x="843" y="788"/>
                </a:lnTo>
                <a:lnTo>
                  <a:pt x="864" y="789"/>
                </a:lnTo>
                <a:lnTo>
                  <a:pt x="888" y="790"/>
                </a:lnTo>
                <a:lnTo>
                  <a:pt x="909" y="790"/>
                </a:lnTo>
                <a:lnTo>
                  <a:pt x="934" y="790"/>
                </a:lnTo>
                <a:lnTo>
                  <a:pt x="957" y="790"/>
                </a:lnTo>
                <a:close/>
              </a:path>
            </a:pathLst>
          </a:cu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6" presetClass="emph" presetSubtype="0" fill="hold" grpId="1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" dur="2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29" grpId="1"/>
      <p:bldP spid="12" grpId="0" animBg="1"/>
      <p:bldP spid="14" grpId="0" animBg="1"/>
      <p:bldP spid="20" grpId="0" animBg="1"/>
      <p:bldP spid="16" grpId="0" animBg="1"/>
      <p:bldP spid="15" grpId="0" animBg="1"/>
      <p:bldP spid="23" grpId="0" animBg="1"/>
      <p:bldP spid="24" grpId="0" animBg="1"/>
      <p:bldP spid="2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44450"/>
            <a:ext cx="9144000" cy="1301750"/>
          </a:xfrm>
        </p:spPr>
        <p:txBody>
          <a:bodyPr/>
          <a:lstStyle/>
          <a:p>
            <a:pPr eaLnBrk="1" hangingPunct="1"/>
            <a:r>
              <a:rPr kumimoji="0" lang="ru-RU" sz="3600" b="1" smtClean="0">
                <a:solidFill>
                  <a:schemeClr val="bg1"/>
                </a:solidFill>
              </a:rPr>
              <a:t>Принцип 7. Применение инновационных образовательных технологий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>
          <a:xfrm>
            <a:off x="323850" y="1700213"/>
            <a:ext cx="8424863" cy="3960812"/>
          </a:xfrm>
        </p:spPr>
        <p:txBody>
          <a:bodyPr/>
          <a:lstStyle/>
          <a:p>
            <a:pPr marL="1081088" indent="-357188" eaLnBrk="1" hangingPunct="1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2800" dirty="0" smtClean="0"/>
              <a:t>Дистанционные технологии  – через Интернет</a:t>
            </a:r>
          </a:p>
          <a:p>
            <a:pPr marL="1081088" indent="-357188" eaLnBrk="1" hangingPunct="1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2800" dirty="0" smtClean="0"/>
              <a:t>Электронное обучение </a:t>
            </a:r>
          </a:p>
          <a:p>
            <a:pPr marL="1081088" indent="-357188" eaLnBrk="1" hangingPunct="1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2800" dirty="0" err="1" smtClean="0"/>
              <a:t>Симуляционные</a:t>
            </a:r>
            <a:r>
              <a:rPr kumimoji="0" lang="ru-RU" sz="2800" dirty="0" smtClean="0"/>
              <a:t> курсы</a:t>
            </a:r>
          </a:p>
          <a:p>
            <a:pPr marL="1081088" indent="-357188" eaLnBrk="1" hangingPunct="1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charset="0"/>
              <a:buNone/>
            </a:pPr>
            <a:endParaRPr kumimoji="0" lang="ru-RU" sz="2800" dirty="0" smtClean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465138" y="1695450"/>
            <a:ext cx="50641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>
              <a:solidFill>
                <a:srgbClr val="C80000"/>
              </a:solidFill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465138" y="2349500"/>
            <a:ext cx="50641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>
              <a:solidFill>
                <a:srgbClr val="C80000"/>
              </a:solidFill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465138" y="2924944"/>
            <a:ext cx="50641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 dirty="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 dirty="0">
              <a:solidFill>
                <a:srgbClr val="C80000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3" cstate="print">
            <a:extLst/>
          </a:blip>
          <a:srcRect r="2480"/>
          <a:stretch/>
        </p:blipFill>
        <p:spPr bwMode="auto">
          <a:xfrm>
            <a:off x="251520" y="3869811"/>
            <a:ext cx="2760458" cy="288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4" cstate="print">
            <a:extLst/>
          </a:blip>
          <a:srcRect/>
          <a:stretch>
            <a:fillRect/>
          </a:stretch>
        </p:blipFill>
        <p:spPr bwMode="auto">
          <a:xfrm>
            <a:off x="6588224" y="3861048"/>
            <a:ext cx="2331287" cy="288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 rotWithShape="1">
          <a:blip r:embed="rId5" cstate="print">
            <a:extLst/>
          </a:blip>
          <a:srcRect l="10862" t="24082" r="33535" b="15787"/>
          <a:stretch/>
        </p:blipFill>
        <p:spPr bwMode="auto">
          <a:xfrm>
            <a:off x="3135637" y="3869811"/>
            <a:ext cx="3328929" cy="288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44450"/>
            <a:ext cx="9144000" cy="1301750"/>
          </a:xfrm>
        </p:spPr>
        <p:txBody>
          <a:bodyPr/>
          <a:lstStyle/>
          <a:p>
            <a:pPr eaLnBrk="1" hangingPunct="1"/>
            <a:r>
              <a:rPr kumimoji="0" lang="ru-RU" sz="3600" b="1" smtClean="0">
                <a:solidFill>
                  <a:schemeClr val="bg1"/>
                </a:solidFill>
              </a:rPr>
              <a:t>Принцип 8. Контроль качества программ и образовательной деятельности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idx="1"/>
          </p:nvPr>
        </p:nvSpPr>
        <p:spPr>
          <a:xfrm>
            <a:off x="1177925" y="1887538"/>
            <a:ext cx="7210425" cy="4421187"/>
          </a:xfrm>
        </p:spPr>
        <p:txBody>
          <a:bodyPr/>
          <a:lstStyle/>
          <a:p>
            <a:pPr marL="0" indent="0" eaLnBrk="1" hangingPunct="1">
              <a:spcBef>
                <a:spcPts val="1800"/>
              </a:spcBef>
              <a:spcAft>
                <a:spcPts val="1800"/>
              </a:spcAft>
              <a:buFont typeface="Arial" charset="0"/>
              <a:buNone/>
            </a:pPr>
            <a:r>
              <a:rPr kumimoji="0" lang="ru-RU" dirty="0" smtClean="0"/>
              <a:t>Единые требования к программам и образовательным мероприятиям</a:t>
            </a:r>
          </a:p>
          <a:p>
            <a:pPr marL="0" indent="0" eaLnBrk="1" hangingPunct="1">
              <a:spcBef>
                <a:spcPts val="1800"/>
              </a:spcBef>
              <a:spcAft>
                <a:spcPts val="1800"/>
              </a:spcAft>
              <a:buFont typeface="Arial" charset="0"/>
              <a:buNone/>
            </a:pPr>
            <a:r>
              <a:rPr kumimoji="0" lang="ru-RU" dirty="0" smtClean="0"/>
              <a:t>Создание независимой организации по контролю качества образования при НМП</a:t>
            </a:r>
          </a:p>
          <a:p>
            <a:pPr marL="0" indent="0" eaLnBrk="1" hangingPunct="1">
              <a:spcBef>
                <a:spcPts val="1800"/>
              </a:spcBef>
              <a:spcAft>
                <a:spcPts val="1800"/>
              </a:spcAft>
              <a:buFont typeface="Arial" charset="0"/>
              <a:buNone/>
            </a:pPr>
            <a:r>
              <a:rPr kumimoji="0" lang="ru-RU" dirty="0" smtClean="0"/>
              <a:t>Общественно-профессиональная аккредитация</a:t>
            </a:r>
          </a:p>
        </p:txBody>
      </p:sp>
      <p:sp>
        <p:nvSpPr>
          <p:cNvPr id="59396" name="Прямоугольник 1"/>
          <p:cNvSpPr>
            <a:spLocks noChangeArrowheads="1"/>
          </p:cNvSpPr>
          <p:nvPr/>
        </p:nvSpPr>
        <p:spPr bwMode="auto">
          <a:xfrm>
            <a:off x="396875" y="1628775"/>
            <a:ext cx="301625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75000"/>
              </a:lnSpc>
            </a:pPr>
            <a:r>
              <a:rPr lang="ru-RU" sz="1100" b="1">
                <a:solidFill>
                  <a:srgbClr val="FFFFFF"/>
                </a:solidFill>
                <a:latin typeface="Arial Black" pitchFamily="34" charset="0"/>
              </a:rPr>
              <a:t>Г</a:t>
            </a:r>
          </a:p>
          <a:p>
            <a:pPr algn="ctr">
              <a:lnSpc>
                <a:spcPct val="75000"/>
              </a:lnSpc>
            </a:pPr>
            <a:r>
              <a:rPr lang="ru-RU" sz="1100" b="1">
                <a:solidFill>
                  <a:srgbClr val="FFFFFF"/>
                </a:solidFill>
                <a:latin typeface="Arial Black" pitchFamily="34" charset="0"/>
              </a:rPr>
              <a:t>О</a:t>
            </a:r>
          </a:p>
          <a:p>
            <a:pPr algn="ctr">
              <a:lnSpc>
                <a:spcPct val="75000"/>
              </a:lnSpc>
            </a:pPr>
            <a:r>
              <a:rPr lang="ru-RU" sz="1100" b="1">
                <a:solidFill>
                  <a:srgbClr val="FFFFFF"/>
                </a:solidFill>
                <a:latin typeface="Arial Black" pitchFamily="34" charset="0"/>
              </a:rPr>
              <a:t>С</a:t>
            </a:r>
          </a:p>
          <a:p>
            <a:pPr algn="ctr">
              <a:lnSpc>
                <a:spcPct val="75000"/>
              </a:lnSpc>
            </a:pPr>
            <a:r>
              <a:rPr lang="ru-RU" sz="1100" b="1">
                <a:solidFill>
                  <a:srgbClr val="FFFFFF"/>
                </a:solidFill>
                <a:latin typeface="Arial Black" pitchFamily="34" charset="0"/>
              </a:rPr>
              <a:t>Т</a:t>
            </a:r>
          </a:p>
        </p:txBody>
      </p:sp>
      <p:sp>
        <p:nvSpPr>
          <p:cNvPr id="8" name="Правильный пятиугольник 7"/>
          <p:cNvSpPr/>
          <p:nvPr/>
        </p:nvSpPr>
        <p:spPr>
          <a:xfrm>
            <a:off x="378336" y="1917271"/>
            <a:ext cx="576000" cy="468000"/>
          </a:xfrm>
          <a:prstGeom prst="pentagon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Правильный пятиугольник 14"/>
          <p:cNvSpPr/>
          <p:nvPr/>
        </p:nvSpPr>
        <p:spPr>
          <a:xfrm>
            <a:off x="378336" y="3393056"/>
            <a:ext cx="576000" cy="468000"/>
          </a:xfrm>
          <a:prstGeom prst="pentagon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Правильный пятиугольник 8"/>
          <p:cNvSpPr/>
          <p:nvPr/>
        </p:nvSpPr>
        <p:spPr>
          <a:xfrm>
            <a:off x="378336" y="5337272"/>
            <a:ext cx="576000" cy="468000"/>
          </a:xfrm>
          <a:prstGeom prst="pentagon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marL="3175" eaLnBrk="1" hangingPunct="1">
              <a:lnSpc>
                <a:spcPct val="90000"/>
              </a:lnSpc>
            </a:pPr>
            <a:r>
              <a:rPr kumimoji="0" lang="ru-RU" sz="3600" b="1" smtClean="0">
                <a:solidFill>
                  <a:schemeClr val="bg1"/>
                </a:solidFill>
              </a:rPr>
              <a:t>Принцип 9.</a:t>
            </a:r>
            <a:br>
              <a:rPr kumimoji="0" lang="ru-RU" sz="3600" b="1" smtClean="0">
                <a:solidFill>
                  <a:schemeClr val="bg1"/>
                </a:solidFill>
              </a:rPr>
            </a:br>
            <a:r>
              <a:rPr kumimoji="0" lang="ru-RU" sz="3600" b="1" smtClean="0">
                <a:solidFill>
                  <a:schemeClr val="bg1"/>
                </a:solidFill>
              </a:rPr>
              <a:t>Независимость НМО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>
            <p:ph idx="1"/>
          </p:nvPr>
        </p:nvSpPr>
        <p:spPr>
          <a:xfrm>
            <a:off x="900113" y="1989138"/>
            <a:ext cx="7488237" cy="3960812"/>
          </a:xfrm>
        </p:spPr>
        <p:txBody>
          <a:bodyPr/>
          <a:lstStyle/>
          <a:p>
            <a:pPr marL="177800" indent="-177800" eaLnBrk="1" hangingPunct="1">
              <a:spcBef>
                <a:spcPts val="1800"/>
              </a:spcBef>
              <a:spcAft>
                <a:spcPts val="1800"/>
              </a:spcAft>
              <a:buFont typeface="Arial" charset="0"/>
              <a:buNone/>
            </a:pPr>
            <a:r>
              <a:rPr kumimoji="0" lang="ru-RU" sz="2800" smtClean="0"/>
              <a:t>Отсутствие моно-рекламы производителей </a:t>
            </a:r>
          </a:p>
          <a:p>
            <a:pPr marL="177800" indent="-177800" eaLnBrk="1" hangingPunct="1">
              <a:spcBef>
                <a:spcPts val="1800"/>
              </a:spcBef>
              <a:spcAft>
                <a:spcPts val="1800"/>
              </a:spcAft>
              <a:buFont typeface="Arial" charset="0"/>
              <a:buNone/>
            </a:pPr>
            <a:r>
              <a:rPr kumimoji="0" lang="ru-RU" sz="2800" smtClean="0"/>
              <a:t>Создание Кодекса этики участия спонсоров       в НМО</a:t>
            </a:r>
          </a:p>
        </p:txBody>
      </p: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465138" y="1989138"/>
            <a:ext cx="50641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>
              <a:solidFill>
                <a:srgbClr val="C80000"/>
              </a:solidFill>
            </a:endParaRPr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465138" y="2852738"/>
            <a:ext cx="50641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32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3200">
              <a:solidFill>
                <a:srgbClr val="C80000"/>
              </a:solidFill>
            </a:endParaRPr>
          </a:p>
        </p:txBody>
      </p:sp>
      <p:grpSp>
        <p:nvGrpSpPr>
          <p:cNvPr id="2" name="Группа 2"/>
          <p:cNvGrpSpPr>
            <a:grpSpLocks/>
          </p:cNvGrpSpPr>
          <p:nvPr/>
        </p:nvGrpSpPr>
        <p:grpSpPr bwMode="auto">
          <a:xfrm>
            <a:off x="34925" y="3933825"/>
            <a:ext cx="8461375" cy="3760788"/>
            <a:chOff x="35496" y="3933056"/>
            <a:chExt cx="8460097" cy="3761995"/>
          </a:xfrm>
        </p:grpSpPr>
        <p:pic>
          <p:nvPicPr>
            <p:cNvPr id="60423" name="Picture 2" descr="http://pc-news.info/wp-content/uploads/2012/07/pill.jpg"/>
            <p:cNvPicPr>
              <a:picLocks noChangeAspect="1" noChangeArrowheads="1"/>
            </p:cNvPicPr>
            <p:nvPr/>
          </p:nvPicPr>
          <p:blipFill>
            <a:blip r:embed="rId3" cstate="print"/>
            <a:srcRect t="41829" r="1886"/>
            <a:stretch>
              <a:fillRect/>
            </a:stretch>
          </p:blipFill>
          <p:spPr bwMode="auto">
            <a:xfrm>
              <a:off x="35496" y="3933056"/>
              <a:ext cx="8460097" cy="3761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0424" name="TextBox 1"/>
            <p:cNvSpPr txBox="1">
              <a:spLocks noChangeArrowheads="1"/>
            </p:cNvSpPr>
            <p:nvPr/>
          </p:nvSpPr>
          <p:spPr bwMode="auto">
            <a:xfrm>
              <a:off x="1853114" y="4293096"/>
              <a:ext cx="2646878" cy="15696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9600" b="1">
                  <a:solidFill>
                    <a:srgbClr val="FF0000"/>
                  </a:solidFill>
                </a:rPr>
                <a:t>НЕТ</a:t>
              </a:r>
              <a:endParaRPr lang="ru-RU" sz="4800">
                <a:solidFill>
                  <a:srgbClr val="FF0000"/>
                </a:solidFill>
              </a:endParaRPr>
            </a:p>
          </p:txBody>
        </p:sp>
        <p:sp>
          <p:nvSpPr>
            <p:cNvPr id="60425" name="TextBox 7"/>
            <p:cNvSpPr txBox="1">
              <a:spLocks noChangeArrowheads="1"/>
            </p:cNvSpPr>
            <p:nvPr/>
          </p:nvSpPr>
          <p:spPr bwMode="auto">
            <a:xfrm>
              <a:off x="4644008" y="4509120"/>
              <a:ext cx="2432076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3600" b="1">
                  <a:solidFill>
                    <a:srgbClr val="FFFFFF"/>
                  </a:solidFill>
                </a:rPr>
                <a:t>МОНО-</a:t>
              </a:r>
            </a:p>
            <a:p>
              <a:r>
                <a:rPr lang="ru-RU" sz="3600" b="1">
                  <a:solidFill>
                    <a:srgbClr val="FFFFFF"/>
                  </a:solidFill>
                </a:rPr>
                <a:t>РЕКЛАМЕ</a:t>
              </a:r>
              <a:endParaRPr lang="ru-RU" sz="360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7638"/>
          </a:xfrm>
        </p:spPr>
        <p:txBody>
          <a:bodyPr/>
          <a:lstStyle/>
          <a:p>
            <a:pPr eaLnBrk="1" hangingPunct="1"/>
            <a:r>
              <a:rPr kumimoji="0" lang="ru-RU" sz="3600" b="1" smtClean="0">
                <a:solidFill>
                  <a:schemeClr val="bg1"/>
                </a:solidFill>
              </a:rPr>
              <a:t>Принцип 10. Мотивация работников к повышению квалификации</a:t>
            </a:r>
          </a:p>
        </p:txBody>
      </p:sp>
      <p:sp>
        <p:nvSpPr>
          <p:cNvPr id="61443" name="Rectangle 3"/>
          <p:cNvSpPr>
            <a:spLocks noGrp="1" noChangeArrowheads="1"/>
          </p:cNvSpPr>
          <p:nvPr>
            <p:ph idx="1"/>
          </p:nvPr>
        </p:nvSpPr>
        <p:spPr>
          <a:xfrm>
            <a:off x="1187450" y="2924175"/>
            <a:ext cx="7705725" cy="3457575"/>
          </a:xfrm>
        </p:spPr>
        <p:txBody>
          <a:bodyPr/>
          <a:lstStyle/>
          <a:p>
            <a:pPr marL="0" indent="0" eaLnBrk="1" hangingPunct="1">
              <a:spcBef>
                <a:spcPts val="1800"/>
              </a:spcBef>
              <a:spcAft>
                <a:spcPts val="12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3600" smtClean="0"/>
              <a:t>При</a:t>
            </a:r>
            <a:r>
              <a:rPr kumimoji="0" lang="en-US" sz="3600" smtClean="0"/>
              <a:t> </a:t>
            </a:r>
            <a:r>
              <a:rPr kumimoji="0" lang="ru-RU" sz="3600" smtClean="0"/>
              <a:t>продлении права работать</a:t>
            </a:r>
            <a:br>
              <a:rPr kumimoji="0" lang="ru-RU" sz="3600" smtClean="0"/>
            </a:br>
            <a:r>
              <a:rPr kumimoji="0" lang="ru-RU" sz="3600" smtClean="0"/>
              <a:t>по специальности (аккредитация)</a:t>
            </a:r>
          </a:p>
          <a:p>
            <a:pPr marL="0" indent="0" eaLnBrk="1" hangingPunct="1">
              <a:spcBef>
                <a:spcPts val="1800"/>
              </a:spcBef>
              <a:spcAft>
                <a:spcPts val="12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3600" smtClean="0"/>
              <a:t>При аттестации</a:t>
            </a:r>
          </a:p>
          <a:p>
            <a:pPr marL="0" indent="0" eaLnBrk="1" hangingPunct="1">
              <a:spcBef>
                <a:spcPts val="1800"/>
              </a:spcBef>
              <a:spcAft>
                <a:spcPts val="1200"/>
              </a:spcAft>
              <a:buClr>
                <a:srgbClr val="C00000"/>
              </a:buClr>
              <a:buFont typeface="Arial" charset="0"/>
              <a:buNone/>
            </a:pPr>
            <a:r>
              <a:rPr kumimoji="0" lang="ru-RU" sz="3600" smtClean="0"/>
              <a:t>При оплате труда</a:t>
            </a:r>
          </a:p>
        </p:txBody>
      </p:sp>
      <p:sp>
        <p:nvSpPr>
          <p:cNvPr id="61444" name="Прямоугольник 3"/>
          <p:cNvSpPr>
            <a:spLocks noChangeArrowheads="1"/>
          </p:cNvSpPr>
          <p:nvPr/>
        </p:nvSpPr>
        <p:spPr bwMode="auto">
          <a:xfrm>
            <a:off x="385763" y="1773238"/>
            <a:ext cx="8424862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</a:rPr>
              <a:t>Учёт</a:t>
            </a:r>
            <a:r>
              <a:rPr lang="ru-RU" sz="3600">
                <a:solidFill>
                  <a:srgbClr val="000000"/>
                </a:solidFill>
              </a:rPr>
              <a:t> накопленных кредитов: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95288" y="2852738"/>
            <a:ext cx="728662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54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5400">
              <a:solidFill>
                <a:srgbClr val="C80000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95288" y="4292600"/>
            <a:ext cx="728662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54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5400">
              <a:solidFill>
                <a:srgbClr val="C80000"/>
              </a:solidFill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95288" y="5229225"/>
            <a:ext cx="728662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5400">
                <a:solidFill>
                  <a:srgbClr val="C80000"/>
                </a:solidFill>
                <a:sym typeface="Wingdings" pitchFamily="2" charset="2"/>
              </a:rPr>
              <a:t></a:t>
            </a:r>
            <a:endParaRPr lang="ru-RU" sz="5400">
              <a:solidFill>
                <a:srgbClr val="C80000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44450"/>
            <a:ext cx="9144000" cy="1301750"/>
          </a:xfrm>
        </p:spPr>
        <p:txBody>
          <a:bodyPr/>
          <a:lstStyle/>
          <a:p>
            <a:pPr eaLnBrk="1" hangingPunct="1"/>
            <a:r>
              <a:rPr kumimoji="0" lang="ru-RU" sz="3600" b="1" smtClean="0">
                <a:solidFill>
                  <a:schemeClr val="bg1"/>
                </a:solidFill>
              </a:rPr>
              <a:t>Принцип 11. Бесплатность большинства видов обучения для работников</a:t>
            </a:r>
          </a:p>
        </p:txBody>
      </p:sp>
      <p:sp>
        <p:nvSpPr>
          <p:cNvPr id="62467" name="Rectangle 3"/>
          <p:cNvSpPr>
            <a:spLocks noGrp="1" noChangeArrowheads="1"/>
          </p:cNvSpPr>
          <p:nvPr>
            <p:ph idx="1"/>
          </p:nvPr>
        </p:nvSpPr>
        <p:spPr>
          <a:xfrm>
            <a:off x="684213" y="1887538"/>
            <a:ext cx="7704137" cy="4421187"/>
          </a:xfrm>
        </p:spPr>
        <p:txBody>
          <a:bodyPr/>
          <a:lstStyle/>
          <a:p>
            <a:pPr marL="0" indent="0" eaLnBrk="1" hangingPunct="1">
              <a:spcBef>
                <a:spcPts val="1800"/>
              </a:spcBef>
              <a:spcAft>
                <a:spcPts val="1800"/>
              </a:spcAft>
              <a:buClr>
                <a:srgbClr val="C00000"/>
              </a:buClr>
              <a:buSzPct val="200000"/>
              <a:buFont typeface="Arial" charset="0"/>
              <a:buNone/>
            </a:pPr>
            <a:r>
              <a:rPr kumimoji="0" lang="ru-RU" smtClean="0"/>
              <a:t>Отдельная статья расходов на обучение работников в бюджетах всех уровней и бюджете ОМС</a:t>
            </a:r>
          </a:p>
          <a:p>
            <a:pPr marL="0" indent="0" eaLnBrk="1" hangingPunct="1">
              <a:spcBef>
                <a:spcPts val="1800"/>
              </a:spcBef>
              <a:spcAft>
                <a:spcPts val="1800"/>
              </a:spcAft>
              <a:buClr>
                <a:srgbClr val="C00000"/>
              </a:buClr>
              <a:buSzPct val="200000"/>
              <a:buFont typeface="Arial" charset="0"/>
              <a:buNone/>
            </a:pPr>
            <a:r>
              <a:rPr kumimoji="0" lang="ru-RU" smtClean="0"/>
              <a:t>Средства медицинских и фармацевтических производителей с учётом Кодекса этики участия спонсоров в НМ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2060848"/>
            <a:ext cx="252000" cy="252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3528" y="3969088"/>
            <a:ext cx="252000" cy="252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333487"/>
              </p:ext>
            </p:extLst>
          </p:nvPr>
        </p:nvGraphicFramePr>
        <p:xfrm>
          <a:off x="539750" y="549275"/>
          <a:ext cx="8266114" cy="6215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974"/>
                <a:gridCol w="2781866"/>
                <a:gridCol w="3179274"/>
              </a:tblGrid>
              <a:tr h="545063">
                <a:tc>
                  <a:txBody>
                    <a:bodyPr/>
                    <a:lstStyle/>
                    <a:p>
                      <a:pPr algn="ctr"/>
                      <a:endParaRPr lang="ru-RU" sz="17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ЕГОДНЯ</a:t>
                      </a:r>
                      <a:endParaRPr lang="ru-RU" sz="17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ДОЛЖНО БЫТЬ</a:t>
                      </a:r>
                      <a:endParaRPr lang="ru-RU" sz="17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</a:tr>
              <a:tr h="1029903">
                <a:tc>
                  <a:txBody>
                    <a:bodyPr/>
                    <a:lstStyle/>
                    <a:p>
                      <a:r>
                        <a:rPr lang="ru-RU" sz="1700" b="1" dirty="0" smtClean="0">
                          <a:solidFill>
                            <a:schemeClr val="bg1"/>
                          </a:solidFill>
                        </a:rPr>
                        <a:t>ОБЪЕМ </a:t>
                      </a:r>
                      <a:br>
                        <a:rPr lang="ru-RU" sz="17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700" b="1" dirty="0" smtClean="0">
                          <a:solidFill>
                            <a:schemeClr val="bg1"/>
                          </a:solidFill>
                        </a:rPr>
                        <a:t>И ПЕРИОДИЧНОСТЬ</a:t>
                      </a:r>
                      <a:endParaRPr lang="ru-RU" sz="17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kern="1200" baseline="0" dirty="0" smtClean="0"/>
                        <a:t>144 ч</a:t>
                      </a:r>
                    </a:p>
                    <a:p>
                      <a:pPr algn="ctr"/>
                      <a:r>
                        <a:rPr lang="ru-RU" sz="2000" kern="1200" baseline="0" dirty="0" smtClean="0"/>
                        <a:t>1 раз в 5 лет</a:t>
                      </a:r>
                      <a:endParaRPr lang="ru-RU" sz="2000" b="1" baseline="0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</a:rPr>
                        <a:t>250</a:t>
                      </a:r>
                      <a:r>
                        <a:rPr lang="ru-RU" sz="1800" kern="1200" baseline="0" dirty="0" smtClean="0"/>
                        <a:t> ч за 5 лет </a:t>
                      </a:r>
                      <a:br>
                        <a:rPr lang="ru-RU" sz="1800" kern="1200" baseline="0" dirty="0" smtClean="0"/>
                      </a:br>
                      <a:r>
                        <a:rPr lang="ru-RU" sz="1800" kern="1200" baseline="0" dirty="0" smtClean="0"/>
                        <a:t>или </a:t>
                      </a:r>
                      <a:r>
                        <a:rPr lang="ru-RU" sz="1800" b="1" kern="1200" baseline="0" dirty="0" smtClean="0"/>
                        <a:t>50</a:t>
                      </a:r>
                      <a:r>
                        <a:rPr lang="ru-RU" sz="1800" kern="1200" baseline="0" dirty="0" smtClean="0"/>
                        <a:t> ч ежегодно</a:t>
                      </a:r>
                      <a:endParaRPr lang="ru-RU" sz="18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45404">
                <a:tc>
                  <a:txBody>
                    <a:bodyPr/>
                    <a:lstStyle/>
                    <a:p>
                      <a:r>
                        <a:rPr lang="ru-RU" sz="1700" b="1" dirty="0" smtClean="0">
                          <a:solidFill>
                            <a:schemeClr val="bg1"/>
                          </a:solidFill>
                        </a:rPr>
                        <a:t>УЧЕТ ЗНАНИЙ</a:t>
                      </a:r>
                      <a:endParaRPr lang="ru-RU" sz="17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/>
                        <a:t>1 раз в 5 лет</a:t>
                      </a:r>
                      <a:endParaRPr lang="ru-RU" sz="2000" b="1" kern="1200" baseline="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/>
                        <a:t>Постоянно </a:t>
                      </a:r>
                      <a:br>
                        <a:rPr lang="ru-RU" sz="2000" kern="1200" baseline="0" dirty="0" smtClean="0"/>
                      </a:br>
                      <a:r>
                        <a:rPr lang="ru-RU" sz="2000" kern="1200" baseline="0" dirty="0" smtClean="0"/>
                        <a:t>в режиме </a:t>
                      </a:r>
                      <a:r>
                        <a:rPr lang="en-US" sz="2000" kern="1200" baseline="0" dirty="0" smtClean="0"/>
                        <a:t>on-line</a:t>
                      </a:r>
                      <a:endParaRPr lang="en-US" sz="2000" b="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90148">
                <a:tc>
                  <a:txBody>
                    <a:bodyPr/>
                    <a:lstStyle/>
                    <a:p>
                      <a:r>
                        <a:rPr lang="ru-RU" sz="1700" b="1" dirty="0" smtClean="0">
                          <a:solidFill>
                            <a:schemeClr val="bg1"/>
                          </a:solidFill>
                        </a:rPr>
                        <a:t>КОНТРОЛЬ</a:t>
                      </a:r>
                      <a:endParaRPr lang="ru-RU" sz="17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/>
                        <a:t>1 раз в 5 лет</a:t>
                      </a:r>
                      <a:endParaRPr lang="ru-RU" sz="2000" b="1" kern="1200" baseline="0" dirty="0" smtClean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/>
                        <a:t>1 раз в год</a:t>
                      </a:r>
                      <a:endParaRPr lang="ru-RU" sz="2000" b="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45404">
                <a:tc>
                  <a:txBody>
                    <a:bodyPr/>
                    <a:lstStyle/>
                    <a:p>
                      <a:r>
                        <a:rPr lang="ru-RU" sz="1700" b="1" dirty="0" smtClean="0">
                          <a:solidFill>
                            <a:schemeClr val="bg1"/>
                          </a:solidFill>
                        </a:rPr>
                        <a:t>ПРЕПОДАВАНИЕ</a:t>
                      </a:r>
                      <a:endParaRPr lang="ru-RU" sz="17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err="1" smtClean="0"/>
                        <a:t>Аудиторно</a:t>
                      </a:r>
                      <a:endParaRPr lang="ru-RU" sz="200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/>
                        <a:t>Дистанционно </a:t>
                      </a:r>
                      <a:br>
                        <a:rPr lang="ru-RU" sz="2000" kern="1200" baseline="0" dirty="0" smtClean="0"/>
                      </a:br>
                      <a:r>
                        <a:rPr lang="ru-RU" sz="2000" kern="1200" baseline="0" dirty="0" smtClean="0"/>
                        <a:t>на рабочем месте</a:t>
                      </a:r>
                      <a:endParaRPr lang="ru-RU" sz="200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096348">
                <a:tc>
                  <a:txBody>
                    <a:bodyPr/>
                    <a:lstStyle/>
                    <a:p>
                      <a:r>
                        <a:rPr lang="ru-RU" sz="1700" b="1" dirty="0" smtClean="0">
                          <a:solidFill>
                            <a:schemeClr val="bg1"/>
                          </a:solidFill>
                        </a:rPr>
                        <a:t>ТЕХНОЛОГИИ ОБУЧЕНИЯ</a:t>
                      </a:r>
                      <a:endParaRPr lang="ru-RU" sz="17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kern="1200" baseline="0" dirty="0" smtClean="0"/>
                        <a:t>Лекции,</a:t>
                      </a:r>
                    </a:p>
                    <a:p>
                      <a:pPr algn="ctr"/>
                      <a:r>
                        <a:rPr lang="ru-RU" sz="2000" kern="1200" baseline="0" dirty="0" smtClean="0"/>
                        <a:t>практические</a:t>
                      </a:r>
                      <a:br>
                        <a:rPr lang="ru-RU" sz="2000" kern="1200" baseline="0" dirty="0" smtClean="0"/>
                      </a:br>
                      <a:r>
                        <a:rPr lang="ru-RU" sz="2000" kern="1200" baseline="0" dirty="0" smtClean="0"/>
                        <a:t>знания</a:t>
                      </a:r>
                      <a:endParaRPr lang="ru-RU" sz="200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/>
                        <a:t>Электронное обучение. Обучение в </a:t>
                      </a:r>
                      <a:r>
                        <a:rPr lang="ru-RU" sz="2000" kern="1200" baseline="0" dirty="0" err="1" smtClean="0"/>
                        <a:t>симуляционных</a:t>
                      </a:r>
                      <a:r>
                        <a:rPr lang="ru-RU" sz="2000" kern="1200" baseline="0" dirty="0" smtClean="0"/>
                        <a:t> центрах</a:t>
                      </a:r>
                      <a:endParaRPr lang="ru-RU" sz="200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162793">
                <a:tc>
                  <a:txBody>
                    <a:bodyPr/>
                    <a:lstStyle/>
                    <a:p>
                      <a:r>
                        <a:rPr lang="ru-RU" sz="1700" b="1" dirty="0" smtClean="0">
                          <a:solidFill>
                            <a:schemeClr val="bg1"/>
                          </a:solidFill>
                        </a:rPr>
                        <a:t>УЧАСТИЕ</a:t>
                      </a:r>
                      <a:endParaRPr lang="ru-RU" sz="17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/>
                        <a:t>ГОУ ДПО </a:t>
                      </a:r>
                      <a:br>
                        <a:rPr lang="ru-RU" sz="2000" kern="1200" baseline="0" dirty="0" smtClean="0"/>
                      </a:br>
                      <a:r>
                        <a:rPr lang="ru-RU" sz="2000" kern="1200" baseline="0" dirty="0" smtClean="0"/>
                        <a:t>и </a:t>
                      </a:r>
                      <a:r>
                        <a:rPr lang="ru-RU" sz="2000" kern="1200" baseline="0" dirty="0" err="1" smtClean="0"/>
                        <a:t>ФУВы</a:t>
                      </a:r>
                      <a:endParaRPr lang="ru-RU" sz="200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baseline="0" dirty="0" smtClean="0"/>
                        <a:t>Профессиональные общества </a:t>
                      </a:r>
                      <a:br>
                        <a:rPr lang="ru-RU" sz="1600" kern="1200" baseline="0" dirty="0" smtClean="0"/>
                      </a:br>
                      <a:r>
                        <a:rPr lang="ru-RU" sz="1600" kern="1200" baseline="0" dirty="0" smtClean="0"/>
                        <a:t>по специальностям и главные внештатные специалисты Департамента</a:t>
                      </a:r>
                      <a:endParaRPr lang="ru-RU" sz="1600" kern="1200" baseline="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7" marR="91437" marT="45718" marB="45718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Плюс 13"/>
          <p:cNvSpPr/>
          <p:nvPr/>
        </p:nvSpPr>
        <p:spPr>
          <a:xfrm>
            <a:off x="5364163" y="3789363"/>
            <a:ext cx="500062" cy="500062"/>
          </a:xfrm>
          <a:prstGeom prst="mathPlus">
            <a:avLst>
              <a:gd name="adj1" fmla="val 1330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ru-RU" sz="2400">
              <a:solidFill>
                <a:prstClr val="white"/>
              </a:solidFill>
            </a:endParaRPr>
          </a:p>
        </p:txBody>
      </p:sp>
      <p:sp>
        <p:nvSpPr>
          <p:cNvPr id="15" name="Плюс 14"/>
          <p:cNvSpPr/>
          <p:nvPr/>
        </p:nvSpPr>
        <p:spPr>
          <a:xfrm>
            <a:off x="5364163" y="4886325"/>
            <a:ext cx="500062" cy="500063"/>
          </a:xfrm>
          <a:prstGeom prst="mathPlus">
            <a:avLst>
              <a:gd name="adj1" fmla="val 1330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ru-RU" sz="2400">
              <a:solidFill>
                <a:prstClr val="white"/>
              </a:solidFill>
            </a:endParaRPr>
          </a:p>
        </p:txBody>
      </p:sp>
      <p:sp>
        <p:nvSpPr>
          <p:cNvPr id="16" name="Плюс 15"/>
          <p:cNvSpPr/>
          <p:nvPr/>
        </p:nvSpPr>
        <p:spPr>
          <a:xfrm>
            <a:off x="5364163" y="5905500"/>
            <a:ext cx="500062" cy="500063"/>
          </a:xfrm>
          <a:prstGeom prst="mathPlus">
            <a:avLst>
              <a:gd name="adj1" fmla="val 1330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ru-RU" sz="2400">
              <a:solidFill>
                <a:prstClr val="white"/>
              </a:solidFill>
            </a:endParaRPr>
          </a:p>
        </p:txBody>
      </p:sp>
      <p:sp>
        <p:nvSpPr>
          <p:cNvPr id="17" name="Плюс 16"/>
          <p:cNvSpPr/>
          <p:nvPr/>
        </p:nvSpPr>
        <p:spPr>
          <a:xfrm>
            <a:off x="5364163" y="1341438"/>
            <a:ext cx="500062" cy="500062"/>
          </a:xfrm>
          <a:prstGeom prst="mathPlus">
            <a:avLst>
              <a:gd name="adj1" fmla="val 1330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ru-RU" sz="2400">
              <a:solidFill>
                <a:prstClr val="white"/>
              </a:solidFill>
            </a:endParaRPr>
          </a:p>
        </p:txBody>
      </p:sp>
      <p:sp>
        <p:nvSpPr>
          <p:cNvPr id="18" name="Плюс 17"/>
          <p:cNvSpPr/>
          <p:nvPr/>
        </p:nvSpPr>
        <p:spPr>
          <a:xfrm>
            <a:off x="5364163" y="2349500"/>
            <a:ext cx="500062" cy="500063"/>
          </a:xfrm>
          <a:prstGeom prst="mathPlus">
            <a:avLst>
              <a:gd name="adj1" fmla="val 1330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ru-RU" sz="2400">
              <a:solidFill>
                <a:prstClr val="white"/>
              </a:solidFill>
            </a:endParaRPr>
          </a:p>
        </p:txBody>
      </p:sp>
      <p:sp>
        <p:nvSpPr>
          <p:cNvPr id="19" name="Плюс 18"/>
          <p:cNvSpPr/>
          <p:nvPr/>
        </p:nvSpPr>
        <p:spPr>
          <a:xfrm>
            <a:off x="5364163" y="3068638"/>
            <a:ext cx="500062" cy="500062"/>
          </a:xfrm>
          <a:prstGeom prst="mathPlus">
            <a:avLst>
              <a:gd name="adj1" fmla="val 13304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kumimoji="1" lang="ru-RU" sz="2400">
              <a:solidFill>
                <a:prstClr val="white"/>
              </a:solidFill>
            </a:endParaRPr>
          </a:p>
        </p:txBody>
      </p:sp>
      <p:sp>
        <p:nvSpPr>
          <p:cNvPr id="63530" name="Номер слайда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ED93FA8-F5FC-4C27-824E-6213CF68AD08}" type="slidenum">
              <a:rPr lang="ru-RU" smtClean="0">
                <a:latin typeface="Arial" charset="0"/>
                <a:cs typeface="Arial" charset="0"/>
              </a:rPr>
              <a:pPr/>
              <a:t>27</a:t>
            </a:fld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47AB"/>
            </a:gs>
            <a:gs pos="46000">
              <a:srgbClr val="0054D0"/>
            </a:gs>
            <a:gs pos="100000">
              <a:srgbClr val="0047AB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287524" y="4065588"/>
            <a:ext cx="8568952" cy="0"/>
          </a:xfrm>
          <a:prstGeom prst="line">
            <a:avLst/>
          </a:prstGeom>
          <a:ln w="38100" cap="rnd" cmpd="sng">
            <a:solidFill>
              <a:srgbClr val="C00000"/>
            </a:solidFill>
          </a:ln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bg1"/>
            </a:contourClr>
          </a:sp3d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611" name="Заголовок 2"/>
          <p:cNvSpPr>
            <a:spLocks noGrp="1"/>
          </p:cNvSpPr>
          <p:nvPr>
            <p:ph type="ctrTitle"/>
          </p:nvPr>
        </p:nvSpPr>
        <p:spPr>
          <a:xfrm>
            <a:off x="0" y="1556792"/>
            <a:ext cx="9144000" cy="2591346"/>
          </a:xfrm>
        </p:spPr>
        <p:txBody>
          <a:bodyPr/>
          <a:lstStyle/>
          <a:p>
            <a:pPr marL="989013" indent="-539750" algn="l" eaLnBrk="1" hangingPunct="1"/>
            <a:r>
              <a:rPr kumimoji="0" lang="ru-RU" sz="3800" b="1" dirty="0" smtClean="0">
                <a:solidFill>
                  <a:srgbClr val="FFFFFF"/>
                </a:solidFill>
                <a:latin typeface="Verdana" pitchFamily="34" charset="0"/>
              </a:rPr>
              <a:t>4. Пилотный проект по отработке основных принципов НМО </a:t>
            </a:r>
          </a:p>
        </p:txBody>
      </p:sp>
    </p:spTree>
    <p:extLst>
      <p:ext uri="{BB962C8B-B14F-4D97-AF65-F5344CB8AC3E}">
        <p14:creationId xmlns:p14="http://schemas.microsoft.com/office/powerpoint/2010/main" val="6264160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/>
          <p:cNvPicPr>
            <a:picLocks noGrp="1" noChangeAspect="1"/>
          </p:cNvPicPr>
          <p:nvPr>
            <p:ph idx="1"/>
          </p:nvPr>
        </p:nvPicPr>
        <p:blipFill>
          <a:blip r:embed="rId2"/>
          <a:srcRect t="4699" b="4699"/>
          <a:stretch>
            <a:fillRect/>
          </a:stretch>
        </p:blipFill>
        <p:spPr/>
      </p:pic>
      <p:sp>
        <p:nvSpPr>
          <p:cNvPr id="5" name="TextBox 4"/>
          <p:cNvSpPr txBox="1"/>
          <p:nvPr/>
        </p:nvSpPr>
        <p:spPr>
          <a:xfrm>
            <a:off x="107504" y="260648"/>
            <a:ext cx="89447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dirty="0">
                <a:solidFill>
                  <a:srgbClr val="FFFFFF"/>
                </a:solidFill>
                <a:latin typeface="Calibri" pitchFamily="34" charset="0"/>
              </a:rPr>
              <a:t>Приказ МЗ РФ №837 от </a:t>
            </a:r>
            <a:r>
              <a:rPr lang="ru-RU" sz="4400" b="1" dirty="0" smtClean="0">
                <a:solidFill>
                  <a:srgbClr val="FFFFFF"/>
                </a:solidFill>
                <a:latin typeface="Calibri" pitchFamily="34" charset="0"/>
              </a:rPr>
              <a:t>11.11.2013</a:t>
            </a:r>
            <a:endParaRPr lang="ru-RU" sz="4400" b="1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9876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marL="3175" eaLnBrk="1" hangingPunct="1"/>
            <a:r>
              <a:rPr kumimoji="0" lang="ru-RU" sz="3600" b="1" smtClean="0">
                <a:solidFill>
                  <a:schemeClr val="bg1"/>
                </a:solidFill>
              </a:rPr>
              <a:t>Что такое непрерывное медицинское образование (НМО)?</a:t>
            </a:r>
          </a:p>
        </p:txBody>
      </p:sp>
      <p:sp>
        <p:nvSpPr>
          <p:cNvPr id="39939" name="Прямоугольник 8"/>
          <p:cNvSpPr>
            <a:spLocks noChangeArrowheads="1"/>
          </p:cNvSpPr>
          <p:nvPr/>
        </p:nvSpPr>
        <p:spPr bwMode="auto">
          <a:xfrm>
            <a:off x="179388" y="1646238"/>
            <a:ext cx="8929687" cy="5022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1950" indent="-36195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</a:pPr>
            <a:r>
              <a:rPr lang="ru-RU" sz="3200" b="1">
                <a:solidFill>
                  <a:srgbClr val="C00000"/>
                </a:solidFill>
                <a:latin typeface="Calibri" pitchFamily="34" charset="0"/>
              </a:rPr>
              <a:t>НМО</a:t>
            </a:r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 – это образование медицинских и фармацевтических работников, которое начинается после получения специальности и продолжается непрерывно </a:t>
            </a:r>
            <a:r>
              <a:rPr lang="ru-RU" sz="2800" b="1">
                <a:solidFill>
                  <a:srgbClr val="C00000"/>
                </a:solidFill>
                <a:latin typeface="Calibri" pitchFamily="34" charset="0"/>
              </a:rPr>
              <a:t>в течение всей жизни</a:t>
            </a:r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.</a:t>
            </a:r>
          </a:p>
          <a:p>
            <a:pPr marL="361950" indent="-361950">
              <a:spcBef>
                <a:spcPts val="600"/>
              </a:spcBef>
              <a:spcAft>
                <a:spcPts val="600"/>
              </a:spcAft>
            </a:pPr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В терминах существующей нормативно-правовой базы – это </a:t>
            </a:r>
            <a:r>
              <a:rPr lang="ru-RU" sz="2800" b="1">
                <a:solidFill>
                  <a:srgbClr val="C00000"/>
                </a:solidFill>
                <a:latin typeface="Calibri" pitchFamily="34" charset="0"/>
              </a:rPr>
              <a:t>дополнительное профессиональное образование</a:t>
            </a:r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, которое осуществляется посредством реализации </a:t>
            </a:r>
            <a:r>
              <a:rPr lang="ru-RU" sz="2800" b="1">
                <a:solidFill>
                  <a:srgbClr val="C00000"/>
                </a:solidFill>
                <a:latin typeface="Calibri" pitchFamily="34" charset="0"/>
              </a:rPr>
              <a:t>программ повышения квалификации </a:t>
            </a:r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и переподготовки.</a:t>
            </a:r>
            <a:endParaRPr lang="en-US" sz="2800">
              <a:solidFill>
                <a:srgbClr val="000000"/>
              </a:solidFill>
              <a:latin typeface="Calibri" pitchFamily="34" charset="0"/>
            </a:endParaRPr>
          </a:p>
          <a:p>
            <a:pPr marL="361950" indent="-361950">
              <a:spcBef>
                <a:spcPts val="600"/>
              </a:spcBef>
              <a:spcAft>
                <a:spcPts val="600"/>
              </a:spcAft>
            </a:pPr>
            <a:r>
              <a:rPr lang="ru-RU" sz="2800" b="1">
                <a:solidFill>
                  <a:srgbClr val="C00000"/>
                </a:solidFill>
                <a:latin typeface="Calibri" pitchFamily="34" charset="0"/>
              </a:rPr>
              <a:t>Кредиты</a:t>
            </a:r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 – единицы измерения </a:t>
            </a:r>
            <a:r>
              <a:rPr lang="en-US" sz="280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2800">
                <a:solidFill>
                  <a:srgbClr val="000000"/>
                </a:solidFill>
                <a:latin typeface="Calibri" pitchFamily="34" charset="0"/>
              </a:rPr>
              <a:t>трудоёмкости учебной нагрузки по программам повышения квалификации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1"/>
          <p:cNvSpPr>
            <a:spLocks noGrp="1"/>
          </p:cNvSpPr>
          <p:nvPr>
            <p:ph type="title"/>
          </p:nvPr>
        </p:nvSpPr>
        <p:spPr>
          <a:xfrm>
            <a:off x="0" y="274638"/>
            <a:ext cx="8885238" cy="778098"/>
          </a:xfrm>
        </p:spPr>
        <p:txBody>
          <a:bodyPr/>
          <a:lstStyle/>
          <a:p>
            <a:r>
              <a:rPr kumimoji="0" lang="ru-RU" b="1" dirty="0" smtClean="0">
                <a:solidFill>
                  <a:schemeClr val="bg1"/>
                </a:solidFill>
                <a:cs typeface="Arial" charset="0"/>
              </a:rPr>
              <a:t>В проекте участвуют:</a:t>
            </a:r>
          </a:p>
        </p:txBody>
      </p:sp>
      <p:sp>
        <p:nvSpPr>
          <p:cNvPr id="10243" name="Содержимое 2"/>
          <p:cNvSpPr>
            <a:spLocks noGrp="1"/>
          </p:cNvSpPr>
          <p:nvPr>
            <p:ph sz="quarter" idx="1"/>
          </p:nvPr>
        </p:nvSpPr>
        <p:spPr>
          <a:xfrm>
            <a:off x="323529" y="1447800"/>
            <a:ext cx="8712968" cy="5164138"/>
          </a:xfrm>
        </p:spPr>
        <p:txBody>
          <a:bodyPr/>
          <a:lstStyle/>
          <a:p>
            <a:pPr marL="2511425" indent="-2239963">
              <a:buNone/>
            </a:pPr>
            <a:r>
              <a:rPr kumimoji="0" lang="ru-RU" sz="8800" b="1" dirty="0" smtClean="0">
                <a:solidFill>
                  <a:srgbClr val="C00000"/>
                </a:solidFill>
                <a:cs typeface="Arial" charset="0"/>
              </a:rPr>
              <a:t>13 </a:t>
            </a:r>
            <a:r>
              <a:rPr kumimoji="0" lang="ru-RU" sz="8800" b="1" dirty="0" smtClean="0">
                <a:cs typeface="Arial" charset="0"/>
              </a:rPr>
              <a:t>вузов</a:t>
            </a:r>
          </a:p>
          <a:p>
            <a:pPr marL="1255713" indent="-984250">
              <a:buNone/>
            </a:pPr>
            <a:r>
              <a:rPr kumimoji="0" lang="ru-RU" sz="8800" b="1" dirty="0" smtClean="0">
                <a:solidFill>
                  <a:srgbClr val="C00000"/>
                </a:solidFill>
                <a:cs typeface="Arial" charset="0"/>
              </a:rPr>
              <a:t>16</a:t>
            </a:r>
            <a:r>
              <a:rPr kumimoji="0" lang="ru-RU" sz="8800" b="1" dirty="0" smtClean="0">
                <a:cs typeface="Arial" charset="0"/>
              </a:rPr>
              <a:t> обществ</a:t>
            </a:r>
          </a:p>
          <a:p>
            <a:pPr marL="2511425" indent="-2239963">
              <a:buNone/>
            </a:pPr>
            <a:r>
              <a:rPr kumimoji="0" lang="ru-RU" sz="8800" b="1" dirty="0" smtClean="0">
                <a:solidFill>
                  <a:srgbClr val="C00000"/>
                </a:solidFill>
                <a:cs typeface="Arial" charset="0"/>
              </a:rPr>
              <a:t>12 </a:t>
            </a:r>
            <a:r>
              <a:rPr kumimoji="0" lang="ru-RU" sz="8800" b="1" dirty="0" smtClean="0">
                <a:cs typeface="Arial" charset="0"/>
              </a:rPr>
              <a:t>регионов</a:t>
            </a:r>
          </a:p>
        </p:txBody>
      </p:sp>
    </p:spTree>
    <p:extLst>
      <p:ext uri="{BB962C8B-B14F-4D97-AF65-F5344CB8AC3E}">
        <p14:creationId xmlns:p14="http://schemas.microsoft.com/office/powerpoint/2010/main" val="14812440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/>
          <a:lstStyle/>
          <a:p>
            <a:r>
              <a:rPr kumimoji="0" lang="ru-RU" sz="3600" b="1" dirty="0" smtClean="0">
                <a:solidFill>
                  <a:schemeClr val="bg1"/>
                </a:solidFill>
              </a:rPr>
              <a:t>Сроки реализации проекта</a:t>
            </a:r>
            <a:endParaRPr kumimoji="0" lang="ru-RU" sz="3600" b="1" dirty="0">
              <a:solidFill>
                <a:schemeClr val="bg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2204864"/>
            <a:ext cx="8496944" cy="3921299"/>
          </a:xfrm>
        </p:spPr>
        <p:txBody>
          <a:bodyPr/>
          <a:lstStyle/>
          <a:p>
            <a:pPr marL="0" indent="0" algn="ctr">
              <a:buNone/>
            </a:pPr>
            <a:r>
              <a:rPr lang="ru-RU" sz="4000" b="1" dirty="0" smtClean="0">
                <a:solidFill>
                  <a:srgbClr val="C00000"/>
                </a:solidFill>
              </a:rPr>
              <a:t>с 1 декабря 2013 по 31 января 2015 г.</a:t>
            </a:r>
            <a:r>
              <a:rPr lang="ru-RU" sz="4000" b="1" dirty="0" smtClean="0"/>
              <a:t> в соответствии с планом-графиком реализации модели отработки основных принципов НМО.</a:t>
            </a:r>
            <a:endParaRPr lang="ru-RU" sz="4000" b="1" dirty="0"/>
          </a:p>
        </p:txBody>
      </p:sp>
    </p:spTree>
    <p:extLst>
      <p:ext uri="{BB962C8B-B14F-4D97-AF65-F5344CB8AC3E}">
        <p14:creationId xmlns:p14="http://schemas.microsoft.com/office/powerpoint/2010/main" val="11169570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4"/>
          <p:cNvSpPr>
            <a:spLocks/>
          </p:cNvSpPr>
          <p:nvPr/>
        </p:nvSpPr>
        <p:spPr bwMode="auto">
          <a:xfrm>
            <a:off x="7559675" y="4305300"/>
            <a:ext cx="53975" cy="71438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0" y="55"/>
              </a:cxn>
              <a:cxn ang="0">
                <a:pos x="0" y="55"/>
              </a:cxn>
              <a:cxn ang="0">
                <a:pos x="0" y="55"/>
              </a:cxn>
              <a:cxn ang="0">
                <a:pos x="3" y="56"/>
              </a:cxn>
              <a:cxn ang="0">
                <a:pos x="4" y="59"/>
              </a:cxn>
              <a:cxn ang="0">
                <a:pos x="5" y="66"/>
              </a:cxn>
              <a:cxn ang="0">
                <a:pos x="3" y="73"/>
              </a:cxn>
              <a:cxn ang="0">
                <a:pos x="0" y="80"/>
              </a:cxn>
              <a:cxn ang="0">
                <a:pos x="0" y="80"/>
              </a:cxn>
              <a:cxn ang="0">
                <a:pos x="66" y="80"/>
              </a:cxn>
              <a:cxn ang="0">
                <a:pos x="41" y="0"/>
              </a:cxn>
              <a:cxn ang="0">
                <a:pos x="41" y="0"/>
              </a:cxn>
            </a:cxnLst>
            <a:rect l="0" t="0" r="r" b="b"/>
            <a:pathLst>
              <a:path w="66" h="80">
                <a:moveTo>
                  <a:pt x="41" y="0"/>
                </a:moveTo>
                <a:lnTo>
                  <a:pt x="0" y="55"/>
                </a:lnTo>
                <a:lnTo>
                  <a:pt x="0" y="55"/>
                </a:lnTo>
                <a:lnTo>
                  <a:pt x="0" y="55"/>
                </a:lnTo>
                <a:lnTo>
                  <a:pt x="3" y="56"/>
                </a:lnTo>
                <a:lnTo>
                  <a:pt x="4" y="59"/>
                </a:lnTo>
                <a:lnTo>
                  <a:pt x="5" y="66"/>
                </a:lnTo>
                <a:lnTo>
                  <a:pt x="3" y="73"/>
                </a:lnTo>
                <a:lnTo>
                  <a:pt x="0" y="80"/>
                </a:lnTo>
                <a:lnTo>
                  <a:pt x="0" y="80"/>
                </a:lnTo>
                <a:lnTo>
                  <a:pt x="66" y="80"/>
                </a:lnTo>
                <a:lnTo>
                  <a:pt x="41" y="0"/>
                </a:lnTo>
                <a:lnTo>
                  <a:pt x="41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7512050" y="4352925"/>
            <a:ext cx="19050" cy="34925"/>
          </a:xfrm>
          <a:custGeom>
            <a:avLst/>
            <a:gdLst/>
            <a:ahLst/>
            <a:cxnLst>
              <a:cxn ang="0">
                <a:pos x="0" y="35"/>
              </a:cxn>
              <a:cxn ang="0">
                <a:pos x="0" y="35"/>
              </a:cxn>
              <a:cxn ang="0">
                <a:pos x="8" y="34"/>
              </a:cxn>
              <a:cxn ang="0">
                <a:pos x="15" y="35"/>
              </a:cxn>
              <a:cxn ang="0">
                <a:pos x="21" y="38"/>
              </a:cxn>
              <a:cxn ang="0">
                <a:pos x="25" y="40"/>
              </a:cxn>
              <a:cxn ang="0">
                <a:pos x="25" y="40"/>
              </a:cxn>
              <a:cxn ang="0">
                <a:pos x="25" y="0"/>
              </a:cxn>
              <a:cxn ang="0">
                <a:pos x="25" y="0"/>
              </a:cxn>
              <a:cxn ang="0">
                <a:pos x="25" y="0"/>
              </a:cxn>
              <a:cxn ang="0">
                <a:pos x="18" y="8"/>
              </a:cxn>
              <a:cxn ang="0">
                <a:pos x="11" y="16"/>
              </a:cxn>
              <a:cxn ang="0">
                <a:pos x="5" y="25"/>
              </a:cxn>
              <a:cxn ang="0">
                <a:pos x="0" y="35"/>
              </a:cxn>
              <a:cxn ang="0">
                <a:pos x="0" y="35"/>
              </a:cxn>
              <a:cxn ang="0">
                <a:pos x="0" y="35"/>
              </a:cxn>
            </a:cxnLst>
            <a:rect l="0" t="0" r="r" b="b"/>
            <a:pathLst>
              <a:path w="25" h="40">
                <a:moveTo>
                  <a:pt x="0" y="35"/>
                </a:moveTo>
                <a:lnTo>
                  <a:pt x="0" y="35"/>
                </a:lnTo>
                <a:lnTo>
                  <a:pt x="8" y="34"/>
                </a:lnTo>
                <a:lnTo>
                  <a:pt x="15" y="35"/>
                </a:lnTo>
                <a:lnTo>
                  <a:pt x="21" y="38"/>
                </a:lnTo>
                <a:lnTo>
                  <a:pt x="25" y="40"/>
                </a:lnTo>
                <a:lnTo>
                  <a:pt x="25" y="40"/>
                </a:lnTo>
                <a:lnTo>
                  <a:pt x="25" y="0"/>
                </a:lnTo>
                <a:lnTo>
                  <a:pt x="25" y="0"/>
                </a:lnTo>
                <a:lnTo>
                  <a:pt x="25" y="0"/>
                </a:lnTo>
                <a:lnTo>
                  <a:pt x="18" y="8"/>
                </a:lnTo>
                <a:lnTo>
                  <a:pt x="11" y="16"/>
                </a:lnTo>
                <a:lnTo>
                  <a:pt x="5" y="25"/>
                </a:lnTo>
                <a:lnTo>
                  <a:pt x="0" y="35"/>
                </a:lnTo>
                <a:lnTo>
                  <a:pt x="0" y="35"/>
                </a:lnTo>
                <a:lnTo>
                  <a:pt x="0" y="3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4518025" y="1858963"/>
            <a:ext cx="33338" cy="26987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22" y="0"/>
              </a:cxn>
              <a:cxn ang="0">
                <a:pos x="14" y="0"/>
              </a:cxn>
              <a:cxn ang="0">
                <a:pos x="7" y="1"/>
              </a:cxn>
              <a:cxn ang="0">
                <a:pos x="5" y="2"/>
              </a:cxn>
              <a:cxn ang="0">
                <a:pos x="3" y="5"/>
              </a:cxn>
              <a:cxn ang="0">
                <a:pos x="2" y="7"/>
              </a:cxn>
              <a:cxn ang="0">
                <a:pos x="0" y="10"/>
              </a:cxn>
              <a:cxn ang="0">
                <a:pos x="0" y="10"/>
              </a:cxn>
              <a:cxn ang="0">
                <a:pos x="2" y="15"/>
              </a:cxn>
              <a:cxn ang="0">
                <a:pos x="3" y="20"/>
              </a:cxn>
              <a:cxn ang="0">
                <a:pos x="4" y="24"/>
              </a:cxn>
              <a:cxn ang="0">
                <a:pos x="6" y="28"/>
              </a:cxn>
              <a:cxn ang="0">
                <a:pos x="10" y="30"/>
              </a:cxn>
              <a:cxn ang="0">
                <a:pos x="13" y="31"/>
              </a:cxn>
              <a:cxn ang="0">
                <a:pos x="18" y="32"/>
              </a:cxn>
              <a:cxn ang="0">
                <a:pos x="22" y="32"/>
              </a:cxn>
              <a:cxn ang="0">
                <a:pos x="22" y="32"/>
              </a:cxn>
              <a:cxn ang="0">
                <a:pos x="26" y="32"/>
              </a:cxn>
              <a:cxn ang="0">
                <a:pos x="29" y="31"/>
              </a:cxn>
              <a:cxn ang="0">
                <a:pos x="33" y="26"/>
              </a:cxn>
              <a:cxn ang="0">
                <a:pos x="36" y="22"/>
              </a:cxn>
              <a:cxn ang="0">
                <a:pos x="38" y="20"/>
              </a:cxn>
              <a:cxn ang="0">
                <a:pos x="41" y="18"/>
              </a:cxn>
              <a:cxn ang="0">
                <a:pos x="41" y="18"/>
              </a:cxn>
              <a:cxn ang="0">
                <a:pos x="29" y="6"/>
              </a:cxn>
              <a:cxn ang="0">
                <a:pos x="22" y="0"/>
              </a:cxn>
              <a:cxn ang="0">
                <a:pos x="22" y="0"/>
              </a:cxn>
              <a:cxn ang="0">
                <a:pos x="22" y="0"/>
              </a:cxn>
            </a:cxnLst>
            <a:rect l="0" t="0" r="r" b="b"/>
            <a:pathLst>
              <a:path w="41" h="32">
                <a:moveTo>
                  <a:pt x="22" y="0"/>
                </a:moveTo>
                <a:lnTo>
                  <a:pt x="22" y="0"/>
                </a:lnTo>
                <a:lnTo>
                  <a:pt x="14" y="0"/>
                </a:lnTo>
                <a:lnTo>
                  <a:pt x="7" y="1"/>
                </a:lnTo>
                <a:lnTo>
                  <a:pt x="5" y="2"/>
                </a:lnTo>
                <a:lnTo>
                  <a:pt x="3" y="5"/>
                </a:lnTo>
                <a:lnTo>
                  <a:pt x="2" y="7"/>
                </a:lnTo>
                <a:lnTo>
                  <a:pt x="0" y="10"/>
                </a:lnTo>
                <a:lnTo>
                  <a:pt x="0" y="10"/>
                </a:lnTo>
                <a:lnTo>
                  <a:pt x="2" y="15"/>
                </a:lnTo>
                <a:lnTo>
                  <a:pt x="3" y="20"/>
                </a:lnTo>
                <a:lnTo>
                  <a:pt x="4" y="24"/>
                </a:lnTo>
                <a:lnTo>
                  <a:pt x="6" y="28"/>
                </a:lnTo>
                <a:lnTo>
                  <a:pt x="10" y="30"/>
                </a:lnTo>
                <a:lnTo>
                  <a:pt x="13" y="31"/>
                </a:lnTo>
                <a:lnTo>
                  <a:pt x="18" y="32"/>
                </a:lnTo>
                <a:lnTo>
                  <a:pt x="22" y="32"/>
                </a:lnTo>
                <a:lnTo>
                  <a:pt x="22" y="32"/>
                </a:lnTo>
                <a:lnTo>
                  <a:pt x="26" y="32"/>
                </a:lnTo>
                <a:lnTo>
                  <a:pt x="29" y="31"/>
                </a:lnTo>
                <a:lnTo>
                  <a:pt x="33" y="26"/>
                </a:lnTo>
                <a:lnTo>
                  <a:pt x="36" y="22"/>
                </a:lnTo>
                <a:lnTo>
                  <a:pt x="38" y="20"/>
                </a:lnTo>
                <a:lnTo>
                  <a:pt x="41" y="18"/>
                </a:lnTo>
                <a:lnTo>
                  <a:pt x="41" y="18"/>
                </a:lnTo>
                <a:lnTo>
                  <a:pt x="29" y="6"/>
                </a:lnTo>
                <a:lnTo>
                  <a:pt x="22" y="0"/>
                </a:lnTo>
                <a:lnTo>
                  <a:pt x="22" y="0"/>
                </a:lnTo>
                <a:lnTo>
                  <a:pt x="22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4548188" y="2038350"/>
            <a:ext cx="60325" cy="58738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5" y="0"/>
              </a:cxn>
              <a:cxn ang="0">
                <a:pos x="12" y="1"/>
              </a:cxn>
              <a:cxn ang="0">
                <a:pos x="8" y="3"/>
              </a:cxn>
              <a:cxn ang="0">
                <a:pos x="5" y="6"/>
              </a:cxn>
              <a:cxn ang="0">
                <a:pos x="4" y="7"/>
              </a:cxn>
              <a:cxn ang="0">
                <a:pos x="1" y="7"/>
              </a:cxn>
              <a:cxn ang="0">
                <a:pos x="1" y="7"/>
              </a:cxn>
              <a:cxn ang="0">
                <a:pos x="0" y="14"/>
              </a:cxn>
              <a:cxn ang="0">
                <a:pos x="0" y="19"/>
              </a:cxn>
              <a:cxn ang="0">
                <a:pos x="1" y="24"/>
              </a:cxn>
              <a:cxn ang="0">
                <a:pos x="1" y="29"/>
              </a:cxn>
              <a:cxn ang="0">
                <a:pos x="1" y="29"/>
              </a:cxn>
              <a:cxn ang="0">
                <a:pos x="1" y="33"/>
              </a:cxn>
              <a:cxn ang="0">
                <a:pos x="4" y="38"/>
              </a:cxn>
              <a:cxn ang="0">
                <a:pos x="6" y="41"/>
              </a:cxn>
              <a:cxn ang="0">
                <a:pos x="9" y="46"/>
              </a:cxn>
              <a:cxn ang="0">
                <a:pos x="14" y="49"/>
              </a:cxn>
              <a:cxn ang="0">
                <a:pos x="20" y="52"/>
              </a:cxn>
              <a:cxn ang="0">
                <a:pos x="27" y="54"/>
              </a:cxn>
              <a:cxn ang="0">
                <a:pos x="35" y="54"/>
              </a:cxn>
              <a:cxn ang="0">
                <a:pos x="35" y="54"/>
              </a:cxn>
              <a:cxn ang="0">
                <a:pos x="35" y="59"/>
              </a:cxn>
              <a:cxn ang="0">
                <a:pos x="36" y="61"/>
              </a:cxn>
              <a:cxn ang="0">
                <a:pos x="37" y="63"/>
              </a:cxn>
              <a:cxn ang="0">
                <a:pos x="39" y="66"/>
              </a:cxn>
              <a:cxn ang="0">
                <a:pos x="44" y="68"/>
              </a:cxn>
              <a:cxn ang="0">
                <a:pos x="48" y="69"/>
              </a:cxn>
              <a:cxn ang="0">
                <a:pos x="48" y="69"/>
              </a:cxn>
              <a:cxn ang="0">
                <a:pos x="52" y="68"/>
              </a:cxn>
              <a:cxn ang="0">
                <a:pos x="56" y="63"/>
              </a:cxn>
              <a:cxn ang="0">
                <a:pos x="65" y="51"/>
              </a:cxn>
              <a:cxn ang="0">
                <a:pos x="75" y="32"/>
              </a:cxn>
              <a:cxn ang="0">
                <a:pos x="75" y="32"/>
              </a:cxn>
              <a:cxn ang="0">
                <a:pos x="74" y="29"/>
              </a:cxn>
              <a:cxn ang="0">
                <a:pos x="73" y="24"/>
              </a:cxn>
              <a:cxn ang="0">
                <a:pos x="71" y="21"/>
              </a:cxn>
              <a:cxn ang="0">
                <a:pos x="68" y="18"/>
              </a:cxn>
              <a:cxn ang="0">
                <a:pos x="61" y="13"/>
              </a:cxn>
              <a:cxn ang="0">
                <a:pos x="53" y="8"/>
              </a:cxn>
              <a:cxn ang="0">
                <a:pos x="44" y="5"/>
              </a:cxn>
              <a:cxn ang="0">
                <a:pos x="35" y="1"/>
              </a:cxn>
              <a:cxn ang="0">
                <a:pos x="27" y="0"/>
              </a:cxn>
              <a:cxn ang="0">
                <a:pos x="20" y="0"/>
              </a:cxn>
              <a:cxn ang="0">
                <a:pos x="20" y="0"/>
              </a:cxn>
              <a:cxn ang="0">
                <a:pos x="20" y="0"/>
              </a:cxn>
            </a:cxnLst>
            <a:rect l="0" t="0" r="r" b="b"/>
            <a:pathLst>
              <a:path w="75" h="69">
                <a:moveTo>
                  <a:pt x="20" y="0"/>
                </a:moveTo>
                <a:lnTo>
                  <a:pt x="20" y="0"/>
                </a:lnTo>
                <a:lnTo>
                  <a:pt x="15" y="0"/>
                </a:lnTo>
                <a:lnTo>
                  <a:pt x="12" y="1"/>
                </a:lnTo>
                <a:lnTo>
                  <a:pt x="8" y="3"/>
                </a:lnTo>
                <a:lnTo>
                  <a:pt x="5" y="6"/>
                </a:lnTo>
                <a:lnTo>
                  <a:pt x="4" y="7"/>
                </a:lnTo>
                <a:lnTo>
                  <a:pt x="1" y="7"/>
                </a:lnTo>
                <a:lnTo>
                  <a:pt x="1" y="7"/>
                </a:lnTo>
                <a:lnTo>
                  <a:pt x="0" y="14"/>
                </a:lnTo>
                <a:lnTo>
                  <a:pt x="0" y="19"/>
                </a:lnTo>
                <a:lnTo>
                  <a:pt x="1" y="24"/>
                </a:lnTo>
                <a:lnTo>
                  <a:pt x="1" y="29"/>
                </a:lnTo>
                <a:lnTo>
                  <a:pt x="1" y="29"/>
                </a:lnTo>
                <a:lnTo>
                  <a:pt x="1" y="33"/>
                </a:lnTo>
                <a:lnTo>
                  <a:pt x="4" y="38"/>
                </a:lnTo>
                <a:lnTo>
                  <a:pt x="6" y="41"/>
                </a:lnTo>
                <a:lnTo>
                  <a:pt x="9" y="46"/>
                </a:lnTo>
                <a:lnTo>
                  <a:pt x="14" y="49"/>
                </a:lnTo>
                <a:lnTo>
                  <a:pt x="20" y="52"/>
                </a:lnTo>
                <a:lnTo>
                  <a:pt x="27" y="54"/>
                </a:lnTo>
                <a:lnTo>
                  <a:pt x="35" y="54"/>
                </a:lnTo>
                <a:lnTo>
                  <a:pt x="35" y="54"/>
                </a:lnTo>
                <a:lnTo>
                  <a:pt x="35" y="59"/>
                </a:lnTo>
                <a:lnTo>
                  <a:pt x="36" y="61"/>
                </a:lnTo>
                <a:lnTo>
                  <a:pt x="37" y="63"/>
                </a:lnTo>
                <a:lnTo>
                  <a:pt x="39" y="66"/>
                </a:lnTo>
                <a:lnTo>
                  <a:pt x="44" y="68"/>
                </a:lnTo>
                <a:lnTo>
                  <a:pt x="48" y="69"/>
                </a:lnTo>
                <a:lnTo>
                  <a:pt x="48" y="69"/>
                </a:lnTo>
                <a:lnTo>
                  <a:pt x="52" y="68"/>
                </a:lnTo>
                <a:lnTo>
                  <a:pt x="56" y="63"/>
                </a:lnTo>
                <a:lnTo>
                  <a:pt x="65" y="51"/>
                </a:lnTo>
                <a:lnTo>
                  <a:pt x="75" y="32"/>
                </a:lnTo>
                <a:lnTo>
                  <a:pt x="75" y="32"/>
                </a:lnTo>
                <a:lnTo>
                  <a:pt x="74" y="29"/>
                </a:lnTo>
                <a:lnTo>
                  <a:pt x="73" y="24"/>
                </a:lnTo>
                <a:lnTo>
                  <a:pt x="71" y="21"/>
                </a:lnTo>
                <a:lnTo>
                  <a:pt x="68" y="18"/>
                </a:lnTo>
                <a:lnTo>
                  <a:pt x="61" y="13"/>
                </a:lnTo>
                <a:lnTo>
                  <a:pt x="53" y="8"/>
                </a:lnTo>
                <a:lnTo>
                  <a:pt x="44" y="5"/>
                </a:lnTo>
                <a:lnTo>
                  <a:pt x="35" y="1"/>
                </a:lnTo>
                <a:lnTo>
                  <a:pt x="27" y="0"/>
                </a:lnTo>
                <a:lnTo>
                  <a:pt x="20" y="0"/>
                </a:lnTo>
                <a:lnTo>
                  <a:pt x="20" y="0"/>
                </a:lnTo>
                <a:lnTo>
                  <a:pt x="2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4551363" y="1847850"/>
            <a:ext cx="144462" cy="195263"/>
          </a:xfrm>
          <a:custGeom>
            <a:avLst/>
            <a:gdLst/>
            <a:ahLst/>
            <a:cxnLst>
              <a:cxn ang="0">
                <a:pos x="147" y="56"/>
              </a:cxn>
              <a:cxn ang="0">
                <a:pos x="141" y="53"/>
              </a:cxn>
              <a:cxn ang="0">
                <a:pos x="132" y="38"/>
              </a:cxn>
              <a:cxn ang="0">
                <a:pos x="124" y="18"/>
              </a:cxn>
              <a:cxn ang="0">
                <a:pos x="116" y="6"/>
              </a:cxn>
              <a:cxn ang="0">
                <a:pos x="110" y="2"/>
              </a:cxn>
              <a:cxn ang="0">
                <a:pos x="107" y="0"/>
              </a:cxn>
              <a:cxn ang="0">
                <a:pos x="100" y="3"/>
              </a:cxn>
              <a:cxn ang="0">
                <a:pos x="98" y="6"/>
              </a:cxn>
              <a:cxn ang="0">
                <a:pos x="95" y="15"/>
              </a:cxn>
              <a:cxn ang="0">
                <a:pos x="70" y="37"/>
              </a:cxn>
              <a:cxn ang="0">
                <a:pos x="65" y="37"/>
              </a:cxn>
              <a:cxn ang="0">
                <a:pos x="51" y="44"/>
              </a:cxn>
              <a:cxn ang="0">
                <a:pos x="39" y="53"/>
              </a:cxn>
              <a:cxn ang="0">
                <a:pos x="31" y="65"/>
              </a:cxn>
              <a:cxn ang="0">
                <a:pos x="30" y="71"/>
              </a:cxn>
              <a:cxn ang="0">
                <a:pos x="32" y="80"/>
              </a:cxn>
              <a:cxn ang="0">
                <a:pos x="39" y="86"/>
              </a:cxn>
              <a:cxn ang="0">
                <a:pos x="47" y="94"/>
              </a:cxn>
              <a:cxn ang="0">
                <a:pos x="48" y="96"/>
              </a:cxn>
              <a:cxn ang="0">
                <a:pos x="46" y="111"/>
              </a:cxn>
              <a:cxn ang="0">
                <a:pos x="39" y="125"/>
              </a:cxn>
              <a:cxn ang="0">
                <a:pos x="27" y="136"/>
              </a:cxn>
              <a:cxn ang="0">
                <a:pos x="15" y="140"/>
              </a:cxn>
              <a:cxn ang="0">
                <a:pos x="15" y="155"/>
              </a:cxn>
              <a:cxn ang="0">
                <a:pos x="4" y="160"/>
              </a:cxn>
              <a:cxn ang="0">
                <a:pos x="0" y="166"/>
              </a:cxn>
              <a:cxn ang="0">
                <a:pos x="1" y="171"/>
              </a:cxn>
              <a:cxn ang="0">
                <a:pos x="8" y="178"/>
              </a:cxn>
              <a:cxn ang="0">
                <a:pos x="22" y="182"/>
              </a:cxn>
              <a:cxn ang="0">
                <a:pos x="30" y="185"/>
              </a:cxn>
              <a:cxn ang="0">
                <a:pos x="38" y="195"/>
              </a:cxn>
              <a:cxn ang="0">
                <a:pos x="48" y="214"/>
              </a:cxn>
              <a:cxn ang="0">
                <a:pos x="58" y="224"/>
              </a:cxn>
              <a:cxn ang="0">
                <a:pos x="66" y="225"/>
              </a:cxn>
              <a:cxn ang="0">
                <a:pos x="76" y="224"/>
              </a:cxn>
              <a:cxn ang="0">
                <a:pos x="91" y="216"/>
              </a:cxn>
              <a:cxn ang="0">
                <a:pos x="108" y="200"/>
              </a:cxn>
              <a:cxn ang="0">
                <a:pos x="122" y="191"/>
              </a:cxn>
              <a:cxn ang="0">
                <a:pos x="137" y="189"/>
              </a:cxn>
              <a:cxn ang="0">
                <a:pos x="154" y="183"/>
              </a:cxn>
              <a:cxn ang="0">
                <a:pos x="170" y="175"/>
              </a:cxn>
              <a:cxn ang="0">
                <a:pos x="175" y="170"/>
              </a:cxn>
              <a:cxn ang="0">
                <a:pos x="176" y="163"/>
              </a:cxn>
              <a:cxn ang="0">
                <a:pos x="175" y="157"/>
              </a:cxn>
              <a:cxn ang="0">
                <a:pos x="163" y="145"/>
              </a:cxn>
              <a:cxn ang="0">
                <a:pos x="155" y="137"/>
              </a:cxn>
              <a:cxn ang="0">
                <a:pos x="150" y="125"/>
              </a:cxn>
              <a:cxn ang="0">
                <a:pos x="152" y="120"/>
              </a:cxn>
              <a:cxn ang="0">
                <a:pos x="163" y="107"/>
              </a:cxn>
              <a:cxn ang="0">
                <a:pos x="172" y="98"/>
              </a:cxn>
              <a:cxn ang="0">
                <a:pos x="176" y="86"/>
              </a:cxn>
              <a:cxn ang="0">
                <a:pos x="176" y="79"/>
              </a:cxn>
              <a:cxn ang="0">
                <a:pos x="171" y="67"/>
              </a:cxn>
              <a:cxn ang="0">
                <a:pos x="162" y="60"/>
              </a:cxn>
              <a:cxn ang="0">
                <a:pos x="153" y="57"/>
              </a:cxn>
              <a:cxn ang="0">
                <a:pos x="147" y="56"/>
              </a:cxn>
            </a:cxnLst>
            <a:rect l="0" t="0" r="r" b="b"/>
            <a:pathLst>
              <a:path w="176" h="225">
                <a:moveTo>
                  <a:pt x="147" y="56"/>
                </a:moveTo>
                <a:lnTo>
                  <a:pt x="147" y="56"/>
                </a:lnTo>
                <a:lnTo>
                  <a:pt x="144" y="56"/>
                </a:lnTo>
                <a:lnTo>
                  <a:pt x="141" y="53"/>
                </a:lnTo>
                <a:lnTo>
                  <a:pt x="137" y="48"/>
                </a:lnTo>
                <a:lnTo>
                  <a:pt x="132" y="38"/>
                </a:lnTo>
                <a:lnTo>
                  <a:pt x="129" y="28"/>
                </a:lnTo>
                <a:lnTo>
                  <a:pt x="124" y="18"/>
                </a:lnTo>
                <a:lnTo>
                  <a:pt x="118" y="10"/>
                </a:lnTo>
                <a:lnTo>
                  <a:pt x="116" y="6"/>
                </a:lnTo>
                <a:lnTo>
                  <a:pt x="114" y="3"/>
                </a:lnTo>
                <a:lnTo>
                  <a:pt x="110" y="2"/>
                </a:lnTo>
                <a:lnTo>
                  <a:pt x="107" y="0"/>
                </a:lnTo>
                <a:lnTo>
                  <a:pt x="107" y="0"/>
                </a:lnTo>
                <a:lnTo>
                  <a:pt x="103" y="2"/>
                </a:lnTo>
                <a:lnTo>
                  <a:pt x="100" y="3"/>
                </a:lnTo>
                <a:lnTo>
                  <a:pt x="99" y="4"/>
                </a:lnTo>
                <a:lnTo>
                  <a:pt x="98" y="6"/>
                </a:lnTo>
                <a:lnTo>
                  <a:pt x="96" y="12"/>
                </a:lnTo>
                <a:lnTo>
                  <a:pt x="95" y="15"/>
                </a:lnTo>
                <a:lnTo>
                  <a:pt x="95" y="15"/>
                </a:lnTo>
                <a:lnTo>
                  <a:pt x="70" y="37"/>
                </a:lnTo>
                <a:lnTo>
                  <a:pt x="70" y="37"/>
                </a:lnTo>
                <a:lnTo>
                  <a:pt x="65" y="37"/>
                </a:lnTo>
                <a:lnTo>
                  <a:pt x="58" y="41"/>
                </a:lnTo>
                <a:lnTo>
                  <a:pt x="51" y="44"/>
                </a:lnTo>
                <a:lnTo>
                  <a:pt x="46" y="49"/>
                </a:lnTo>
                <a:lnTo>
                  <a:pt x="39" y="53"/>
                </a:lnTo>
                <a:lnTo>
                  <a:pt x="34" y="59"/>
                </a:lnTo>
                <a:lnTo>
                  <a:pt x="31" y="65"/>
                </a:lnTo>
                <a:lnTo>
                  <a:pt x="30" y="71"/>
                </a:lnTo>
                <a:lnTo>
                  <a:pt x="30" y="71"/>
                </a:lnTo>
                <a:lnTo>
                  <a:pt x="30" y="75"/>
                </a:lnTo>
                <a:lnTo>
                  <a:pt x="32" y="80"/>
                </a:lnTo>
                <a:lnTo>
                  <a:pt x="35" y="83"/>
                </a:lnTo>
                <a:lnTo>
                  <a:pt x="39" y="86"/>
                </a:lnTo>
                <a:lnTo>
                  <a:pt x="45" y="91"/>
                </a:lnTo>
                <a:lnTo>
                  <a:pt x="47" y="94"/>
                </a:lnTo>
                <a:lnTo>
                  <a:pt x="48" y="96"/>
                </a:lnTo>
                <a:lnTo>
                  <a:pt x="48" y="96"/>
                </a:lnTo>
                <a:lnTo>
                  <a:pt x="47" y="103"/>
                </a:lnTo>
                <a:lnTo>
                  <a:pt x="46" y="111"/>
                </a:lnTo>
                <a:lnTo>
                  <a:pt x="42" y="118"/>
                </a:lnTo>
                <a:lnTo>
                  <a:pt x="39" y="125"/>
                </a:lnTo>
                <a:lnTo>
                  <a:pt x="33" y="130"/>
                </a:lnTo>
                <a:lnTo>
                  <a:pt x="27" y="136"/>
                </a:lnTo>
                <a:lnTo>
                  <a:pt x="22" y="139"/>
                </a:lnTo>
                <a:lnTo>
                  <a:pt x="15" y="140"/>
                </a:lnTo>
                <a:lnTo>
                  <a:pt x="15" y="140"/>
                </a:lnTo>
                <a:lnTo>
                  <a:pt x="15" y="155"/>
                </a:lnTo>
                <a:lnTo>
                  <a:pt x="15" y="155"/>
                </a:lnTo>
                <a:lnTo>
                  <a:pt x="4" y="160"/>
                </a:lnTo>
                <a:lnTo>
                  <a:pt x="1" y="163"/>
                </a:lnTo>
                <a:lnTo>
                  <a:pt x="0" y="166"/>
                </a:lnTo>
                <a:lnTo>
                  <a:pt x="0" y="166"/>
                </a:lnTo>
                <a:lnTo>
                  <a:pt x="1" y="171"/>
                </a:lnTo>
                <a:lnTo>
                  <a:pt x="3" y="174"/>
                </a:lnTo>
                <a:lnTo>
                  <a:pt x="8" y="178"/>
                </a:lnTo>
                <a:lnTo>
                  <a:pt x="12" y="179"/>
                </a:lnTo>
                <a:lnTo>
                  <a:pt x="22" y="182"/>
                </a:lnTo>
                <a:lnTo>
                  <a:pt x="30" y="185"/>
                </a:lnTo>
                <a:lnTo>
                  <a:pt x="30" y="185"/>
                </a:lnTo>
                <a:lnTo>
                  <a:pt x="34" y="189"/>
                </a:lnTo>
                <a:lnTo>
                  <a:pt x="38" y="195"/>
                </a:lnTo>
                <a:lnTo>
                  <a:pt x="45" y="209"/>
                </a:lnTo>
                <a:lnTo>
                  <a:pt x="48" y="214"/>
                </a:lnTo>
                <a:lnTo>
                  <a:pt x="53" y="220"/>
                </a:lnTo>
                <a:lnTo>
                  <a:pt x="58" y="224"/>
                </a:lnTo>
                <a:lnTo>
                  <a:pt x="62" y="225"/>
                </a:lnTo>
                <a:lnTo>
                  <a:pt x="66" y="225"/>
                </a:lnTo>
                <a:lnTo>
                  <a:pt x="66" y="225"/>
                </a:lnTo>
                <a:lnTo>
                  <a:pt x="76" y="224"/>
                </a:lnTo>
                <a:lnTo>
                  <a:pt x="84" y="220"/>
                </a:lnTo>
                <a:lnTo>
                  <a:pt x="91" y="216"/>
                </a:lnTo>
                <a:lnTo>
                  <a:pt x="96" y="211"/>
                </a:lnTo>
                <a:lnTo>
                  <a:pt x="108" y="200"/>
                </a:lnTo>
                <a:lnTo>
                  <a:pt x="114" y="195"/>
                </a:lnTo>
                <a:lnTo>
                  <a:pt x="122" y="191"/>
                </a:lnTo>
                <a:lnTo>
                  <a:pt x="122" y="191"/>
                </a:lnTo>
                <a:lnTo>
                  <a:pt x="137" y="189"/>
                </a:lnTo>
                <a:lnTo>
                  <a:pt x="146" y="187"/>
                </a:lnTo>
                <a:lnTo>
                  <a:pt x="154" y="183"/>
                </a:lnTo>
                <a:lnTo>
                  <a:pt x="163" y="180"/>
                </a:lnTo>
                <a:lnTo>
                  <a:pt x="170" y="175"/>
                </a:lnTo>
                <a:lnTo>
                  <a:pt x="172" y="173"/>
                </a:lnTo>
                <a:lnTo>
                  <a:pt x="175" y="170"/>
                </a:lnTo>
                <a:lnTo>
                  <a:pt x="176" y="166"/>
                </a:lnTo>
                <a:lnTo>
                  <a:pt x="176" y="163"/>
                </a:lnTo>
                <a:lnTo>
                  <a:pt x="176" y="163"/>
                </a:lnTo>
                <a:lnTo>
                  <a:pt x="175" y="157"/>
                </a:lnTo>
                <a:lnTo>
                  <a:pt x="172" y="153"/>
                </a:lnTo>
                <a:lnTo>
                  <a:pt x="163" y="145"/>
                </a:lnTo>
                <a:lnTo>
                  <a:pt x="158" y="141"/>
                </a:lnTo>
                <a:lnTo>
                  <a:pt x="155" y="137"/>
                </a:lnTo>
                <a:lnTo>
                  <a:pt x="152" y="132"/>
                </a:lnTo>
                <a:lnTo>
                  <a:pt x="150" y="125"/>
                </a:lnTo>
                <a:lnTo>
                  <a:pt x="150" y="125"/>
                </a:lnTo>
                <a:lnTo>
                  <a:pt x="152" y="120"/>
                </a:lnTo>
                <a:lnTo>
                  <a:pt x="155" y="116"/>
                </a:lnTo>
                <a:lnTo>
                  <a:pt x="163" y="107"/>
                </a:lnTo>
                <a:lnTo>
                  <a:pt x="168" y="104"/>
                </a:lnTo>
                <a:lnTo>
                  <a:pt x="172" y="98"/>
                </a:lnTo>
                <a:lnTo>
                  <a:pt x="175" y="92"/>
                </a:lnTo>
                <a:lnTo>
                  <a:pt x="176" y="86"/>
                </a:lnTo>
                <a:lnTo>
                  <a:pt x="176" y="86"/>
                </a:lnTo>
                <a:lnTo>
                  <a:pt x="176" y="79"/>
                </a:lnTo>
                <a:lnTo>
                  <a:pt x="173" y="73"/>
                </a:lnTo>
                <a:lnTo>
                  <a:pt x="171" y="67"/>
                </a:lnTo>
                <a:lnTo>
                  <a:pt x="167" y="64"/>
                </a:lnTo>
                <a:lnTo>
                  <a:pt x="162" y="60"/>
                </a:lnTo>
                <a:lnTo>
                  <a:pt x="157" y="58"/>
                </a:lnTo>
                <a:lnTo>
                  <a:pt x="153" y="57"/>
                </a:lnTo>
                <a:lnTo>
                  <a:pt x="147" y="56"/>
                </a:lnTo>
                <a:lnTo>
                  <a:pt x="147" y="56"/>
                </a:lnTo>
                <a:lnTo>
                  <a:pt x="147" y="5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600575" y="2017713"/>
            <a:ext cx="168275" cy="198437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77" y="14"/>
              </a:cxn>
              <a:cxn ang="0">
                <a:pos x="52" y="25"/>
              </a:cxn>
              <a:cxn ang="0">
                <a:pos x="40" y="34"/>
              </a:cxn>
              <a:cxn ang="0">
                <a:pos x="37" y="37"/>
              </a:cxn>
              <a:cxn ang="0">
                <a:pos x="35" y="59"/>
              </a:cxn>
              <a:cxn ang="0">
                <a:pos x="30" y="74"/>
              </a:cxn>
              <a:cxn ang="0">
                <a:pos x="28" y="78"/>
              </a:cxn>
              <a:cxn ang="0">
                <a:pos x="14" y="91"/>
              </a:cxn>
              <a:cxn ang="0">
                <a:pos x="2" y="102"/>
              </a:cxn>
              <a:cxn ang="0">
                <a:pos x="0" y="107"/>
              </a:cxn>
              <a:cxn ang="0">
                <a:pos x="3" y="113"/>
              </a:cxn>
              <a:cxn ang="0">
                <a:pos x="12" y="122"/>
              </a:cxn>
              <a:cxn ang="0">
                <a:pos x="26" y="129"/>
              </a:cxn>
              <a:cxn ang="0">
                <a:pos x="36" y="140"/>
              </a:cxn>
              <a:cxn ang="0">
                <a:pos x="37" y="147"/>
              </a:cxn>
              <a:cxn ang="0">
                <a:pos x="38" y="155"/>
              </a:cxn>
              <a:cxn ang="0">
                <a:pos x="42" y="169"/>
              </a:cxn>
              <a:cxn ang="0">
                <a:pos x="50" y="181"/>
              </a:cxn>
              <a:cxn ang="0">
                <a:pos x="60" y="187"/>
              </a:cxn>
              <a:cxn ang="0">
                <a:pos x="67" y="187"/>
              </a:cxn>
              <a:cxn ang="0">
                <a:pos x="80" y="190"/>
              </a:cxn>
              <a:cxn ang="0">
                <a:pos x="103" y="200"/>
              </a:cxn>
              <a:cxn ang="0">
                <a:pos x="124" y="215"/>
              </a:cxn>
              <a:cxn ang="0">
                <a:pos x="142" y="224"/>
              </a:cxn>
              <a:cxn ang="0">
                <a:pos x="155" y="228"/>
              </a:cxn>
              <a:cxn ang="0">
                <a:pos x="163" y="228"/>
              </a:cxn>
              <a:cxn ang="0">
                <a:pos x="180" y="225"/>
              </a:cxn>
              <a:cxn ang="0">
                <a:pos x="194" y="220"/>
              </a:cxn>
              <a:cxn ang="0">
                <a:pos x="203" y="208"/>
              </a:cxn>
              <a:cxn ang="0">
                <a:pos x="206" y="191"/>
              </a:cxn>
              <a:cxn ang="0">
                <a:pos x="205" y="184"/>
              </a:cxn>
              <a:cxn ang="0">
                <a:pos x="201" y="173"/>
              </a:cxn>
              <a:cxn ang="0">
                <a:pos x="191" y="159"/>
              </a:cxn>
              <a:cxn ang="0">
                <a:pos x="188" y="147"/>
              </a:cxn>
              <a:cxn ang="0">
                <a:pos x="189" y="143"/>
              </a:cxn>
              <a:cxn ang="0">
                <a:pos x="195" y="129"/>
              </a:cxn>
              <a:cxn ang="0">
                <a:pos x="195" y="55"/>
              </a:cxn>
              <a:cxn ang="0">
                <a:pos x="195" y="47"/>
              </a:cxn>
              <a:cxn ang="0">
                <a:pos x="190" y="32"/>
              </a:cxn>
              <a:cxn ang="0">
                <a:pos x="183" y="19"/>
              </a:cxn>
              <a:cxn ang="0">
                <a:pos x="173" y="13"/>
              </a:cxn>
              <a:cxn ang="0">
                <a:pos x="166" y="11"/>
              </a:cxn>
              <a:cxn ang="0">
                <a:pos x="160" y="14"/>
              </a:cxn>
              <a:cxn ang="0">
                <a:pos x="158" y="18"/>
              </a:cxn>
              <a:cxn ang="0">
                <a:pos x="159" y="30"/>
              </a:cxn>
              <a:cxn ang="0">
                <a:pos x="152" y="44"/>
              </a:cxn>
              <a:cxn ang="0">
                <a:pos x="137" y="67"/>
              </a:cxn>
              <a:cxn ang="0">
                <a:pos x="129" y="74"/>
              </a:cxn>
              <a:cxn ang="0">
                <a:pos x="125" y="64"/>
              </a:cxn>
              <a:cxn ang="0">
                <a:pos x="121" y="55"/>
              </a:cxn>
              <a:cxn ang="0">
                <a:pos x="122" y="51"/>
              </a:cxn>
              <a:cxn ang="0">
                <a:pos x="129" y="36"/>
              </a:cxn>
              <a:cxn ang="0">
                <a:pos x="136" y="21"/>
              </a:cxn>
              <a:cxn ang="0">
                <a:pos x="136" y="15"/>
              </a:cxn>
              <a:cxn ang="0">
                <a:pos x="135" y="5"/>
              </a:cxn>
              <a:cxn ang="0">
                <a:pos x="132" y="1"/>
              </a:cxn>
              <a:cxn ang="0">
                <a:pos x="125" y="0"/>
              </a:cxn>
              <a:cxn ang="0">
                <a:pos x="114" y="0"/>
              </a:cxn>
            </a:cxnLst>
            <a:rect l="0" t="0" r="r" b="b"/>
            <a:pathLst>
              <a:path w="206" h="228">
                <a:moveTo>
                  <a:pt x="114" y="0"/>
                </a:moveTo>
                <a:lnTo>
                  <a:pt x="114" y="0"/>
                </a:lnTo>
                <a:lnTo>
                  <a:pt x="102" y="3"/>
                </a:lnTo>
                <a:lnTo>
                  <a:pt x="77" y="14"/>
                </a:lnTo>
                <a:lnTo>
                  <a:pt x="64" y="19"/>
                </a:lnTo>
                <a:lnTo>
                  <a:pt x="52" y="25"/>
                </a:lnTo>
                <a:lnTo>
                  <a:pt x="43" y="31"/>
                </a:lnTo>
                <a:lnTo>
                  <a:pt x="40" y="34"/>
                </a:lnTo>
                <a:lnTo>
                  <a:pt x="37" y="37"/>
                </a:lnTo>
                <a:lnTo>
                  <a:pt x="37" y="37"/>
                </a:lnTo>
                <a:lnTo>
                  <a:pt x="36" y="49"/>
                </a:lnTo>
                <a:lnTo>
                  <a:pt x="35" y="59"/>
                </a:lnTo>
                <a:lnTo>
                  <a:pt x="34" y="65"/>
                </a:lnTo>
                <a:lnTo>
                  <a:pt x="30" y="74"/>
                </a:lnTo>
                <a:lnTo>
                  <a:pt x="30" y="74"/>
                </a:lnTo>
                <a:lnTo>
                  <a:pt x="28" y="78"/>
                </a:lnTo>
                <a:lnTo>
                  <a:pt x="23" y="82"/>
                </a:lnTo>
                <a:lnTo>
                  <a:pt x="14" y="91"/>
                </a:lnTo>
                <a:lnTo>
                  <a:pt x="5" y="99"/>
                </a:lnTo>
                <a:lnTo>
                  <a:pt x="2" y="102"/>
                </a:lnTo>
                <a:lnTo>
                  <a:pt x="0" y="107"/>
                </a:lnTo>
                <a:lnTo>
                  <a:pt x="0" y="107"/>
                </a:lnTo>
                <a:lnTo>
                  <a:pt x="0" y="110"/>
                </a:lnTo>
                <a:lnTo>
                  <a:pt x="3" y="113"/>
                </a:lnTo>
                <a:lnTo>
                  <a:pt x="6" y="117"/>
                </a:lnTo>
                <a:lnTo>
                  <a:pt x="12" y="122"/>
                </a:lnTo>
                <a:lnTo>
                  <a:pt x="19" y="125"/>
                </a:lnTo>
                <a:lnTo>
                  <a:pt x="26" y="129"/>
                </a:lnTo>
                <a:lnTo>
                  <a:pt x="31" y="133"/>
                </a:lnTo>
                <a:lnTo>
                  <a:pt x="36" y="140"/>
                </a:lnTo>
                <a:lnTo>
                  <a:pt x="37" y="144"/>
                </a:lnTo>
                <a:lnTo>
                  <a:pt x="37" y="147"/>
                </a:lnTo>
                <a:lnTo>
                  <a:pt x="37" y="147"/>
                </a:lnTo>
                <a:lnTo>
                  <a:pt x="38" y="155"/>
                </a:lnTo>
                <a:lnTo>
                  <a:pt x="40" y="162"/>
                </a:lnTo>
                <a:lnTo>
                  <a:pt x="42" y="169"/>
                </a:lnTo>
                <a:lnTo>
                  <a:pt x="45" y="176"/>
                </a:lnTo>
                <a:lnTo>
                  <a:pt x="50" y="181"/>
                </a:lnTo>
                <a:lnTo>
                  <a:pt x="54" y="184"/>
                </a:lnTo>
                <a:lnTo>
                  <a:pt x="60" y="187"/>
                </a:lnTo>
                <a:lnTo>
                  <a:pt x="67" y="187"/>
                </a:lnTo>
                <a:lnTo>
                  <a:pt x="67" y="187"/>
                </a:lnTo>
                <a:lnTo>
                  <a:pt x="74" y="189"/>
                </a:lnTo>
                <a:lnTo>
                  <a:pt x="80" y="190"/>
                </a:lnTo>
                <a:lnTo>
                  <a:pt x="91" y="194"/>
                </a:lnTo>
                <a:lnTo>
                  <a:pt x="103" y="200"/>
                </a:lnTo>
                <a:lnTo>
                  <a:pt x="113" y="208"/>
                </a:lnTo>
                <a:lnTo>
                  <a:pt x="124" y="215"/>
                </a:lnTo>
                <a:lnTo>
                  <a:pt x="135" y="222"/>
                </a:lnTo>
                <a:lnTo>
                  <a:pt x="142" y="224"/>
                </a:lnTo>
                <a:lnTo>
                  <a:pt x="148" y="225"/>
                </a:lnTo>
                <a:lnTo>
                  <a:pt x="155" y="228"/>
                </a:lnTo>
                <a:lnTo>
                  <a:pt x="163" y="228"/>
                </a:lnTo>
                <a:lnTo>
                  <a:pt x="163" y="228"/>
                </a:lnTo>
                <a:lnTo>
                  <a:pt x="172" y="228"/>
                </a:lnTo>
                <a:lnTo>
                  <a:pt x="180" y="225"/>
                </a:lnTo>
                <a:lnTo>
                  <a:pt x="188" y="223"/>
                </a:lnTo>
                <a:lnTo>
                  <a:pt x="194" y="220"/>
                </a:lnTo>
                <a:lnTo>
                  <a:pt x="199" y="214"/>
                </a:lnTo>
                <a:lnTo>
                  <a:pt x="203" y="208"/>
                </a:lnTo>
                <a:lnTo>
                  <a:pt x="205" y="200"/>
                </a:lnTo>
                <a:lnTo>
                  <a:pt x="206" y="191"/>
                </a:lnTo>
                <a:lnTo>
                  <a:pt x="206" y="191"/>
                </a:lnTo>
                <a:lnTo>
                  <a:pt x="205" y="184"/>
                </a:lnTo>
                <a:lnTo>
                  <a:pt x="204" y="177"/>
                </a:lnTo>
                <a:lnTo>
                  <a:pt x="201" y="173"/>
                </a:lnTo>
                <a:lnTo>
                  <a:pt x="197" y="168"/>
                </a:lnTo>
                <a:lnTo>
                  <a:pt x="191" y="159"/>
                </a:lnTo>
                <a:lnTo>
                  <a:pt x="189" y="153"/>
                </a:lnTo>
                <a:lnTo>
                  <a:pt x="188" y="147"/>
                </a:lnTo>
                <a:lnTo>
                  <a:pt x="188" y="147"/>
                </a:lnTo>
                <a:lnTo>
                  <a:pt x="189" y="143"/>
                </a:lnTo>
                <a:lnTo>
                  <a:pt x="191" y="137"/>
                </a:lnTo>
                <a:lnTo>
                  <a:pt x="195" y="129"/>
                </a:lnTo>
                <a:lnTo>
                  <a:pt x="195" y="129"/>
                </a:lnTo>
                <a:lnTo>
                  <a:pt x="195" y="55"/>
                </a:lnTo>
                <a:lnTo>
                  <a:pt x="195" y="55"/>
                </a:lnTo>
                <a:lnTo>
                  <a:pt x="195" y="47"/>
                </a:lnTo>
                <a:lnTo>
                  <a:pt x="194" y="39"/>
                </a:lnTo>
                <a:lnTo>
                  <a:pt x="190" y="32"/>
                </a:lnTo>
                <a:lnTo>
                  <a:pt x="188" y="25"/>
                </a:lnTo>
                <a:lnTo>
                  <a:pt x="183" y="19"/>
                </a:lnTo>
                <a:lnTo>
                  <a:pt x="179" y="15"/>
                </a:lnTo>
                <a:lnTo>
                  <a:pt x="173" y="13"/>
                </a:lnTo>
                <a:lnTo>
                  <a:pt x="166" y="11"/>
                </a:lnTo>
                <a:lnTo>
                  <a:pt x="166" y="11"/>
                </a:lnTo>
                <a:lnTo>
                  <a:pt x="163" y="11"/>
                </a:lnTo>
                <a:lnTo>
                  <a:pt x="160" y="14"/>
                </a:lnTo>
                <a:lnTo>
                  <a:pt x="159" y="15"/>
                </a:lnTo>
                <a:lnTo>
                  <a:pt x="158" y="18"/>
                </a:lnTo>
                <a:lnTo>
                  <a:pt x="158" y="24"/>
                </a:lnTo>
                <a:lnTo>
                  <a:pt x="159" y="30"/>
                </a:lnTo>
                <a:lnTo>
                  <a:pt x="159" y="30"/>
                </a:lnTo>
                <a:lnTo>
                  <a:pt x="152" y="44"/>
                </a:lnTo>
                <a:lnTo>
                  <a:pt x="145" y="56"/>
                </a:lnTo>
                <a:lnTo>
                  <a:pt x="137" y="67"/>
                </a:lnTo>
                <a:lnTo>
                  <a:pt x="134" y="70"/>
                </a:lnTo>
                <a:lnTo>
                  <a:pt x="129" y="74"/>
                </a:lnTo>
                <a:lnTo>
                  <a:pt x="129" y="74"/>
                </a:lnTo>
                <a:lnTo>
                  <a:pt x="125" y="64"/>
                </a:lnTo>
                <a:lnTo>
                  <a:pt x="122" y="60"/>
                </a:lnTo>
                <a:lnTo>
                  <a:pt x="121" y="55"/>
                </a:lnTo>
                <a:lnTo>
                  <a:pt x="121" y="55"/>
                </a:lnTo>
                <a:lnTo>
                  <a:pt x="122" y="51"/>
                </a:lnTo>
                <a:lnTo>
                  <a:pt x="124" y="45"/>
                </a:lnTo>
                <a:lnTo>
                  <a:pt x="129" y="36"/>
                </a:lnTo>
                <a:lnTo>
                  <a:pt x="134" y="25"/>
                </a:lnTo>
                <a:lnTo>
                  <a:pt x="136" y="21"/>
                </a:lnTo>
                <a:lnTo>
                  <a:pt x="136" y="15"/>
                </a:lnTo>
                <a:lnTo>
                  <a:pt x="136" y="15"/>
                </a:lnTo>
                <a:lnTo>
                  <a:pt x="136" y="9"/>
                </a:lnTo>
                <a:lnTo>
                  <a:pt x="135" y="5"/>
                </a:lnTo>
                <a:lnTo>
                  <a:pt x="134" y="2"/>
                </a:lnTo>
                <a:lnTo>
                  <a:pt x="132" y="1"/>
                </a:lnTo>
                <a:lnTo>
                  <a:pt x="128" y="0"/>
                </a:lnTo>
                <a:lnTo>
                  <a:pt x="125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5" name="Freeform 10"/>
          <p:cNvSpPr>
            <a:spLocks/>
          </p:cNvSpPr>
          <p:nvPr/>
        </p:nvSpPr>
        <p:spPr bwMode="auto">
          <a:xfrm>
            <a:off x="4776788" y="2111375"/>
            <a:ext cx="144462" cy="225425"/>
          </a:xfrm>
          <a:custGeom>
            <a:avLst/>
            <a:gdLst/>
            <a:ahLst/>
            <a:cxnLst>
              <a:cxn ang="0">
                <a:pos x="80" y="25"/>
              </a:cxn>
              <a:cxn ang="0">
                <a:pos x="80" y="14"/>
              </a:cxn>
              <a:cxn ang="0">
                <a:pos x="76" y="5"/>
              </a:cxn>
              <a:cxn ang="0">
                <a:pos x="65" y="0"/>
              </a:cxn>
              <a:cxn ang="0">
                <a:pos x="63" y="1"/>
              </a:cxn>
              <a:cxn ang="0">
                <a:pos x="50" y="15"/>
              </a:cxn>
              <a:cxn ang="0">
                <a:pos x="36" y="37"/>
              </a:cxn>
              <a:cxn ang="0">
                <a:pos x="36" y="74"/>
              </a:cxn>
              <a:cxn ang="0">
                <a:pos x="36" y="74"/>
              </a:cxn>
              <a:cxn ang="0">
                <a:pos x="22" y="145"/>
              </a:cxn>
              <a:cxn ang="0">
                <a:pos x="14" y="164"/>
              </a:cxn>
              <a:cxn ang="0">
                <a:pos x="14" y="198"/>
              </a:cxn>
              <a:cxn ang="0">
                <a:pos x="14" y="198"/>
              </a:cxn>
              <a:cxn ang="0">
                <a:pos x="9" y="207"/>
              </a:cxn>
              <a:cxn ang="0">
                <a:pos x="1" y="232"/>
              </a:cxn>
              <a:cxn ang="0">
                <a:pos x="0" y="243"/>
              </a:cxn>
              <a:cxn ang="0">
                <a:pos x="1" y="250"/>
              </a:cxn>
              <a:cxn ang="0">
                <a:pos x="9" y="257"/>
              </a:cxn>
              <a:cxn ang="0">
                <a:pos x="14" y="258"/>
              </a:cxn>
              <a:cxn ang="0">
                <a:pos x="24" y="254"/>
              </a:cxn>
              <a:cxn ang="0">
                <a:pos x="32" y="248"/>
              </a:cxn>
              <a:cxn ang="0">
                <a:pos x="44" y="235"/>
              </a:cxn>
              <a:cxn ang="0">
                <a:pos x="59" y="222"/>
              </a:cxn>
              <a:cxn ang="0">
                <a:pos x="76" y="213"/>
              </a:cxn>
              <a:cxn ang="0">
                <a:pos x="114" y="198"/>
              </a:cxn>
              <a:cxn ang="0">
                <a:pos x="125" y="193"/>
              </a:cxn>
              <a:cxn ang="0">
                <a:pos x="146" y="181"/>
              </a:cxn>
              <a:cxn ang="0">
                <a:pos x="164" y="162"/>
              </a:cxn>
              <a:cxn ang="0">
                <a:pos x="172" y="146"/>
              </a:cxn>
              <a:cxn ang="0">
                <a:pos x="176" y="132"/>
              </a:cxn>
              <a:cxn ang="0">
                <a:pos x="176" y="125"/>
              </a:cxn>
              <a:cxn ang="0">
                <a:pos x="174" y="114"/>
              </a:cxn>
              <a:cxn ang="0">
                <a:pos x="161" y="89"/>
              </a:cxn>
              <a:cxn ang="0">
                <a:pos x="141" y="66"/>
              </a:cxn>
              <a:cxn ang="0">
                <a:pos x="122" y="49"/>
              </a:cxn>
              <a:cxn ang="0">
                <a:pos x="114" y="47"/>
              </a:cxn>
              <a:cxn ang="0">
                <a:pos x="105" y="48"/>
              </a:cxn>
              <a:cxn ang="0">
                <a:pos x="92" y="55"/>
              </a:cxn>
              <a:cxn ang="0">
                <a:pos x="84" y="68"/>
              </a:cxn>
              <a:cxn ang="0">
                <a:pos x="80" y="83"/>
              </a:cxn>
              <a:cxn ang="0">
                <a:pos x="80" y="91"/>
              </a:cxn>
              <a:cxn ang="0">
                <a:pos x="70" y="70"/>
              </a:cxn>
              <a:cxn ang="0">
                <a:pos x="80" y="25"/>
              </a:cxn>
              <a:cxn ang="0">
                <a:pos x="80" y="25"/>
              </a:cxn>
            </a:cxnLst>
            <a:rect l="0" t="0" r="r" b="b"/>
            <a:pathLst>
              <a:path w="176" h="258">
                <a:moveTo>
                  <a:pt x="80" y="25"/>
                </a:moveTo>
                <a:lnTo>
                  <a:pt x="80" y="25"/>
                </a:lnTo>
                <a:lnTo>
                  <a:pt x="80" y="14"/>
                </a:lnTo>
                <a:lnTo>
                  <a:pt x="80" y="14"/>
                </a:lnTo>
                <a:lnTo>
                  <a:pt x="79" y="9"/>
                </a:lnTo>
                <a:lnTo>
                  <a:pt x="76" y="5"/>
                </a:lnTo>
                <a:lnTo>
                  <a:pt x="71" y="1"/>
                </a:lnTo>
                <a:lnTo>
                  <a:pt x="65" y="0"/>
                </a:lnTo>
                <a:lnTo>
                  <a:pt x="65" y="0"/>
                </a:lnTo>
                <a:lnTo>
                  <a:pt x="63" y="1"/>
                </a:lnTo>
                <a:lnTo>
                  <a:pt x="60" y="5"/>
                </a:lnTo>
                <a:lnTo>
                  <a:pt x="50" y="15"/>
                </a:lnTo>
                <a:lnTo>
                  <a:pt x="41" y="28"/>
                </a:lnTo>
                <a:lnTo>
                  <a:pt x="36" y="37"/>
                </a:lnTo>
                <a:lnTo>
                  <a:pt x="36" y="37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26" y="123"/>
                </a:lnTo>
                <a:lnTo>
                  <a:pt x="22" y="145"/>
                </a:lnTo>
                <a:lnTo>
                  <a:pt x="18" y="155"/>
                </a:lnTo>
                <a:lnTo>
                  <a:pt x="14" y="164"/>
                </a:lnTo>
                <a:lnTo>
                  <a:pt x="14" y="164"/>
                </a:lnTo>
                <a:lnTo>
                  <a:pt x="14" y="198"/>
                </a:lnTo>
                <a:lnTo>
                  <a:pt x="14" y="198"/>
                </a:lnTo>
                <a:lnTo>
                  <a:pt x="14" y="198"/>
                </a:lnTo>
                <a:lnTo>
                  <a:pt x="11" y="201"/>
                </a:lnTo>
                <a:lnTo>
                  <a:pt x="9" y="207"/>
                </a:lnTo>
                <a:lnTo>
                  <a:pt x="4" y="219"/>
                </a:lnTo>
                <a:lnTo>
                  <a:pt x="1" y="232"/>
                </a:lnTo>
                <a:lnTo>
                  <a:pt x="0" y="243"/>
                </a:lnTo>
                <a:lnTo>
                  <a:pt x="0" y="243"/>
                </a:lnTo>
                <a:lnTo>
                  <a:pt x="0" y="246"/>
                </a:lnTo>
                <a:lnTo>
                  <a:pt x="1" y="250"/>
                </a:lnTo>
                <a:lnTo>
                  <a:pt x="4" y="254"/>
                </a:lnTo>
                <a:lnTo>
                  <a:pt x="9" y="257"/>
                </a:lnTo>
                <a:lnTo>
                  <a:pt x="14" y="258"/>
                </a:lnTo>
                <a:lnTo>
                  <a:pt x="14" y="258"/>
                </a:lnTo>
                <a:lnTo>
                  <a:pt x="19" y="257"/>
                </a:lnTo>
                <a:lnTo>
                  <a:pt x="24" y="254"/>
                </a:lnTo>
                <a:lnTo>
                  <a:pt x="27" y="252"/>
                </a:lnTo>
                <a:lnTo>
                  <a:pt x="32" y="248"/>
                </a:lnTo>
                <a:lnTo>
                  <a:pt x="44" y="235"/>
                </a:lnTo>
                <a:lnTo>
                  <a:pt x="44" y="235"/>
                </a:lnTo>
                <a:lnTo>
                  <a:pt x="50" y="228"/>
                </a:lnTo>
                <a:lnTo>
                  <a:pt x="59" y="222"/>
                </a:lnTo>
                <a:lnTo>
                  <a:pt x="67" y="217"/>
                </a:lnTo>
                <a:lnTo>
                  <a:pt x="76" y="213"/>
                </a:lnTo>
                <a:lnTo>
                  <a:pt x="94" y="205"/>
                </a:lnTo>
                <a:lnTo>
                  <a:pt x="114" y="198"/>
                </a:lnTo>
                <a:lnTo>
                  <a:pt x="114" y="198"/>
                </a:lnTo>
                <a:lnTo>
                  <a:pt x="125" y="193"/>
                </a:lnTo>
                <a:lnTo>
                  <a:pt x="136" y="187"/>
                </a:lnTo>
                <a:lnTo>
                  <a:pt x="146" y="181"/>
                </a:lnTo>
                <a:lnTo>
                  <a:pt x="156" y="173"/>
                </a:lnTo>
                <a:lnTo>
                  <a:pt x="164" y="162"/>
                </a:lnTo>
                <a:lnTo>
                  <a:pt x="170" y="152"/>
                </a:lnTo>
                <a:lnTo>
                  <a:pt x="172" y="146"/>
                </a:lnTo>
                <a:lnTo>
                  <a:pt x="175" y="139"/>
                </a:lnTo>
                <a:lnTo>
                  <a:pt x="176" y="132"/>
                </a:lnTo>
                <a:lnTo>
                  <a:pt x="176" y="125"/>
                </a:lnTo>
                <a:lnTo>
                  <a:pt x="176" y="125"/>
                </a:lnTo>
                <a:lnTo>
                  <a:pt x="176" y="120"/>
                </a:lnTo>
                <a:lnTo>
                  <a:pt x="174" y="114"/>
                </a:lnTo>
                <a:lnTo>
                  <a:pt x="169" y="102"/>
                </a:lnTo>
                <a:lnTo>
                  <a:pt x="161" y="89"/>
                </a:lnTo>
                <a:lnTo>
                  <a:pt x="152" y="76"/>
                </a:lnTo>
                <a:lnTo>
                  <a:pt x="141" y="66"/>
                </a:lnTo>
                <a:lnTo>
                  <a:pt x="131" y="55"/>
                </a:lnTo>
                <a:lnTo>
                  <a:pt x="122" y="49"/>
                </a:lnTo>
                <a:lnTo>
                  <a:pt x="117" y="48"/>
                </a:lnTo>
                <a:lnTo>
                  <a:pt x="114" y="47"/>
                </a:lnTo>
                <a:lnTo>
                  <a:pt x="114" y="47"/>
                </a:lnTo>
                <a:lnTo>
                  <a:pt x="105" y="48"/>
                </a:lnTo>
                <a:lnTo>
                  <a:pt x="98" y="51"/>
                </a:lnTo>
                <a:lnTo>
                  <a:pt x="92" y="55"/>
                </a:lnTo>
                <a:lnTo>
                  <a:pt x="87" y="61"/>
                </a:lnTo>
                <a:lnTo>
                  <a:pt x="84" y="68"/>
                </a:lnTo>
                <a:lnTo>
                  <a:pt x="82" y="75"/>
                </a:lnTo>
                <a:lnTo>
                  <a:pt x="80" y="83"/>
                </a:lnTo>
                <a:lnTo>
                  <a:pt x="80" y="91"/>
                </a:lnTo>
                <a:lnTo>
                  <a:pt x="80" y="91"/>
                </a:lnTo>
                <a:lnTo>
                  <a:pt x="70" y="91"/>
                </a:lnTo>
                <a:lnTo>
                  <a:pt x="70" y="70"/>
                </a:lnTo>
                <a:lnTo>
                  <a:pt x="70" y="70"/>
                </a:lnTo>
                <a:lnTo>
                  <a:pt x="80" y="25"/>
                </a:lnTo>
                <a:lnTo>
                  <a:pt x="80" y="25"/>
                </a:lnTo>
                <a:lnTo>
                  <a:pt x="80" y="2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Freeform 11"/>
          <p:cNvSpPr>
            <a:spLocks/>
          </p:cNvSpPr>
          <p:nvPr/>
        </p:nvSpPr>
        <p:spPr bwMode="auto">
          <a:xfrm>
            <a:off x="355600" y="4908550"/>
            <a:ext cx="369888" cy="503238"/>
          </a:xfrm>
          <a:custGeom>
            <a:avLst/>
            <a:gdLst/>
            <a:ahLst/>
            <a:cxnLst>
              <a:cxn ang="0">
                <a:pos x="434" y="346"/>
              </a:cxn>
              <a:cxn ang="0">
                <a:pos x="422" y="351"/>
              </a:cxn>
              <a:cxn ang="0">
                <a:pos x="406" y="342"/>
              </a:cxn>
              <a:cxn ang="0">
                <a:pos x="393" y="333"/>
              </a:cxn>
              <a:cxn ang="0">
                <a:pos x="368" y="380"/>
              </a:cxn>
              <a:cxn ang="0">
                <a:pos x="365" y="396"/>
              </a:cxn>
              <a:cxn ang="0">
                <a:pos x="376" y="404"/>
              </a:cxn>
              <a:cxn ang="0">
                <a:pos x="382" y="414"/>
              </a:cxn>
              <a:cxn ang="0">
                <a:pos x="363" y="490"/>
              </a:cxn>
              <a:cxn ang="0">
                <a:pos x="344" y="511"/>
              </a:cxn>
              <a:cxn ang="0">
                <a:pos x="342" y="535"/>
              </a:cxn>
              <a:cxn ang="0">
                <a:pos x="332" y="551"/>
              </a:cxn>
              <a:cxn ang="0">
                <a:pos x="310" y="566"/>
              </a:cxn>
              <a:cxn ang="0">
                <a:pos x="287" y="567"/>
              </a:cxn>
              <a:cxn ang="0">
                <a:pos x="270" y="556"/>
              </a:cxn>
              <a:cxn ang="0">
                <a:pos x="259" y="534"/>
              </a:cxn>
              <a:cxn ang="0">
                <a:pos x="238" y="527"/>
              </a:cxn>
              <a:cxn ang="0">
                <a:pos x="205" y="536"/>
              </a:cxn>
              <a:cxn ang="0">
                <a:pos x="172" y="564"/>
              </a:cxn>
              <a:cxn ang="0">
                <a:pos x="169" y="579"/>
              </a:cxn>
              <a:cxn ang="0">
                <a:pos x="145" y="557"/>
              </a:cxn>
              <a:cxn ang="0">
                <a:pos x="114" y="529"/>
              </a:cxn>
              <a:cxn ang="0">
                <a:pos x="102" y="535"/>
              </a:cxn>
              <a:cxn ang="0">
                <a:pos x="88" y="488"/>
              </a:cxn>
              <a:cxn ang="0">
                <a:pos x="80" y="395"/>
              </a:cxn>
              <a:cxn ang="0">
                <a:pos x="70" y="344"/>
              </a:cxn>
              <a:cxn ang="0">
                <a:pos x="48" y="317"/>
              </a:cxn>
              <a:cxn ang="0">
                <a:pos x="43" y="297"/>
              </a:cxn>
              <a:cxn ang="0">
                <a:pos x="52" y="281"/>
              </a:cxn>
              <a:cxn ang="0">
                <a:pos x="40" y="243"/>
              </a:cxn>
              <a:cxn ang="0">
                <a:pos x="18" y="183"/>
              </a:cxn>
              <a:cxn ang="0">
                <a:pos x="17" y="138"/>
              </a:cxn>
              <a:cxn ang="0">
                <a:pos x="6" y="94"/>
              </a:cxn>
              <a:cxn ang="0">
                <a:pos x="32" y="65"/>
              </a:cxn>
              <a:cxn ang="0">
                <a:pos x="83" y="132"/>
              </a:cxn>
              <a:cxn ang="0">
                <a:pos x="103" y="139"/>
              </a:cxn>
              <a:cxn ang="0">
                <a:pos x="121" y="130"/>
              </a:cxn>
              <a:cxn ang="0">
                <a:pos x="139" y="102"/>
              </a:cxn>
              <a:cxn ang="0">
                <a:pos x="163" y="89"/>
              </a:cxn>
              <a:cxn ang="0">
                <a:pos x="214" y="105"/>
              </a:cxn>
              <a:cxn ang="0">
                <a:pos x="246" y="114"/>
              </a:cxn>
              <a:cxn ang="0">
                <a:pos x="251" y="92"/>
              </a:cxn>
              <a:cxn ang="0">
                <a:pos x="234" y="58"/>
              </a:cxn>
              <a:cxn ang="0">
                <a:pos x="222" y="35"/>
              </a:cxn>
              <a:cxn ang="0">
                <a:pos x="232" y="5"/>
              </a:cxn>
              <a:cxn ang="0">
                <a:pos x="244" y="1"/>
              </a:cxn>
              <a:cxn ang="0">
                <a:pos x="261" y="17"/>
              </a:cxn>
              <a:cxn ang="0">
                <a:pos x="306" y="40"/>
              </a:cxn>
              <a:cxn ang="0">
                <a:pos x="342" y="51"/>
              </a:cxn>
              <a:cxn ang="0">
                <a:pos x="342" y="102"/>
              </a:cxn>
              <a:cxn ang="0">
                <a:pos x="386" y="107"/>
              </a:cxn>
              <a:cxn ang="0">
                <a:pos x="427" y="129"/>
              </a:cxn>
              <a:cxn ang="0">
                <a:pos x="437" y="150"/>
              </a:cxn>
              <a:cxn ang="0">
                <a:pos x="429" y="170"/>
              </a:cxn>
              <a:cxn ang="0">
                <a:pos x="413" y="200"/>
              </a:cxn>
              <a:cxn ang="0">
                <a:pos x="413" y="223"/>
              </a:cxn>
              <a:cxn ang="0">
                <a:pos x="431" y="247"/>
              </a:cxn>
              <a:cxn ang="0">
                <a:pos x="451" y="274"/>
              </a:cxn>
              <a:cxn ang="0">
                <a:pos x="449" y="304"/>
              </a:cxn>
              <a:cxn ang="0">
                <a:pos x="437" y="336"/>
              </a:cxn>
            </a:cxnLst>
            <a:rect l="0" t="0" r="r" b="b"/>
            <a:pathLst>
              <a:path w="452" h="579">
                <a:moveTo>
                  <a:pt x="437" y="336"/>
                </a:moveTo>
                <a:lnTo>
                  <a:pt x="437" y="336"/>
                </a:lnTo>
                <a:lnTo>
                  <a:pt x="436" y="342"/>
                </a:lnTo>
                <a:lnTo>
                  <a:pt x="434" y="346"/>
                </a:lnTo>
                <a:lnTo>
                  <a:pt x="429" y="350"/>
                </a:lnTo>
                <a:lnTo>
                  <a:pt x="427" y="351"/>
                </a:lnTo>
                <a:lnTo>
                  <a:pt x="422" y="351"/>
                </a:lnTo>
                <a:lnTo>
                  <a:pt x="422" y="351"/>
                </a:lnTo>
                <a:lnTo>
                  <a:pt x="417" y="350"/>
                </a:lnTo>
                <a:lnTo>
                  <a:pt x="413" y="349"/>
                </a:lnTo>
                <a:lnTo>
                  <a:pt x="409" y="345"/>
                </a:lnTo>
                <a:lnTo>
                  <a:pt x="406" y="342"/>
                </a:lnTo>
                <a:lnTo>
                  <a:pt x="400" y="336"/>
                </a:lnTo>
                <a:lnTo>
                  <a:pt x="397" y="334"/>
                </a:lnTo>
                <a:lnTo>
                  <a:pt x="393" y="333"/>
                </a:lnTo>
                <a:lnTo>
                  <a:pt x="393" y="333"/>
                </a:lnTo>
                <a:lnTo>
                  <a:pt x="391" y="335"/>
                </a:lnTo>
                <a:lnTo>
                  <a:pt x="386" y="341"/>
                </a:lnTo>
                <a:lnTo>
                  <a:pt x="377" y="360"/>
                </a:lnTo>
                <a:lnTo>
                  <a:pt x="368" y="380"/>
                </a:lnTo>
                <a:lnTo>
                  <a:pt x="365" y="387"/>
                </a:lnTo>
                <a:lnTo>
                  <a:pt x="363" y="391"/>
                </a:lnTo>
                <a:lnTo>
                  <a:pt x="363" y="391"/>
                </a:lnTo>
                <a:lnTo>
                  <a:pt x="365" y="396"/>
                </a:lnTo>
                <a:lnTo>
                  <a:pt x="367" y="399"/>
                </a:lnTo>
                <a:lnTo>
                  <a:pt x="369" y="402"/>
                </a:lnTo>
                <a:lnTo>
                  <a:pt x="373" y="403"/>
                </a:lnTo>
                <a:lnTo>
                  <a:pt x="376" y="404"/>
                </a:lnTo>
                <a:lnTo>
                  <a:pt x="379" y="406"/>
                </a:lnTo>
                <a:lnTo>
                  <a:pt x="381" y="410"/>
                </a:lnTo>
                <a:lnTo>
                  <a:pt x="382" y="414"/>
                </a:lnTo>
                <a:lnTo>
                  <a:pt x="382" y="414"/>
                </a:lnTo>
                <a:lnTo>
                  <a:pt x="382" y="483"/>
                </a:lnTo>
                <a:lnTo>
                  <a:pt x="382" y="483"/>
                </a:lnTo>
                <a:lnTo>
                  <a:pt x="371" y="487"/>
                </a:lnTo>
                <a:lnTo>
                  <a:pt x="363" y="490"/>
                </a:lnTo>
                <a:lnTo>
                  <a:pt x="356" y="494"/>
                </a:lnTo>
                <a:lnTo>
                  <a:pt x="351" y="499"/>
                </a:lnTo>
                <a:lnTo>
                  <a:pt x="346" y="504"/>
                </a:lnTo>
                <a:lnTo>
                  <a:pt x="344" y="511"/>
                </a:lnTo>
                <a:lnTo>
                  <a:pt x="342" y="519"/>
                </a:lnTo>
                <a:lnTo>
                  <a:pt x="342" y="527"/>
                </a:lnTo>
                <a:lnTo>
                  <a:pt x="342" y="527"/>
                </a:lnTo>
                <a:lnTo>
                  <a:pt x="342" y="535"/>
                </a:lnTo>
                <a:lnTo>
                  <a:pt x="342" y="535"/>
                </a:lnTo>
                <a:lnTo>
                  <a:pt x="342" y="535"/>
                </a:lnTo>
                <a:lnTo>
                  <a:pt x="337" y="544"/>
                </a:lnTo>
                <a:lnTo>
                  <a:pt x="332" y="551"/>
                </a:lnTo>
                <a:lnTo>
                  <a:pt x="328" y="557"/>
                </a:lnTo>
                <a:lnTo>
                  <a:pt x="323" y="562"/>
                </a:lnTo>
                <a:lnTo>
                  <a:pt x="317" y="565"/>
                </a:lnTo>
                <a:lnTo>
                  <a:pt x="310" y="566"/>
                </a:lnTo>
                <a:lnTo>
                  <a:pt x="302" y="567"/>
                </a:lnTo>
                <a:lnTo>
                  <a:pt x="293" y="569"/>
                </a:lnTo>
                <a:lnTo>
                  <a:pt x="293" y="569"/>
                </a:lnTo>
                <a:lnTo>
                  <a:pt x="287" y="567"/>
                </a:lnTo>
                <a:lnTo>
                  <a:pt x="283" y="566"/>
                </a:lnTo>
                <a:lnTo>
                  <a:pt x="278" y="564"/>
                </a:lnTo>
                <a:lnTo>
                  <a:pt x="275" y="562"/>
                </a:lnTo>
                <a:lnTo>
                  <a:pt x="270" y="556"/>
                </a:lnTo>
                <a:lnTo>
                  <a:pt x="268" y="548"/>
                </a:lnTo>
                <a:lnTo>
                  <a:pt x="264" y="541"/>
                </a:lnTo>
                <a:lnTo>
                  <a:pt x="262" y="537"/>
                </a:lnTo>
                <a:lnTo>
                  <a:pt x="259" y="534"/>
                </a:lnTo>
                <a:lnTo>
                  <a:pt x="255" y="532"/>
                </a:lnTo>
                <a:lnTo>
                  <a:pt x="251" y="529"/>
                </a:lnTo>
                <a:lnTo>
                  <a:pt x="245" y="528"/>
                </a:lnTo>
                <a:lnTo>
                  <a:pt x="238" y="527"/>
                </a:lnTo>
                <a:lnTo>
                  <a:pt x="238" y="527"/>
                </a:lnTo>
                <a:lnTo>
                  <a:pt x="228" y="528"/>
                </a:lnTo>
                <a:lnTo>
                  <a:pt x="216" y="532"/>
                </a:lnTo>
                <a:lnTo>
                  <a:pt x="205" y="536"/>
                </a:lnTo>
                <a:lnTo>
                  <a:pt x="193" y="542"/>
                </a:lnTo>
                <a:lnTo>
                  <a:pt x="184" y="550"/>
                </a:lnTo>
                <a:lnTo>
                  <a:pt x="176" y="559"/>
                </a:lnTo>
                <a:lnTo>
                  <a:pt x="172" y="564"/>
                </a:lnTo>
                <a:lnTo>
                  <a:pt x="170" y="569"/>
                </a:lnTo>
                <a:lnTo>
                  <a:pt x="169" y="574"/>
                </a:lnTo>
                <a:lnTo>
                  <a:pt x="169" y="579"/>
                </a:lnTo>
                <a:lnTo>
                  <a:pt x="169" y="579"/>
                </a:lnTo>
                <a:lnTo>
                  <a:pt x="162" y="577"/>
                </a:lnTo>
                <a:lnTo>
                  <a:pt x="156" y="572"/>
                </a:lnTo>
                <a:lnTo>
                  <a:pt x="150" y="565"/>
                </a:lnTo>
                <a:lnTo>
                  <a:pt x="145" y="557"/>
                </a:lnTo>
                <a:lnTo>
                  <a:pt x="129" y="535"/>
                </a:lnTo>
                <a:lnTo>
                  <a:pt x="129" y="535"/>
                </a:lnTo>
                <a:lnTo>
                  <a:pt x="121" y="531"/>
                </a:lnTo>
                <a:lnTo>
                  <a:pt x="114" y="529"/>
                </a:lnTo>
                <a:lnTo>
                  <a:pt x="111" y="529"/>
                </a:lnTo>
                <a:lnTo>
                  <a:pt x="108" y="531"/>
                </a:lnTo>
                <a:lnTo>
                  <a:pt x="102" y="535"/>
                </a:lnTo>
                <a:lnTo>
                  <a:pt x="102" y="535"/>
                </a:lnTo>
                <a:lnTo>
                  <a:pt x="98" y="523"/>
                </a:lnTo>
                <a:lnTo>
                  <a:pt x="94" y="510"/>
                </a:lnTo>
                <a:lnTo>
                  <a:pt x="88" y="488"/>
                </a:lnTo>
                <a:lnTo>
                  <a:pt x="88" y="488"/>
                </a:lnTo>
                <a:lnTo>
                  <a:pt x="85" y="466"/>
                </a:lnTo>
                <a:lnTo>
                  <a:pt x="83" y="448"/>
                </a:lnTo>
                <a:lnTo>
                  <a:pt x="81" y="412"/>
                </a:lnTo>
                <a:lnTo>
                  <a:pt x="80" y="395"/>
                </a:lnTo>
                <a:lnTo>
                  <a:pt x="79" y="379"/>
                </a:lnTo>
                <a:lnTo>
                  <a:pt x="76" y="361"/>
                </a:lnTo>
                <a:lnTo>
                  <a:pt x="70" y="344"/>
                </a:lnTo>
                <a:lnTo>
                  <a:pt x="70" y="344"/>
                </a:lnTo>
                <a:lnTo>
                  <a:pt x="64" y="334"/>
                </a:lnTo>
                <a:lnTo>
                  <a:pt x="58" y="326"/>
                </a:lnTo>
                <a:lnTo>
                  <a:pt x="53" y="320"/>
                </a:lnTo>
                <a:lnTo>
                  <a:pt x="48" y="317"/>
                </a:lnTo>
                <a:lnTo>
                  <a:pt x="45" y="313"/>
                </a:lnTo>
                <a:lnTo>
                  <a:pt x="42" y="308"/>
                </a:lnTo>
                <a:lnTo>
                  <a:pt x="42" y="304"/>
                </a:lnTo>
                <a:lnTo>
                  <a:pt x="43" y="297"/>
                </a:lnTo>
                <a:lnTo>
                  <a:pt x="43" y="297"/>
                </a:lnTo>
                <a:lnTo>
                  <a:pt x="48" y="292"/>
                </a:lnTo>
                <a:lnTo>
                  <a:pt x="50" y="287"/>
                </a:lnTo>
                <a:lnTo>
                  <a:pt x="52" y="281"/>
                </a:lnTo>
                <a:lnTo>
                  <a:pt x="50" y="274"/>
                </a:lnTo>
                <a:lnTo>
                  <a:pt x="49" y="267"/>
                </a:lnTo>
                <a:lnTo>
                  <a:pt x="47" y="259"/>
                </a:lnTo>
                <a:lnTo>
                  <a:pt x="40" y="243"/>
                </a:lnTo>
                <a:lnTo>
                  <a:pt x="33" y="226"/>
                </a:lnTo>
                <a:lnTo>
                  <a:pt x="25" y="208"/>
                </a:lnTo>
                <a:lnTo>
                  <a:pt x="20" y="191"/>
                </a:lnTo>
                <a:lnTo>
                  <a:pt x="18" y="183"/>
                </a:lnTo>
                <a:lnTo>
                  <a:pt x="18" y="175"/>
                </a:lnTo>
                <a:lnTo>
                  <a:pt x="18" y="175"/>
                </a:lnTo>
                <a:lnTo>
                  <a:pt x="17" y="151"/>
                </a:lnTo>
                <a:lnTo>
                  <a:pt x="17" y="138"/>
                </a:lnTo>
                <a:lnTo>
                  <a:pt x="16" y="126"/>
                </a:lnTo>
                <a:lnTo>
                  <a:pt x="14" y="114"/>
                </a:lnTo>
                <a:lnTo>
                  <a:pt x="10" y="104"/>
                </a:lnTo>
                <a:lnTo>
                  <a:pt x="6" y="94"/>
                </a:lnTo>
                <a:lnTo>
                  <a:pt x="3" y="90"/>
                </a:lnTo>
                <a:lnTo>
                  <a:pt x="0" y="88"/>
                </a:lnTo>
                <a:lnTo>
                  <a:pt x="0" y="88"/>
                </a:lnTo>
                <a:lnTo>
                  <a:pt x="32" y="65"/>
                </a:lnTo>
                <a:lnTo>
                  <a:pt x="77" y="127"/>
                </a:lnTo>
                <a:lnTo>
                  <a:pt x="77" y="127"/>
                </a:lnTo>
                <a:lnTo>
                  <a:pt x="77" y="127"/>
                </a:lnTo>
                <a:lnTo>
                  <a:pt x="83" y="132"/>
                </a:lnTo>
                <a:lnTo>
                  <a:pt x="90" y="137"/>
                </a:lnTo>
                <a:lnTo>
                  <a:pt x="96" y="139"/>
                </a:lnTo>
                <a:lnTo>
                  <a:pt x="100" y="139"/>
                </a:lnTo>
                <a:lnTo>
                  <a:pt x="103" y="139"/>
                </a:lnTo>
                <a:lnTo>
                  <a:pt x="108" y="138"/>
                </a:lnTo>
                <a:lnTo>
                  <a:pt x="113" y="136"/>
                </a:lnTo>
                <a:lnTo>
                  <a:pt x="116" y="134"/>
                </a:lnTo>
                <a:lnTo>
                  <a:pt x="121" y="130"/>
                </a:lnTo>
                <a:lnTo>
                  <a:pt x="125" y="124"/>
                </a:lnTo>
                <a:lnTo>
                  <a:pt x="130" y="119"/>
                </a:lnTo>
                <a:lnTo>
                  <a:pt x="139" y="102"/>
                </a:lnTo>
                <a:lnTo>
                  <a:pt x="139" y="102"/>
                </a:lnTo>
                <a:lnTo>
                  <a:pt x="144" y="96"/>
                </a:lnTo>
                <a:lnTo>
                  <a:pt x="149" y="92"/>
                </a:lnTo>
                <a:lnTo>
                  <a:pt x="155" y="90"/>
                </a:lnTo>
                <a:lnTo>
                  <a:pt x="163" y="89"/>
                </a:lnTo>
                <a:lnTo>
                  <a:pt x="171" y="90"/>
                </a:lnTo>
                <a:lnTo>
                  <a:pt x="179" y="91"/>
                </a:lnTo>
                <a:lnTo>
                  <a:pt x="198" y="97"/>
                </a:lnTo>
                <a:lnTo>
                  <a:pt x="214" y="105"/>
                </a:lnTo>
                <a:lnTo>
                  <a:pt x="229" y="112"/>
                </a:lnTo>
                <a:lnTo>
                  <a:pt x="241" y="120"/>
                </a:lnTo>
                <a:lnTo>
                  <a:pt x="241" y="120"/>
                </a:lnTo>
                <a:lnTo>
                  <a:pt x="246" y="114"/>
                </a:lnTo>
                <a:lnTo>
                  <a:pt x="248" y="108"/>
                </a:lnTo>
                <a:lnTo>
                  <a:pt x="249" y="102"/>
                </a:lnTo>
                <a:lnTo>
                  <a:pt x="251" y="97"/>
                </a:lnTo>
                <a:lnTo>
                  <a:pt x="251" y="92"/>
                </a:lnTo>
                <a:lnTo>
                  <a:pt x="251" y="86"/>
                </a:lnTo>
                <a:lnTo>
                  <a:pt x="247" y="77"/>
                </a:lnTo>
                <a:lnTo>
                  <a:pt x="241" y="67"/>
                </a:lnTo>
                <a:lnTo>
                  <a:pt x="234" y="58"/>
                </a:lnTo>
                <a:lnTo>
                  <a:pt x="216" y="39"/>
                </a:lnTo>
                <a:lnTo>
                  <a:pt x="216" y="39"/>
                </a:lnTo>
                <a:lnTo>
                  <a:pt x="220" y="38"/>
                </a:lnTo>
                <a:lnTo>
                  <a:pt x="222" y="35"/>
                </a:lnTo>
                <a:lnTo>
                  <a:pt x="224" y="31"/>
                </a:lnTo>
                <a:lnTo>
                  <a:pt x="225" y="28"/>
                </a:lnTo>
                <a:lnTo>
                  <a:pt x="230" y="9"/>
                </a:lnTo>
                <a:lnTo>
                  <a:pt x="232" y="5"/>
                </a:lnTo>
                <a:lnTo>
                  <a:pt x="233" y="2"/>
                </a:lnTo>
                <a:lnTo>
                  <a:pt x="236" y="0"/>
                </a:lnTo>
                <a:lnTo>
                  <a:pt x="239" y="0"/>
                </a:lnTo>
                <a:lnTo>
                  <a:pt x="244" y="1"/>
                </a:lnTo>
                <a:lnTo>
                  <a:pt x="248" y="5"/>
                </a:lnTo>
                <a:lnTo>
                  <a:pt x="254" y="9"/>
                </a:lnTo>
                <a:lnTo>
                  <a:pt x="261" y="17"/>
                </a:lnTo>
                <a:lnTo>
                  <a:pt x="261" y="17"/>
                </a:lnTo>
                <a:lnTo>
                  <a:pt x="266" y="22"/>
                </a:lnTo>
                <a:lnTo>
                  <a:pt x="271" y="25"/>
                </a:lnTo>
                <a:lnTo>
                  <a:pt x="286" y="33"/>
                </a:lnTo>
                <a:lnTo>
                  <a:pt x="306" y="40"/>
                </a:lnTo>
                <a:lnTo>
                  <a:pt x="327" y="46"/>
                </a:lnTo>
                <a:lnTo>
                  <a:pt x="327" y="46"/>
                </a:lnTo>
                <a:lnTo>
                  <a:pt x="333" y="48"/>
                </a:lnTo>
                <a:lnTo>
                  <a:pt x="342" y="51"/>
                </a:lnTo>
                <a:lnTo>
                  <a:pt x="342" y="51"/>
                </a:lnTo>
                <a:lnTo>
                  <a:pt x="340" y="74"/>
                </a:lnTo>
                <a:lnTo>
                  <a:pt x="339" y="88"/>
                </a:lnTo>
                <a:lnTo>
                  <a:pt x="342" y="102"/>
                </a:lnTo>
                <a:lnTo>
                  <a:pt x="342" y="102"/>
                </a:lnTo>
                <a:lnTo>
                  <a:pt x="355" y="101"/>
                </a:lnTo>
                <a:lnTo>
                  <a:pt x="370" y="104"/>
                </a:lnTo>
                <a:lnTo>
                  <a:pt x="386" y="107"/>
                </a:lnTo>
                <a:lnTo>
                  <a:pt x="401" y="113"/>
                </a:lnTo>
                <a:lnTo>
                  <a:pt x="415" y="121"/>
                </a:lnTo>
                <a:lnTo>
                  <a:pt x="422" y="124"/>
                </a:lnTo>
                <a:lnTo>
                  <a:pt x="427" y="129"/>
                </a:lnTo>
                <a:lnTo>
                  <a:pt x="431" y="134"/>
                </a:lnTo>
                <a:lnTo>
                  <a:pt x="435" y="139"/>
                </a:lnTo>
                <a:lnTo>
                  <a:pt x="436" y="144"/>
                </a:lnTo>
                <a:lnTo>
                  <a:pt x="437" y="150"/>
                </a:lnTo>
                <a:lnTo>
                  <a:pt x="437" y="150"/>
                </a:lnTo>
                <a:lnTo>
                  <a:pt x="436" y="157"/>
                </a:lnTo>
                <a:lnTo>
                  <a:pt x="434" y="163"/>
                </a:lnTo>
                <a:lnTo>
                  <a:pt x="429" y="170"/>
                </a:lnTo>
                <a:lnTo>
                  <a:pt x="424" y="176"/>
                </a:lnTo>
                <a:lnTo>
                  <a:pt x="420" y="183"/>
                </a:lnTo>
                <a:lnTo>
                  <a:pt x="415" y="191"/>
                </a:lnTo>
                <a:lnTo>
                  <a:pt x="413" y="200"/>
                </a:lnTo>
                <a:lnTo>
                  <a:pt x="412" y="212"/>
                </a:lnTo>
                <a:lnTo>
                  <a:pt x="412" y="212"/>
                </a:lnTo>
                <a:lnTo>
                  <a:pt x="412" y="218"/>
                </a:lnTo>
                <a:lnTo>
                  <a:pt x="413" y="223"/>
                </a:lnTo>
                <a:lnTo>
                  <a:pt x="415" y="228"/>
                </a:lnTo>
                <a:lnTo>
                  <a:pt x="417" y="233"/>
                </a:lnTo>
                <a:lnTo>
                  <a:pt x="424" y="241"/>
                </a:lnTo>
                <a:lnTo>
                  <a:pt x="431" y="247"/>
                </a:lnTo>
                <a:lnTo>
                  <a:pt x="439" y="254"/>
                </a:lnTo>
                <a:lnTo>
                  <a:pt x="445" y="261"/>
                </a:lnTo>
                <a:lnTo>
                  <a:pt x="450" y="269"/>
                </a:lnTo>
                <a:lnTo>
                  <a:pt x="451" y="274"/>
                </a:lnTo>
                <a:lnTo>
                  <a:pt x="452" y="279"/>
                </a:lnTo>
                <a:lnTo>
                  <a:pt x="452" y="279"/>
                </a:lnTo>
                <a:lnTo>
                  <a:pt x="451" y="291"/>
                </a:lnTo>
                <a:lnTo>
                  <a:pt x="449" y="304"/>
                </a:lnTo>
                <a:lnTo>
                  <a:pt x="445" y="317"/>
                </a:lnTo>
                <a:lnTo>
                  <a:pt x="444" y="329"/>
                </a:lnTo>
                <a:lnTo>
                  <a:pt x="444" y="329"/>
                </a:lnTo>
                <a:lnTo>
                  <a:pt x="437" y="336"/>
                </a:lnTo>
                <a:lnTo>
                  <a:pt x="437" y="33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7" name="Freeform 12"/>
          <p:cNvSpPr>
            <a:spLocks/>
          </p:cNvSpPr>
          <p:nvPr/>
        </p:nvSpPr>
        <p:spPr bwMode="auto">
          <a:xfrm>
            <a:off x="635000" y="5195888"/>
            <a:ext cx="322263" cy="457200"/>
          </a:xfrm>
          <a:custGeom>
            <a:avLst/>
            <a:gdLst/>
            <a:ahLst/>
            <a:cxnLst>
              <a:cxn ang="0">
                <a:pos x="170" y="452"/>
              </a:cxn>
              <a:cxn ang="0">
                <a:pos x="154" y="429"/>
              </a:cxn>
              <a:cxn ang="0">
                <a:pos x="128" y="416"/>
              </a:cxn>
              <a:cxn ang="0">
                <a:pos x="103" y="411"/>
              </a:cxn>
              <a:cxn ang="0">
                <a:pos x="62" y="374"/>
              </a:cxn>
              <a:cxn ang="0">
                <a:pos x="28" y="360"/>
              </a:cxn>
              <a:cxn ang="0">
                <a:pos x="27" y="335"/>
              </a:cxn>
              <a:cxn ang="0">
                <a:pos x="18" y="302"/>
              </a:cxn>
              <a:cxn ang="0">
                <a:pos x="23" y="290"/>
              </a:cxn>
              <a:cxn ang="0">
                <a:pos x="42" y="280"/>
              </a:cxn>
              <a:cxn ang="0">
                <a:pos x="47" y="268"/>
              </a:cxn>
              <a:cxn ang="0">
                <a:pos x="40" y="249"/>
              </a:cxn>
              <a:cxn ang="0">
                <a:pos x="6" y="219"/>
              </a:cxn>
              <a:cxn ang="0">
                <a:pos x="0" y="198"/>
              </a:cxn>
              <a:cxn ang="0">
                <a:pos x="4" y="175"/>
              </a:cxn>
              <a:cxn ang="0">
                <a:pos x="29" y="158"/>
              </a:cxn>
              <a:cxn ang="0">
                <a:pos x="40" y="85"/>
              </a:cxn>
              <a:cxn ang="0">
                <a:pos x="31" y="74"/>
              </a:cxn>
              <a:cxn ang="0">
                <a:pos x="21" y="62"/>
              </a:cxn>
              <a:cxn ang="0">
                <a:pos x="35" y="31"/>
              </a:cxn>
              <a:cxn ang="0">
                <a:pos x="51" y="4"/>
              </a:cxn>
              <a:cxn ang="0">
                <a:pos x="67" y="16"/>
              </a:cxn>
              <a:cxn ang="0">
                <a:pos x="80" y="22"/>
              </a:cxn>
              <a:cxn ang="0">
                <a:pos x="96" y="12"/>
              </a:cxn>
              <a:cxn ang="0">
                <a:pos x="113" y="0"/>
              </a:cxn>
              <a:cxn ang="0">
                <a:pos x="127" y="4"/>
              </a:cxn>
              <a:cxn ang="0">
                <a:pos x="147" y="22"/>
              </a:cxn>
              <a:cxn ang="0">
                <a:pos x="156" y="45"/>
              </a:cxn>
              <a:cxn ang="0">
                <a:pos x="176" y="55"/>
              </a:cxn>
              <a:cxn ang="0">
                <a:pos x="191" y="52"/>
              </a:cxn>
              <a:cxn ang="0">
                <a:pos x="207" y="58"/>
              </a:cxn>
              <a:cxn ang="0">
                <a:pos x="220" y="74"/>
              </a:cxn>
              <a:cxn ang="0">
                <a:pos x="256" y="81"/>
              </a:cxn>
              <a:cxn ang="0">
                <a:pos x="264" y="92"/>
              </a:cxn>
              <a:cxn ang="0">
                <a:pos x="270" y="113"/>
              </a:cxn>
              <a:cxn ang="0">
                <a:pos x="302" y="144"/>
              </a:cxn>
              <a:cxn ang="0">
                <a:pos x="324" y="172"/>
              </a:cxn>
              <a:cxn ang="0">
                <a:pos x="325" y="191"/>
              </a:cxn>
              <a:cxn ang="0">
                <a:pos x="316" y="220"/>
              </a:cxn>
              <a:cxn ang="0">
                <a:pos x="318" y="249"/>
              </a:cxn>
              <a:cxn ang="0">
                <a:pos x="339" y="291"/>
              </a:cxn>
              <a:cxn ang="0">
                <a:pos x="380" y="347"/>
              </a:cxn>
              <a:cxn ang="0">
                <a:pos x="393" y="386"/>
              </a:cxn>
              <a:cxn ang="0">
                <a:pos x="383" y="418"/>
              </a:cxn>
              <a:cxn ang="0">
                <a:pos x="334" y="429"/>
              </a:cxn>
              <a:cxn ang="0">
                <a:pos x="308" y="463"/>
              </a:cxn>
              <a:cxn ang="0">
                <a:pos x="293" y="467"/>
              </a:cxn>
              <a:cxn ang="0">
                <a:pos x="286" y="478"/>
              </a:cxn>
              <a:cxn ang="0">
                <a:pos x="281" y="503"/>
              </a:cxn>
              <a:cxn ang="0">
                <a:pos x="286" y="525"/>
              </a:cxn>
              <a:cxn ang="0">
                <a:pos x="278" y="518"/>
              </a:cxn>
              <a:cxn ang="0">
                <a:pos x="255" y="516"/>
              </a:cxn>
              <a:cxn ang="0">
                <a:pos x="240" y="504"/>
              </a:cxn>
              <a:cxn ang="0">
                <a:pos x="216" y="504"/>
              </a:cxn>
              <a:cxn ang="0">
                <a:pos x="195" y="486"/>
              </a:cxn>
              <a:cxn ang="0">
                <a:pos x="172" y="471"/>
              </a:cxn>
              <a:cxn ang="0">
                <a:pos x="161" y="463"/>
              </a:cxn>
            </a:cxnLst>
            <a:rect l="0" t="0" r="r" b="b"/>
            <a:pathLst>
              <a:path w="393" h="525">
                <a:moveTo>
                  <a:pt x="161" y="463"/>
                </a:moveTo>
                <a:lnTo>
                  <a:pt x="161" y="463"/>
                </a:lnTo>
                <a:lnTo>
                  <a:pt x="165" y="456"/>
                </a:lnTo>
                <a:lnTo>
                  <a:pt x="170" y="452"/>
                </a:lnTo>
                <a:lnTo>
                  <a:pt x="173" y="449"/>
                </a:lnTo>
                <a:lnTo>
                  <a:pt x="176" y="446"/>
                </a:lnTo>
                <a:lnTo>
                  <a:pt x="176" y="446"/>
                </a:lnTo>
                <a:lnTo>
                  <a:pt x="154" y="429"/>
                </a:lnTo>
                <a:lnTo>
                  <a:pt x="144" y="421"/>
                </a:lnTo>
                <a:lnTo>
                  <a:pt x="135" y="412"/>
                </a:lnTo>
                <a:lnTo>
                  <a:pt x="135" y="412"/>
                </a:lnTo>
                <a:lnTo>
                  <a:pt x="128" y="416"/>
                </a:lnTo>
                <a:lnTo>
                  <a:pt x="121" y="417"/>
                </a:lnTo>
                <a:lnTo>
                  <a:pt x="115" y="416"/>
                </a:lnTo>
                <a:lnTo>
                  <a:pt x="109" y="414"/>
                </a:lnTo>
                <a:lnTo>
                  <a:pt x="103" y="411"/>
                </a:lnTo>
                <a:lnTo>
                  <a:pt x="97" y="408"/>
                </a:lnTo>
                <a:lnTo>
                  <a:pt x="86" y="397"/>
                </a:lnTo>
                <a:lnTo>
                  <a:pt x="74" y="386"/>
                </a:lnTo>
                <a:lnTo>
                  <a:pt x="62" y="374"/>
                </a:lnTo>
                <a:lnTo>
                  <a:pt x="55" y="370"/>
                </a:lnTo>
                <a:lnTo>
                  <a:pt x="47" y="366"/>
                </a:lnTo>
                <a:lnTo>
                  <a:pt x="37" y="363"/>
                </a:lnTo>
                <a:lnTo>
                  <a:pt x="28" y="360"/>
                </a:lnTo>
                <a:lnTo>
                  <a:pt x="28" y="360"/>
                </a:lnTo>
                <a:lnTo>
                  <a:pt x="29" y="351"/>
                </a:lnTo>
                <a:lnTo>
                  <a:pt x="28" y="343"/>
                </a:lnTo>
                <a:lnTo>
                  <a:pt x="27" y="335"/>
                </a:lnTo>
                <a:lnTo>
                  <a:pt x="25" y="328"/>
                </a:lnTo>
                <a:lnTo>
                  <a:pt x="20" y="315"/>
                </a:lnTo>
                <a:lnTo>
                  <a:pt x="18" y="309"/>
                </a:lnTo>
                <a:lnTo>
                  <a:pt x="18" y="302"/>
                </a:lnTo>
                <a:lnTo>
                  <a:pt x="18" y="302"/>
                </a:lnTo>
                <a:lnTo>
                  <a:pt x="18" y="298"/>
                </a:lnTo>
                <a:lnTo>
                  <a:pt x="19" y="295"/>
                </a:lnTo>
                <a:lnTo>
                  <a:pt x="23" y="290"/>
                </a:lnTo>
                <a:lnTo>
                  <a:pt x="27" y="288"/>
                </a:lnTo>
                <a:lnTo>
                  <a:pt x="32" y="286"/>
                </a:lnTo>
                <a:lnTo>
                  <a:pt x="37" y="283"/>
                </a:lnTo>
                <a:lnTo>
                  <a:pt x="42" y="280"/>
                </a:lnTo>
                <a:lnTo>
                  <a:pt x="46" y="275"/>
                </a:lnTo>
                <a:lnTo>
                  <a:pt x="47" y="273"/>
                </a:lnTo>
                <a:lnTo>
                  <a:pt x="47" y="268"/>
                </a:lnTo>
                <a:lnTo>
                  <a:pt x="47" y="268"/>
                </a:lnTo>
                <a:lnTo>
                  <a:pt x="47" y="263"/>
                </a:lnTo>
                <a:lnTo>
                  <a:pt x="44" y="258"/>
                </a:lnTo>
                <a:lnTo>
                  <a:pt x="42" y="253"/>
                </a:lnTo>
                <a:lnTo>
                  <a:pt x="40" y="249"/>
                </a:lnTo>
                <a:lnTo>
                  <a:pt x="32" y="241"/>
                </a:lnTo>
                <a:lnTo>
                  <a:pt x="23" y="234"/>
                </a:lnTo>
                <a:lnTo>
                  <a:pt x="14" y="227"/>
                </a:lnTo>
                <a:lnTo>
                  <a:pt x="6" y="219"/>
                </a:lnTo>
                <a:lnTo>
                  <a:pt x="4" y="214"/>
                </a:lnTo>
                <a:lnTo>
                  <a:pt x="2" y="210"/>
                </a:lnTo>
                <a:lnTo>
                  <a:pt x="0" y="205"/>
                </a:lnTo>
                <a:lnTo>
                  <a:pt x="0" y="198"/>
                </a:lnTo>
                <a:lnTo>
                  <a:pt x="0" y="198"/>
                </a:lnTo>
                <a:lnTo>
                  <a:pt x="0" y="190"/>
                </a:lnTo>
                <a:lnTo>
                  <a:pt x="2" y="182"/>
                </a:lnTo>
                <a:lnTo>
                  <a:pt x="4" y="175"/>
                </a:lnTo>
                <a:lnTo>
                  <a:pt x="9" y="170"/>
                </a:lnTo>
                <a:lnTo>
                  <a:pt x="14" y="165"/>
                </a:lnTo>
                <a:lnTo>
                  <a:pt x="21" y="161"/>
                </a:lnTo>
                <a:lnTo>
                  <a:pt x="29" y="158"/>
                </a:lnTo>
                <a:lnTo>
                  <a:pt x="40" y="154"/>
                </a:lnTo>
                <a:lnTo>
                  <a:pt x="40" y="154"/>
                </a:lnTo>
                <a:lnTo>
                  <a:pt x="40" y="85"/>
                </a:lnTo>
                <a:lnTo>
                  <a:pt x="40" y="85"/>
                </a:lnTo>
                <a:lnTo>
                  <a:pt x="39" y="81"/>
                </a:lnTo>
                <a:lnTo>
                  <a:pt x="37" y="77"/>
                </a:lnTo>
                <a:lnTo>
                  <a:pt x="34" y="75"/>
                </a:lnTo>
                <a:lnTo>
                  <a:pt x="31" y="74"/>
                </a:lnTo>
                <a:lnTo>
                  <a:pt x="27" y="73"/>
                </a:lnTo>
                <a:lnTo>
                  <a:pt x="25" y="70"/>
                </a:lnTo>
                <a:lnTo>
                  <a:pt x="23" y="67"/>
                </a:lnTo>
                <a:lnTo>
                  <a:pt x="21" y="62"/>
                </a:lnTo>
                <a:lnTo>
                  <a:pt x="21" y="62"/>
                </a:lnTo>
                <a:lnTo>
                  <a:pt x="23" y="58"/>
                </a:lnTo>
                <a:lnTo>
                  <a:pt x="26" y="51"/>
                </a:lnTo>
                <a:lnTo>
                  <a:pt x="35" y="31"/>
                </a:lnTo>
                <a:lnTo>
                  <a:pt x="44" y="12"/>
                </a:lnTo>
                <a:lnTo>
                  <a:pt x="49" y="6"/>
                </a:lnTo>
                <a:lnTo>
                  <a:pt x="51" y="4"/>
                </a:lnTo>
                <a:lnTo>
                  <a:pt x="51" y="4"/>
                </a:lnTo>
                <a:lnTo>
                  <a:pt x="55" y="5"/>
                </a:lnTo>
                <a:lnTo>
                  <a:pt x="58" y="7"/>
                </a:lnTo>
                <a:lnTo>
                  <a:pt x="64" y="13"/>
                </a:lnTo>
                <a:lnTo>
                  <a:pt x="67" y="16"/>
                </a:lnTo>
                <a:lnTo>
                  <a:pt x="71" y="20"/>
                </a:lnTo>
                <a:lnTo>
                  <a:pt x="75" y="21"/>
                </a:lnTo>
                <a:lnTo>
                  <a:pt x="80" y="22"/>
                </a:lnTo>
                <a:lnTo>
                  <a:pt x="80" y="22"/>
                </a:lnTo>
                <a:lnTo>
                  <a:pt x="87" y="21"/>
                </a:lnTo>
                <a:lnTo>
                  <a:pt x="92" y="19"/>
                </a:lnTo>
                <a:lnTo>
                  <a:pt x="95" y="15"/>
                </a:lnTo>
                <a:lnTo>
                  <a:pt x="96" y="12"/>
                </a:lnTo>
                <a:lnTo>
                  <a:pt x="98" y="7"/>
                </a:lnTo>
                <a:lnTo>
                  <a:pt x="102" y="4"/>
                </a:lnTo>
                <a:lnTo>
                  <a:pt x="107" y="1"/>
                </a:lnTo>
                <a:lnTo>
                  <a:pt x="113" y="0"/>
                </a:lnTo>
                <a:lnTo>
                  <a:pt x="113" y="0"/>
                </a:lnTo>
                <a:lnTo>
                  <a:pt x="118" y="1"/>
                </a:lnTo>
                <a:lnTo>
                  <a:pt x="123" y="1"/>
                </a:lnTo>
                <a:lnTo>
                  <a:pt x="127" y="4"/>
                </a:lnTo>
                <a:lnTo>
                  <a:pt x="131" y="6"/>
                </a:lnTo>
                <a:lnTo>
                  <a:pt x="139" y="13"/>
                </a:lnTo>
                <a:lnTo>
                  <a:pt x="147" y="22"/>
                </a:lnTo>
                <a:lnTo>
                  <a:pt x="147" y="22"/>
                </a:lnTo>
                <a:lnTo>
                  <a:pt x="147" y="28"/>
                </a:lnTo>
                <a:lnTo>
                  <a:pt x="149" y="34"/>
                </a:lnTo>
                <a:lnTo>
                  <a:pt x="151" y="39"/>
                </a:lnTo>
                <a:lnTo>
                  <a:pt x="156" y="45"/>
                </a:lnTo>
                <a:lnTo>
                  <a:pt x="159" y="49"/>
                </a:lnTo>
                <a:lnTo>
                  <a:pt x="165" y="53"/>
                </a:lnTo>
                <a:lnTo>
                  <a:pt x="170" y="55"/>
                </a:lnTo>
                <a:lnTo>
                  <a:pt x="176" y="55"/>
                </a:lnTo>
                <a:lnTo>
                  <a:pt x="176" y="55"/>
                </a:lnTo>
                <a:lnTo>
                  <a:pt x="180" y="55"/>
                </a:lnTo>
                <a:lnTo>
                  <a:pt x="185" y="54"/>
                </a:lnTo>
                <a:lnTo>
                  <a:pt x="191" y="52"/>
                </a:lnTo>
                <a:lnTo>
                  <a:pt x="196" y="47"/>
                </a:lnTo>
                <a:lnTo>
                  <a:pt x="205" y="45"/>
                </a:lnTo>
                <a:lnTo>
                  <a:pt x="205" y="45"/>
                </a:lnTo>
                <a:lnTo>
                  <a:pt x="207" y="58"/>
                </a:lnTo>
                <a:lnTo>
                  <a:pt x="210" y="66"/>
                </a:lnTo>
                <a:lnTo>
                  <a:pt x="212" y="69"/>
                </a:lnTo>
                <a:lnTo>
                  <a:pt x="215" y="72"/>
                </a:lnTo>
                <a:lnTo>
                  <a:pt x="220" y="74"/>
                </a:lnTo>
                <a:lnTo>
                  <a:pt x="228" y="76"/>
                </a:lnTo>
                <a:lnTo>
                  <a:pt x="237" y="76"/>
                </a:lnTo>
                <a:lnTo>
                  <a:pt x="246" y="78"/>
                </a:lnTo>
                <a:lnTo>
                  <a:pt x="256" y="81"/>
                </a:lnTo>
                <a:lnTo>
                  <a:pt x="256" y="81"/>
                </a:lnTo>
                <a:lnTo>
                  <a:pt x="260" y="84"/>
                </a:lnTo>
                <a:lnTo>
                  <a:pt x="262" y="86"/>
                </a:lnTo>
                <a:lnTo>
                  <a:pt x="264" y="92"/>
                </a:lnTo>
                <a:lnTo>
                  <a:pt x="265" y="99"/>
                </a:lnTo>
                <a:lnTo>
                  <a:pt x="268" y="107"/>
                </a:lnTo>
                <a:lnTo>
                  <a:pt x="268" y="107"/>
                </a:lnTo>
                <a:lnTo>
                  <a:pt x="270" y="113"/>
                </a:lnTo>
                <a:lnTo>
                  <a:pt x="275" y="119"/>
                </a:lnTo>
                <a:lnTo>
                  <a:pt x="283" y="128"/>
                </a:lnTo>
                <a:lnTo>
                  <a:pt x="293" y="136"/>
                </a:lnTo>
                <a:lnTo>
                  <a:pt x="302" y="144"/>
                </a:lnTo>
                <a:lnTo>
                  <a:pt x="311" y="152"/>
                </a:lnTo>
                <a:lnTo>
                  <a:pt x="319" y="161"/>
                </a:lnTo>
                <a:lnTo>
                  <a:pt x="322" y="166"/>
                </a:lnTo>
                <a:lnTo>
                  <a:pt x="324" y="172"/>
                </a:lnTo>
                <a:lnTo>
                  <a:pt x="325" y="177"/>
                </a:lnTo>
                <a:lnTo>
                  <a:pt x="326" y="184"/>
                </a:lnTo>
                <a:lnTo>
                  <a:pt x="326" y="184"/>
                </a:lnTo>
                <a:lnTo>
                  <a:pt x="325" y="191"/>
                </a:lnTo>
                <a:lnTo>
                  <a:pt x="324" y="198"/>
                </a:lnTo>
                <a:lnTo>
                  <a:pt x="321" y="207"/>
                </a:lnTo>
                <a:lnTo>
                  <a:pt x="317" y="215"/>
                </a:lnTo>
                <a:lnTo>
                  <a:pt x="316" y="220"/>
                </a:lnTo>
                <a:lnTo>
                  <a:pt x="315" y="225"/>
                </a:lnTo>
                <a:lnTo>
                  <a:pt x="315" y="225"/>
                </a:lnTo>
                <a:lnTo>
                  <a:pt x="316" y="237"/>
                </a:lnTo>
                <a:lnTo>
                  <a:pt x="318" y="249"/>
                </a:lnTo>
                <a:lnTo>
                  <a:pt x="322" y="260"/>
                </a:lnTo>
                <a:lnTo>
                  <a:pt x="327" y="271"/>
                </a:lnTo>
                <a:lnTo>
                  <a:pt x="333" y="281"/>
                </a:lnTo>
                <a:lnTo>
                  <a:pt x="339" y="291"/>
                </a:lnTo>
                <a:lnTo>
                  <a:pt x="354" y="310"/>
                </a:lnTo>
                <a:lnTo>
                  <a:pt x="368" y="328"/>
                </a:lnTo>
                <a:lnTo>
                  <a:pt x="375" y="336"/>
                </a:lnTo>
                <a:lnTo>
                  <a:pt x="380" y="347"/>
                </a:lnTo>
                <a:lnTo>
                  <a:pt x="385" y="356"/>
                </a:lnTo>
                <a:lnTo>
                  <a:pt x="390" y="365"/>
                </a:lnTo>
                <a:lnTo>
                  <a:pt x="392" y="375"/>
                </a:lnTo>
                <a:lnTo>
                  <a:pt x="393" y="386"/>
                </a:lnTo>
                <a:lnTo>
                  <a:pt x="393" y="386"/>
                </a:lnTo>
                <a:lnTo>
                  <a:pt x="393" y="412"/>
                </a:lnTo>
                <a:lnTo>
                  <a:pt x="393" y="412"/>
                </a:lnTo>
                <a:lnTo>
                  <a:pt x="383" y="418"/>
                </a:lnTo>
                <a:lnTo>
                  <a:pt x="372" y="422"/>
                </a:lnTo>
                <a:lnTo>
                  <a:pt x="361" y="426"/>
                </a:lnTo>
                <a:lnTo>
                  <a:pt x="348" y="428"/>
                </a:lnTo>
                <a:lnTo>
                  <a:pt x="334" y="429"/>
                </a:lnTo>
                <a:lnTo>
                  <a:pt x="321" y="431"/>
                </a:lnTo>
                <a:lnTo>
                  <a:pt x="289" y="431"/>
                </a:lnTo>
                <a:lnTo>
                  <a:pt x="289" y="431"/>
                </a:lnTo>
                <a:lnTo>
                  <a:pt x="308" y="463"/>
                </a:lnTo>
                <a:lnTo>
                  <a:pt x="308" y="463"/>
                </a:lnTo>
                <a:lnTo>
                  <a:pt x="308" y="463"/>
                </a:lnTo>
                <a:lnTo>
                  <a:pt x="300" y="465"/>
                </a:lnTo>
                <a:lnTo>
                  <a:pt x="293" y="467"/>
                </a:lnTo>
                <a:lnTo>
                  <a:pt x="289" y="469"/>
                </a:lnTo>
                <a:lnTo>
                  <a:pt x="287" y="471"/>
                </a:lnTo>
                <a:lnTo>
                  <a:pt x="286" y="473"/>
                </a:lnTo>
                <a:lnTo>
                  <a:pt x="286" y="478"/>
                </a:lnTo>
                <a:lnTo>
                  <a:pt x="286" y="478"/>
                </a:lnTo>
                <a:lnTo>
                  <a:pt x="285" y="487"/>
                </a:lnTo>
                <a:lnTo>
                  <a:pt x="284" y="494"/>
                </a:lnTo>
                <a:lnTo>
                  <a:pt x="281" y="503"/>
                </a:lnTo>
                <a:lnTo>
                  <a:pt x="281" y="506"/>
                </a:lnTo>
                <a:lnTo>
                  <a:pt x="281" y="511"/>
                </a:lnTo>
                <a:lnTo>
                  <a:pt x="283" y="517"/>
                </a:lnTo>
                <a:lnTo>
                  <a:pt x="286" y="525"/>
                </a:lnTo>
                <a:lnTo>
                  <a:pt x="286" y="525"/>
                </a:lnTo>
                <a:lnTo>
                  <a:pt x="278" y="518"/>
                </a:lnTo>
                <a:lnTo>
                  <a:pt x="278" y="518"/>
                </a:lnTo>
                <a:lnTo>
                  <a:pt x="278" y="518"/>
                </a:lnTo>
                <a:lnTo>
                  <a:pt x="261" y="518"/>
                </a:lnTo>
                <a:lnTo>
                  <a:pt x="261" y="518"/>
                </a:lnTo>
                <a:lnTo>
                  <a:pt x="257" y="517"/>
                </a:lnTo>
                <a:lnTo>
                  <a:pt x="255" y="516"/>
                </a:lnTo>
                <a:lnTo>
                  <a:pt x="250" y="510"/>
                </a:lnTo>
                <a:lnTo>
                  <a:pt x="247" y="508"/>
                </a:lnTo>
                <a:lnTo>
                  <a:pt x="243" y="505"/>
                </a:lnTo>
                <a:lnTo>
                  <a:pt x="240" y="504"/>
                </a:lnTo>
                <a:lnTo>
                  <a:pt x="234" y="503"/>
                </a:lnTo>
                <a:lnTo>
                  <a:pt x="234" y="503"/>
                </a:lnTo>
                <a:lnTo>
                  <a:pt x="224" y="503"/>
                </a:lnTo>
                <a:lnTo>
                  <a:pt x="216" y="504"/>
                </a:lnTo>
                <a:lnTo>
                  <a:pt x="205" y="506"/>
                </a:lnTo>
                <a:lnTo>
                  <a:pt x="205" y="506"/>
                </a:lnTo>
                <a:lnTo>
                  <a:pt x="199" y="492"/>
                </a:lnTo>
                <a:lnTo>
                  <a:pt x="195" y="486"/>
                </a:lnTo>
                <a:lnTo>
                  <a:pt x="191" y="480"/>
                </a:lnTo>
                <a:lnTo>
                  <a:pt x="185" y="475"/>
                </a:lnTo>
                <a:lnTo>
                  <a:pt x="179" y="473"/>
                </a:lnTo>
                <a:lnTo>
                  <a:pt x="172" y="471"/>
                </a:lnTo>
                <a:lnTo>
                  <a:pt x="164" y="470"/>
                </a:lnTo>
                <a:lnTo>
                  <a:pt x="164" y="470"/>
                </a:lnTo>
                <a:lnTo>
                  <a:pt x="161" y="463"/>
                </a:lnTo>
                <a:lnTo>
                  <a:pt x="161" y="46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Freeform 13"/>
          <p:cNvSpPr>
            <a:spLocks/>
          </p:cNvSpPr>
          <p:nvPr/>
        </p:nvSpPr>
        <p:spPr bwMode="auto">
          <a:xfrm>
            <a:off x="3652838" y="5567363"/>
            <a:ext cx="665162" cy="514350"/>
          </a:xfrm>
          <a:custGeom>
            <a:avLst/>
            <a:gdLst/>
            <a:ahLst/>
            <a:cxnLst>
              <a:cxn ang="0">
                <a:pos x="534" y="585"/>
              </a:cxn>
              <a:cxn ang="0">
                <a:pos x="566" y="563"/>
              </a:cxn>
              <a:cxn ang="0">
                <a:pos x="568" y="546"/>
              </a:cxn>
              <a:cxn ang="0">
                <a:pos x="548" y="528"/>
              </a:cxn>
              <a:cxn ang="0">
                <a:pos x="526" y="510"/>
              </a:cxn>
              <a:cxn ang="0">
                <a:pos x="536" y="493"/>
              </a:cxn>
              <a:cxn ang="0">
                <a:pos x="654" y="433"/>
              </a:cxn>
              <a:cxn ang="0">
                <a:pos x="682" y="418"/>
              </a:cxn>
              <a:cxn ang="0">
                <a:pos x="733" y="411"/>
              </a:cxn>
              <a:cxn ang="0">
                <a:pos x="779" y="392"/>
              </a:cxn>
              <a:cxn ang="0">
                <a:pos x="785" y="368"/>
              </a:cxn>
              <a:cxn ang="0">
                <a:pos x="770" y="340"/>
              </a:cxn>
              <a:cxn ang="0">
                <a:pos x="771" y="311"/>
              </a:cxn>
              <a:cxn ang="0">
                <a:pos x="811" y="294"/>
              </a:cxn>
              <a:cxn ang="0">
                <a:pos x="801" y="259"/>
              </a:cxn>
              <a:cxn ang="0">
                <a:pos x="808" y="238"/>
              </a:cxn>
              <a:cxn ang="0">
                <a:pos x="795" y="218"/>
              </a:cxn>
              <a:cxn ang="0">
                <a:pos x="782" y="197"/>
              </a:cxn>
              <a:cxn ang="0">
                <a:pos x="800" y="169"/>
              </a:cxn>
              <a:cxn ang="0">
                <a:pos x="777" y="158"/>
              </a:cxn>
              <a:cxn ang="0">
                <a:pos x="741" y="96"/>
              </a:cxn>
              <a:cxn ang="0">
                <a:pos x="724" y="73"/>
              </a:cxn>
              <a:cxn ang="0">
                <a:pos x="659" y="23"/>
              </a:cxn>
              <a:cxn ang="0">
                <a:pos x="642" y="2"/>
              </a:cxn>
              <a:cxn ang="0">
                <a:pos x="620" y="30"/>
              </a:cxn>
              <a:cxn ang="0">
                <a:pos x="602" y="43"/>
              </a:cxn>
              <a:cxn ang="0">
                <a:pos x="547" y="39"/>
              </a:cxn>
              <a:cxn ang="0">
                <a:pos x="521" y="45"/>
              </a:cxn>
              <a:cxn ang="0">
                <a:pos x="506" y="58"/>
              </a:cxn>
              <a:cxn ang="0">
                <a:pos x="453" y="94"/>
              </a:cxn>
              <a:cxn ang="0">
                <a:pos x="420" y="130"/>
              </a:cxn>
              <a:cxn ang="0">
                <a:pos x="399" y="124"/>
              </a:cxn>
              <a:cxn ang="0">
                <a:pos x="358" y="83"/>
              </a:cxn>
              <a:cxn ang="0">
                <a:pos x="355" y="51"/>
              </a:cxn>
              <a:cxn ang="0">
                <a:pos x="328" y="22"/>
              </a:cxn>
              <a:cxn ang="0">
                <a:pos x="303" y="0"/>
              </a:cxn>
              <a:cxn ang="0">
                <a:pos x="266" y="5"/>
              </a:cxn>
              <a:cxn ang="0">
                <a:pos x="214" y="38"/>
              </a:cxn>
              <a:cxn ang="0">
                <a:pos x="169" y="65"/>
              </a:cxn>
              <a:cxn ang="0">
                <a:pos x="87" y="69"/>
              </a:cxn>
              <a:cxn ang="0">
                <a:pos x="66" y="83"/>
              </a:cxn>
              <a:cxn ang="0">
                <a:pos x="37" y="65"/>
              </a:cxn>
              <a:cxn ang="0">
                <a:pos x="19" y="75"/>
              </a:cxn>
              <a:cxn ang="0">
                <a:pos x="0" y="91"/>
              </a:cxn>
              <a:cxn ang="0">
                <a:pos x="137" y="500"/>
              </a:cxn>
              <a:cxn ang="0">
                <a:pos x="153" y="505"/>
              </a:cxn>
              <a:cxn ang="0">
                <a:pos x="174" y="486"/>
              </a:cxn>
              <a:cxn ang="0">
                <a:pos x="198" y="447"/>
              </a:cxn>
              <a:cxn ang="0">
                <a:pos x="220" y="447"/>
              </a:cxn>
              <a:cxn ang="0">
                <a:pos x="250" y="468"/>
              </a:cxn>
              <a:cxn ang="0">
                <a:pos x="260" y="500"/>
              </a:cxn>
              <a:cxn ang="0">
                <a:pos x="271" y="539"/>
              </a:cxn>
              <a:cxn ang="0">
                <a:pos x="327" y="539"/>
              </a:cxn>
              <a:cxn ang="0">
                <a:pos x="414" y="520"/>
              </a:cxn>
              <a:cxn ang="0">
                <a:pos x="456" y="519"/>
              </a:cxn>
              <a:cxn ang="0">
                <a:pos x="502" y="551"/>
              </a:cxn>
              <a:cxn ang="0">
                <a:pos x="532" y="587"/>
              </a:cxn>
            </a:cxnLst>
            <a:rect l="0" t="0" r="r" b="b"/>
            <a:pathLst>
              <a:path w="811" h="590">
                <a:moveTo>
                  <a:pt x="532" y="587"/>
                </a:moveTo>
                <a:lnTo>
                  <a:pt x="528" y="590"/>
                </a:lnTo>
                <a:lnTo>
                  <a:pt x="528" y="590"/>
                </a:lnTo>
                <a:lnTo>
                  <a:pt x="528" y="590"/>
                </a:lnTo>
                <a:lnTo>
                  <a:pt x="534" y="585"/>
                </a:lnTo>
                <a:lnTo>
                  <a:pt x="540" y="580"/>
                </a:lnTo>
                <a:lnTo>
                  <a:pt x="553" y="574"/>
                </a:lnTo>
                <a:lnTo>
                  <a:pt x="559" y="571"/>
                </a:lnTo>
                <a:lnTo>
                  <a:pt x="565" y="566"/>
                </a:lnTo>
                <a:lnTo>
                  <a:pt x="566" y="563"/>
                </a:lnTo>
                <a:lnTo>
                  <a:pt x="568" y="559"/>
                </a:lnTo>
                <a:lnTo>
                  <a:pt x="568" y="555"/>
                </a:lnTo>
                <a:lnTo>
                  <a:pt x="570" y="550"/>
                </a:lnTo>
                <a:lnTo>
                  <a:pt x="570" y="550"/>
                </a:lnTo>
                <a:lnTo>
                  <a:pt x="568" y="546"/>
                </a:lnTo>
                <a:lnTo>
                  <a:pt x="567" y="542"/>
                </a:lnTo>
                <a:lnTo>
                  <a:pt x="565" y="540"/>
                </a:lnTo>
                <a:lnTo>
                  <a:pt x="563" y="536"/>
                </a:lnTo>
                <a:lnTo>
                  <a:pt x="556" y="532"/>
                </a:lnTo>
                <a:lnTo>
                  <a:pt x="548" y="528"/>
                </a:lnTo>
                <a:lnTo>
                  <a:pt x="540" y="524"/>
                </a:lnTo>
                <a:lnTo>
                  <a:pt x="532" y="519"/>
                </a:lnTo>
                <a:lnTo>
                  <a:pt x="529" y="516"/>
                </a:lnTo>
                <a:lnTo>
                  <a:pt x="527" y="513"/>
                </a:lnTo>
                <a:lnTo>
                  <a:pt x="526" y="510"/>
                </a:lnTo>
                <a:lnTo>
                  <a:pt x="525" y="506"/>
                </a:lnTo>
                <a:lnTo>
                  <a:pt x="525" y="506"/>
                </a:lnTo>
                <a:lnTo>
                  <a:pt x="527" y="502"/>
                </a:lnTo>
                <a:lnTo>
                  <a:pt x="530" y="498"/>
                </a:lnTo>
                <a:lnTo>
                  <a:pt x="536" y="493"/>
                </a:lnTo>
                <a:lnTo>
                  <a:pt x="543" y="488"/>
                </a:lnTo>
                <a:lnTo>
                  <a:pt x="561" y="476"/>
                </a:lnTo>
                <a:lnTo>
                  <a:pt x="583" y="465"/>
                </a:lnTo>
                <a:lnTo>
                  <a:pt x="627" y="444"/>
                </a:lnTo>
                <a:lnTo>
                  <a:pt x="654" y="433"/>
                </a:lnTo>
                <a:lnTo>
                  <a:pt x="654" y="433"/>
                </a:lnTo>
                <a:lnTo>
                  <a:pt x="663" y="427"/>
                </a:lnTo>
                <a:lnTo>
                  <a:pt x="670" y="422"/>
                </a:lnTo>
                <a:lnTo>
                  <a:pt x="678" y="419"/>
                </a:lnTo>
                <a:lnTo>
                  <a:pt x="682" y="418"/>
                </a:lnTo>
                <a:lnTo>
                  <a:pt x="687" y="418"/>
                </a:lnTo>
                <a:lnTo>
                  <a:pt x="687" y="418"/>
                </a:lnTo>
                <a:lnTo>
                  <a:pt x="701" y="415"/>
                </a:lnTo>
                <a:lnTo>
                  <a:pt x="716" y="413"/>
                </a:lnTo>
                <a:lnTo>
                  <a:pt x="733" y="411"/>
                </a:lnTo>
                <a:lnTo>
                  <a:pt x="749" y="407"/>
                </a:lnTo>
                <a:lnTo>
                  <a:pt x="763" y="403"/>
                </a:lnTo>
                <a:lnTo>
                  <a:pt x="770" y="401"/>
                </a:lnTo>
                <a:lnTo>
                  <a:pt x="774" y="397"/>
                </a:lnTo>
                <a:lnTo>
                  <a:pt x="779" y="392"/>
                </a:lnTo>
                <a:lnTo>
                  <a:pt x="782" y="388"/>
                </a:lnTo>
                <a:lnTo>
                  <a:pt x="785" y="383"/>
                </a:lnTo>
                <a:lnTo>
                  <a:pt x="786" y="378"/>
                </a:lnTo>
                <a:lnTo>
                  <a:pt x="786" y="378"/>
                </a:lnTo>
                <a:lnTo>
                  <a:pt x="785" y="368"/>
                </a:lnTo>
                <a:lnTo>
                  <a:pt x="782" y="363"/>
                </a:lnTo>
                <a:lnTo>
                  <a:pt x="780" y="357"/>
                </a:lnTo>
                <a:lnTo>
                  <a:pt x="777" y="351"/>
                </a:lnTo>
                <a:lnTo>
                  <a:pt x="773" y="346"/>
                </a:lnTo>
                <a:lnTo>
                  <a:pt x="770" y="340"/>
                </a:lnTo>
                <a:lnTo>
                  <a:pt x="769" y="333"/>
                </a:lnTo>
                <a:lnTo>
                  <a:pt x="767" y="322"/>
                </a:lnTo>
                <a:lnTo>
                  <a:pt x="767" y="322"/>
                </a:lnTo>
                <a:lnTo>
                  <a:pt x="769" y="317"/>
                </a:lnTo>
                <a:lnTo>
                  <a:pt x="771" y="311"/>
                </a:lnTo>
                <a:lnTo>
                  <a:pt x="776" y="306"/>
                </a:lnTo>
                <a:lnTo>
                  <a:pt x="781" y="302"/>
                </a:lnTo>
                <a:lnTo>
                  <a:pt x="788" y="299"/>
                </a:lnTo>
                <a:lnTo>
                  <a:pt x="795" y="297"/>
                </a:lnTo>
                <a:lnTo>
                  <a:pt x="811" y="294"/>
                </a:lnTo>
                <a:lnTo>
                  <a:pt x="811" y="294"/>
                </a:lnTo>
                <a:lnTo>
                  <a:pt x="800" y="264"/>
                </a:lnTo>
                <a:lnTo>
                  <a:pt x="800" y="264"/>
                </a:lnTo>
                <a:lnTo>
                  <a:pt x="800" y="264"/>
                </a:lnTo>
                <a:lnTo>
                  <a:pt x="801" y="259"/>
                </a:lnTo>
                <a:lnTo>
                  <a:pt x="802" y="256"/>
                </a:lnTo>
                <a:lnTo>
                  <a:pt x="804" y="251"/>
                </a:lnTo>
                <a:lnTo>
                  <a:pt x="807" y="246"/>
                </a:lnTo>
                <a:lnTo>
                  <a:pt x="808" y="243"/>
                </a:lnTo>
                <a:lnTo>
                  <a:pt x="808" y="238"/>
                </a:lnTo>
                <a:lnTo>
                  <a:pt x="808" y="238"/>
                </a:lnTo>
                <a:lnTo>
                  <a:pt x="807" y="231"/>
                </a:lnTo>
                <a:lnTo>
                  <a:pt x="804" y="227"/>
                </a:lnTo>
                <a:lnTo>
                  <a:pt x="800" y="222"/>
                </a:lnTo>
                <a:lnTo>
                  <a:pt x="795" y="218"/>
                </a:lnTo>
                <a:lnTo>
                  <a:pt x="790" y="213"/>
                </a:lnTo>
                <a:lnTo>
                  <a:pt x="786" y="208"/>
                </a:lnTo>
                <a:lnTo>
                  <a:pt x="784" y="204"/>
                </a:lnTo>
                <a:lnTo>
                  <a:pt x="782" y="197"/>
                </a:lnTo>
                <a:lnTo>
                  <a:pt x="782" y="197"/>
                </a:lnTo>
                <a:lnTo>
                  <a:pt x="782" y="193"/>
                </a:lnTo>
                <a:lnTo>
                  <a:pt x="785" y="190"/>
                </a:lnTo>
                <a:lnTo>
                  <a:pt x="792" y="182"/>
                </a:lnTo>
                <a:lnTo>
                  <a:pt x="797" y="174"/>
                </a:lnTo>
                <a:lnTo>
                  <a:pt x="800" y="169"/>
                </a:lnTo>
                <a:lnTo>
                  <a:pt x="800" y="165"/>
                </a:lnTo>
                <a:lnTo>
                  <a:pt x="800" y="165"/>
                </a:lnTo>
                <a:lnTo>
                  <a:pt x="792" y="163"/>
                </a:lnTo>
                <a:lnTo>
                  <a:pt x="784" y="161"/>
                </a:lnTo>
                <a:lnTo>
                  <a:pt x="777" y="158"/>
                </a:lnTo>
                <a:lnTo>
                  <a:pt x="771" y="153"/>
                </a:lnTo>
                <a:lnTo>
                  <a:pt x="765" y="147"/>
                </a:lnTo>
                <a:lnTo>
                  <a:pt x="762" y="140"/>
                </a:lnTo>
                <a:lnTo>
                  <a:pt x="754" y="127"/>
                </a:lnTo>
                <a:lnTo>
                  <a:pt x="741" y="96"/>
                </a:lnTo>
                <a:lnTo>
                  <a:pt x="736" y="89"/>
                </a:lnTo>
                <a:lnTo>
                  <a:pt x="733" y="83"/>
                </a:lnTo>
                <a:lnTo>
                  <a:pt x="728" y="77"/>
                </a:lnTo>
                <a:lnTo>
                  <a:pt x="724" y="73"/>
                </a:lnTo>
                <a:lnTo>
                  <a:pt x="724" y="73"/>
                </a:lnTo>
                <a:lnTo>
                  <a:pt x="713" y="65"/>
                </a:lnTo>
                <a:lnTo>
                  <a:pt x="702" y="56"/>
                </a:lnTo>
                <a:lnTo>
                  <a:pt x="679" y="42"/>
                </a:lnTo>
                <a:lnTo>
                  <a:pt x="668" y="32"/>
                </a:lnTo>
                <a:lnTo>
                  <a:pt x="659" y="23"/>
                </a:lnTo>
                <a:lnTo>
                  <a:pt x="651" y="13"/>
                </a:lnTo>
                <a:lnTo>
                  <a:pt x="649" y="6"/>
                </a:lnTo>
                <a:lnTo>
                  <a:pt x="647" y="0"/>
                </a:lnTo>
                <a:lnTo>
                  <a:pt x="647" y="0"/>
                </a:lnTo>
                <a:lnTo>
                  <a:pt x="642" y="2"/>
                </a:lnTo>
                <a:lnTo>
                  <a:pt x="637" y="5"/>
                </a:lnTo>
                <a:lnTo>
                  <a:pt x="632" y="10"/>
                </a:lnTo>
                <a:lnTo>
                  <a:pt x="628" y="17"/>
                </a:lnTo>
                <a:lnTo>
                  <a:pt x="624" y="24"/>
                </a:lnTo>
                <a:lnTo>
                  <a:pt x="620" y="30"/>
                </a:lnTo>
                <a:lnTo>
                  <a:pt x="617" y="36"/>
                </a:lnTo>
                <a:lnTo>
                  <a:pt x="611" y="40"/>
                </a:lnTo>
                <a:lnTo>
                  <a:pt x="606" y="43"/>
                </a:lnTo>
                <a:lnTo>
                  <a:pt x="602" y="43"/>
                </a:lnTo>
                <a:lnTo>
                  <a:pt x="602" y="43"/>
                </a:lnTo>
                <a:lnTo>
                  <a:pt x="594" y="44"/>
                </a:lnTo>
                <a:lnTo>
                  <a:pt x="584" y="43"/>
                </a:lnTo>
                <a:lnTo>
                  <a:pt x="566" y="40"/>
                </a:lnTo>
                <a:lnTo>
                  <a:pt x="557" y="39"/>
                </a:lnTo>
                <a:lnTo>
                  <a:pt x="547" y="39"/>
                </a:lnTo>
                <a:lnTo>
                  <a:pt x="536" y="40"/>
                </a:lnTo>
                <a:lnTo>
                  <a:pt x="525" y="43"/>
                </a:lnTo>
                <a:lnTo>
                  <a:pt x="525" y="43"/>
                </a:lnTo>
                <a:lnTo>
                  <a:pt x="524" y="44"/>
                </a:lnTo>
                <a:lnTo>
                  <a:pt x="521" y="45"/>
                </a:lnTo>
                <a:lnTo>
                  <a:pt x="517" y="51"/>
                </a:lnTo>
                <a:lnTo>
                  <a:pt x="512" y="55"/>
                </a:lnTo>
                <a:lnTo>
                  <a:pt x="509" y="58"/>
                </a:lnTo>
                <a:lnTo>
                  <a:pt x="506" y="58"/>
                </a:lnTo>
                <a:lnTo>
                  <a:pt x="506" y="58"/>
                </a:lnTo>
                <a:lnTo>
                  <a:pt x="469" y="58"/>
                </a:lnTo>
                <a:lnTo>
                  <a:pt x="469" y="58"/>
                </a:lnTo>
                <a:lnTo>
                  <a:pt x="465" y="69"/>
                </a:lnTo>
                <a:lnTo>
                  <a:pt x="460" y="81"/>
                </a:lnTo>
                <a:lnTo>
                  <a:pt x="453" y="94"/>
                </a:lnTo>
                <a:lnTo>
                  <a:pt x="445" y="108"/>
                </a:lnTo>
                <a:lnTo>
                  <a:pt x="436" y="120"/>
                </a:lnTo>
                <a:lnTo>
                  <a:pt x="430" y="124"/>
                </a:lnTo>
                <a:lnTo>
                  <a:pt x="426" y="128"/>
                </a:lnTo>
                <a:lnTo>
                  <a:pt x="420" y="130"/>
                </a:lnTo>
                <a:lnTo>
                  <a:pt x="414" y="131"/>
                </a:lnTo>
                <a:lnTo>
                  <a:pt x="414" y="131"/>
                </a:lnTo>
                <a:lnTo>
                  <a:pt x="412" y="131"/>
                </a:lnTo>
                <a:lnTo>
                  <a:pt x="407" y="130"/>
                </a:lnTo>
                <a:lnTo>
                  <a:pt x="399" y="124"/>
                </a:lnTo>
                <a:lnTo>
                  <a:pt x="390" y="117"/>
                </a:lnTo>
                <a:lnTo>
                  <a:pt x="380" y="109"/>
                </a:lnTo>
                <a:lnTo>
                  <a:pt x="370" y="100"/>
                </a:lnTo>
                <a:lnTo>
                  <a:pt x="362" y="91"/>
                </a:lnTo>
                <a:lnTo>
                  <a:pt x="358" y="83"/>
                </a:lnTo>
                <a:lnTo>
                  <a:pt x="357" y="79"/>
                </a:lnTo>
                <a:lnTo>
                  <a:pt x="355" y="76"/>
                </a:lnTo>
                <a:lnTo>
                  <a:pt x="355" y="76"/>
                </a:lnTo>
                <a:lnTo>
                  <a:pt x="355" y="51"/>
                </a:lnTo>
                <a:lnTo>
                  <a:pt x="355" y="51"/>
                </a:lnTo>
                <a:lnTo>
                  <a:pt x="351" y="48"/>
                </a:lnTo>
                <a:lnTo>
                  <a:pt x="347" y="46"/>
                </a:lnTo>
                <a:lnTo>
                  <a:pt x="341" y="39"/>
                </a:lnTo>
                <a:lnTo>
                  <a:pt x="334" y="31"/>
                </a:lnTo>
                <a:lnTo>
                  <a:pt x="328" y="22"/>
                </a:lnTo>
                <a:lnTo>
                  <a:pt x="322" y="14"/>
                </a:lnTo>
                <a:lnTo>
                  <a:pt x="315" y="7"/>
                </a:lnTo>
                <a:lnTo>
                  <a:pt x="311" y="4"/>
                </a:lnTo>
                <a:lnTo>
                  <a:pt x="307" y="1"/>
                </a:lnTo>
                <a:lnTo>
                  <a:pt x="303" y="0"/>
                </a:lnTo>
                <a:lnTo>
                  <a:pt x="297" y="0"/>
                </a:lnTo>
                <a:lnTo>
                  <a:pt x="297" y="0"/>
                </a:lnTo>
                <a:lnTo>
                  <a:pt x="285" y="0"/>
                </a:lnTo>
                <a:lnTo>
                  <a:pt x="275" y="2"/>
                </a:lnTo>
                <a:lnTo>
                  <a:pt x="266" y="5"/>
                </a:lnTo>
                <a:lnTo>
                  <a:pt x="258" y="8"/>
                </a:lnTo>
                <a:lnTo>
                  <a:pt x="250" y="12"/>
                </a:lnTo>
                <a:lnTo>
                  <a:pt x="242" y="16"/>
                </a:lnTo>
                <a:lnTo>
                  <a:pt x="228" y="27"/>
                </a:lnTo>
                <a:lnTo>
                  <a:pt x="214" y="38"/>
                </a:lnTo>
                <a:lnTo>
                  <a:pt x="200" y="48"/>
                </a:lnTo>
                <a:lnTo>
                  <a:pt x="185" y="58"/>
                </a:lnTo>
                <a:lnTo>
                  <a:pt x="177" y="62"/>
                </a:lnTo>
                <a:lnTo>
                  <a:pt x="169" y="65"/>
                </a:lnTo>
                <a:lnTo>
                  <a:pt x="169" y="65"/>
                </a:lnTo>
                <a:lnTo>
                  <a:pt x="155" y="67"/>
                </a:lnTo>
                <a:lnTo>
                  <a:pt x="140" y="67"/>
                </a:lnTo>
                <a:lnTo>
                  <a:pt x="113" y="66"/>
                </a:lnTo>
                <a:lnTo>
                  <a:pt x="100" y="67"/>
                </a:lnTo>
                <a:lnTo>
                  <a:pt x="87" y="69"/>
                </a:lnTo>
                <a:lnTo>
                  <a:pt x="82" y="71"/>
                </a:lnTo>
                <a:lnTo>
                  <a:pt x="76" y="74"/>
                </a:lnTo>
                <a:lnTo>
                  <a:pt x="71" y="78"/>
                </a:lnTo>
                <a:lnTo>
                  <a:pt x="66" y="83"/>
                </a:lnTo>
                <a:lnTo>
                  <a:pt x="66" y="83"/>
                </a:lnTo>
                <a:lnTo>
                  <a:pt x="60" y="78"/>
                </a:lnTo>
                <a:lnTo>
                  <a:pt x="52" y="73"/>
                </a:lnTo>
                <a:lnTo>
                  <a:pt x="45" y="67"/>
                </a:lnTo>
                <a:lnTo>
                  <a:pt x="40" y="66"/>
                </a:lnTo>
                <a:lnTo>
                  <a:pt x="37" y="65"/>
                </a:lnTo>
                <a:lnTo>
                  <a:pt x="37" y="65"/>
                </a:lnTo>
                <a:lnTo>
                  <a:pt x="30" y="66"/>
                </a:lnTo>
                <a:lnTo>
                  <a:pt x="26" y="68"/>
                </a:lnTo>
                <a:lnTo>
                  <a:pt x="22" y="71"/>
                </a:lnTo>
                <a:lnTo>
                  <a:pt x="19" y="75"/>
                </a:lnTo>
                <a:lnTo>
                  <a:pt x="16" y="79"/>
                </a:lnTo>
                <a:lnTo>
                  <a:pt x="11" y="83"/>
                </a:lnTo>
                <a:lnTo>
                  <a:pt x="7" y="88"/>
                </a:lnTo>
                <a:lnTo>
                  <a:pt x="0" y="91"/>
                </a:lnTo>
                <a:lnTo>
                  <a:pt x="0" y="91"/>
                </a:lnTo>
                <a:lnTo>
                  <a:pt x="132" y="488"/>
                </a:lnTo>
                <a:lnTo>
                  <a:pt x="132" y="488"/>
                </a:lnTo>
                <a:lnTo>
                  <a:pt x="132" y="488"/>
                </a:lnTo>
                <a:lnTo>
                  <a:pt x="133" y="494"/>
                </a:lnTo>
                <a:lnTo>
                  <a:pt x="137" y="500"/>
                </a:lnTo>
                <a:lnTo>
                  <a:pt x="141" y="504"/>
                </a:lnTo>
                <a:lnTo>
                  <a:pt x="144" y="505"/>
                </a:lnTo>
                <a:lnTo>
                  <a:pt x="146" y="506"/>
                </a:lnTo>
                <a:lnTo>
                  <a:pt x="146" y="506"/>
                </a:lnTo>
                <a:lnTo>
                  <a:pt x="153" y="505"/>
                </a:lnTo>
                <a:lnTo>
                  <a:pt x="159" y="503"/>
                </a:lnTo>
                <a:lnTo>
                  <a:pt x="163" y="501"/>
                </a:lnTo>
                <a:lnTo>
                  <a:pt x="167" y="496"/>
                </a:lnTo>
                <a:lnTo>
                  <a:pt x="170" y="491"/>
                </a:lnTo>
                <a:lnTo>
                  <a:pt x="174" y="486"/>
                </a:lnTo>
                <a:lnTo>
                  <a:pt x="179" y="475"/>
                </a:lnTo>
                <a:lnTo>
                  <a:pt x="184" y="464"/>
                </a:lnTo>
                <a:lnTo>
                  <a:pt x="190" y="453"/>
                </a:lnTo>
                <a:lnTo>
                  <a:pt x="194" y="449"/>
                </a:lnTo>
                <a:lnTo>
                  <a:pt x="198" y="447"/>
                </a:lnTo>
                <a:lnTo>
                  <a:pt x="202" y="444"/>
                </a:lnTo>
                <a:lnTo>
                  <a:pt x="208" y="443"/>
                </a:lnTo>
                <a:lnTo>
                  <a:pt x="208" y="443"/>
                </a:lnTo>
                <a:lnTo>
                  <a:pt x="214" y="444"/>
                </a:lnTo>
                <a:lnTo>
                  <a:pt x="220" y="447"/>
                </a:lnTo>
                <a:lnTo>
                  <a:pt x="234" y="452"/>
                </a:lnTo>
                <a:lnTo>
                  <a:pt x="239" y="456"/>
                </a:lnTo>
                <a:lnTo>
                  <a:pt x="245" y="460"/>
                </a:lnTo>
                <a:lnTo>
                  <a:pt x="248" y="465"/>
                </a:lnTo>
                <a:lnTo>
                  <a:pt x="250" y="468"/>
                </a:lnTo>
                <a:lnTo>
                  <a:pt x="250" y="468"/>
                </a:lnTo>
                <a:lnTo>
                  <a:pt x="251" y="480"/>
                </a:lnTo>
                <a:lnTo>
                  <a:pt x="253" y="488"/>
                </a:lnTo>
                <a:lnTo>
                  <a:pt x="257" y="494"/>
                </a:lnTo>
                <a:lnTo>
                  <a:pt x="260" y="500"/>
                </a:lnTo>
                <a:lnTo>
                  <a:pt x="265" y="506"/>
                </a:lnTo>
                <a:lnTo>
                  <a:pt x="268" y="514"/>
                </a:lnTo>
                <a:lnTo>
                  <a:pt x="270" y="525"/>
                </a:lnTo>
                <a:lnTo>
                  <a:pt x="271" y="539"/>
                </a:lnTo>
                <a:lnTo>
                  <a:pt x="271" y="539"/>
                </a:lnTo>
                <a:lnTo>
                  <a:pt x="276" y="537"/>
                </a:lnTo>
                <a:lnTo>
                  <a:pt x="282" y="537"/>
                </a:lnTo>
                <a:lnTo>
                  <a:pt x="296" y="537"/>
                </a:lnTo>
                <a:lnTo>
                  <a:pt x="327" y="539"/>
                </a:lnTo>
                <a:lnTo>
                  <a:pt x="327" y="539"/>
                </a:lnTo>
                <a:lnTo>
                  <a:pt x="344" y="537"/>
                </a:lnTo>
                <a:lnTo>
                  <a:pt x="359" y="535"/>
                </a:lnTo>
                <a:lnTo>
                  <a:pt x="374" y="532"/>
                </a:lnTo>
                <a:lnTo>
                  <a:pt x="388" y="528"/>
                </a:lnTo>
                <a:lnTo>
                  <a:pt x="414" y="520"/>
                </a:lnTo>
                <a:lnTo>
                  <a:pt x="427" y="518"/>
                </a:lnTo>
                <a:lnTo>
                  <a:pt x="441" y="517"/>
                </a:lnTo>
                <a:lnTo>
                  <a:pt x="441" y="517"/>
                </a:lnTo>
                <a:lnTo>
                  <a:pt x="448" y="518"/>
                </a:lnTo>
                <a:lnTo>
                  <a:pt x="456" y="519"/>
                </a:lnTo>
                <a:lnTo>
                  <a:pt x="463" y="521"/>
                </a:lnTo>
                <a:lnTo>
                  <a:pt x="468" y="524"/>
                </a:lnTo>
                <a:lnTo>
                  <a:pt x="481" y="532"/>
                </a:lnTo>
                <a:lnTo>
                  <a:pt x="492" y="541"/>
                </a:lnTo>
                <a:lnTo>
                  <a:pt x="502" y="551"/>
                </a:lnTo>
                <a:lnTo>
                  <a:pt x="510" y="563"/>
                </a:lnTo>
                <a:lnTo>
                  <a:pt x="517" y="575"/>
                </a:lnTo>
                <a:lnTo>
                  <a:pt x="521" y="587"/>
                </a:lnTo>
                <a:lnTo>
                  <a:pt x="521" y="587"/>
                </a:lnTo>
                <a:lnTo>
                  <a:pt x="532" y="587"/>
                </a:lnTo>
                <a:lnTo>
                  <a:pt x="532" y="58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9" name="Freeform 14"/>
          <p:cNvSpPr>
            <a:spLocks/>
          </p:cNvSpPr>
          <p:nvPr/>
        </p:nvSpPr>
        <p:spPr bwMode="auto">
          <a:xfrm>
            <a:off x="7885113" y="4986338"/>
            <a:ext cx="385762" cy="1082675"/>
          </a:xfrm>
          <a:custGeom>
            <a:avLst/>
            <a:gdLst/>
            <a:ahLst/>
            <a:cxnLst>
              <a:cxn ang="0">
                <a:pos x="105" y="476"/>
              </a:cxn>
              <a:cxn ang="0">
                <a:pos x="125" y="463"/>
              </a:cxn>
              <a:cxn ang="0">
                <a:pos x="122" y="443"/>
              </a:cxn>
              <a:cxn ang="0">
                <a:pos x="111" y="413"/>
              </a:cxn>
              <a:cxn ang="0">
                <a:pos x="114" y="387"/>
              </a:cxn>
              <a:cxn ang="0">
                <a:pos x="140" y="351"/>
              </a:cxn>
              <a:cxn ang="0">
                <a:pos x="154" y="345"/>
              </a:cxn>
              <a:cxn ang="0">
                <a:pos x="243" y="337"/>
              </a:cxn>
              <a:cxn ang="0">
                <a:pos x="287" y="320"/>
              </a:cxn>
              <a:cxn ang="0">
                <a:pos x="311" y="284"/>
              </a:cxn>
              <a:cxn ang="0">
                <a:pos x="308" y="258"/>
              </a:cxn>
              <a:cxn ang="0">
                <a:pos x="290" y="234"/>
              </a:cxn>
              <a:cxn ang="0">
                <a:pos x="287" y="217"/>
              </a:cxn>
              <a:cxn ang="0">
                <a:pos x="309" y="201"/>
              </a:cxn>
              <a:cxn ang="0">
                <a:pos x="337" y="176"/>
              </a:cxn>
              <a:cxn ang="0">
                <a:pos x="337" y="117"/>
              </a:cxn>
              <a:cxn ang="0">
                <a:pos x="318" y="113"/>
              </a:cxn>
              <a:cxn ang="0">
                <a:pos x="294" y="117"/>
              </a:cxn>
              <a:cxn ang="0">
                <a:pos x="228" y="87"/>
              </a:cxn>
              <a:cxn ang="0">
                <a:pos x="290" y="0"/>
              </a:cxn>
              <a:cxn ang="0">
                <a:pos x="356" y="31"/>
              </a:cxn>
              <a:cxn ang="0">
                <a:pos x="367" y="40"/>
              </a:cxn>
              <a:cxn ang="0">
                <a:pos x="371" y="78"/>
              </a:cxn>
              <a:cxn ang="0">
                <a:pos x="379" y="91"/>
              </a:cxn>
              <a:cxn ang="0">
                <a:pos x="390" y="90"/>
              </a:cxn>
              <a:cxn ang="0">
                <a:pos x="415" y="77"/>
              </a:cxn>
              <a:cxn ang="0">
                <a:pos x="424" y="129"/>
              </a:cxn>
              <a:cxn ang="0">
                <a:pos x="453" y="214"/>
              </a:cxn>
              <a:cxn ang="0">
                <a:pos x="466" y="411"/>
              </a:cxn>
              <a:cxn ang="0">
                <a:pos x="471" y="756"/>
              </a:cxn>
              <a:cxn ang="0">
                <a:pos x="463" y="830"/>
              </a:cxn>
              <a:cxn ang="0">
                <a:pos x="431" y="925"/>
              </a:cxn>
              <a:cxn ang="0">
                <a:pos x="390" y="1000"/>
              </a:cxn>
              <a:cxn ang="0">
                <a:pos x="348" y="1040"/>
              </a:cxn>
              <a:cxn ang="0">
                <a:pos x="313" y="1055"/>
              </a:cxn>
              <a:cxn ang="0">
                <a:pos x="287" y="1056"/>
              </a:cxn>
              <a:cxn ang="0">
                <a:pos x="267" y="1043"/>
              </a:cxn>
              <a:cxn ang="0">
                <a:pos x="250" y="1018"/>
              </a:cxn>
              <a:cxn ang="0">
                <a:pos x="228" y="1022"/>
              </a:cxn>
              <a:cxn ang="0">
                <a:pos x="211" y="1036"/>
              </a:cxn>
              <a:cxn ang="0">
                <a:pos x="202" y="1057"/>
              </a:cxn>
              <a:cxn ang="0">
                <a:pos x="199" y="1133"/>
              </a:cxn>
              <a:cxn ang="0">
                <a:pos x="163" y="1179"/>
              </a:cxn>
              <a:cxn ang="0">
                <a:pos x="149" y="1192"/>
              </a:cxn>
              <a:cxn ang="0">
                <a:pos x="153" y="1211"/>
              </a:cxn>
              <a:cxn ang="0">
                <a:pos x="159" y="1228"/>
              </a:cxn>
              <a:cxn ang="0">
                <a:pos x="129" y="1196"/>
              </a:cxn>
              <a:cxn ang="0">
                <a:pos x="126" y="1168"/>
              </a:cxn>
              <a:cxn ang="0">
                <a:pos x="150" y="1140"/>
              </a:cxn>
              <a:cxn ang="0">
                <a:pos x="158" y="1113"/>
              </a:cxn>
              <a:cxn ang="0">
                <a:pos x="136" y="1049"/>
              </a:cxn>
              <a:cxn ang="0">
                <a:pos x="74" y="957"/>
              </a:cxn>
              <a:cxn ang="0">
                <a:pos x="14" y="903"/>
              </a:cxn>
              <a:cxn ang="0">
                <a:pos x="1" y="875"/>
              </a:cxn>
              <a:cxn ang="0">
                <a:pos x="21" y="787"/>
              </a:cxn>
              <a:cxn ang="0">
                <a:pos x="52" y="761"/>
              </a:cxn>
              <a:cxn ang="0">
                <a:pos x="154" y="744"/>
              </a:cxn>
              <a:cxn ang="0">
                <a:pos x="144" y="662"/>
              </a:cxn>
              <a:cxn ang="0">
                <a:pos x="105" y="530"/>
              </a:cxn>
              <a:cxn ang="0">
                <a:pos x="84" y="478"/>
              </a:cxn>
            </a:cxnLst>
            <a:rect l="0" t="0" r="r" b="b"/>
            <a:pathLst>
              <a:path w="473" h="1240">
                <a:moveTo>
                  <a:pt x="84" y="478"/>
                </a:moveTo>
                <a:lnTo>
                  <a:pt x="84" y="478"/>
                </a:lnTo>
                <a:lnTo>
                  <a:pt x="98" y="476"/>
                </a:lnTo>
                <a:lnTo>
                  <a:pt x="105" y="476"/>
                </a:lnTo>
                <a:lnTo>
                  <a:pt x="112" y="474"/>
                </a:lnTo>
                <a:lnTo>
                  <a:pt x="117" y="472"/>
                </a:lnTo>
                <a:lnTo>
                  <a:pt x="121" y="468"/>
                </a:lnTo>
                <a:lnTo>
                  <a:pt x="125" y="463"/>
                </a:lnTo>
                <a:lnTo>
                  <a:pt x="125" y="456"/>
                </a:lnTo>
                <a:lnTo>
                  <a:pt x="125" y="456"/>
                </a:lnTo>
                <a:lnTo>
                  <a:pt x="125" y="449"/>
                </a:lnTo>
                <a:lnTo>
                  <a:pt x="122" y="443"/>
                </a:lnTo>
                <a:lnTo>
                  <a:pt x="118" y="433"/>
                </a:lnTo>
                <a:lnTo>
                  <a:pt x="115" y="427"/>
                </a:lnTo>
                <a:lnTo>
                  <a:pt x="113" y="420"/>
                </a:lnTo>
                <a:lnTo>
                  <a:pt x="111" y="413"/>
                </a:lnTo>
                <a:lnTo>
                  <a:pt x="111" y="404"/>
                </a:lnTo>
                <a:lnTo>
                  <a:pt x="111" y="404"/>
                </a:lnTo>
                <a:lnTo>
                  <a:pt x="112" y="396"/>
                </a:lnTo>
                <a:lnTo>
                  <a:pt x="114" y="387"/>
                </a:lnTo>
                <a:lnTo>
                  <a:pt x="119" y="377"/>
                </a:lnTo>
                <a:lnTo>
                  <a:pt x="126" y="367"/>
                </a:lnTo>
                <a:lnTo>
                  <a:pt x="133" y="359"/>
                </a:lnTo>
                <a:lnTo>
                  <a:pt x="140" y="351"/>
                </a:lnTo>
                <a:lnTo>
                  <a:pt x="148" y="346"/>
                </a:lnTo>
                <a:lnTo>
                  <a:pt x="151" y="345"/>
                </a:lnTo>
                <a:lnTo>
                  <a:pt x="154" y="345"/>
                </a:lnTo>
                <a:lnTo>
                  <a:pt x="154" y="345"/>
                </a:lnTo>
                <a:lnTo>
                  <a:pt x="179" y="344"/>
                </a:lnTo>
                <a:lnTo>
                  <a:pt x="204" y="343"/>
                </a:lnTo>
                <a:lnTo>
                  <a:pt x="230" y="341"/>
                </a:lnTo>
                <a:lnTo>
                  <a:pt x="243" y="337"/>
                </a:lnTo>
                <a:lnTo>
                  <a:pt x="256" y="335"/>
                </a:lnTo>
                <a:lnTo>
                  <a:pt x="267" y="330"/>
                </a:lnTo>
                <a:lnTo>
                  <a:pt x="278" y="326"/>
                </a:lnTo>
                <a:lnTo>
                  <a:pt x="287" y="320"/>
                </a:lnTo>
                <a:lnTo>
                  <a:pt x="296" y="313"/>
                </a:lnTo>
                <a:lnTo>
                  <a:pt x="303" y="304"/>
                </a:lnTo>
                <a:lnTo>
                  <a:pt x="308" y="295"/>
                </a:lnTo>
                <a:lnTo>
                  <a:pt x="311" y="284"/>
                </a:lnTo>
                <a:lnTo>
                  <a:pt x="312" y="272"/>
                </a:lnTo>
                <a:lnTo>
                  <a:pt x="312" y="272"/>
                </a:lnTo>
                <a:lnTo>
                  <a:pt x="311" y="265"/>
                </a:lnTo>
                <a:lnTo>
                  <a:pt x="308" y="258"/>
                </a:lnTo>
                <a:lnTo>
                  <a:pt x="304" y="252"/>
                </a:lnTo>
                <a:lnTo>
                  <a:pt x="299" y="246"/>
                </a:lnTo>
                <a:lnTo>
                  <a:pt x="295" y="239"/>
                </a:lnTo>
                <a:lnTo>
                  <a:pt x="290" y="234"/>
                </a:lnTo>
                <a:lnTo>
                  <a:pt x="288" y="227"/>
                </a:lnTo>
                <a:lnTo>
                  <a:pt x="287" y="220"/>
                </a:lnTo>
                <a:lnTo>
                  <a:pt x="287" y="220"/>
                </a:lnTo>
                <a:lnTo>
                  <a:pt x="287" y="217"/>
                </a:lnTo>
                <a:lnTo>
                  <a:pt x="289" y="215"/>
                </a:lnTo>
                <a:lnTo>
                  <a:pt x="294" y="211"/>
                </a:lnTo>
                <a:lnTo>
                  <a:pt x="299" y="206"/>
                </a:lnTo>
                <a:lnTo>
                  <a:pt x="309" y="201"/>
                </a:lnTo>
                <a:lnTo>
                  <a:pt x="317" y="196"/>
                </a:lnTo>
                <a:lnTo>
                  <a:pt x="325" y="190"/>
                </a:lnTo>
                <a:lnTo>
                  <a:pt x="333" y="184"/>
                </a:lnTo>
                <a:lnTo>
                  <a:pt x="337" y="176"/>
                </a:lnTo>
                <a:lnTo>
                  <a:pt x="337" y="176"/>
                </a:lnTo>
                <a:lnTo>
                  <a:pt x="337" y="117"/>
                </a:lnTo>
                <a:lnTo>
                  <a:pt x="337" y="117"/>
                </a:lnTo>
                <a:lnTo>
                  <a:pt x="337" y="117"/>
                </a:lnTo>
                <a:lnTo>
                  <a:pt x="331" y="114"/>
                </a:lnTo>
                <a:lnTo>
                  <a:pt x="326" y="113"/>
                </a:lnTo>
                <a:lnTo>
                  <a:pt x="321" y="113"/>
                </a:lnTo>
                <a:lnTo>
                  <a:pt x="318" y="113"/>
                </a:lnTo>
                <a:lnTo>
                  <a:pt x="309" y="116"/>
                </a:lnTo>
                <a:lnTo>
                  <a:pt x="302" y="117"/>
                </a:lnTo>
                <a:lnTo>
                  <a:pt x="294" y="117"/>
                </a:lnTo>
                <a:lnTo>
                  <a:pt x="294" y="117"/>
                </a:lnTo>
                <a:lnTo>
                  <a:pt x="289" y="116"/>
                </a:lnTo>
                <a:lnTo>
                  <a:pt x="281" y="113"/>
                </a:lnTo>
                <a:lnTo>
                  <a:pt x="258" y="102"/>
                </a:lnTo>
                <a:lnTo>
                  <a:pt x="228" y="87"/>
                </a:lnTo>
                <a:lnTo>
                  <a:pt x="228" y="87"/>
                </a:lnTo>
                <a:lnTo>
                  <a:pt x="290" y="0"/>
                </a:lnTo>
                <a:lnTo>
                  <a:pt x="290" y="0"/>
                </a:lnTo>
                <a:lnTo>
                  <a:pt x="290" y="0"/>
                </a:lnTo>
                <a:lnTo>
                  <a:pt x="296" y="1"/>
                </a:lnTo>
                <a:lnTo>
                  <a:pt x="305" y="5"/>
                </a:lnTo>
                <a:lnTo>
                  <a:pt x="332" y="17"/>
                </a:lnTo>
                <a:lnTo>
                  <a:pt x="356" y="31"/>
                </a:lnTo>
                <a:lnTo>
                  <a:pt x="364" y="37"/>
                </a:lnTo>
                <a:lnTo>
                  <a:pt x="366" y="39"/>
                </a:lnTo>
                <a:lnTo>
                  <a:pt x="367" y="40"/>
                </a:lnTo>
                <a:lnTo>
                  <a:pt x="367" y="40"/>
                </a:lnTo>
                <a:lnTo>
                  <a:pt x="370" y="46"/>
                </a:lnTo>
                <a:lnTo>
                  <a:pt x="371" y="53"/>
                </a:lnTo>
                <a:lnTo>
                  <a:pt x="371" y="70"/>
                </a:lnTo>
                <a:lnTo>
                  <a:pt x="371" y="78"/>
                </a:lnTo>
                <a:lnTo>
                  <a:pt x="373" y="85"/>
                </a:lnTo>
                <a:lnTo>
                  <a:pt x="374" y="87"/>
                </a:lnTo>
                <a:lnTo>
                  <a:pt x="377" y="90"/>
                </a:lnTo>
                <a:lnTo>
                  <a:pt x="379" y="91"/>
                </a:lnTo>
                <a:lnTo>
                  <a:pt x="382" y="92"/>
                </a:lnTo>
                <a:lnTo>
                  <a:pt x="382" y="92"/>
                </a:lnTo>
                <a:lnTo>
                  <a:pt x="386" y="91"/>
                </a:lnTo>
                <a:lnTo>
                  <a:pt x="390" y="90"/>
                </a:lnTo>
                <a:lnTo>
                  <a:pt x="397" y="85"/>
                </a:lnTo>
                <a:lnTo>
                  <a:pt x="405" y="81"/>
                </a:lnTo>
                <a:lnTo>
                  <a:pt x="410" y="78"/>
                </a:lnTo>
                <a:lnTo>
                  <a:pt x="415" y="77"/>
                </a:lnTo>
                <a:lnTo>
                  <a:pt x="415" y="77"/>
                </a:lnTo>
                <a:lnTo>
                  <a:pt x="417" y="93"/>
                </a:lnTo>
                <a:lnTo>
                  <a:pt x="420" y="110"/>
                </a:lnTo>
                <a:lnTo>
                  <a:pt x="424" y="129"/>
                </a:lnTo>
                <a:lnTo>
                  <a:pt x="430" y="148"/>
                </a:lnTo>
                <a:lnTo>
                  <a:pt x="436" y="169"/>
                </a:lnTo>
                <a:lnTo>
                  <a:pt x="443" y="191"/>
                </a:lnTo>
                <a:lnTo>
                  <a:pt x="453" y="214"/>
                </a:lnTo>
                <a:lnTo>
                  <a:pt x="463" y="238"/>
                </a:lnTo>
                <a:lnTo>
                  <a:pt x="463" y="238"/>
                </a:lnTo>
                <a:lnTo>
                  <a:pt x="464" y="324"/>
                </a:lnTo>
                <a:lnTo>
                  <a:pt x="466" y="411"/>
                </a:lnTo>
                <a:lnTo>
                  <a:pt x="471" y="579"/>
                </a:lnTo>
                <a:lnTo>
                  <a:pt x="473" y="656"/>
                </a:lnTo>
                <a:lnTo>
                  <a:pt x="472" y="725"/>
                </a:lnTo>
                <a:lnTo>
                  <a:pt x="471" y="756"/>
                </a:lnTo>
                <a:lnTo>
                  <a:pt x="470" y="784"/>
                </a:lnTo>
                <a:lnTo>
                  <a:pt x="466" y="808"/>
                </a:lnTo>
                <a:lnTo>
                  <a:pt x="463" y="830"/>
                </a:lnTo>
                <a:lnTo>
                  <a:pt x="463" y="830"/>
                </a:lnTo>
                <a:lnTo>
                  <a:pt x="456" y="855"/>
                </a:lnTo>
                <a:lnTo>
                  <a:pt x="446" y="888"/>
                </a:lnTo>
                <a:lnTo>
                  <a:pt x="439" y="907"/>
                </a:lnTo>
                <a:lnTo>
                  <a:pt x="431" y="925"/>
                </a:lnTo>
                <a:lnTo>
                  <a:pt x="423" y="945"/>
                </a:lnTo>
                <a:lnTo>
                  <a:pt x="413" y="964"/>
                </a:lnTo>
                <a:lnTo>
                  <a:pt x="402" y="983"/>
                </a:lnTo>
                <a:lnTo>
                  <a:pt x="390" y="1000"/>
                </a:lnTo>
                <a:lnTo>
                  <a:pt x="378" y="1015"/>
                </a:lnTo>
                <a:lnTo>
                  <a:pt x="363" y="1029"/>
                </a:lnTo>
                <a:lnTo>
                  <a:pt x="356" y="1036"/>
                </a:lnTo>
                <a:lnTo>
                  <a:pt x="348" y="1040"/>
                </a:lnTo>
                <a:lnTo>
                  <a:pt x="340" y="1045"/>
                </a:lnTo>
                <a:lnTo>
                  <a:pt x="331" y="1049"/>
                </a:lnTo>
                <a:lnTo>
                  <a:pt x="322" y="1053"/>
                </a:lnTo>
                <a:lnTo>
                  <a:pt x="313" y="1055"/>
                </a:lnTo>
                <a:lnTo>
                  <a:pt x="304" y="1056"/>
                </a:lnTo>
                <a:lnTo>
                  <a:pt x="294" y="1056"/>
                </a:lnTo>
                <a:lnTo>
                  <a:pt x="294" y="1056"/>
                </a:lnTo>
                <a:lnTo>
                  <a:pt x="287" y="1056"/>
                </a:lnTo>
                <a:lnTo>
                  <a:pt x="280" y="1054"/>
                </a:lnTo>
                <a:lnTo>
                  <a:pt x="274" y="1051"/>
                </a:lnTo>
                <a:lnTo>
                  <a:pt x="271" y="1047"/>
                </a:lnTo>
                <a:lnTo>
                  <a:pt x="267" y="1043"/>
                </a:lnTo>
                <a:lnTo>
                  <a:pt x="264" y="1038"/>
                </a:lnTo>
                <a:lnTo>
                  <a:pt x="258" y="1029"/>
                </a:lnTo>
                <a:lnTo>
                  <a:pt x="252" y="1021"/>
                </a:lnTo>
                <a:lnTo>
                  <a:pt x="250" y="1018"/>
                </a:lnTo>
                <a:lnTo>
                  <a:pt x="245" y="1017"/>
                </a:lnTo>
                <a:lnTo>
                  <a:pt x="241" y="1016"/>
                </a:lnTo>
                <a:lnTo>
                  <a:pt x="235" y="1018"/>
                </a:lnTo>
                <a:lnTo>
                  <a:pt x="228" y="1022"/>
                </a:lnTo>
                <a:lnTo>
                  <a:pt x="220" y="1028"/>
                </a:lnTo>
                <a:lnTo>
                  <a:pt x="220" y="1028"/>
                </a:lnTo>
                <a:lnTo>
                  <a:pt x="215" y="1032"/>
                </a:lnTo>
                <a:lnTo>
                  <a:pt x="211" y="1036"/>
                </a:lnTo>
                <a:lnTo>
                  <a:pt x="207" y="1040"/>
                </a:lnTo>
                <a:lnTo>
                  <a:pt x="205" y="1046"/>
                </a:lnTo>
                <a:lnTo>
                  <a:pt x="203" y="1052"/>
                </a:lnTo>
                <a:lnTo>
                  <a:pt x="202" y="1057"/>
                </a:lnTo>
                <a:lnTo>
                  <a:pt x="199" y="1071"/>
                </a:lnTo>
                <a:lnTo>
                  <a:pt x="199" y="1087"/>
                </a:lnTo>
                <a:lnTo>
                  <a:pt x="199" y="1108"/>
                </a:lnTo>
                <a:lnTo>
                  <a:pt x="199" y="1133"/>
                </a:lnTo>
                <a:lnTo>
                  <a:pt x="198" y="1163"/>
                </a:lnTo>
                <a:lnTo>
                  <a:pt x="198" y="1163"/>
                </a:lnTo>
                <a:lnTo>
                  <a:pt x="178" y="1171"/>
                </a:lnTo>
                <a:lnTo>
                  <a:pt x="163" y="1179"/>
                </a:lnTo>
                <a:lnTo>
                  <a:pt x="157" y="1182"/>
                </a:lnTo>
                <a:lnTo>
                  <a:pt x="153" y="1185"/>
                </a:lnTo>
                <a:lnTo>
                  <a:pt x="150" y="1189"/>
                </a:lnTo>
                <a:lnTo>
                  <a:pt x="149" y="1192"/>
                </a:lnTo>
                <a:lnTo>
                  <a:pt x="148" y="1197"/>
                </a:lnTo>
                <a:lnTo>
                  <a:pt x="149" y="1200"/>
                </a:lnTo>
                <a:lnTo>
                  <a:pt x="151" y="1205"/>
                </a:lnTo>
                <a:lnTo>
                  <a:pt x="153" y="1211"/>
                </a:lnTo>
                <a:lnTo>
                  <a:pt x="163" y="1224"/>
                </a:lnTo>
                <a:lnTo>
                  <a:pt x="176" y="1240"/>
                </a:lnTo>
                <a:lnTo>
                  <a:pt x="176" y="1240"/>
                </a:lnTo>
                <a:lnTo>
                  <a:pt x="159" y="1228"/>
                </a:lnTo>
                <a:lnTo>
                  <a:pt x="144" y="1215"/>
                </a:lnTo>
                <a:lnTo>
                  <a:pt x="138" y="1208"/>
                </a:lnTo>
                <a:lnTo>
                  <a:pt x="134" y="1202"/>
                </a:lnTo>
                <a:lnTo>
                  <a:pt x="129" y="1196"/>
                </a:lnTo>
                <a:lnTo>
                  <a:pt x="127" y="1189"/>
                </a:lnTo>
                <a:lnTo>
                  <a:pt x="125" y="1182"/>
                </a:lnTo>
                <a:lnTo>
                  <a:pt x="125" y="1175"/>
                </a:lnTo>
                <a:lnTo>
                  <a:pt x="126" y="1168"/>
                </a:lnTo>
                <a:lnTo>
                  <a:pt x="129" y="1161"/>
                </a:lnTo>
                <a:lnTo>
                  <a:pt x="134" y="1154"/>
                </a:lnTo>
                <a:lnTo>
                  <a:pt x="142" y="1147"/>
                </a:lnTo>
                <a:lnTo>
                  <a:pt x="150" y="1140"/>
                </a:lnTo>
                <a:lnTo>
                  <a:pt x="161" y="1133"/>
                </a:lnTo>
                <a:lnTo>
                  <a:pt x="161" y="1133"/>
                </a:lnTo>
                <a:lnTo>
                  <a:pt x="160" y="1124"/>
                </a:lnTo>
                <a:lnTo>
                  <a:pt x="158" y="1113"/>
                </a:lnTo>
                <a:lnTo>
                  <a:pt x="150" y="1086"/>
                </a:lnTo>
                <a:lnTo>
                  <a:pt x="142" y="1063"/>
                </a:lnTo>
                <a:lnTo>
                  <a:pt x="136" y="1049"/>
                </a:lnTo>
                <a:lnTo>
                  <a:pt x="136" y="1049"/>
                </a:lnTo>
                <a:lnTo>
                  <a:pt x="113" y="1010"/>
                </a:lnTo>
                <a:lnTo>
                  <a:pt x="102" y="994"/>
                </a:lnTo>
                <a:lnTo>
                  <a:pt x="92" y="979"/>
                </a:lnTo>
                <a:lnTo>
                  <a:pt x="74" y="957"/>
                </a:lnTo>
                <a:lnTo>
                  <a:pt x="58" y="940"/>
                </a:lnTo>
                <a:lnTo>
                  <a:pt x="43" y="926"/>
                </a:lnTo>
                <a:lnTo>
                  <a:pt x="29" y="915"/>
                </a:lnTo>
                <a:lnTo>
                  <a:pt x="14" y="903"/>
                </a:lnTo>
                <a:lnTo>
                  <a:pt x="0" y="888"/>
                </a:lnTo>
                <a:lnTo>
                  <a:pt x="0" y="888"/>
                </a:lnTo>
                <a:lnTo>
                  <a:pt x="0" y="884"/>
                </a:lnTo>
                <a:lnTo>
                  <a:pt x="1" y="875"/>
                </a:lnTo>
                <a:lnTo>
                  <a:pt x="10" y="846"/>
                </a:lnTo>
                <a:lnTo>
                  <a:pt x="14" y="827"/>
                </a:lnTo>
                <a:lnTo>
                  <a:pt x="19" y="807"/>
                </a:lnTo>
                <a:lnTo>
                  <a:pt x="21" y="787"/>
                </a:lnTo>
                <a:lnTo>
                  <a:pt x="22" y="768"/>
                </a:lnTo>
                <a:lnTo>
                  <a:pt x="22" y="768"/>
                </a:lnTo>
                <a:lnTo>
                  <a:pt x="36" y="763"/>
                </a:lnTo>
                <a:lnTo>
                  <a:pt x="52" y="761"/>
                </a:lnTo>
                <a:lnTo>
                  <a:pt x="88" y="756"/>
                </a:lnTo>
                <a:lnTo>
                  <a:pt x="125" y="751"/>
                </a:lnTo>
                <a:lnTo>
                  <a:pt x="141" y="748"/>
                </a:lnTo>
                <a:lnTo>
                  <a:pt x="154" y="744"/>
                </a:lnTo>
                <a:lnTo>
                  <a:pt x="154" y="744"/>
                </a:lnTo>
                <a:lnTo>
                  <a:pt x="152" y="723"/>
                </a:lnTo>
                <a:lnTo>
                  <a:pt x="150" y="702"/>
                </a:lnTo>
                <a:lnTo>
                  <a:pt x="144" y="662"/>
                </a:lnTo>
                <a:lnTo>
                  <a:pt x="136" y="625"/>
                </a:lnTo>
                <a:lnTo>
                  <a:pt x="127" y="591"/>
                </a:lnTo>
                <a:lnTo>
                  <a:pt x="117" y="560"/>
                </a:lnTo>
                <a:lnTo>
                  <a:pt x="105" y="530"/>
                </a:lnTo>
                <a:lnTo>
                  <a:pt x="84" y="474"/>
                </a:lnTo>
                <a:lnTo>
                  <a:pt x="84" y="474"/>
                </a:lnTo>
                <a:lnTo>
                  <a:pt x="84" y="478"/>
                </a:lnTo>
                <a:lnTo>
                  <a:pt x="84" y="47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Freeform 15"/>
          <p:cNvSpPr>
            <a:spLocks/>
          </p:cNvSpPr>
          <p:nvPr/>
        </p:nvSpPr>
        <p:spPr bwMode="auto">
          <a:xfrm>
            <a:off x="4052888" y="2347913"/>
            <a:ext cx="1430337" cy="3590925"/>
          </a:xfrm>
          <a:custGeom>
            <a:avLst/>
            <a:gdLst/>
            <a:ahLst/>
            <a:cxnLst>
              <a:cxn ang="0">
                <a:pos x="117" y="1687"/>
              </a:cxn>
              <a:cxn ang="0">
                <a:pos x="232" y="1982"/>
              </a:cxn>
              <a:cxn ang="0">
                <a:pos x="319" y="2178"/>
              </a:cxn>
              <a:cxn ang="0">
                <a:pos x="279" y="2383"/>
              </a:cxn>
              <a:cxn ang="0">
                <a:pos x="202" y="2499"/>
              </a:cxn>
              <a:cxn ang="0">
                <a:pos x="285" y="2641"/>
              </a:cxn>
              <a:cxn ang="0">
                <a:pos x="193" y="2781"/>
              </a:cxn>
              <a:cxn ang="0">
                <a:pos x="342" y="2879"/>
              </a:cxn>
              <a:cxn ang="0">
                <a:pos x="481" y="3009"/>
              </a:cxn>
              <a:cxn ang="0">
                <a:pos x="510" y="3176"/>
              </a:cxn>
              <a:cxn ang="0">
                <a:pos x="480" y="3405"/>
              </a:cxn>
              <a:cxn ang="0">
                <a:pos x="485" y="3556"/>
              </a:cxn>
              <a:cxn ang="0">
                <a:pos x="613" y="3620"/>
              </a:cxn>
              <a:cxn ang="0">
                <a:pos x="756" y="3872"/>
              </a:cxn>
              <a:cxn ang="0">
                <a:pos x="658" y="4013"/>
              </a:cxn>
              <a:cxn ang="0">
                <a:pos x="857" y="4092"/>
              </a:cxn>
              <a:cxn ang="0">
                <a:pos x="993" y="3873"/>
              </a:cxn>
              <a:cxn ang="0">
                <a:pos x="1123" y="3785"/>
              </a:cxn>
              <a:cxn ang="0">
                <a:pos x="1147" y="3662"/>
              </a:cxn>
              <a:cxn ang="0">
                <a:pos x="1139" y="3497"/>
              </a:cxn>
              <a:cxn ang="0">
                <a:pos x="1178" y="3301"/>
              </a:cxn>
              <a:cxn ang="0">
                <a:pos x="1308" y="3153"/>
              </a:cxn>
              <a:cxn ang="0">
                <a:pos x="1436" y="3199"/>
              </a:cxn>
              <a:cxn ang="0">
                <a:pos x="1475" y="3057"/>
              </a:cxn>
              <a:cxn ang="0">
                <a:pos x="1521" y="2928"/>
              </a:cxn>
              <a:cxn ang="0">
                <a:pos x="1675" y="2967"/>
              </a:cxn>
              <a:cxn ang="0">
                <a:pos x="1705" y="2842"/>
              </a:cxn>
              <a:cxn ang="0">
                <a:pos x="1705" y="2714"/>
              </a:cxn>
              <a:cxn ang="0">
                <a:pos x="1625" y="2548"/>
              </a:cxn>
              <a:cxn ang="0">
                <a:pos x="1709" y="2416"/>
              </a:cxn>
              <a:cxn ang="0">
                <a:pos x="1665" y="2288"/>
              </a:cxn>
              <a:cxn ang="0">
                <a:pos x="1672" y="2136"/>
              </a:cxn>
              <a:cxn ang="0">
                <a:pos x="1656" y="2064"/>
              </a:cxn>
              <a:cxn ang="0">
                <a:pos x="1603" y="1880"/>
              </a:cxn>
              <a:cxn ang="0">
                <a:pos x="1506" y="1703"/>
              </a:cxn>
              <a:cxn ang="0">
                <a:pos x="1504" y="1431"/>
              </a:cxn>
              <a:cxn ang="0">
                <a:pos x="1576" y="1208"/>
              </a:cxn>
              <a:cxn ang="0">
                <a:pos x="1674" y="960"/>
              </a:cxn>
              <a:cxn ang="0">
                <a:pos x="1595" y="802"/>
              </a:cxn>
              <a:cxn ang="0">
                <a:pos x="1488" y="601"/>
              </a:cxn>
              <a:cxn ang="0">
                <a:pos x="1457" y="618"/>
              </a:cxn>
              <a:cxn ang="0">
                <a:pos x="1308" y="705"/>
              </a:cxn>
              <a:cxn ang="0">
                <a:pos x="1460" y="193"/>
              </a:cxn>
              <a:cxn ang="0">
                <a:pos x="1228" y="173"/>
              </a:cxn>
              <a:cxn ang="0">
                <a:pos x="1167" y="86"/>
              </a:cxn>
              <a:cxn ang="0">
                <a:pos x="1055" y="2"/>
              </a:cxn>
              <a:cxn ang="0">
                <a:pos x="961" y="231"/>
              </a:cxn>
              <a:cxn ang="0">
                <a:pos x="877" y="294"/>
              </a:cxn>
              <a:cxn ang="0">
                <a:pos x="783" y="300"/>
              </a:cxn>
              <a:cxn ang="0">
                <a:pos x="682" y="375"/>
              </a:cxn>
              <a:cxn ang="0">
                <a:pos x="439" y="642"/>
              </a:cxn>
              <a:cxn ang="0">
                <a:pos x="179" y="702"/>
              </a:cxn>
              <a:cxn ang="0">
                <a:pos x="144" y="901"/>
              </a:cxn>
              <a:cxn ang="0">
                <a:pos x="256" y="1039"/>
              </a:cxn>
              <a:cxn ang="0">
                <a:pos x="210" y="1282"/>
              </a:cxn>
              <a:cxn ang="0">
                <a:pos x="166" y="1233"/>
              </a:cxn>
              <a:cxn ang="0">
                <a:pos x="162" y="1012"/>
              </a:cxn>
              <a:cxn ang="0">
                <a:pos x="36" y="934"/>
              </a:cxn>
              <a:cxn ang="0">
                <a:pos x="57" y="1046"/>
              </a:cxn>
              <a:cxn ang="0">
                <a:pos x="70" y="1234"/>
              </a:cxn>
              <a:cxn ang="0">
                <a:pos x="103" y="1416"/>
              </a:cxn>
              <a:cxn ang="0">
                <a:pos x="162" y="1530"/>
              </a:cxn>
            </a:cxnLst>
            <a:rect l="0" t="0" r="r" b="b"/>
            <a:pathLst>
              <a:path w="1749" h="4117">
                <a:moveTo>
                  <a:pt x="169" y="1560"/>
                </a:moveTo>
                <a:lnTo>
                  <a:pt x="166" y="1548"/>
                </a:lnTo>
                <a:lnTo>
                  <a:pt x="166" y="1548"/>
                </a:lnTo>
                <a:lnTo>
                  <a:pt x="169" y="1560"/>
                </a:lnTo>
                <a:lnTo>
                  <a:pt x="166" y="1560"/>
                </a:lnTo>
                <a:lnTo>
                  <a:pt x="166" y="1560"/>
                </a:lnTo>
                <a:lnTo>
                  <a:pt x="166" y="1560"/>
                </a:lnTo>
                <a:lnTo>
                  <a:pt x="164" y="1566"/>
                </a:lnTo>
                <a:lnTo>
                  <a:pt x="163" y="1573"/>
                </a:lnTo>
                <a:lnTo>
                  <a:pt x="161" y="1580"/>
                </a:lnTo>
                <a:lnTo>
                  <a:pt x="159" y="1588"/>
                </a:lnTo>
                <a:lnTo>
                  <a:pt x="154" y="1595"/>
                </a:lnTo>
                <a:lnTo>
                  <a:pt x="151" y="1600"/>
                </a:lnTo>
                <a:lnTo>
                  <a:pt x="145" y="1606"/>
                </a:lnTo>
                <a:lnTo>
                  <a:pt x="140" y="1611"/>
                </a:lnTo>
                <a:lnTo>
                  <a:pt x="140" y="1611"/>
                </a:lnTo>
                <a:lnTo>
                  <a:pt x="130" y="1613"/>
                </a:lnTo>
                <a:lnTo>
                  <a:pt x="120" y="1615"/>
                </a:lnTo>
                <a:lnTo>
                  <a:pt x="114" y="1616"/>
                </a:lnTo>
                <a:lnTo>
                  <a:pt x="110" y="1620"/>
                </a:lnTo>
                <a:lnTo>
                  <a:pt x="107" y="1624"/>
                </a:lnTo>
                <a:lnTo>
                  <a:pt x="107" y="1630"/>
                </a:lnTo>
                <a:lnTo>
                  <a:pt x="107" y="1630"/>
                </a:lnTo>
                <a:lnTo>
                  <a:pt x="117" y="1687"/>
                </a:lnTo>
                <a:lnTo>
                  <a:pt x="125" y="1729"/>
                </a:lnTo>
                <a:lnTo>
                  <a:pt x="129" y="1745"/>
                </a:lnTo>
                <a:lnTo>
                  <a:pt x="132" y="1754"/>
                </a:lnTo>
                <a:lnTo>
                  <a:pt x="132" y="1754"/>
                </a:lnTo>
                <a:lnTo>
                  <a:pt x="139" y="1761"/>
                </a:lnTo>
                <a:lnTo>
                  <a:pt x="145" y="1767"/>
                </a:lnTo>
                <a:lnTo>
                  <a:pt x="155" y="1775"/>
                </a:lnTo>
                <a:lnTo>
                  <a:pt x="160" y="1780"/>
                </a:lnTo>
                <a:lnTo>
                  <a:pt x="162" y="1786"/>
                </a:lnTo>
                <a:lnTo>
                  <a:pt x="164" y="1795"/>
                </a:lnTo>
                <a:lnTo>
                  <a:pt x="166" y="1806"/>
                </a:lnTo>
                <a:lnTo>
                  <a:pt x="166" y="1806"/>
                </a:lnTo>
                <a:lnTo>
                  <a:pt x="166" y="1905"/>
                </a:lnTo>
                <a:lnTo>
                  <a:pt x="166" y="1905"/>
                </a:lnTo>
                <a:lnTo>
                  <a:pt x="166" y="1913"/>
                </a:lnTo>
                <a:lnTo>
                  <a:pt x="167" y="1920"/>
                </a:lnTo>
                <a:lnTo>
                  <a:pt x="169" y="1927"/>
                </a:lnTo>
                <a:lnTo>
                  <a:pt x="171" y="1933"/>
                </a:lnTo>
                <a:lnTo>
                  <a:pt x="175" y="1939"/>
                </a:lnTo>
                <a:lnTo>
                  <a:pt x="178" y="1944"/>
                </a:lnTo>
                <a:lnTo>
                  <a:pt x="187" y="1954"/>
                </a:lnTo>
                <a:lnTo>
                  <a:pt x="198" y="1962"/>
                </a:lnTo>
                <a:lnTo>
                  <a:pt x="209" y="1968"/>
                </a:lnTo>
                <a:lnTo>
                  <a:pt x="232" y="1982"/>
                </a:lnTo>
                <a:lnTo>
                  <a:pt x="232" y="1982"/>
                </a:lnTo>
                <a:lnTo>
                  <a:pt x="236" y="2052"/>
                </a:lnTo>
                <a:lnTo>
                  <a:pt x="236" y="2052"/>
                </a:lnTo>
                <a:lnTo>
                  <a:pt x="236" y="2052"/>
                </a:lnTo>
                <a:lnTo>
                  <a:pt x="231" y="2057"/>
                </a:lnTo>
                <a:lnTo>
                  <a:pt x="227" y="2064"/>
                </a:lnTo>
                <a:lnTo>
                  <a:pt x="222" y="2072"/>
                </a:lnTo>
                <a:lnTo>
                  <a:pt x="221" y="2077"/>
                </a:lnTo>
                <a:lnTo>
                  <a:pt x="221" y="2081"/>
                </a:lnTo>
                <a:lnTo>
                  <a:pt x="221" y="2081"/>
                </a:lnTo>
                <a:lnTo>
                  <a:pt x="221" y="2086"/>
                </a:lnTo>
                <a:lnTo>
                  <a:pt x="223" y="2090"/>
                </a:lnTo>
                <a:lnTo>
                  <a:pt x="227" y="2095"/>
                </a:lnTo>
                <a:lnTo>
                  <a:pt x="231" y="2100"/>
                </a:lnTo>
                <a:lnTo>
                  <a:pt x="243" y="2107"/>
                </a:lnTo>
                <a:lnTo>
                  <a:pt x="256" y="2113"/>
                </a:lnTo>
                <a:lnTo>
                  <a:pt x="273" y="2118"/>
                </a:lnTo>
                <a:lnTo>
                  <a:pt x="288" y="2123"/>
                </a:lnTo>
                <a:lnTo>
                  <a:pt x="301" y="2125"/>
                </a:lnTo>
                <a:lnTo>
                  <a:pt x="312" y="2125"/>
                </a:lnTo>
                <a:lnTo>
                  <a:pt x="312" y="2125"/>
                </a:lnTo>
                <a:lnTo>
                  <a:pt x="314" y="2142"/>
                </a:lnTo>
                <a:lnTo>
                  <a:pt x="316" y="2160"/>
                </a:lnTo>
                <a:lnTo>
                  <a:pt x="319" y="2178"/>
                </a:lnTo>
                <a:lnTo>
                  <a:pt x="320" y="2199"/>
                </a:lnTo>
                <a:lnTo>
                  <a:pt x="320" y="2199"/>
                </a:lnTo>
                <a:lnTo>
                  <a:pt x="320" y="2210"/>
                </a:lnTo>
                <a:lnTo>
                  <a:pt x="317" y="2220"/>
                </a:lnTo>
                <a:lnTo>
                  <a:pt x="314" y="2229"/>
                </a:lnTo>
                <a:lnTo>
                  <a:pt x="309" y="2237"/>
                </a:lnTo>
                <a:lnTo>
                  <a:pt x="305" y="2242"/>
                </a:lnTo>
                <a:lnTo>
                  <a:pt x="299" y="2248"/>
                </a:lnTo>
                <a:lnTo>
                  <a:pt x="286" y="2257"/>
                </a:lnTo>
                <a:lnTo>
                  <a:pt x="275" y="2268"/>
                </a:lnTo>
                <a:lnTo>
                  <a:pt x="269" y="2272"/>
                </a:lnTo>
                <a:lnTo>
                  <a:pt x="263" y="2278"/>
                </a:lnTo>
                <a:lnTo>
                  <a:pt x="260" y="2285"/>
                </a:lnTo>
                <a:lnTo>
                  <a:pt x="256" y="2293"/>
                </a:lnTo>
                <a:lnTo>
                  <a:pt x="254" y="2302"/>
                </a:lnTo>
                <a:lnTo>
                  <a:pt x="253" y="2314"/>
                </a:lnTo>
                <a:lnTo>
                  <a:pt x="253" y="2314"/>
                </a:lnTo>
                <a:lnTo>
                  <a:pt x="254" y="2321"/>
                </a:lnTo>
                <a:lnTo>
                  <a:pt x="258" y="2329"/>
                </a:lnTo>
                <a:lnTo>
                  <a:pt x="267" y="2344"/>
                </a:lnTo>
                <a:lnTo>
                  <a:pt x="271" y="2352"/>
                </a:lnTo>
                <a:lnTo>
                  <a:pt x="275" y="2361"/>
                </a:lnTo>
                <a:lnTo>
                  <a:pt x="278" y="2371"/>
                </a:lnTo>
                <a:lnTo>
                  <a:pt x="279" y="2383"/>
                </a:lnTo>
                <a:lnTo>
                  <a:pt x="279" y="2383"/>
                </a:lnTo>
                <a:lnTo>
                  <a:pt x="278" y="2388"/>
                </a:lnTo>
                <a:lnTo>
                  <a:pt x="277" y="2394"/>
                </a:lnTo>
                <a:lnTo>
                  <a:pt x="276" y="2399"/>
                </a:lnTo>
                <a:lnTo>
                  <a:pt x="273" y="2403"/>
                </a:lnTo>
                <a:lnTo>
                  <a:pt x="266" y="2412"/>
                </a:lnTo>
                <a:lnTo>
                  <a:pt x="258" y="2420"/>
                </a:lnTo>
                <a:lnTo>
                  <a:pt x="250" y="2426"/>
                </a:lnTo>
                <a:lnTo>
                  <a:pt x="243" y="2433"/>
                </a:lnTo>
                <a:lnTo>
                  <a:pt x="236" y="2443"/>
                </a:lnTo>
                <a:lnTo>
                  <a:pt x="233" y="2447"/>
                </a:lnTo>
                <a:lnTo>
                  <a:pt x="232" y="2453"/>
                </a:lnTo>
                <a:lnTo>
                  <a:pt x="232" y="2453"/>
                </a:lnTo>
                <a:lnTo>
                  <a:pt x="230" y="2466"/>
                </a:lnTo>
                <a:lnTo>
                  <a:pt x="229" y="2478"/>
                </a:lnTo>
                <a:lnTo>
                  <a:pt x="228" y="2484"/>
                </a:lnTo>
                <a:lnTo>
                  <a:pt x="227" y="2490"/>
                </a:lnTo>
                <a:lnTo>
                  <a:pt x="224" y="2493"/>
                </a:lnTo>
                <a:lnTo>
                  <a:pt x="221" y="2497"/>
                </a:lnTo>
                <a:lnTo>
                  <a:pt x="221" y="2497"/>
                </a:lnTo>
                <a:lnTo>
                  <a:pt x="216" y="2499"/>
                </a:lnTo>
                <a:lnTo>
                  <a:pt x="214" y="2500"/>
                </a:lnTo>
                <a:lnTo>
                  <a:pt x="208" y="2500"/>
                </a:lnTo>
                <a:lnTo>
                  <a:pt x="202" y="2499"/>
                </a:lnTo>
                <a:lnTo>
                  <a:pt x="199" y="2499"/>
                </a:lnTo>
                <a:lnTo>
                  <a:pt x="194" y="2500"/>
                </a:lnTo>
                <a:lnTo>
                  <a:pt x="194" y="2500"/>
                </a:lnTo>
                <a:lnTo>
                  <a:pt x="195" y="2512"/>
                </a:lnTo>
                <a:lnTo>
                  <a:pt x="197" y="2523"/>
                </a:lnTo>
                <a:lnTo>
                  <a:pt x="198" y="2533"/>
                </a:lnTo>
                <a:lnTo>
                  <a:pt x="201" y="2545"/>
                </a:lnTo>
                <a:lnTo>
                  <a:pt x="205" y="2554"/>
                </a:lnTo>
                <a:lnTo>
                  <a:pt x="208" y="2563"/>
                </a:lnTo>
                <a:lnTo>
                  <a:pt x="213" y="2573"/>
                </a:lnTo>
                <a:lnTo>
                  <a:pt x="218" y="2581"/>
                </a:lnTo>
                <a:lnTo>
                  <a:pt x="225" y="2588"/>
                </a:lnTo>
                <a:lnTo>
                  <a:pt x="232" y="2594"/>
                </a:lnTo>
                <a:lnTo>
                  <a:pt x="239" y="2600"/>
                </a:lnTo>
                <a:lnTo>
                  <a:pt x="247" y="2605"/>
                </a:lnTo>
                <a:lnTo>
                  <a:pt x="256" y="2609"/>
                </a:lnTo>
                <a:lnTo>
                  <a:pt x="266" y="2612"/>
                </a:lnTo>
                <a:lnTo>
                  <a:pt x="276" y="2614"/>
                </a:lnTo>
                <a:lnTo>
                  <a:pt x="288" y="2614"/>
                </a:lnTo>
                <a:lnTo>
                  <a:pt x="288" y="2614"/>
                </a:lnTo>
                <a:lnTo>
                  <a:pt x="288" y="2621"/>
                </a:lnTo>
                <a:lnTo>
                  <a:pt x="288" y="2628"/>
                </a:lnTo>
                <a:lnTo>
                  <a:pt x="286" y="2635"/>
                </a:lnTo>
                <a:lnTo>
                  <a:pt x="285" y="2641"/>
                </a:lnTo>
                <a:lnTo>
                  <a:pt x="283" y="2645"/>
                </a:lnTo>
                <a:lnTo>
                  <a:pt x="281" y="2650"/>
                </a:lnTo>
                <a:lnTo>
                  <a:pt x="273" y="2658"/>
                </a:lnTo>
                <a:lnTo>
                  <a:pt x="264" y="2665"/>
                </a:lnTo>
                <a:lnTo>
                  <a:pt x="254" y="2670"/>
                </a:lnTo>
                <a:lnTo>
                  <a:pt x="244" y="2675"/>
                </a:lnTo>
                <a:lnTo>
                  <a:pt x="232" y="2680"/>
                </a:lnTo>
                <a:lnTo>
                  <a:pt x="209" y="2688"/>
                </a:lnTo>
                <a:lnTo>
                  <a:pt x="199" y="2692"/>
                </a:lnTo>
                <a:lnTo>
                  <a:pt x="190" y="2697"/>
                </a:lnTo>
                <a:lnTo>
                  <a:pt x="182" y="2703"/>
                </a:lnTo>
                <a:lnTo>
                  <a:pt x="175" y="2710"/>
                </a:lnTo>
                <a:lnTo>
                  <a:pt x="172" y="2714"/>
                </a:lnTo>
                <a:lnTo>
                  <a:pt x="171" y="2719"/>
                </a:lnTo>
                <a:lnTo>
                  <a:pt x="170" y="2723"/>
                </a:lnTo>
                <a:lnTo>
                  <a:pt x="169" y="2728"/>
                </a:lnTo>
                <a:lnTo>
                  <a:pt x="169" y="2728"/>
                </a:lnTo>
                <a:lnTo>
                  <a:pt x="170" y="2738"/>
                </a:lnTo>
                <a:lnTo>
                  <a:pt x="174" y="2746"/>
                </a:lnTo>
                <a:lnTo>
                  <a:pt x="177" y="2753"/>
                </a:lnTo>
                <a:lnTo>
                  <a:pt x="182" y="2759"/>
                </a:lnTo>
                <a:lnTo>
                  <a:pt x="186" y="2766"/>
                </a:lnTo>
                <a:lnTo>
                  <a:pt x="191" y="2773"/>
                </a:lnTo>
                <a:lnTo>
                  <a:pt x="193" y="2781"/>
                </a:lnTo>
                <a:lnTo>
                  <a:pt x="194" y="2790"/>
                </a:lnTo>
                <a:lnTo>
                  <a:pt x="194" y="2790"/>
                </a:lnTo>
                <a:lnTo>
                  <a:pt x="194" y="2850"/>
                </a:lnTo>
                <a:lnTo>
                  <a:pt x="194" y="2850"/>
                </a:lnTo>
                <a:lnTo>
                  <a:pt x="195" y="2857"/>
                </a:lnTo>
                <a:lnTo>
                  <a:pt x="197" y="2861"/>
                </a:lnTo>
                <a:lnTo>
                  <a:pt x="199" y="2867"/>
                </a:lnTo>
                <a:lnTo>
                  <a:pt x="202" y="2872"/>
                </a:lnTo>
                <a:lnTo>
                  <a:pt x="206" y="2875"/>
                </a:lnTo>
                <a:lnTo>
                  <a:pt x="210" y="2878"/>
                </a:lnTo>
                <a:lnTo>
                  <a:pt x="217" y="2879"/>
                </a:lnTo>
                <a:lnTo>
                  <a:pt x="217" y="2879"/>
                </a:lnTo>
                <a:lnTo>
                  <a:pt x="229" y="2879"/>
                </a:lnTo>
                <a:lnTo>
                  <a:pt x="239" y="2878"/>
                </a:lnTo>
                <a:lnTo>
                  <a:pt x="259" y="2873"/>
                </a:lnTo>
                <a:lnTo>
                  <a:pt x="279" y="2869"/>
                </a:lnTo>
                <a:lnTo>
                  <a:pt x="290" y="2868"/>
                </a:lnTo>
                <a:lnTo>
                  <a:pt x="301" y="2867"/>
                </a:lnTo>
                <a:lnTo>
                  <a:pt x="301" y="2867"/>
                </a:lnTo>
                <a:lnTo>
                  <a:pt x="313" y="2868"/>
                </a:lnTo>
                <a:lnTo>
                  <a:pt x="322" y="2869"/>
                </a:lnTo>
                <a:lnTo>
                  <a:pt x="330" y="2872"/>
                </a:lnTo>
                <a:lnTo>
                  <a:pt x="336" y="2875"/>
                </a:lnTo>
                <a:lnTo>
                  <a:pt x="342" y="2879"/>
                </a:lnTo>
                <a:lnTo>
                  <a:pt x="346" y="2883"/>
                </a:lnTo>
                <a:lnTo>
                  <a:pt x="355" y="2891"/>
                </a:lnTo>
                <a:lnTo>
                  <a:pt x="362" y="2902"/>
                </a:lnTo>
                <a:lnTo>
                  <a:pt x="370" y="2910"/>
                </a:lnTo>
                <a:lnTo>
                  <a:pt x="376" y="2913"/>
                </a:lnTo>
                <a:lnTo>
                  <a:pt x="382" y="2916"/>
                </a:lnTo>
                <a:lnTo>
                  <a:pt x="389" y="2918"/>
                </a:lnTo>
                <a:lnTo>
                  <a:pt x="397" y="2919"/>
                </a:lnTo>
                <a:lnTo>
                  <a:pt x="397" y="2919"/>
                </a:lnTo>
                <a:lnTo>
                  <a:pt x="401" y="2933"/>
                </a:lnTo>
                <a:lnTo>
                  <a:pt x="408" y="2948"/>
                </a:lnTo>
                <a:lnTo>
                  <a:pt x="418" y="2963"/>
                </a:lnTo>
                <a:lnTo>
                  <a:pt x="422" y="2970"/>
                </a:lnTo>
                <a:lnTo>
                  <a:pt x="427" y="2974"/>
                </a:lnTo>
                <a:lnTo>
                  <a:pt x="427" y="2974"/>
                </a:lnTo>
                <a:lnTo>
                  <a:pt x="435" y="2979"/>
                </a:lnTo>
                <a:lnTo>
                  <a:pt x="444" y="2982"/>
                </a:lnTo>
                <a:lnTo>
                  <a:pt x="462" y="2988"/>
                </a:lnTo>
                <a:lnTo>
                  <a:pt x="469" y="2991"/>
                </a:lnTo>
                <a:lnTo>
                  <a:pt x="473" y="2994"/>
                </a:lnTo>
                <a:lnTo>
                  <a:pt x="476" y="2996"/>
                </a:lnTo>
                <a:lnTo>
                  <a:pt x="479" y="3000"/>
                </a:lnTo>
                <a:lnTo>
                  <a:pt x="480" y="3004"/>
                </a:lnTo>
                <a:lnTo>
                  <a:pt x="481" y="3009"/>
                </a:lnTo>
                <a:lnTo>
                  <a:pt x="482" y="3014"/>
                </a:lnTo>
                <a:lnTo>
                  <a:pt x="482" y="3014"/>
                </a:lnTo>
                <a:lnTo>
                  <a:pt x="481" y="3020"/>
                </a:lnTo>
                <a:lnTo>
                  <a:pt x="480" y="3026"/>
                </a:lnTo>
                <a:lnTo>
                  <a:pt x="477" y="3032"/>
                </a:lnTo>
                <a:lnTo>
                  <a:pt x="474" y="3037"/>
                </a:lnTo>
                <a:lnTo>
                  <a:pt x="466" y="3049"/>
                </a:lnTo>
                <a:lnTo>
                  <a:pt x="458" y="3061"/>
                </a:lnTo>
                <a:lnTo>
                  <a:pt x="449" y="3073"/>
                </a:lnTo>
                <a:lnTo>
                  <a:pt x="441" y="3087"/>
                </a:lnTo>
                <a:lnTo>
                  <a:pt x="438" y="3095"/>
                </a:lnTo>
                <a:lnTo>
                  <a:pt x="436" y="3103"/>
                </a:lnTo>
                <a:lnTo>
                  <a:pt x="434" y="3112"/>
                </a:lnTo>
                <a:lnTo>
                  <a:pt x="434" y="3121"/>
                </a:lnTo>
                <a:lnTo>
                  <a:pt x="434" y="3121"/>
                </a:lnTo>
                <a:lnTo>
                  <a:pt x="435" y="3132"/>
                </a:lnTo>
                <a:lnTo>
                  <a:pt x="437" y="3140"/>
                </a:lnTo>
                <a:lnTo>
                  <a:pt x="443" y="3148"/>
                </a:lnTo>
                <a:lnTo>
                  <a:pt x="449" y="3153"/>
                </a:lnTo>
                <a:lnTo>
                  <a:pt x="457" y="3157"/>
                </a:lnTo>
                <a:lnTo>
                  <a:pt x="465" y="3161"/>
                </a:lnTo>
                <a:lnTo>
                  <a:pt x="483" y="3166"/>
                </a:lnTo>
                <a:lnTo>
                  <a:pt x="502" y="3172"/>
                </a:lnTo>
                <a:lnTo>
                  <a:pt x="510" y="3176"/>
                </a:lnTo>
                <a:lnTo>
                  <a:pt x="518" y="3179"/>
                </a:lnTo>
                <a:lnTo>
                  <a:pt x="523" y="3185"/>
                </a:lnTo>
                <a:lnTo>
                  <a:pt x="528" y="3191"/>
                </a:lnTo>
                <a:lnTo>
                  <a:pt x="531" y="3200"/>
                </a:lnTo>
                <a:lnTo>
                  <a:pt x="533" y="3209"/>
                </a:lnTo>
                <a:lnTo>
                  <a:pt x="533" y="3209"/>
                </a:lnTo>
                <a:lnTo>
                  <a:pt x="533" y="3217"/>
                </a:lnTo>
                <a:lnTo>
                  <a:pt x="530" y="3225"/>
                </a:lnTo>
                <a:lnTo>
                  <a:pt x="528" y="3232"/>
                </a:lnTo>
                <a:lnTo>
                  <a:pt x="525" y="3238"/>
                </a:lnTo>
                <a:lnTo>
                  <a:pt x="520" y="3242"/>
                </a:lnTo>
                <a:lnTo>
                  <a:pt x="515" y="3247"/>
                </a:lnTo>
                <a:lnTo>
                  <a:pt x="505" y="3256"/>
                </a:lnTo>
                <a:lnTo>
                  <a:pt x="495" y="3264"/>
                </a:lnTo>
                <a:lnTo>
                  <a:pt x="487" y="3273"/>
                </a:lnTo>
                <a:lnTo>
                  <a:pt x="482" y="3278"/>
                </a:lnTo>
                <a:lnTo>
                  <a:pt x="480" y="3284"/>
                </a:lnTo>
                <a:lnTo>
                  <a:pt x="479" y="3291"/>
                </a:lnTo>
                <a:lnTo>
                  <a:pt x="477" y="3298"/>
                </a:lnTo>
                <a:lnTo>
                  <a:pt x="477" y="3298"/>
                </a:lnTo>
                <a:lnTo>
                  <a:pt x="477" y="3393"/>
                </a:lnTo>
                <a:lnTo>
                  <a:pt x="477" y="3393"/>
                </a:lnTo>
                <a:lnTo>
                  <a:pt x="479" y="3399"/>
                </a:lnTo>
                <a:lnTo>
                  <a:pt x="480" y="3405"/>
                </a:lnTo>
                <a:lnTo>
                  <a:pt x="482" y="3410"/>
                </a:lnTo>
                <a:lnTo>
                  <a:pt x="485" y="3416"/>
                </a:lnTo>
                <a:lnTo>
                  <a:pt x="493" y="3428"/>
                </a:lnTo>
                <a:lnTo>
                  <a:pt x="504" y="3439"/>
                </a:lnTo>
                <a:lnTo>
                  <a:pt x="513" y="3452"/>
                </a:lnTo>
                <a:lnTo>
                  <a:pt x="518" y="3459"/>
                </a:lnTo>
                <a:lnTo>
                  <a:pt x="521" y="3466"/>
                </a:lnTo>
                <a:lnTo>
                  <a:pt x="525" y="3474"/>
                </a:lnTo>
                <a:lnTo>
                  <a:pt x="527" y="3483"/>
                </a:lnTo>
                <a:lnTo>
                  <a:pt x="529" y="3493"/>
                </a:lnTo>
                <a:lnTo>
                  <a:pt x="529" y="3504"/>
                </a:lnTo>
                <a:lnTo>
                  <a:pt x="529" y="3504"/>
                </a:lnTo>
                <a:lnTo>
                  <a:pt x="529" y="3510"/>
                </a:lnTo>
                <a:lnTo>
                  <a:pt x="527" y="3516"/>
                </a:lnTo>
                <a:lnTo>
                  <a:pt x="526" y="3521"/>
                </a:lnTo>
                <a:lnTo>
                  <a:pt x="522" y="3525"/>
                </a:lnTo>
                <a:lnTo>
                  <a:pt x="519" y="3528"/>
                </a:lnTo>
                <a:lnTo>
                  <a:pt x="515" y="3531"/>
                </a:lnTo>
                <a:lnTo>
                  <a:pt x="507" y="3536"/>
                </a:lnTo>
                <a:lnTo>
                  <a:pt x="499" y="3539"/>
                </a:lnTo>
                <a:lnTo>
                  <a:pt x="492" y="3545"/>
                </a:lnTo>
                <a:lnTo>
                  <a:pt x="489" y="3548"/>
                </a:lnTo>
                <a:lnTo>
                  <a:pt x="487" y="3552"/>
                </a:lnTo>
                <a:lnTo>
                  <a:pt x="485" y="3556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6"/>
                </a:lnTo>
                <a:lnTo>
                  <a:pt x="487" y="3569"/>
                </a:lnTo>
                <a:lnTo>
                  <a:pt x="492" y="3578"/>
                </a:lnTo>
                <a:lnTo>
                  <a:pt x="500" y="3589"/>
                </a:lnTo>
                <a:lnTo>
                  <a:pt x="510" y="3599"/>
                </a:lnTo>
                <a:lnTo>
                  <a:pt x="520" y="3608"/>
                </a:lnTo>
                <a:lnTo>
                  <a:pt x="530" y="3616"/>
                </a:lnTo>
                <a:lnTo>
                  <a:pt x="540" y="3622"/>
                </a:lnTo>
                <a:lnTo>
                  <a:pt x="544" y="3623"/>
                </a:lnTo>
                <a:lnTo>
                  <a:pt x="548" y="3624"/>
                </a:lnTo>
                <a:lnTo>
                  <a:pt x="548" y="3624"/>
                </a:lnTo>
                <a:lnTo>
                  <a:pt x="563" y="3623"/>
                </a:lnTo>
                <a:lnTo>
                  <a:pt x="575" y="3621"/>
                </a:lnTo>
                <a:lnTo>
                  <a:pt x="587" y="3619"/>
                </a:lnTo>
                <a:lnTo>
                  <a:pt x="599" y="3617"/>
                </a:lnTo>
                <a:lnTo>
                  <a:pt x="599" y="3617"/>
                </a:lnTo>
                <a:lnTo>
                  <a:pt x="606" y="3617"/>
                </a:lnTo>
                <a:lnTo>
                  <a:pt x="613" y="3620"/>
                </a:lnTo>
                <a:lnTo>
                  <a:pt x="619" y="3622"/>
                </a:lnTo>
                <a:lnTo>
                  <a:pt x="624" y="3626"/>
                </a:lnTo>
                <a:lnTo>
                  <a:pt x="634" y="3635"/>
                </a:lnTo>
                <a:lnTo>
                  <a:pt x="643" y="3643"/>
                </a:lnTo>
                <a:lnTo>
                  <a:pt x="643" y="3643"/>
                </a:lnTo>
                <a:lnTo>
                  <a:pt x="656" y="3652"/>
                </a:lnTo>
                <a:lnTo>
                  <a:pt x="665" y="3661"/>
                </a:lnTo>
                <a:lnTo>
                  <a:pt x="674" y="3672"/>
                </a:lnTo>
                <a:lnTo>
                  <a:pt x="681" y="3683"/>
                </a:lnTo>
                <a:lnTo>
                  <a:pt x="687" y="3696"/>
                </a:lnTo>
                <a:lnTo>
                  <a:pt x="691" y="3710"/>
                </a:lnTo>
                <a:lnTo>
                  <a:pt x="699" y="3737"/>
                </a:lnTo>
                <a:lnTo>
                  <a:pt x="706" y="3766"/>
                </a:lnTo>
                <a:lnTo>
                  <a:pt x="714" y="3794"/>
                </a:lnTo>
                <a:lnTo>
                  <a:pt x="720" y="3806"/>
                </a:lnTo>
                <a:lnTo>
                  <a:pt x="726" y="3819"/>
                </a:lnTo>
                <a:lnTo>
                  <a:pt x="733" y="3830"/>
                </a:lnTo>
                <a:lnTo>
                  <a:pt x="742" y="3841"/>
                </a:lnTo>
                <a:lnTo>
                  <a:pt x="742" y="3841"/>
                </a:lnTo>
                <a:lnTo>
                  <a:pt x="743" y="3845"/>
                </a:lnTo>
                <a:lnTo>
                  <a:pt x="744" y="3850"/>
                </a:lnTo>
                <a:lnTo>
                  <a:pt x="749" y="3859"/>
                </a:lnTo>
                <a:lnTo>
                  <a:pt x="755" y="3867"/>
                </a:lnTo>
                <a:lnTo>
                  <a:pt x="756" y="3872"/>
                </a:lnTo>
                <a:lnTo>
                  <a:pt x="757" y="3878"/>
                </a:lnTo>
                <a:lnTo>
                  <a:pt x="757" y="3878"/>
                </a:lnTo>
                <a:lnTo>
                  <a:pt x="756" y="3883"/>
                </a:lnTo>
                <a:lnTo>
                  <a:pt x="752" y="3889"/>
                </a:lnTo>
                <a:lnTo>
                  <a:pt x="749" y="3894"/>
                </a:lnTo>
                <a:lnTo>
                  <a:pt x="743" y="3898"/>
                </a:lnTo>
                <a:lnTo>
                  <a:pt x="734" y="3906"/>
                </a:lnTo>
                <a:lnTo>
                  <a:pt x="729" y="3910"/>
                </a:lnTo>
                <a:lnTo>
                  <a:pt x="727" y="3914"/>
                </a:lnTo>
                <a:lnTo>
                  <a:pt x="727" y="3914"/>
                </a:lnTo>
                <a:lnTo>
                  <a:pt x="726" y="3921"/>
                </a:lnTo>
                <a:lnTo>
                  <a:pt x="725" y="3928"/>
                </a:lnTo>
                <a:lnTo>
                  <a:pt x="725" y="3941"/>
                </a:lnTo>
                <a:lnTo>
                  <a:pt x="725" y="3945"/>
                </a:lnTo>
                <a:lnTo>
                  <a:pt x="724" y="3951"/>
                </a:lnTo>
                <a:lnTo>
                  <a:pt x="721" y="3957"/>
                </a:lnTo>
                <a:lnTo>
                  <a:pt x="717" y="3962"/>
                </a:lnTo>
                <a:lnTo>
                  <a:pt x="717" y="3962"/>
                </a:lnTo>
                <a:lnTo>
                  <a:pt x="712" y="3967"/>
                </a:lnTo>
                <a:lnTo>
                  <a:pt x="708" y="3973"/>
                </a:lnTo>
                <a:lnTo>
                  <a:pt x="695" y="3983"/>
                </a:lnTo>
                <a:lnTo>
                  <a:pt x="682" y="3993"/>
                </a:lnTo>
                <a:lnTo>
                  <a:pt x="670" y="4002"/>
                </a:lnTo>
                <a:lnTo>
                  <a:pt x="658" y="4013"/>
                </a:lnTo>
                <a:lnTo>
                  <a:pt x="652" y="4020"/>
                </a:lnTo>
                <a:lnTo>
                  <a:pt x="648" y="4027"/>
                </a:lnTo>
                <a:lnTo>
                  <a:pt x="644" y="4035"/>
                </a:lnTo>
                <a:lnTo>
                  <a:pt x="642" y="4043"/>
                </a:lnTo>
                <a:lnTo>
                  <a:pt x="640" y="4054"/>
                </a:lnTo>
                <a:lnTo>
                  <a:pt x="640" y="4065"/>
                </a:lnTo>
                <a:lnTo>
                  <a:pt x="640" y="4065"/>
                </a:lnTo>
                <a:lnTo>
                  <a:pt x="668" y="4097"/>
                </a:lnTo>
                <a:lnTo>
                  <a:pt x="668" y="4097"/>
                </a:lnTo>
                <a:lnTo>
                  <a:pt x="732" y="4097"/>
                </a:lnTo>
                <a:lnTo>
                  <a:pt x="732" y="4097"/>
                </a:lnTo>
                <a:lnTo>
                  <a:pt x="732" y="4097"/>
                </a:lnTo>
                <a:lnTo>
                  <a:pt x="736" y="4103"/>
                </a:lnTo>
                <a:lnTo>
                  <a:pt x="741" y="4106"/>
                </a:lnTo>
                <a:lnTo>
                  <a:pt x="747" y="4110"/>
                </a:lnTo>
                <a:lnTo>
                  <a:pt x="752" y="4112"/>
                </a:lnTo>
                <a:lnTo>
                  <a:pt x="765" y="4116"/>
                </a:lnTo>
                <a:lnTo>
                  <a:pt x="779" y="4117"/>
                </a:lnTo>
                <a:lnTo>
                  <a:pt x="779" y="4117"/>
                </a:lnTo>
                <a:lnTo>
                  <a:pt x="797" y="4116"/>
                </a:lnTo>
                <a:lnTo>
                  <a:pt x="813" y="4112"/>
                </a:lnTo>
                <a:lnTo>
                  <a:pt x="829" y="4106"/>
                </a:lnTo>
                <a:lnTo>
                  <a:pt x="843" y="4101"/>
                </a:lnTo>
                <a:lnTo>
                  <a:pt x="857" y="4092"/>
                </a:lnTo>
                <a:lnTo>
                  <a:pt x="870" y="4082"/>
                </a:lnTo>
                <a:lnTo>
                  <a:pt x="880" y="4071"/>
                </a:lnTo>
                <a:lnTo>
                  <a:pt x="892" y="4059"/>
                </a:lnTo>
                <a:lnTo>
                  <a:pt x="901" y="4046"/>
                </a:lnTo>
                <a:lnTo>
                  <a:pt x="910" y="4032"/>
                </a:lnTo>
                <a:lnTo>
                  <a:pt x="918" y="4018"/>
                </a:lnTo>
                <a:lnTo>
                  <a:pt x="926" y="4003"/>
                </a:lnTo>
                <a:lnTo>
                  <a:pt x="940" y="3973"/>
                </a:lnTo>
                <a:lnTo>
                  <a:pt x="951" y="3943"/>
                </a:lnTo>
                <a:lnTo>
                  <a:pt x="951" y="3943"/>
                </a:lnTo>
                <a:lnTo>
                  <a:pt x="955" y="3938"/>
                </a:lnTo>
                <a:lnTo>
                  <a:pt x="958" y="3935"/>
                </a:lnTo>
                <a:lnTo>
                  <a:pt x="963" y="3932"/>
                </a:lnTo>
                <a:lnTo>
                  <a:pt x="969" y="3929"/>
                </a:lnTo>
                <a:lnTo>
                  <a:pt x="978" y="3926"/>
                </a:lnTo>
                <a:lnTo>
                  <a:pt x="981" y="3924"/>
                </a:lnTo>
                <a:lnTo>
                  <a:pt x="985" y="3921"/>
                </a:lnTo>
                <a:lnTo>
                  <a:pt x="985" y="3921"/>
                </a:lnTo>
                <a:lnTo>
                  <a:pt x="987" y="3919"/>
                </a:lnTo>
                <a:lnTo>
                  <a:pt x="988" y="3915"/>
                </a:lnTo>
                <a:lnTo>
                  <a:pt x="989" y="3909"/>
                </a:lnTo>
                <a:lnTo>
                  <a:pt x="991" y="3890"/>
                </a:lnTo>
                <a:lnTo>
                  <a:pt x="992" y="3881"/>
                </a:lnTo>
                <a:lnTo>
                  <a:pt x="993" y="3873"/>
                </a:lnTo>
                <a:lnTo>
                  <a:pt x="995" y="3867"/>
                </a:lnTo>
                <a:lnTo>
                  <a:pt x="997" y="3864"/>
                </a:lnTo>
                <a:lnTo>
                  <a:pt x="1000" y="3863"/>
                </a:lnTo>
                <a:lnTo>
                  <a:pt x="1000" y="3863"/>
                </a:lnTo>
                <a:lnTo>
                  <a:pt x="1015" y="3854"/>
                </a:lnTo>
                <a:lnTo>
                  <a:pt x="1033" y="3848"/>
                </a:lnTo>
                <a:lnTo>
                  <a:pt x="1054" y="3842"/>
                </a:lnTo>
                <a:lnTo>
                  <a:pt x="1075" y="3837"/>
                </a:lnTo>
                <a:lnTo>
                  <a:pt x="1095" y="3834"/>
                </a:lnTo>
                <a:lnTo>
                  <a:pt x="1116" y="3831"/>
                </a:lnTo>
                <a:lnTo>
                  <a:pt x="1134" y="3830"/>
                </a:lnTo>
                <a:lnTo>
                  <a:pt x="1151" y="3829"/>
                </a:lnTo>
                <a:lnTo>
                  <a:pt x="1151" y="3829"/>
                </a:lnTo>
                <a:lnTo>
                  <a:pt x="1153" y="3823"/>
                </a:lnTo>
                <a:lnTo>
                  <a:pt x="1154" y="3817"/>
                </a:lnTo>
                <a:lnTo>
                  <a:pt x="1154" y="3810"/>
                </a:lnTo>
                <a:lnTo>
                  <a:pt x="1153" y="3806"/>
                </a:lnTo>
                <a:lnTo>
                  <a:pt x="1151" y="3804"/>
                </a:lnTo>
                <a:lnTo>
                  <a:pt x="1151" y="3804"/>
                </a:lnTo>
                <a:lnTo>
                  <a:pt x="1145" y="3803"/>
                </a:lnTo>
                <a:lnTo>
                  <a:pt x="1140" y="3802"/>
                </a:lnTo>
                <a:lnTo>
                  <a:pt x="1136" y="3798"/>
                </a:lnTo>
                <a:lnTo>
                  <a:pt x="1131" y="3795"/>
                </a:lnTo>
                <a:lnTo>
                  <a:pt x="1123" y="3785"/>
                </a:lnTo>
                <a:lnTo>
                  <a:pt x="1114" y="3774"/>
                </a:lnTo>
                <a:lnTo>
                  <a:pt x="1096" y="3751"/>
                </a:lnTo>
                <a:lnTo>
                  <a:pt x="1088" y="3742"/>
                </a:lnTo>
                <a:lnTo>
                  <a:pt x="1080" y="3734"/>
                </a:lnTo>
                <a:lnTo>
                  <a:pt x="1080" y="3734"/>
                </a:lnTo>
                <a:lnTo>
                  <a:pt x="1076" y="3731"/>
                </a:lnTo>
                <a:lnTo>
                  <a:pt x="1070" y="3728"/>
                </a:lnTo>
                <a:lnTo>
                  <a:pt x="1067" y="3726"/>
                </a:lnTo>
                <a:lnTo>
                  <a:pt x="1064" y="3722"/>
                </a:lnTo>
                <a:lnTo>
                  <a:pt x="1063" y="3719"/>
                </a:lnTo>
                <a:lnTo>
                  <a:pt x="1062" y="3715"/>
                </a:lnTo>
                <a:lnTo>
                  <a:pt x="1062" y="3715"/>
                </a:lnTo>
                <a:lnTo>
                  <a:pt x="1063" y="3712"/>
                </a:lnTo>
                <a:lnTo>
                  <a:pt x="1068" y="3706"/>
                </a:lnTo>
                <a:lnTo>
                  <a:pt x="1081" y="3693"/>
                </a:lnTo>
                <a:lnTo>
                  <a:pt x="1096" y="3682"/>
                </a:lnTo>
                <a:lnTo>
                  <a:pt x="1102" y="3677"/>
                </a:lnTo>
                <a:lnTo>
                  <a:pt x="1106" y="3676"/>
                </a:lnTo>
                <a:lnTo>
                  <a:pt x="1106" y="3676"/>
                </a:lnTo>
                <a:lnTo>
                  <a:pt x="1125" y="3676"/>
                </a:lnTo>
                <a:lnTo>
                  <a:pt x="1133" y="3674"/>
                </a:lnTo>
                <a:lnTo>
                  <a:pt x="1139" y="3672"/>
                </a:lnTo>
                <a:lnTo>
                  <a:pt x="1144" y="3668"/>
                </a:lnTo>
                <a:lnTo>
                  <a:pt x="1147" y="3662"/>
                </a:lnTo>
                <a:lnTo>
                  <a:pt x="1149" y="3654"/>
                </a:lnTo>
                <a:lnTo>
                  <a:pt x="1151" y="3643"/>
                </a:lnTo>
                <a:lnTo>
                  <a:pt x="1151" y="3643"/>
                </a:lnTo>
                <a:lnTo>
                  <a:pt x="1149" y="3638"/>
                </a:lnTo>
                <a:lnTo>
                  <a:pt x="1148" y="3632"/>
                </a:lnTo>
                <a:lnTo>
                  <a:pt x="1145" y="3623"/>
                </a:lnTo>
                <a:lnTo>
                  <a:pt x="1140" y="3613"/>
                </a:lnTo>
                <a:lnTo>
                  <a:pt x="1139" y="3608"/>
                </a:lnTo>
                <a:lnTo>
                  <a:pt x="1139" y="3602"/>
                </a:lnTo>
                <a:lnTo>
                  <a:pt x="1139" y="3602"/>
                </a:lnTo>
                <a:lnTo>
                  <a:pt x="1139" y="3596"/>
                </a:lnTo>
                <a:lnTo>
                  <a:pt x="1141" y="3590"/>
                </a:lnTo>
                <a:lnTo>
                  <a:pt x="1146" y="3578"/>
                </a:lnTo>
                <a:lnTo>
                  <a:pt x="1152" y="3565"/>
                </a:lnTo>
                <a:lnTo>
                  <a:pt x="1153" y="3556"/>
                </a:lnTo>
                <a:lnTo>
                  <a:pt x="1154" y="3547"/>
                </a:lnTo>
                <a:lnTo>
                  <a:pt x="1154" y="3547"/>
                </a:lnTo>
                <a:lnTo>
                  <a:pt x="1153" y="3539"/>
                </a:lnTo>
                <a:lnTo>
                  <a:pt x="1152" y="3532"/>
                </a:lnTo>
                <a:lnTo>
                  <a:pt x="1146" y="3521"/>
                </a:lnTo>
                <a:lnTo>
                  <a:pt x="1141" y="3509"/>
                </a:lnTo>
                <a:lnTo>
                  <a:pt x="1139" y="3502"/>
                </a:lnTo>
                <a:lnTo>
                  <a:pt x="1139" y="3497"/>
                </a:lnTo>
                <a:lnTo>
                  <a:pt x="1139" y="3497"/>
                </a:lnTo>
                <a:lnTo>
                  <a:pt x="1140" y="3491"/>
                </a:lnTo>
                <a:lnTo>
                  <a:pt x="1141" y="3485"/>
                </a:lnTo>
                <a:lnTo>
                  <a:pt x="1148" y="3471"/>
                </a:lnTo>
                <a:lnTo>
                  <a:pt x="1156" y="3454"/>
                </a:lnTo>
                <a:lnTo>
                  <a:pt x="1160" y="3446"/>
                </a:lnTo>
                <a:lnTo>
                  <a:pt x="1161" y="3438"/>
                </a:lnTo>
                <a:lnTo>
                  <a:pt x="1161" y="3438"/>
                </a:lnTo>
                <a:lnTo>
                  <a:pt x="1172" y="3433"/>
                </a:lnTo>
                <a:lnTo>
                  <a:pt x="1182" y="3426"/>
                </a:lnTo>
                <a:lnTo>
                  <a:pt x="1191" y="3418"/>
                </a:lnTo>
                <a:lnTo>
                  <a:pt x="1198" y="3409"/>
                </a:lnTo>
                <a:lnTo>
                  <a:pt x="1203" y="3398"/>
                </a:lnTo>
                <a:lnTo>
                  <a:pt x="1208" y="3386"/>
                </a:lnTo>
                <a:lnTo>
                  <a:pt x="1212" y="3375"/>
                </a:lnTo>
                <a:lnTo>
                  <a:pt x="1213" y="3364"/>
                </a:lnTo>
                <a:lnTo>
                  <a:pt x="1213" y="3364"/>
                </a:lnTo>
                <a:lnTo>
                  <a:pt x="1212" y="3357"/>
                </a:lnTo>
                <a:lnTo>
                  <a:pt x="1210" y="3350"/>
                </a:lnTo>
                <a:lnTo>
                  <a:pt x="1209" y="3345"/>
                </a:lnTo>
                <a:lnTo>
                  <a:pt x="1206" y="3340"/>
                </a:lnTo>
                <a:lnTo>
                  <a:pt x="1200" y="3330"/>
                </a:lnTo>
                <a:lnTo>
                  <a:pt x="1192" y="3319"/>
                </a:lnTo>
                <a:lnTo>
                  <a:pt x="1185" y="3310"/>
                </a:lnTo>
                <a:lnTo>
                  <a:pt x="1178" y="3301"/>
                </a:lnTo>
                <a:lnTo>
                  <a:pt x="1174" y="3291"/>
                </a:lnTo>
                <a:lnTo>
                  <a:pt x="1172" y="3285"/>
                </a:lnTo>
                <a:lnTo>
                  <a:pt x="1172" y="3279"/>
                </a:lnTo>
                <a:lnTo>
                  <a:pt x="1172" y="3279"/>
                </a:lnTo>
                <a:lnTo>
                  <a:pt x="1172" y="3260"/>
                </a:lnTo>
                <a:lnTo>
                  <a:pt x="1176" y="3241"/>
                </a:lnTo>
                <a:lnTo>
                  <a:pt x="1179" y="3223"/>
                </a:lnTo>
                <a:lnTo>
                  <a:pt x="1185" y="3207"/>
                </a:lnTo>
                <a:lnTo>
                  <a:pt x="1193" y="3193"/>
                </a:lnTo>
                <a:lnTo>
                  <a:pt x="1197" y="3187"/>
                </a:lnTo>
                <a:lnTo>
                  <a:pt x="1201" y="3182"/>
                </a:lnTo>
                <a:lnTo>
                  <a:pt x="1207" y="3178"/>
                </a:lnTo>
                <a:lnTo>
                  <a:pt x="1212" y="3176"/>
                </a:lnTo>
                <a:lnTo>
                  <a:pt x="1217" y="3173"/>
                </a:lnTo>
                <a:lnTo>
                  <a:pt x="1224" y="3173"/>
                </a:lnTo>
                <a:lnTo>
                  <a:pt x="1224" y="3173"/>
                </a:lnTo>
                <a:lnTo>
                  <a:pt x="1271" y="3173"/>
                </a:lnTo>
                <a:lnTo>
                  <a:pt x="1271" y="3173"/>
                </a:lnTo>
                <a:lnTo>
                  <a:pt x="1279" y="3172"/>
                </a:lnTo>
                <a:lnTo>
                  <a:pt x="1286" y="3170"/>
                </a:lnTo>
                <a:lnTo>
                  <a:pt x="1292" y="3168"/>
                </a:lnTo>
                <a:lnTo>
                  <a:pt x="1298" y="3163"/>
                </a:lnTo>
                <a:lnTo>
                  <a:pt x="1304" y="3158"/>
                </a:lnTo>
                <a:lnTo>
                  <a:pt x="1308" y="3153"/>
                </a:lnTo>
                <a:lnTo>
                  <a:pt x="1317" y="3142"/>
                </a:lnTo>
                <a:lnTo>
                  <a:pt x="1325" y="3131"/>
                </a:lnTo>
                <a:lnTo>
                  <a:pt x="1333" y="3120"/>
                </a:lnTo>
                <a:lnTo>
                  <a:pt x="1337" y="3116"/>
                </a:lnTo>
                <a:lnTo>
                  <a:pt x="1342" y="3113"/>
                </a:lnTo>
                <a:lnTo>
                  <a:pt x="1346" y="3111"/>
                </a:lnTo>
                <a:lnTo>
                  <a:pt x="1352" y="3110"/>
                </a:lnTo>
                <a:lnTo>
                  <a:pt x="1352" y="3110"/>
                </a:lnTo>
                <a:lnTo>
                  <a:pt x="1360" y="3111"/>
                </a:lnTo>
                <a:lnTo>
                  <a:pt x="1367" y="3115"/>
                </a:lnTo>
                <a:lnTo>
                  <a:pt x="1373" y="3119"/>
                </a:lnTo>
                <a:lnTo>
                  <a:pt x="1377" y="3124"/>
                </a:lnTo>
                <a:lnTo>
                  <a:pt x="1382" y="3131"/>
                </a:lnTo>
                <a:lnTo>
                  <a:pt x="1385" y="3139"/>
                </a:lnTo>
                <a:lnTo>
                  <a:pt x="1391" y="3155"/>
                </a:lnTo>
                <a:lnTo>
                  <a:pt x="1397" y="3171"/>
                </a:lnTo>
                <a:lnTo>
                  <a:pt x="1401" y="3178"/>
                </a:lnTo>
                <a:lnTo>
                  <a:pt x="1405" y="3185"/>
                </a:lnTo>
                <a:lnTo>
                  <a:pt x="1411" y="3191"/>
                </a:lnTo>
                <a:lnTo>
                  <a:pt x="1416" y="3195"/>
                </a:lnTo>
                <a:lnTo>
                  <a:pt x="1424" y="3197"/>
                </a:lnTo>
                <a:lnTo>
                  <a:pt x="1432" y="3199"/>
                </a:lnTo>
                <a:lnTo>
                  <a:pt x="1432" y="3199"/>
                </a:lnTo>
                <a:lnTo>
                  <a:pt x="1436" y="3199"/>
                </a:lnTo>
                <a:lnTo>
                  <a:pt x="1437" y="3197"/>
                </a:lnTo>
                <a:lnTo>
                  <a:pt x="1438" y="3195"/>
                </a:lnTo>
                <a:lnTo>
                  <a:pt x="1439" y="3193"/>
                </a:lnTo>
                <a:lnTo>
                  <a:pt x="1439" y="3187"/>
                </a:lnTo>
                <a:lnTo>
                  <a:pt x="1438" y="3179"/>
                </a:lnTo>
                <a:lnTo>
                  <a:pt x="1435" y="3161"/>
                </a:lnTo>
                <a:lnTo>
                  <a:pt x="1434" y="3153"/>
                </a:lnTo>
                <a:lnTo>
                  <a:pt x="1432" y="3143"/>
                </a:lnTo>
                <a:lnTo>
                  <a:pt x="1432" y="3143"/>
                </a:lnTo>
                <a:lnTo>
                  <a:pt x="1435" y="3128"/>
                </a:lnTo>
                <a:lnTo>
                  <a:pt x="1439" y="3105"/>
                </a:lnTo>
                <a:lnTo>
                  <a:pt x="1445" y="3085"/>
                </a:lnTo>
                <a:lnTo>
                  <a:pt x="1449" y="3077"/>
                </a:lnTo>
                <a:lnTo>
                  <a:pt x="1451" y="3073"/>
                </a:lnTo>
                <a:lnTo>
                  <a:pt x="1451" y="3073"/>
                </a:lnTo>
                <a:lnTo>
                  <a:pt x="1454" y="3072"/>
                </a:lnTo>
                <a:lnTo>
                  <a:pt x="1458" y="3072"/>
                </a:lnTo>
                <a:lnTo>
                  <a:pt x="1464" y="3072"/>
                </a:lnTo>
                <a:lnTo>
                  <a:pt x="1467" y="3072"/>
                </a:lnTo>
                <a:lnTo>
                  <a:pt x="1469" y="3071"/>
                </a:lnTo>
                <a:lnTo>
                  <a:pt x="1472" y="3070"/>
                </a:lnTo>
                <a:lnTo>
                  <a:pt x="1474" y="3066"/>
                </a:lnTo>
                <a:lnTo>
                  <a:pt x="1474" y="3066"/>
                </a:lnTo>
                <a:lnTo>
                  <a:pt x="1475" y="3057"/>
                </a:lnTo>
                <a:lnTo>
                  <a:pt x="1476" y="3048"/>
                </a:lnTo>
                <a:lnTo>
                  <a:pt x="1478" y="3041"/>
                </a:lnTo>
                <a:lnTo>
                  <a:pt x="1481" y="3036"/>
                </a:lnTo>
                <a:lnTo>
                  <a:pt x="1484" y="3033"/>
                </a:lnTo>
                <a:lnTo>
                  <a:pt x="1484" y="3033"/>
                </a:lnTo>
                <a:lnTo>
                  <a:pt x="1490" y="3026"/>
                </a:lnTo>
                <a:lnTo>
                  <a:pt x="1498" y="3018"/>
                </a:lnTo>
                <a:lnTo>
                  <a:pt x="1515" y="3003"/>
                </a:lnTo>
                <a:lnTo>
                  <a:pt x="1523" y="2995"/>
                </a:lnTo>
                <a:lnTo>
                  <a:pt x="1530" y="2986"/>
                </a:lnTo>
                <a:lnTo>
                  <a:pt x="1534" y="2977"/>
                </a:lnTo>
                <a:lnTo>
                  <a:pt x="1536" y="2972"/>
                </a:lnTo>
                <a:lnTo>
                  <a:pt x="1536" y="2967"/>
                </a:lnTo>
                <a:lnTo>
                  <a:pt x="1536" y="2967"/>
                </a:lnTo>
                <a:lnTo>
                  <a:pt x="1535" y="2963"/>
                </a:lnTo>
                <a:lnTo>
                  <a:pt x="1534" y="2960"/>
                </a:lnTo>
                <a:lnTo>
                  <a:pt x="1530" y="2956"/>
                </a:lnTo>
                <a:lnTo>
                  <a:pt x="1524" y="2953"/>
                </a:lnTo>
                <a:lnTo>
                  <a:pt x="1523" y="2951"/>
                </a:lnTo>
                <a:lnTo>
                  <a:pt x="1521" y="2949"/>
                </a:lnTo>
                <a:lnTo>
                  <a:pt x="1521" y="2949"/>
                </a:lnTo>
                <a:lnTo>
                  <a:pt x="1521" y="2934"/>
                </a:lnTo>
                <a:lnTo>
                  <a:pt x="1521" y="2934"/>
                </a:lnTo>
                <a:lnTo>
                  <a:pt x="1521" y="2928"/>
                </a:lnTo>
                <a:lnTo>
                  <a:pt x="1522" y="2924"/>
                </a:lnTo>
                <a:lnTo>
                  <a:pt x="1524" y="2919"/>
                </a:lnTo>
                <a:lnTo>
                  <a:pt x="1528" y="2916"/>
                </a:lnTo>
                <a:lnTo>
                  <a:pt x="1528" y="2916"/>
                </a:lnTo>
                <a:lnTo>
                  <a:pt x="1531" y="2910"/>
                </a:lnTo>
                <a:lnTo>
                  <a:pt x="1536" y="2905"/>
                </a:lnTo>
                <a:lnTo>
                  <a:pt x="1541" y="2902"/>
                </a:lnTo>
                <a:lnTo>
                  <a:pt x="1546" y="2898"/>
                </a:lnTo>
                <a:lnTo>
                  <a:pt x="1551" y="2896"/>
                </a:lnTo>
                <a:lnTo>
                  <a:pt x="1557" y="2895"/>
                </a:lnTo>
                <a:lnTo>
                  <a:pt x="1568" y="2894"/>
                </a:lnTo>
                <a:lnTo>
                  <a:pt x="1568" y="2894"/>
                </a:lnTo>
                <a:lnTo>
                  <a:pt x="1573" y="2895"/>
                </a:lnTo>
                <a:lnTo>
                  <a:pt x="1575" y="2896"/>
                </a:lnTo>
                <a:lnTo>
                  <a:pt x="1577" y="2899"/>
                </a:lnTo>
                <a:lnTo>
                  <a:pt x="1580" y="2904"/>
                </a:lnTo>
                <a:lnTo>
                  <a:pt x="1583" y="2913"/>
                </a:lnTo>
                <a:lnTo>
                  <a:pt x="1587" y="2922"/>
                </a:lnTo>
                <a:lnTo>
                  <a:pt x="1587" y="2922"/>
                </a:lnTo>
                <a:lnTo>
                  <a:pt x="1626" y="2945"/>
                </a:lnTo>
                <a:lnTo>
                  <a:pt x="1656" y="2960"/>
                </a:lnTo>
                <a:lnTo>
                  <a:pt x="1667" y="2965"/>
                </a:lnTo>
                <a:lnTo>
                  <a:pt x="1675" y="2967"/>
                </a:lnTo>
                <a:lnTo>
                  <a:pt x="1675" y="2967"/>
                </a:lnTo>
                <a:lnTo>
                  <a:pt x="1684" y="2966"/>
                </a:lnTo>
                <a:lnTo>
                  <a:pt x="1691" y="2965"/>
                </a:lnTo>
                <a:lnTo>
                  <a:pt x="1697" y="2962"/>
                </a:lnTo>
                <a:lnTo>
                  <a:pt x="1702" y="2958"/>
                </a:lnTo>
                <a:lnTo>
                  <a:pt x="1704" y="2955"/>
                </a:lnTo>
                <a:lnTo>
                  <a:pt x="1706" y="2950"/>
                </a:lnTo>
                <a:lnTo>
                  <a:pt x="1707" y="2945"/>
                </a:lnTo>
                <a:lnTo>
                  <a:pt x="1709" y="2941"/>
                </a:lnTo>
                <a:lnTo>
                  <a:pt x="1709" y="2941"/>
                </a:lnTo>
                <a:lnTo>
                  <a:pt x="1709" y="2916"/>
                </a:lnTo>
                <a:lnTo>
                  <a:pt x="1709" y="2916"/>
                </a:lnTo>
                <a:lnTo>
                  <a:pt x="1709" y="2910"/>
                </a:lnTo>
                <a:lnTo>
                  <a:pt x="1711" y="2905"/>
                </a:lnTo>
                <a:lnTo>
                  <a:pt x="1716" y="2897"/>
                </a:lnTo>
                <a:lnTo>
                  <a:pt x="1720" y="2890"/>
                </a:lnTo>
                <a:lnTo>
                  <a:pt x="1722" y="2887"/>
                </a:lnTo>
                <a:lnTo>
                  <a:pt x="1722" y="2882"/>
                </a:lnTo>
                <a:lnTo>
                  <a:pt x="1722" y="2882"/>
                </a:lnTo>
                <a:lnTo>
                  <a:pt x="1722" y="2864"/>
                </a:lnTo>
                <a:lnTo>
                  <a:pt x="1722" y="2864"/>
                </a:lnTo>
                <a:lnTo>
                  <a:pt x="1721" y="2860"/>
                </a:lnTo>
                <a:lnTo>
                  <a:pt x="1719" y="2856"/>
                </a:lnTo>
                <a:lnTo>
                  <a:pt x="1712" y="2849"/>
                </a:lnTo>
                <a:lnTo>
                  <a:pt x="1705" y="2842"/>
                </a:lnTo>
                <a:lnTo>
                  <a:pt x="1696" y="2835"/>
                </a:lnTo>
                <a:lnTo>
                  <a:pt x="1688" y="2829"/>
                </a:lnTo>
                <a:lnTo>
                  <a:pt x="1682" y="2823"/>
                </a:lnTo>
                <a:lnTo>
                  <a:pt x="1676" y="2818"/>
                </a:lnTo>
                <a:lnTo>
                  <a:pt x="1675" y="2815"/>
                </a:lnTo>
                <a:lnTo>
                  <a:pt x="1675" y="2812"/>
                </a:lnTo>
                <a:lnTo>
                  <a:pt x="1675" y="2812"/>
                </a:lnTo>
                <a:lnTo>
                  <a:pt x="1675" y="2806"/>
                </a:lnTo>
                <a:lnTo>
                  <a:pt x="1676" y="2802"/>
                </a:lnTo>
                <a:lnTo>
                  <a:pt x="1679" y="2797"/>
                </a:lnTo>
                <a:lnTo>
                  <a:pt x="1681" y="2792"/>
                </a:lnTo>
                <a:lnTo>
                  <a:pt x="1688" y="2784"/>
                </a:lnTo>
                <a:lnTo>
                  <a:pt x="1696" y="2779"/>
                </a:lnTo>
                <a:lnTo>
                  <a:pt x="1703" y="2772"/>
                </a:lnTo>
                <a:lnTo>
                  <a:pt x="1710" y="2765"/>
                </a:lnTo>
                <a:lnTo>
                  <a:pt x="1712" y="2760"/>
                </a:lnTo>
                <a:lnTo>
                  <a:pt x="1714" y="2757"/>
                </a:lnTo>
                <a:lnTo>
                  <a:pt x="1716" y="2752"/>
                </a:lnTo>
                <a:lnTo>
                  <a:pt x="1716" y="2746"/>
                </a:lnTo>
                <a:lnTo>
                  <a:pt x="1716" y="2746"/>
                </a:lnTo>
                <a:lnTo>
                  <a:pt x="1716" y="2739"/>
                </a:lnTo>
                <a:lnTo>
                  <a:pt x="1714" y="2734"/>
                </a:lnTo>
                <a:lnTo>
                  <a:pt x="1710" y="2723"/>
                </a:lnTo>
                <a:lnTo>
                  <a:pt x="1705" y="2714"/>
                </a:lnTo>
                <a:lnTo>
                  <a:pt x="1701" y="2706"/>
                </a:lnTo>
                <a:lnTo>
                  <a:pt x="1701" y="2706"/>
                </a:lnTo>
                <a:lnTo>
                  <a:pt x="1635" y="2706"/>
                </a:lnTo>
                <a:lnTo>
                  <a:pt x="1635" y="2706"/>
                </a:lnTo>
                <a:lnTo>
                  <a:pt x="1635" y="2706"/>
                </a:lnTo>
                <a:lnTo>
                  <a:pt x="1632" y="2700"/>
                </a:lnTo>
                <a:lnTo>
                  <a:pt x="1628" y="2693"/>
                </a:lnTo>
                <a:lnTo>
                  <a:pt x="1626" y="2684"/>
                </a:lnTo>
                <a:lnTo>
                  <a:pt x="1623" y="2675"/>
                </a:lnTo>
                <a:lnTo>
                  <a:pt x="1621" y="2652"/>
                </a:lnTo>
                <a:lnTo>
                  <a:pt x="1620" y="2629"/>
                </a:lnTo>
                <a:lnTo>
                  <a:pt x="1620" y="2629"/>
                </a:lnTo>
                <a:lnTo>
                  <a:pt x="1621" y="2616"/>
                </a:lnTo>
                <a:lnTo>
                  <a:pt x="1623" y="2607"/>
                </a:lnTo>
                <a:lnTo>
                  <a:pt x="1626" y="2600"/>
                </a:lnTo>
                <a:lnTo>
                  <a:pt x="1628" y="2593"/>
                </a:lnTo>
                <a:lnTo>
                  <a:pt x="1635" y="2581"/>
                </a:lnTo>
                <a:lnTo>
                  <a:pt x="1637" y="2573"/>
                </a:lnTo>
                <a:lnTo>
                  <a:pt x="1638" y="2563"/>
                </a:lnTo>
                <a:lnTo>
                  <a:pt x="1638" y="2563"/>
                </a:lnTo>
                <a:lnTo>
                  <a:pt x="1634" y="2562"/>
                </a:lnTo>
                <a:lnTo>
                  <a:pt x="1630" y="2560"/>
                </a:lnTo>
                <a:lnTo>
                  <a:pt x="1627" y="2555"/>
                </a:lnTo>
                <a:lnTo>
                  <a:pt x="1625" y="2548"/>
                </a:lnTo>
                <a:lnTo>
                  <a:pt x="1625" y="2548"/>
                </a:lnTo>
                <a:lnTo>
                  <a:pt x="1632" y="2544"/>
                </a:lnTo>
                <a:lnTo>
                  <a:pt x="1637" y="2539"/>
                </a:lnTo>
                <a:lnTo>
                  <a:pt x="1645" y="2529"/>
                </a:lnTo>
                <a:lnTo>
                  <a:pt x="1655" y="2519"/>
                </a:lnTo>
                <a:lnTo>
                  <a:pt x="1660" y="2513"/>
                </a:lnTo>
                <a:lnTo>
                  <a:pt x="1668" y="2508"/>
                </a:lnTo>
                <a:lnTo>
                  <a:pt x="1668" y="2508"/>
                </a:lnTo>
                <a:lnTo>
                  <a:pt x="1672" y="2502"/>
                </a:lnTo>
                <a:lnTo>
                  <a:pt x="1676" y="2498"/>
                </a:lnTo>
                <a:lnTo>
                  <a:pt x="1679" y="2494"/>
                </a:lnTo>
                <a:lnTo>
                  <a:pt x="1681" y="2491"/>
                </a:lnTo>
                <a:lnTo>
                  <a:pt x="1682" y="2487"/>
                </a:lnTo>
                <a:lnTo>
                  <a:pt x="1683" y="2482"/>
                </a:lnTo>
                <a:lnTo>
                  <a:pt x="1683" y="2482"/>
                </a:lnTo>
                <a:lnTo>
                  <a:pt x="1684" y="2472"/>
                </a:lnTo>
                <a:lnTo>
                  <a:pt x="1687" y="2464"/>
                </a:lnTo>
                <a:lnTo>
                  <a:pt x="1691" y="2458"/>
                </a:lnTo>
                <a:lnTo>
                  <a:pt x="1696" y="2451"/>
                </a:lnTo>
                <a:lnTo>
                  <a:pt x="1701" y="2443"/>
                </a:lnTo>
                <a:lnTo>
                  <a:pt x="1704" y="2436"/>
                </a:lnTo>
                <a:lnTo>
                  <a:pt x="1707" y="2426"/>
                </a:lnTo>
                <a:lnTo>
                  <a:pt x="1709" y="2416"/>
                </a:lnTo>
                <a:lnTo>
                  <a:pt x="1709" y="2416"/>
                </a:lnTo>
                <a:lnTo>
                  <a:pt x="1707" y="2413"/>
                </a:lnTo>
                <a:lnTo>
                  <a:pt x="1706" y="2409"/>
                </a:lnTo>
                <a:lnTo>
                  <a:pt x="1701" y="2402"/>
                </a:lnTo>
                <a:lnTo>
                  <a:pt x="1698" y="2399"/>
                </a:lnTo>
                <a:lnTo>
                  <a:pt x="1696" y="2394"/>
                </a:lnTo>
                <a:lnTo>
                  <a:pt x="1694" y="2388"/>
                </a:lnTo>
                <a:lnTo>
                  <a:pt x="1694" y="2383"/>
                </a:lnTo>
                <a:lnTo>
                  <a:pt x="1694" y="2383"/>
                </a:lnTo>
                <a:lnTo>
                  <a:pt x="1694" y="2378"/>
                </a:lnTo>
                <a:lnTo>
                  <a:pt x="1696" y="2375"/>
                </a:lnTo>
                <a:lnTo>
                  <a:pt x="1701" y="2365"/>
                </a:lnTo>
                <a:lnTo>
                  <a:pt x="1706" y="2356"/>
                </a:lnTo>
                <a:lnTo>
                  <a:pt x="1707" y="2352"/>
                </a:lnTo>
                <a:lnTo>
                  <a:pt x="1709" y="2346"/>
                </a:lnTo>
                <a:lnTo>
                  <a:pt x="1709" y="2346"/>
                </a:lnTo>
                <a:lnTo>
                  <a:pt x="1707" y="2340"/>
                </a:lnTo>
                <a:lnTo>
                  <a:pt x="1706" y="2334"/>
                </a:lnTo>
                <a:lnTo>
                  <a:pt x="1704" y="2329"/>
                </a:lnTo>
                <a:lnTo>
                  <a:pt x="1701" y="2324"/>
                </a:lnTo>
                <a:lnTo>
                  <a:pt x="1693" y="2316"/>
                </a:lnTo>
                <a:lnTo>
                  <a:pt x="1684" y="2309"/>
                </a:lnTo>
                <a:lnTo>
                  <a:pt x="1675" y="2302"/>
                </a:lnTo>
                <a:lnTo>
                  <a:pt x="1668" y="2293"/>
                </a:lnTo>
                <a:lnTo>
                  <a:pt x="1665" y="2288"/>
                </a:lnTo>
                <a:lnTo>
                  <a:pt x="1663" y="2283"/>
                </a:lnTo>
                <a:lnTo>
                  <a:pt x="1661" y="2276"/>
                </a:lnTo>
                <a:lnTo>
                  <a:pt x="1660" y="2269"/>
                </a:lnTo>
                <a:lnTo>
                  <a:pt x="1660" y="2269"/>
                </a:lnTo>
                <a:lnTo>
                  <a:pt x="1661" y="2260"/>
                </a:lnTo>
                <a:lnTo>
                  <a:pt x="1664" y="2253"/>
                </a:lnTo>
                <a:lnTo>
                  <a:pt x="1667" y="2247"/>
                </a:lnTo>
                <a:lnTo>
                  <a:pt x="1672" y="2241"/>
                </a:lnTo>
                <a:lnTo>
                  <a:pt x="1680" y="2232"/>
                </a:lnTo>
                <a:lnTo>
                  <a:pt x="1682" y="2226"/>
                </a:lnTo>
                <a:lnTo>
                  <a:pt x="1683" y="2222"/>
                </a:lnTo>
                <a:lnTo>
                  <a:pt x="1683" y="2222"/>
                </a:lnTo>
                <a:lnTo>
                  <a:pt x="1682" y="2215"/>
                </a:lnTo>
                <a:lnTo>
                  <a:pt x="1680" y="2209"/>
                </a:lnTo>
                <a:lnTo>
                  <a:pt x="1672" y="2199"/>
                </a:lnTo>
                <a:lnTo>
                  <a:pt x="1667" y="2193"/>
                </a:lnTo>
                <a:lnTo>
                  <a:pt x="1664" y="2186"/>
                </a:lnTo>
                <a:lnTo>
                  <a:pt x="1661" y="2177"/>
                </a:lnTo>
                <a:lnTo>
                  <a:pt x="1660" y="2166"/>
                </a:lnTo>
                <a:lnTo>
                  <a:pt x="1660" y="2166"/>
                </a:lnTo>
                <a:lnTo>
                  <a:pt x="1661" y="2157"/>
                </a:lnTo>
                <a:lnTo>
                  <a:pt x="1664" y="2149"/>
                </a:lnTo>
                <a:lnTo>
                  <a:pt x="1667" y="2142"/>
                </a:lnTo>
                <a:lnTo>
                  <a:pt x="1672" y="2136"/>
                </a:lnTo>
                <a:lnTo>
                  <a:pt x="1678" y="2133"/>
                </a:lnTo>
                <a:lnTo>
                  <a:pt x="1684" y="2130"/>
                </a:lnTo>
                <a:lnTo>
                  <a:pt x="1699" y="2124"/>
                </a:lnTo>
                <a:lnTo>
                  <a:pt x="1714" y="2119"/>
                </a:lnTo>
                <a:lnTo>
                  <a:pt x="1728" y="2113"/>
                </a:lnTo>
                <a:lnTo>
                  <a:pt x="1735" y="2110"/>
                </a:lnTo>
                <a:lnTo>
                  <a:pt x="1741" y="2105"/>
                </a:lnTo>
                <a:lnTo>
                  <a:pt x="1745" y="2100"/>
                </a:lnTo>
                <a:lnTo>
                  <a:pt x="1749" y="2093"/>
                </a:lnTo>
                <a:lnTo>
                  <a:pt x="1749" y="2093"/>
                </a:lnTo>
                <a:lnTo>
                  <a:pt x="1749" y="2078"/>
                </a:lnTo>
                <a:lnTo>
                  <a:pt x="1749" y="2078"/>
                </a:lnTo>
                <a:lnTo>
                  <a:pt x="1749" y="2078"/>
                </a:lnTo>
                <a:lnTo>
                  <a:pt x="1742" y="2078"/>
                </a:lnTo>
                <a:lnTo>
                  <a:pt x="1742" y="2078"/>
                </a:lnTo>
                <a:lnTo>
                  <a:pt x="1728" y="2079"/>
                </a:lnTo>
                <a:lnTo>
                  <a:pt x="1716" y="2080"/>
                </a:lnTo>
                <a:lnTo>
                  <a:pt x="1703" y="2081"/>
                </a:lnTo>
                <a:lnTo>
                  <a:pt x="1697" y="2080"/>
                </a:lnTo>
                <a:lnTo>
                  <a:pt x="1690" y="2078"/>
                </a:lnTo>
                <a:lnTo>
                  <a:pt x="1690" y="2078"/>
                </a:lnTo>
                <a:lnTo>
                  <a:pt x="1676" y="2072"/>
                </a:lnTo>
                <a:lnTo>
                  <a:pt x="1665" y="2067"/>
                </a:lnTo>
                <a:lnTo>
                  <a:pt x="1656" y="2064"/>
                </a:lnTo>
                <a:lnTo>
                  <a:pt x="1645" y="2063"/>
                </a:lnTo>
                <a:lnTo>
                  <a:pt x="1645" y="2063"/>
                </a:lnTo>
                <a:lnTo>
                  <a:pt x="1629" y="2064"/>
                </a:lnTo>
                <a:lnTo>
                  <a:pt x="1613" y="2066"/>
                </a:lnTo>
                <a:lnTo>
                  <a:pt x="1596" y="2066"/>
                </a:lnTo>
                <a:lnTo>
                  <a:pt x="1588" y="2065"/>
                </a:lnTo>
                <a:lnTo>
                  <a:pt x="1580" y="2063"/>
                </a:lnTo>
                <a:lnTo>
                  <a:pt x="1580" y="2063"/>
                </a:lnTo>
                <a:lnTo>
                  <a:pt x="1580" y="1979"/>
                </a:lnTo>
                <a:lnTo>
                  <a:pt x="1580" y="1979"/>
                </a:lnTo>
                <a:lnTo>
                  <a:pt x="1581" y="1973"/>
                </a:lnTo>
                <a:lnTo>
                  <a:pt x="1581" y="1967"/>
                </a:lnTo>
                <a:lnTo>
                  <a:pt x="1585" y="1957"/>
                </a:lnTo>
                <a:lnTo>
                  <a:pt x="1590" y="1948"/>
                </a:lnTo>
                <a:lnTo>
                  <a:pt x="1596" y="1940"/>
                </a:lnTo>
                <a:lnTo>
                  <a:pt x="1607" y="1926"/>
                </a:lnTo>
                <a:lnTo>
                  <a:pt x="1612" y="1919"/>
                </a:lnTo>
                <a:lnTo>
                  <a:pt x="1612" y="1916"/>
                </a:lnTo>
                <a:lnTo>
                  <a:pt x="1613" y="1913"/>
                </a:lnTo>
                <a:lnTo>
                  <a:pt x="1613" y="1913"/>
                </a:lnTo>
                <a:lnTo>
                  <a:pt x="1612" y="1904"/>
                </a:lnTo>
                <a:lnTo>
                  <a:pt x="1610" y="1896"/>
                </a:lnTo>
                <a:lnTo>
                  <a:pt x="1607" y="1888"/>
                </a:lnTo>
                <a:lnTo>
                  <a:pt x="1603" y="1880"/>
                </a:lnTo>
                <a:lnTo>
                  <a:pt x="1592" y="1866"/>
                </a:lnTo>
                <a:lnTo>
                  <a:pt x="1581" y="1852"/>
                </a:lnTo>
                <a:lnTo>
                  <a:pt x="1568" y="1838"/>
                </a:lnTo>
                <a:lnTo>
                  <a:pt x="1557" y="1824"/>
                </a:lnTo>
                <a:lnTo>
                  <a:pt x="1552" y="1817"/>
                </a:lnTo>
                <a:lnTo>
                  <a:pt x="1548" y="1809"/>
                </a:lnTo>
                <a:lnTo>
                  <a:pt x="1545" y="1800"/>
                </a:lnTo>
                <a:lnTo>
                  <a:pt x="1543" y="1791"/>
                </a:lnTo>
                <a:lnTo>
                  <a:pt x="1543" y="1791"/>
                </a:lnTo>
                <a:lnTo>
                  <a:pt x="1542" y="1782"/>
                </a:lnTo>
                <a:lnTo>
                  <a:pt x="1542" y="1774"/>
                </a:lnTo>
                <a:lnTo>
                  <a:pt x="1543" y="1765"/>
                </a:lnTo>
                <a:lnTo>
                  <a:pt x="1545" y="1757"/>
                </a:lnTo>
                <a:lnTo>
                  <a:pt x="1548" y="1749"/>
                </a:lnTo>
                <a:lnTo>
                  <a:pt x="1549" y="1742"/>
                </a:lnTo>
                <a:lnTo>
                  <a:pt x="1549" y="1734"/>
                </a:lnTo>
                <a:lnTo>
                  <a:pt x="1548" y="1726"/>
                </a:lnTo>
                <a:lnTo>
                  <a:pt x="1548" y="1726"/>
                </a:lnTo>
                <a:lnTo>
                  <a:pt x="1546" y="1722"/>
                </a:lnTo>
                <a:lnTo>
                  <a:pt x="1544" y="1719"/>
                </a:lnTo>
                <a:lnTo>
                  <a:pt x="1539" y="1714"/>
                </a:lnTo>
                <a:lnTo>
                  <a:pt x="1533" y="1710"/>
                </a:lnTo>
                <a:lnTo>
                  <a:pt x="1524" y="1707"/>
                </a:lnTo>
                <a:lnTo>
                  <a:pt x="1506" y="1703"/>
                </a:lnTo>
                <a:lnTo>
                  <a:pt x="1488" y="1699"/>
                </a:lnTo>
                <a:lnTo>
                  <a:pt x="1488" y="1699"/>
                </a:lnTo>
                <a:lnTo>
                  <a:pt x="1490" y="1692"/>
                </a:lnTo>
                <a:lnTo>
                  <a:pt x="1492" y="1688"/>
                </a:lnTo>
                <a:lnTo>
                  <a:pt x="1496" y="1682"/>
                </a:lnTo>
                <a:lnTo>
                  <a:pt x="1499" y="1679"/>
                </a:lnTo>
                <a:lnTo>
                  <a:pt x="1508" y="1670"/>
                </a:lnTo>
                <a:lnTo>
                  <a:pt x="1519" y="1665"/>
                </a:lnTo>
                <a:lnTo>
                  <a:pt x="1528" y="1658"/>
                </a:lnTo>
                <a:lnTo>
                  <a:pt x="1535" y="1651"/>
                </a:lnTo>
                <a:lnTo>
                  <a:pt x="1538" y="1646"/>
                </a:lnTo>
                <a:lnTo>
                  <a:pt x="1541" y="1642"/>
                </a:lnTo>
                <a:lnTo>
                  <a:pt x="1542" y="1636"/>
                </a:lnTo>
                <a:lnTo>
                  <a:pt x="1543" y="1630"/>
                </a:lnTo>
                <a:lnTo>
                  <a:pt x="1543" y="1630"/>
                </a:lnTo>
                <a:lnTo>
                  <a:pt x="1542" y="1606"/>
                </a:lnTo>
                <a:lnTo>
                  <a:pt x="1541" y="1583"/>
                </a:lnTo>
                <a:lnTo>
                  <a:pt x="1538" y="1561"/>
                </a:lnTo>
                <a:lnTo>
                  <a:pt x="1535" y="1538"/>
                </a:lnTo>
                <a:lnTo>
                  <a:pt x="1530" y="1516"/>
                </a:lnTo>
                <a:lnTo>
                  <a:pt x="1524" y="1494"/>
                </a:lnTo>
                <a:lnTo>
                  <a:pt x="1519" y="1473"/>
                </a:lnTo>
                <a:lnTo>
                  <a:pt x="1512" y="1452"/>
                </a:lnTo>
                <a:lnTo>
                  <a:pt x="1504" y="1431"/>
                </a:lnTo>
                <a:lnTo>
                  <a:pt x="1496" y="1410"/>
                </a:lnTo>
                <a:lnTo>
                  <a:pt x="1477" y="1370"/>
                </a:lnTo>
                <a:lnTo>
                  <a:pt x="1458" y="1332"/>
                </a:lnTo>
                <a:lnTo>
                  <a:pt x="1436" y="1295"/>
                </a:lnTo>
                <a:lnTo>
                  <a:pt x="1436" y="1295"/>
                </a:lnTo>
                <a:lnTo>
                  <a:pt x="1443" y="1292"/>
                </a:lnTo>
                <a:lnTo>
                  <a:pt x="1449" y="1288"/>
                </a:lnTo>
                <a:lnTo>
                  <a:pt x="1460" y="1278"/>
                </a:lnTo>
                <a:lnTo>
                  <a:pt x="1472" y="1267"/>
                </a:lnTo>
                <a:lnTo>
                  <a:pt x="1483" y="1254"/>
                </a:lnTo>
                <a:lnTo>
                  <a:pt x="1493" y="1242"/>
                </a:lnTo>
                <a:lnTo>
                  <a:pt x="1503" y="1231"/>
                </a:lnTo>
                <a:lnTo>
                  <a:pt x="1513" y="1223"/>
                </a:lnTo>
                <a:lnTo>
                  <a:pt x="1516" y="1221"/>
                </a:lnTo>
                <a:lnTo>
                  <a:pt x="1521" y="1218"/>
                </a:lnTo>
                <a:lnTo>
                  <a:pt x="1521" y="1218"/>
                </a:lnTo>
                <a:lnTo>
                  <a:pt x="1526" y="1217"/>
                </a:lnTo>
                <a:lnTo>
                  <a:pt x="1531" y="1216"/>
                </a:lnTo>
                <a:lnTo>
                  <a:pt x="1542" y="1215"/>
                </a:lnTo>
                <a:lnTo>
                  <a:pt x="1560" y="1215"/>
                </a:lnTo>
                <a:lnTo>
                  <a:pt x="1568" y="1214"/>
                </a:lnTo>
                <a:lnTo>
                  <a:pt x="1572" y="1212"/>
                </a:lnTo>
                <a:lnTo>
                  <a:pt x="1574" y="1210"/>
                </a:lnTo>
                <a:lnTo>
                  <a:pt x="1576" y="1208"/>
                </a:lnTo>
                <a:lnTo>
                  <a:pt x="1579" y="1203"/>
                </a:lnTo>
                <a:lnTo>
                  <a:pt x="1580" y="1199"/>
                </a:lnTo>
                <a:lnTo>
                  <a:pt x="1580" y="1193"/>
                </a:lnTo>
                <a:lnTo>
                  <a:pt x="1580" y="1193"/>
                </a:lnTo>
                <a:lnTo>
                  <a:pt x="1580" y="1186"/>
                </a:lnTo>
                <a:lnTo>
                  <a:pt x="1577" y="1180"/>
                </a:lnTo>
                <a:lnTo>
                  <a:pt x="1571" y="1169"/>
                </a:lnTo>
                <a:lnTo>
                  <a:pt x="1565" y="1157"/>
                </a:lnTo>
                <a:lnTo>
                  <a:pt x="1562" y="1151"/>
                </a:lnTo>
                <a:lnTo>
                  <a:pt x="1561" y="1145"/>
                </a:lnTo>
                <a:lnTo>
                  <a:pt x="1561" y="1145"/>
                </a:lnTo>
                <a:lnTo>
                  <a:pt x="1613" y="1012"/>
                </a:lnTo>
                <a:lnTo>
                  <a:pt x="1613" y="1012"/>
                </a:lnTo>
                <a:lnTo>
                  <a:pt x="1613" y="1012"/>
                </a:lnTo>
                <a:lnTo>
                  <a:pt x="1620" y="1008"/>
                </a:lnTo>
                <a:lnTo>
                  <a:pt x="1629" y="1002"/>
                </a:lnTo>
                <a:lnTo>
                  <a:pt x="1640" y="997"/>
                </a:lnTo>
                <a:lnTo>
                  <a:pt x="1650" y="992"/>
                </a:lnTo>
                <a:lnTo>
                  <a:pt x="1659" y="985"/>
                </a:lnTo>
                <a:lnTo>
                  <a:pt x="1664" y="981"/>
                </a:lnTo>
                <a:lnTo>
                  <a:pt x="1667" y="977"/>
                </a:lnTo>
                <a:lnTo>
                  <a:pt x="1671" y="972"/>
                </a:lnTo>
                <a:lnTo>
                  <a:pt x="1673" y="966"/>
                </a:lnTo>
                <a:lnTo>
                  <a:pt x="1674" y="960"/>
                </a:lnTo>
                <a:lnTo>
                  <a:pt x="1675" y="954"/>
                </a:lnTo>
                <a:lnTo>
                  <a:pt x="1675" y="954"/>
                </a:lnTo>
                <a:lnTo>
                  <a:pt x="1675" y="949"/>
                </a:lnTo>
                <a:lnTo>
                  <a:pt x="1674" y="944"/>
                </a:lnTo>
                <a:lnTo>
                  <a:pt x="1672" y="940"/>
                </a:lnTo>
                <a:lnTo>
                  <a:pt x="1669" y="936"/>
                </a:lnTo>
                <a:lnTo>
                  <a:pt x="1664" y="929"/>
                </a:lnTo>
                <a:lnTo>
                  <a:pt x="1657" y="925"/>
                </a:lnTo>
                <a:lnTo>
                  <a:pt x="1643" y="916"/>
                </a:lnTo>
                <a:lnTo>
                  <a:pt x="1636" y="911"/>
                </a:lnTo>
                <a:lnTo>
                  <a:pt x="1632" y="906"/>
                </a:lnTo>
                <a:lnTo>
                  <a:pt x="1632" y="906"/>
                </a:lnTo>
                <a:lnTo>
                  <a:pt x="1628" y="901"/>
                </a:lnTo>
                <a:lnTo>
                  <a:pt x="1626" y="895"/>
                </a:lnTo>
                <a:lnTo>
                  <a:pt x="1622" y="883"/>
                </a:lnTo>
                <a:lnTo>
                  <a:pt x="1621" y="871"/>
                </a:lnTo>
                <a:lnTo>
                  <a:pt x="1620" y="859"/>
                </a:lnTo>
                <a:lnTo>
                  <a:pt x="1619" y="847"/>
                </a:lnTo>
                <a:lnTo>
                  <a:pt x="1617" y="835"/>
                </a:lnTo>
                <a:lnTo>
                  <a:pt x="1612" y="825"/>
                </a:lnTo>
                <a:lnTo>
                  <a:pt x="1610" y="819"/>
                </a:lnTo>
                <a:lnTo>
                  <a:pt x="1606" y="814"/>
                </a:lnTo>
                <a:lnTo>
                  <a:pt x="1606" y="814"/>
                </a:lnTo>
                <a:lnTo>
                  <a:pt x="1595" y="802"/>
                </a:lnTo>
                <a:lnTo>
                  <a:pt x="1583" y="791"/>
                </a:lnTo>
                <a:lnTo>
                  <a:pt x="1559" y="773"/>
                </a:lnTo>
                <a:lnTo>
                  <a:pt x="1548" y="764"/>
                </a:lnTo>
                <a:lnTo>
                  <a:pt x="1536" y="753"/>
                </a:lnTo>
                <a:lnTo>
                  <a:pt x="1527" y="741"/>
                </a:lnTo>
                <a:lnTo>
                  <a:pt x="1522" y="734"/>
                </a:lnTo>
                <a:lnTo>
                  <a:pt x="1518" y="726"/>
                </a:lnTo>
                <a:lnTo>
                  <a:pt x="1518" y="726"/>
                </a:lnTo>
                <a:lnTo>
                  <a:pt x="1511" y="713"/>
                </a:lnTo>
                <a:lnTo>
                  <a:pt x="1507" y="702"/>
                </a:lnTo>
                <a:lnTo>
                  <a:pt x="1501" y="681"/>
                </a:lnTo>
                <a:lnTo>
                  <a:pt x="1498" y="673"/>
                </a:lnTo>
                <a:lnTo>
                  <a:pt x="1496" y="669"/>
                </a:lnTo>
                <a:lnTo>
                  <a:pt x="1492" y="665"/>
                </a:lnTo>
                <a:lnTo>
                  <a:pt x="1489" y="661"/>
                </a:lnTo>
                <a:lnTo>
                  <a:pt x="1483" y="659"/>
                </a:lnTo>
                <a:lnTo>
                  <a:pt x="1469" y="653"/>
                </a:lnTo>
                <a:lnTo>
                  <a:pt x="1469" y="653"/>
                </a:lnTo>
                <a:lnTo>
                  <a:pt x="1475" y="636"/>
                </a:lnTo>
                <a:lnTo>
                  <a:pt x="1482" y="622"/>
                </a:lnTo>
                <a:lnTo>
                  <a:pt x="1487" y="612"/>
                </a:lnTo>
                <a:lnTo>
                  <a:pt x="1488" y="606"/>
                </a:lnTo>
                <a:lnTo>
                  <a:pt x="1488" y="601"/>
                </a:lnTo>
                <a:lnTo>
                  <a:pt x="1488" y="601"/>
                </a:lnTo>
                <a:lnTo>
                  <a:pt x="1489" y="593"/>
                </a:lnTo>
                <a:lnTo>
                  <a:pt x="1492" y="586"/>
                </a:lnTo>
                <a:lnTo>
                  <a:pt x="1495" y="575"/>
                </a:lnTo>
                <a:lnTo>
                  <a:pt x="1496" y="557"/>
                </a:lnTo>
                <a:lnTo>
                  <a:pt x="1496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73" y="551"/>
                </a:lnTo>
                <a:lnTo>
                  <a:pt x="1459" y="542"/>
                </a:lnTo>
                <a:lnTo>
                  <a:pt x="1459" y="542"/>
                </a:lnTo>
                <a:lnTo>
                  <a:pt x="1440" y="549"/>
                </a:lnTo>
                <a:lnTo>
                  <a:pt x="1428" y="554"/>
                </a:lnTo>
                <a:lnTo>
                  <a:pt x="1420" y="561"/>
                </a:lnTo>
                <a:lnTo>
                  <a:pt x="1417" y="563"/>
                </a:lnTo>
                <a:lnTo>
                  <a:pt x="1416" y="567"/>
                </a:lnTo>
                <a:lnTo>
                  <a:pt x="1415" y="570"/>
                </a:lnTo>
                <a:lnTo>
                  <a:pt x="1415" y="573"/>
                </a:lnTo>
                <a:lnTo>
                  <a:pt x="1417" y="580"/>
                </a:lnTo>
                <a:lnTo>
                  <a:pt x="1422" y="585"/>
                </a:lnTo>
                <a:lnTo>
                  <a:pt x="1428" y="591"/>
                </a:lnTo>
                <a:lnTo>
                  <a:pt x="1440" y="601"/>
                </a:lnTo>
                <a:lnTo>
                  <a:pt x="1452" y="612"/>
                </a:lnTo>
                <a:lnTo>
                  <a:pt x="1457" y="618"/>
                </a:lnTo>
                <a:lnTo>
                  <a:pt x="1458" y="622"/>
                </a:lnTo>
                <a:lnTo>
                  <a:pt x="1458" y="624"/>
                </a:lnTo>
                <a:lnTo>
                  <a:pt x="1457" y="626"/>
                </a:lnTo>
                <a:lnTo>
                  <a:pt x="1451" y="630"/>
                </a:lnTo>
                <a:lnTo>
                  <a:pt x="1451" y="630"/>
                </a:lnTo>
                <a:lnTo>
                  <a:pt x="1444" y="645"/>
                </a:lnTo>
                <a:lnTo>
                  <a:pt x="1435" y="658"/>
                </a:lnTo>
                <a:lnTo>
                  <a:pt x="1426" y="669"/>
                </a:lnTo>
                <a:lnTo>
                  <a:pt x="1415" y="680"/>
                </a:lnTo>
                <a:lnTo>
                  <a:pt x="1404" y="689"/>
                </a:lnTo>
                <a:lnTo>
                  <a:pt x="1392" y="697"/>
                </a:lnTo>
                <a:lnTo>
                  <a:pt x="1369" y="712"/>
                </a:lnTo>
                <a:lnTo>
                  <a:pt x="1345" y="726"/>
                </a:lnTo>
                <a:lnTo>
                  <a:pt x="1323" y="737"/>
                </a:lnTo>
                <a:lnTo>
                  <a:pt x="1314" y="744"/>
                </a:lnTo>
                <a:lnTo>
                  <a:pt x="1305" y="751"/>
                </a:lnTo>
                <a:lnTo>
                  <a:pt x="1297" y="758"/>
                </a:lnTo>
                <a:lnTo>
                  <a:pt x="1290" y="766"/>
                </a:lnTo>
                <a:lnTo>
                  <a:pt x="1290" y="766"/>
                </a:lnTo>
                <a:lnTo>
                  <a:pt x="1290" y="758"/>
                </a:lnTo>
                <a:lnTo>
                  <a:pt x="1291" y="749"/>
                </a:lnTo>
                <a:lnTo>
                  <a:pt x="1294" y="738"/>
                </a:lnTo>
                <a:lnTo>
                  <a:pt x="1298" y="728"/>
                </a:lnTo>
                <a:lnTo>
                  <a:pt x="1308" y="705"/>
                </a:lnTo>
                <a:lnTo>
                  <a:pt x="1322" y="681"/>
                </a:lnTo>
                <a:lnTo>
                  <a:pt x="1339" y="653"/>
                </a:lnTo>
                <a:lnTo>
                  <a:pt x="1358" y="626"/>
                </a:lnTo>
                <a:lnTo>
                  <a:pt x="1398" y="565"/>
                </a:lnTo>
                <a:lnTo>
                  <a:pt x="1419" y="532"/>
                </a:lnTo>
                <a:lnTo>
                  <a:pt x="1439" y="499"/>
                </a:lnTo>
                <a:lnTo>
                  <a:pt x="1458" y="466"/>
                </a:lnTo>
                <a:lnTo>
                  <a:pt x="1475" y="432"/>
                </a:lnTo>
                <a:lnTo>
                  <a:pt x="1483" y="415"/>
                </a:lnTo>
                <a:lnTo>
                  <a:pt x="1489" y="398"/>
                </a:lnTo>
                <a:lnTo>
                  <a:pt x="1496" y="381"/>
                </a:lnTo>
                <a:lnTo>
                  <a:pt x="1500" y="363"/>
                </a:lnTo>
                <a:lnTo>
                  <a:pt x="1505" y="347"/>
                </a:lnTo>
                <a:lnTo>
                  <a:pt x="1507" y="330"/>
                </a:lnTo>
                <a:lnTo>
                  <a:pt x="1510" y="313"/>
                </a:lnTo>
                <a:lnTo>
                  <a:pt x="1510" y="297"/>
                </a:lnTo>
                <a:lnTo>
                  <a:pt x="1510" y="297"/>
                </a:lnTo>
                <a:lnTo>
                  <a:pt x="1508" y="284"/>
                </a:lnTo>
                <a:lnTo>
                  <a:pt x="1505" y="269"/>
                </a:lnTo>
                <a:lnTo>
                  <a:pt x="1499" y="254"/>
                </a:lnTo>
                <a:lnTo>
                  <a:pt x="1492" y="239"/>
                </a:lnTo>
                <a:lnTo>
                  <a:pt x="1483" y="223"/>
                </a:lnTo>
                <a:lnTo>
                  <a:pt x="1472" y="208"/>
                </a:lnTo>
                <a:lnTo>
                  <a:pt x="1460" y="193"/>
                </a:lnTo>
                <a:lnTo>
                  <a:pt x="1447" y="178"/>
                </a:lnTo>
                <a:lnTo>
                  <a:pt x="1434" y="164"/>
                </a:lnTo>
                <a:lnTo>
                  <a:pt x="1420" y="150"/>
                </a:lnTo>
                <a:lnTo>
                  <a:pt x="1405" y="139"/>
                </a:lnTo>
                <a:lnTo>
                  <a:pt x="1391" y="129"/>
                </a:lnTo>
                <a:lnTo>
                  <a:pt x="1376" y="120"/>
                </a:lnTo>
                <a:lnTo>
                  <a:pt x="1362" y="115"/>
                </a:lnTo>
                <a:lnTo>
                  <a:pt x="1350" y="110"/>
                </a:lnTo>
                <a:lnTo>
                  <a:pt x="1337" y="109"/>
                </a:lnTo>
                <a:lnTo>
                  <a:pt x="1337" y="109"/>
                </a:lnTo>
                <a:lnTo>
                  <a:pt x="1317" y="109"/>
                </a:lnTo>
                <a:lnTo>
                  <a:pt x="1293" y="110"/>
                </a:lnTo>
                <a:lnTo>
                  <a:pt x="1281" y="112"/>
                </a:lnTo>
                <a:lnTo>
                  <a:pt x="1269" y="115"/>
                </a:lnTo>
                <a:lnTo>
                  <a:pt x="1259" y="118"/>
                </a:lnTo>
                <a:lnTo>
                  <a:pt x="1248" y="124"/>
                </a:lnTo>
                <a:lnTo>
                  <a:pt x="1248" y="124"/>
                </a:lnTo>
                <a:lnTo>
                  <a:pt x="1247" y="135"/>
                </a:lnTo>
                <a:lnTo>
                  <a:pt x="1245" y="145"/>
                </a:lnTo>
                <a:lnTo>
                  <a:pt x="1243" y="153"/>
                </a:lnTo>
                <a:lnTo>
                  <a:pt x="1239" y="160"/>
                </a:lnTo>
                <a:lnTo>
                  <a:pt x="1236" y="165"/>
                </a:lnTo>
                <a:lnTo>
                  <a:pt x="1232" y="170"/>
                </a:lnTo>
                <a:lnTo>
                  <a:pt x="1228" y="173"/>
                </a:lnTo>
                <a:lnTo>
                  <a:pt x="1223" y="176"/>
                </a:lnTo>
                <a:lnTo>
                  <a:pt x="1218" y="178"/>
                </a:lnTo>
                <a:lnTo>
                  <a:pt x="1214" y="179"/>
                </a:lnTo>
                <a:lnTo>
                  <a:pt x="1205" y="179"/>
                </a:lnTo>
                <a:lnTo>
                  <a:pt x="1186" y="179"/>
                </a:lnTo>
                <a:lnTo>
                  <a:pt x="1186" y="179"/>
                </a:lnTo>
                <a:lnTo>
                  <a:pt x="1185" y="178"/>
                </a:lnTo>
                <a:lnTo>
                  <a:pt x="1184" y="178"/>
                </a:lnTo>
                <a:lnTo>
                  <a:pt x="1185" y="173"/>
                </a:lnTo>
                <a:lnTo>
                  <a:pt x="1187" y="168"/>
                </a:lnTo>
                <a:lnTo>
                  <a:pt x="1192" y="161"/>
                </a:lnTo>
                <a:lnTo>
                  <a:pt x="1201" y="142"/>
                </a:lnTo>
                <a:lnTo>
                  <a:pt x="1206" y="132"/>
                </a:lnTo>
                <a:lnTo>
                  <a:pt x="1208" y="123"/>
                </a:lnTo>
                <a:lnTo>
                  <a:pt x="1209" y="112"/>
                </a:lnTo>
                <a:lnTo>
                  <a:pt x="1208" y="108"/>
                </a:lnTo>
                <a:lnTo>
                  <a:pt x="1207" y="104"/>
                </a:lnTo>
                <a:lnTo>
                  <a:pt x="1205" y="100"/>
                </a:lnTo>
                <a:lnTo>
                  <a:pt x="1201" y="96"/>
                </a:lnTo>
                <a:lnTo>
                  <a:pt x="1197" y="93"/>
                </a:lnTo>
                <a:lnTo>
                  <a:pt x="1192" y="91"/>
                </a:lnTo>
                <a:lnTo>
                  <a:pt x="1185" y="88"/>
                </a:lnTo>
                <a:lnTo>
                  <a:pt x="1177" y="87"/>
                </a:lnTo>
                <a:lnTo>
                  <a:pt x="1167" y="86"/>
                </a:lnTo>
                <a:lnTo>
                  <a:pt x="1156" y="85"/>
                </a:lnTo>
                <a:lnTo>
                  <a:pt x="1129" y="86"/>
                </a:lnTo>
                <a:lnTo>
                  <a:pt x="1095" y="91"/>
                </a:lnTo>
                <a:lnTo>
                  <a:pt x="1095" y="91"/>
                </a:lnTo>
                <a:lnTo>
                  <a:pt x="1092" y="88"/>
                </a:lnTo>
                <a:lnTo>
                  <a:pt x="1092" y="85"/>
                </a:lnTo>
                <a:lnTo>
                  <a:pt x="1094" y="82"/>
                </a:lnTo>
                <a:lnTo>
                  <a:pt x="1098" y="80"/>
                </a:lnTo>
                <a:lnTo>
                  <a:pt x="1109" y="74"/>
                </a:lnTo>
                <a:lnTo>
                  <a:pt x="1122" y="68"/>
                </a:lnTo>
                <a:lnTo>
                  <a:pt x="1128" y="63"/>
                </a:lnTo>
                <a:lnTo>
                  <a:pt x="1132" y="58"/>
                </a:lnTo>
                <a:lnTo>
                  <a:pt x="1137" y="53"/>
                </a:lnTo>
                <a:lnTo>
                  <a:pt x="1139" y="47"/>
                </a:lnTo>
                <a:lnTo>
                  <a:pt x="1138" y="40"/>
                </a:lnTo>
                <a:lnTo>
                  <a:pt x="1136" y="32"/>
                </a:lnTo>
                <a:lnTo>
                  <a:pt x="1130" y="24"/>
                </a:lnTo>
                <a:lnTo>
                  <a:pt x="1121" y="13"/>
                </a:lnTo>
                <a:lnTo>
                  <a:pt x="1121" y="13"/>
                </a:lnTo>
                <a:lnTo>
                  <a:pt x="1103" y="7"/>
                </a:lnTo>
                <a:lnTo>
                  <a:pt x="1088" y="2"/>
                </a:lnTo>
                <a:lnTo>
                  <a:pt x="1076" y="0"/>
                </a:lnTo>
                <a:lnTo>
                  <a:pt x="1064" y="0"/>
                </a:lnTo>
                <a:lnTo>
                  <a:pt x="1055" y="2"/>
                </a:lnTo>
                <a:lnTo>
                  <a:pt x="1047" y="5"/>
                </a:lnTo>
                <a:lnTo>
                  <a:pt x="1042" y="11"/>
                </a:lnTo>
                <a:lnTo>
                  <a:pt x="1040" y="17"/>
                </a:lnTo>
                <a:lnTo>
                  <a:pt x="1040" y="17"/>
                </a:lnTo>
                <a:lnTo>
                  <a:pt x="1032" y="27"/>
                </a:lnTo>
                <a:lnTo>
                  <a:pt x="1024" y="39"/>
                </a:lnTo>
                <a:lnTo>
                  <a:pt x="1008" y="69"/>
                </a:lnTo>
                <a:lnTo>
                  <a:pt x="992" y="101"/>
                </a:lnTo>
                <a:lnTo>
                  <a:pt x="984" y="115"/>
                </a:lnTo>
                <a:lnTo>
                  <a:pt x="973" y="127"/>
                </a:lnTo>
                <a:lnTo>
                  <a:pt x="973" y="127"/>
                </a:lnTo>
                <a:lnTo>
                  <a:pt x="970" y="133"/>
                </a:lnTo>
                <a:lnTo>
                  <a:pt x="969" y="140"/>
                </a:lnTo>
                <a:lnTo>
                  <a:pt x="969" y="147"/>
                </a:lnTo>
                <a:lnTo>
                  <a:pt x="970" y="154"/>
                </a:lnTo>
                <a:lnTo>
                  <a:pt x="974" y="168"/>
                </a:lnTo>
                <a:lnTo>
                  <a:pt x="980" y="183"/>
                </a:lnTo>
                <a:lnTo>
                  <a:pt x="983" y="190"/>
                </a:lnTo>
                <a:lnTo>
                  <a:pt x="983" y="196"/>
                </a:lnTo>
                <a:lnTo>
                  <a:pt x="983" y="203"/>
                </a:lnTo>
                <a:lnTo>
                  <a:pt x="980" y="211"/>
                </a:lnTo>
                <a:lnTo>
                  <a:pt x="977" y="218"/>
                </a:lnTo>
                <a:lnTo>
                  <a:pt x="970" y="224"/>
                </a:lnTo>
                <a:lnTo>
                  <a:pt x="961" y="231"/>
                </a:lnTo>
                <a:lnTo>
                  <a:pt x="948" y="238"/>
                </a:lnTo>
                <a:lnTo>
                  <a:pt x="948" y="238"/>
                </a:lnTo>
                <a:lnTo>
                  <a:pt x="933" y="233"/>
                </a:lnTo>
                <a:lnTo>
                  <a:pt x="919" y="232"/>
                </a:lnTo>
                <a:lnTo>
                  <a:pt x="912" y="232"/>
                </a:lnTo>
                <a:lnTo>
                  <a:pt x="907" y="232"/>
                </a:lnTo>
                <a:lnTo>
                  <a:pt x="902" y="234"/>
                </a:lnTo>
                <a:lnTo>
                  <a:pt x="900" y="237"/>
                </a:lnTo>
                <a:lnTo>
                  <a:pt x="899" y="241"/>
                </a:lnTo>
                <a:lnTo>
                  <a:pt x="900" y="248"/>
                </a:lnTo>
                <a:lnTo>
                  <a:pt x="904" y="256"/>
                </a:lnTo>
                <a:lnTo>
                  <a:pt x="912" y="268"/>
                </a:lnTo>
                <a:lnTo>
                  <a:pt x="925" y="280"/>
                </a:lnTo>
                <a:lnTo>
                  <a:pt x="941" y="297"/>
                </a:lnTo>
                <a:lnTo>
                  <a:pt x="941" y="297"/>
                </a:lnTo>
                <a:lnTo>
                  <a:pt x="927" y="291"/>
                </a:lnTo>
                <a:lnTo>
                  <a:pt x="917" y="286"/>
                </a:lnTo>
                <a:lnTo>
                  <a:pt x="909" y="285"/>
                </a:lnTo>
                <a:lnTo>
                  <a:pt x="902" y="284"/>
                </a:lnTo>
                <a:lnTo>
                  <a:pt x="893" y="284"/>
                </a:lnTo>
                <a:lnTo>
                  <a:pt x="886" y="285"/>
                </a:lnTo>
                <a:lnTo>
                  <a:pt x="886" y="285"/>
                </a:lnTo>
                <a:lnTo>
                  <a:pt x="882" y="287"/>
                </a:lnTo>
                <a:lnTo>
                  <a:pt x="877" y="294"/>
                </a:lnTo>
                <a:lnTo>
                  <a:pt x="859" y="314"/>
                </a:lnTo>
                <a:lnTo>
                  <a:pt x="849" y="324"/>
                </a:lnTo>
                <a:lnTo>
                  <a:pt x="839" y="333"/>
                </a:lnTo>
                <a:lnTo>
                  <a:pt x="833" y="337"/>
                </a:lnTo>
                <a:lnTo>
                  <a:pt x="828" y="339"/>
                </a:lnTo>
                <a:lnTo>
                  <a:pt x="824" y="340"/>
                </a:lnTo>
                <a:lnTo>
                  <a:pt x="819" y="340"/>
                </a:lnTo>
                <a:lnTo>
                  <a:pt x="819" y="340"/>
                </a:lnTo>
                <a:lnTo>
                  <a:pt x="816" y="339"/>
                </a:lnTo>
                <a:lnTo>
                  <a:pt x="815" y="337"/>
                </a:lnTo>
                <a:lnTo>
                  <a:pt x="815" y="333"/>
                </a:lnTo>
                <a:lnTo>
                  <a:pt x="815" y="329"/>
                </a:lnTo>
                <a:lnTo>
                  <a:pt x="819" y="318"/>
                </a:lnTo>
                <a:lnTo>
                  <a:pt x="825" y="307"/>
                </a:lnTo>
                <a:lnTo>
                  <a:pt x="828" y="297"/>
                </a:lnTo>
                <a:lnTo>
                  <a:pt x="829" y="291"/>
                </a:lnTo>
                <a:lnTo>
                  <a:pt x="831" y="287"/>
                </a:lnTo>
                <a:lnTo>
                  <a:pt x="829" y="283"/>
                </a:lnTo>
                <a:lnTo>
                  <a:pt x="826" y="280"/>
                </a:lnTo>
                <a:lnTo>
                  <a:pt x="823" y="278"/>
                </a:lnTo>
                <a:lnTo>
                  <a:pt x="816" y="277"/>
                </a:lnTo>
                <a:lnTo>
                  <a:pt x="816" y="277"/>
                </a:lnTo>
                <a:lnTo>
                  <a:pt x="798" y="291"/>
                </a:lnTo>
                <a:lnTo>
                  <a:pt x="783" y="300"/>
                </a:lnTo>
                <a:lnTo>
                  <a:pt x="768" y="307"/>
                </a:lnTo>
                <a:lnTo>
                  <a:pt x="756" y="310"/>
                </a:lnTo>
                <a:lnTo>
                  <a:pt x="743" y="313"/>
                </a:lnTo>
                <a:lnTo>
                  <a:pt x="732" y="315"/>
                </a:lnTo>
                <a:lnTo>
                  <a:pt x="720" y="316"/>
                </a:lnTo>
                <a:lnTo>
                  <a:pt x="709" y="318"/>
                </a:lnTo>
                <a:lnTo>
                  <a:pt x="709" y="318"/>
                </a:lnTo>
                <a:lnTo>
                  <a:pt x="697" y="318"/>
                </a:lnTo>
                <a:lnTo>
                  <a:pt x="688" y="320"/>
                </a:lnTo>
                <a:lnTo>
                  <a:pt x="682" y="322"/>
                </a:lnTo>
                <a:lnTo>
                  <a:pt x="679" y="323"/>
                </a:lnTo>
                <a:lnTo>
                  <a:pt x="678" y="326"/>
                </a:lnTo>
                <a:lnTo>
                  <a:pt x="678" y="330"/>
                </a:lnTo>
                <a:lnTo>
                  <a:pt x="680" y="333"/>
                </a:lnTo>
                <a:lnTo>
                  <a:pt x="682" y="337"/>
                </a:lnTo>
                <a:lnTo>
                  <a:pt x="689" y="345"/>
                </a:lnTo>
                <a:lnTo>
                  <a:pt x="695" y="354"/>
                </a:lnTo>
                <a:lnTo>
                  <a:pt x="696" y="359"/>
                </a:lnTo>
                <a:lnTo>
                  <a:pt x="696" y="362"/>
                </a:lnTo>
                <a:lnTo>
                  <a:pt x="695" y="367"/>
                </a:lnTo>
                <a:lnTo>
                  <a:pt x="691" y="370"/>
                </a:lnTo>
                <a:lnTo>
                  <a:pt x="691" y="370"/>
                </a:lnTo>
                <a:lnTo>
                  <a:pt x="687" y="372"/>
                </a:lnTo>
                <a:lnTo>
                  <a:pt x="682" y="375"/>
                </a:lnTo>
                <a:lnTo>
                  <a:pt x="668" y="379"/>
                </a:lnTo>
                <a:lnTo>
                  <a:pt x="635" y="389"/>
                </a:lnTo>
                <a:lnTo>
                  <a:pt x="617" y="393"/>
                </a:lnTo>
                <a:lnTo>
                  <a:pt x="598" y="400"/>
                </a:lnTo>
                <a:lnTo>
                  <a:pt x="581" y="408"/>
                </a:lnTo>
                <a:lnTo>
                  <a:pt x="573" y="413"/>
                </a:lnTo>
                <a:lnTo>
                  <a:pt x="566" y="417"/>
                </a:lnTo>
                <a:lnTo>
                  <a:pt x="566" y="417"/>
                </a:lnTo>
                <a:lnTo>
                  <a:pt x="542" y="435"/>
                </a:lnTo>
                <a:lnTo>
                  <a:pt x="521" y="451"/>
                </a:lnTo>
                <a:lnTo>
                  <a:pt x="503" y="468"/>
                </a:lnTo>
                <a:lnTo>
                  <a:pt x="485" y="486"/>
                </a:lnTo>
                <a:lnTo>
                  <a:pt x="470" y="504"/>
                </a:lnTo>
                <a:lnTo>
                  <a:pt x="456" y="521"/>
                </a:lnTo>
                <a:lnTo>
                  <a:pt x="430" y="557"/>
                </a:lnTo>
                <a:lnTo>
                  <a:pt x="430" y="557"/>
                </a:lnTo>
                <a:lnTo>
                  <a:pt x="427" y="561"/>
                </a:lnTo>
                <a:lnTo>
                  <a:pt x="424" y="567"/>
                </a:lnTo>
                <a:lnTo>
                  <a:pt x="423" y="573"/>
                </a:lnTo>
                <a:lnTo>
                  <a:pt x="423" y="578"/>
                </a:lnTo>
                <a:lnTo>
                  <a:pt x="424" y="593"/>
                </a:lnTo>
                <a:lnTo>
                  <a:pt x="428" y="610"/>
                </a:lnTo>
                <a:lnTo>
                  <a:pt x="434" y="626"/>
                </a:lnTo>
                <a:lnTo>
                  <a:pt x="439" y="642"/>
                </a:lnTo>
                <a:lnTo>
                  <a:pt x="452" y="674"/>
                </a:lnTo>
                <a:lnTo>
                  <a:pt x="457" y="688"/>
                </a:lnTo>
                <a:lnTo>
                  <a:pt x="460" y="699"/>
                </a:lnTo>
                <a:lnTo>
                  <a:pt x="461" y="708"/>
                </a:lnTo>
                <a:lnTo>
                  <a:pt x="461" y="711"/>
                </a:lnTo>
                <a:lnTo>
                  <a:pt x="460" y="713"/>
                </a:lnTo>
                <a:lnTo>
                  <a:pt x="459" y="714"/>
                </a:lnTo>
                <a:lnTo>
                  <a:pt x="456" y="714"/>
                </a:lnTo>
                <a:lnTo>
                  <a:pt x="452" y="714"/>
                </a:lnTo>
                <a:lnTo>
                  <a:pt x="447" y="712"/>
                </a:lnTo>
                <a:lnTo>
                  <a:pt x="434" y="703"/>
                </a:lnTo>
                <a:lnTo>
                  <a:pt x="415" y="689"/>
                </a:lnTo>
                <a:lnTo>
                  <a:pt x="415" y="689"/>
                </a:lnTo>
                <a:lnTo>
                  <a:pt x="380" y="696"/>
                </a:lnTo>
                <a:lnTo>
                  <a:pt x="348" y="700"/>
                </a:lnTo>
                <a:lnTo>
                  <a:pt x="321" y="703"/>
                </a:lnTo>
                <a:lnTo>
                  <a:pt x="297" y="703"/>
                </a:lnTo>
                <a:lnTo>
                  <a:pt x="275" y="703"/>
                </a:lnTo>
                <a:lnTo>
                  <a:pt x="254" y="702"/>
                </a:lnTo>
                <a:lnTo>
                  <a:pt x="232" y="700"/>
                </a:lnTo>
                <a:lnTo>
                  <a:pt x="209" y="700"/>
                </a:lnTo>
                <a:lnTo>
                  <a:pt x="209" y="700"/>
                </a:lnTo>
                <a:lnTo>
                  <a:pt x="193" y="700"/>
                </a:lnTo>
                <a:lnTo>
                  <a:pt x="179" y="702"/>
                </a:lnTo>
                <a:lnTo>
                  <a:pt x="168" y="704"/>
                </a:lnTo>
                <a:lnTo>
                  <a:pt x="156" y="707"/>
                </a:lnTo>
                <a:lnTo>
                  <a:pt x="148" y="711"/>
                </a:lnTo>
                <a:lnTo>
                  <a:pt x="140" y="717"/>
                </a:lnTo>
                <a:lnTo>
                  <a:pt x="134" y="722"/>
                </a:lnTo>
                <a:lnTo>
                  <a:pt x="130" y="729"/>
                </a:lnTo>
                <a:lnTo>
                  <a:pt x="128" y="736"/>
                </a:lnTo>
                <a:lnTo>
                  <a:pt x="126" y="745"/>
                </a:lnTo>
                <a:lnTo>
                  <a:pt x="126" y="754"/>
                </a:lnTo>
                <a:lnTo>
                  <a:pt x="129" y="765"/>
                </a:lnTo>
                <a:lnTo>
                  <a:pt x="132" y="776"/>
                </a:lnTo>
                <a:lnTo>
                  <a:pt x="137" y="789"/>
                </a:lnTo>
                <a:lnTo>
                  <a:pt x="143" y="803"/>
                </a:lnTo>
                <a:lnTo>
                  <a:pt x="151" y="818"/>
                </a:lnTo>
                <a:lnTo>
                  <a:pt x="151" y="818"/>
                </a:lnTo>
                <a:lnTo>
                  <a:pt x="153" y="824"/>
                </a:lnTo>
                <a:lnTo>
                  <a:pt x="153" y="829"/>
                </a:lnTo>
                <a:lnTo>
                  <a:pt x="153" y="836"/>
                </a:lnTo>
                <a:lnTo>
                  <a:pt x="151" y="843"/>
                </a:lnTo>
                <a:lnTo>
                  <a:pt x="147" y="859"/>
                </a:lnTo>
                <a:lnTo>
                  <a:pt x="144" y="875"/>
                </a:lnTo>
                <a:lnTo>
                  <a:pt x="143" y="883"/>
                </a:lnTo>
                <a:lnTo>
                  <a:pt x="143" y="893"/>
                </a:lnTo>
                <a:lnTo>
                  <a:pt x="144" y="901"/>
                </a:lnTo>
                <a:lnTo>
                  <a:pt x="146" y="909"/>
                </a:lnTo>
                <a:lnTo>
                  <a:pt x="152" y="916"/>
                </a:lnTo>
                <a:lnTo>
                  <a:pt x="159" y="924"/>
                </a:lnTo>
                <a:lnTo>
                  <a:pt x="168" y="929"/>
                </a:lnTo>
                <a:lnTo>
                  <a:pt x="180" y="935"/>
                </a:lnTo>
                <a:lnTo>
                  <a:pt x="180" y="935"/>
                </a:lnTo>
                <a:lnTo>
                  <a:pt x="184" y="933"/>
                </a:lnTo>
                <a:lnTo>
                  <a:pt x="189" y="934"/>
                </a:lnTo>
                <a:lnTo>
                  <a:pt x="192" y="935"/>
                </a:lnTo>
                <a:lnTo>
                  <a:pt x="194" y="940"/>
                </a:lnTo>
                <a:lnTo>
                  <a:pt x="199" y="951"/>
                </a:lnTo>
                <a:lnTo>
                  <a:pt x="202" y="964"/>
                </a:lnTo>
                <a:lnTo>
                  <a:pt x="207" y="978"/>
                </a:lnTo>
                <a:lnTo>
                  <a:pt x="209" y="983"/>
                </a:lnTo>
                <a:lnTo>
                  <a:pt x="212" y="989"/>
                </a:lnTo>
                <a:lnTo>
                  <a:pt x="215" y="993"/>
                </a:lnTo>
                <a:lnTo>
                  <a:pt x="218" y="994"/>
                </a:lnTo>
                <a:lnTo>
                  <a:pt x="223" y="994"/>
                </a:lnTo>
                <a:lnTo>
                  <a:pt x="228" y="990"/>
                </a:lnTo>
                <a:lnTo>
                  <a:pt x="228" y="990"/>
                </a:lnTo>
                <a:lnTo>
                  <a:pt x="239" y="1007"/>
                </a:lnTo>
                <a:lnTo>
                  <a:pt x="248" y="1020"/>
                </a:lnTo>
                <a:lnTo>
                  <a:pt x="255" y="1033"/>
                </a:lnTo>
                <a:lnTo>
                  <a:pt x="256" y="1039"/>
                </a:lnTo>
                <a:lnTo>
                  <a:pt x="258" y="1046"/>
                </a:lnTo>
                <a:lnTo>
                  <a:pt x="258" y="1051"/>
                </a:lnTo>
                <a:lnTo>
                  <a:pt x="256" y="1058"/>
                </a:lnTo>
                <a:lnTo>
                  <a:pt x="254" y="1065"/>
                </a:lnTo>
                <a:lnTo>
                  <a:pt x="251" y="1072"/>
                </a:lnTo>
                <a:lnTo>
                  <a:pt x="246" y="1080"/>
                </a:lnTo>
                <a:lnTo>
                  <a:pt x="240" y="1089"/>
                </a:lnTo>
                <a:lnTo>
                  <a:pt x="224" y="1108"/>
                </a:lnTo>
                <a:lnTo>
                  <a:pt x="224" y="1108"/>
                </a:lnTo>
                <a:lnTo>
                  <a:pt x="230" y="1123"/>
                </a:lnTo>
                <a:lnTo>
                  <a:pt x="243" y="1157"/>
                </a:lnTo>
                <a:lnTo>
                  <a:pt x="250" y="1177"/>
                </a:lnTo>
                <a:lnTo>
                  <a:pt x="253" y="1196"/>
                </a:lnTo>
                <a:lnTo>
                  <a:pt x="255" y="1206"/>
                </a:lnTo>
                <a:lnTo>
                  <a:pt x="255" y="1212"/>
                </a:lnTo>
                <a:lnTo>
                  <a:pt x="255" y="1219"/>
                </a:lnTo>
                <a:lnTo>
                  <a:pt x="253" y="1225"/>
                </a:lnTo>
                <a:lnTo>
                  <a:pt x="253" y="1225"/>
                </a:lnTo>
                <a:lnTo>
                  <a:pt x="238" y="1252"/>
                </a:lnTo>
                <a:lnTo>
                  <a:pt x="225" y="1269"/>
                </a:lnTo>
                <a:lnTo>
                  <a:pt x="221" y="1275"/>
                </a:lnTo>
                <a:lnTo>
                  <a:pt x="217" y="1279"/>
                </a:lnTo>
                <a:lnTo>
                  <a:pt x="214" y="1282"/>
                </a:lnTo>
                <a:lnTo>
                  <a:pt x="210" y="1282"/>
                </a:lnTo>
                <a:lnTo>
                  <a:pt x="208" y="1282"/>
                </a:lnTo>
                <a:lnTo>
                  <a:pt x="206" y="1280"/>
                </a:lnTo>
                <a:lnTo>
                  <a:pt x="202" y="1275"/>
                </a:lnTo>
                <a:lnTo>
                  <a:pt x="194" y="1259"/>
                </a:lnTo>
                <a:lnTo>
                  <a:pt x="194" y="1259"/>
                </a:lnTo>
                <a:lnTo>
                  <a:pt x="205" y="1235"/>
                </a:lnTo>
                <a:lnTo>
                  <a:pt x="212" y="1215"/>
                </a:lnTo>
                <a:lnTo>
                  <a:pt x="217" y="1196"/>
                </a:lnTo>
                <a:lnTo>
                  <a:pt x="220" y="1181"/>
                </a:lnTo>
                <a:lnTo>
                  <a:pt x="221" y="1168"/>
                </a:lnTo>
                <a:lnTo>
                  <a:pt x="221" y="1157"/>
                </a:lnTo>
                <a:lnTo>
                  <a:pt x="220" y="1149"/>
                </a:lnTo>
                <a:lnTo>
                  <a:pt x="217" y="1147"/>
                </a:lnTo>
                <a:lnTo>
                  <a:pt x="216" y="1146"/>
                </a:lnTo>
                <a:lnTo>
                  <a:pt x="214" y="1145"/>
                </a:lnTo>
                <a:lnTo>
                  <a:pt x="212" y="1143"/>
                </a:lnTo>
                <a:lnTo>
                  <a:pt x="209" y="1145"/>
                </a:lnTo>
                <a:lnTo>
                  <a:pt x="206" y="1146"/>
                </a:lnTo>
                <a:lnTo>
                  <a:pt x="200" y="1151"/>
                </a:lnTo>
                <a:lnTo>
                  <a:pt x="194" y="1160"/>
                </a:lnTo>
                <a:lnTo>
                  <a:pt x="186" y="1172"/>
                </a:lnTo>
                <a:lnTo>
                  <a:pt x="179" y="1188"/>
                </a:lnTo>
                <a:lnTo>
                  <a:pt x="172" y="1209"/>
                </a:lnTo>
                <a:lnTo>
                  <a:pt x="166" y="1233"/>
                </a:lnTo>
                <a:lnTo>
                  <a:pt x="166" y="1233"/>
                </a:lnTo>
                <a:lnTo>
                  <a:pt x="167" y="1222"/>
                </a:lnTo>
                <a:lnTo>
                  <a:pt x="169" y="1203"/>
                </a:lnTo>
                <a:lnTo>
                  <a:pt x="178" y="1160"/>
                </a:lnTo>
                <a:lnTo>
                  <a:pt x="184" y="1137"/>
                </a:lnTo>
                <a:lnTo>
                  <a:pt x="191" y="1115"/>
                </a:lnTo>
                <a:lnTo>
                  <a:pt x="197" y="1097"/>
                </a:lnTo>
                <a:lnTo>
                  <a:pt x="202" y="1086"/>
                </a:lnTo>
                <a:lnTo>
                  <a:pt x="202" y="1086"/>
                </a:lnTo>
                <a:lnTo>
                  <a:pt x="215" y="1064"/>
                </a:lnTo>
                <a:lnTo>
                  <a:pt x="223" y="1047"/>
                </a:lnTo>
                <a:lnTo>
                  <a:pt x="228" y="1033"/>
                </a:lnTo>
                <a:lnTo>
                  <a:pt x="230" y="1024"/>
                </a:lnTo>
                <a:lnTo>
                  <a:pt x="230" y="1020"/>
                </a:lnTo>
                <a:lnTo>
                  <a:pt x="229" y="1018"/>
                </a:lnTo>
                <a:lnTo>
                  <a:pt x="228" y="1016"/>
                </a:lnTo>
                <a:lnTo>
                  <a:pt x="225" y="1015"/>
                </a:lnTo>
                <a:lnTo>
                  <a:pt x="221" y="1013"/>
                </a:lnTo>
                <a:lnTo>
                  <a:pt x="214" y="1013"/>
                </a:lnTo>
                <a:lnTo>
                  <a:pt x="197" y="1016"/>
                </a:lnTo>
                <a:lnTo>
                  <a:pt x="189" y="1016"/>
                </a:lnTo>
                <a:lnTo>
                  <a:pt x="179" y="1017"/>
                </a:lnTo>
                <a:lnTo>
                  <a:pt x="170" y="1016"/>
                </a:lnTo>
                <a:lnTo>
                  <a:pt x="162" y="1012"/>
                </a:lnTo>
                <a:lnTo>
                  <a:pt x="159" y="1010"/>
                </a:lnTo>
                <a:lnTo>
                  <a:pt x="155" y="1007"/>
                </a:lnTo>
                <a:lnTo>
                  <a:pt x="153" y="1003"/>
                </a:lnTo>
                <a:lnTo>
                  <a:pt x="151" y="997"/>
                </a:lnTo>
                <a:lnTo>
                  <a:pt x="151" y="997"/>
                </a:lnTo>
                <a:lnTo>
                  <a:pt x="141" y="979"/>
                </a:lnTo>
                <a:lnTo>
                  <a:pt x="132" y="963"/>
                </a:lnTo>
                <a:lnTo>
                  <a:pt x="122" y="950"/>
                </a:lnTo>
                <a:lnTo>
                  <a:pt x="111" y="940"/>
                </a:lnTo>
                <a:lnTo>
                  <a:pt x="87" y="918"/>
                </a:lnTo>
                <a:lnTo>
                  <a:pt x="72" y="905"/>
                </a:lnTo>
                <a:lnTo>
                  <a:pt x="55" y="888"/>
                </a:lnTo>
                <a:lnTo>
                  <a:pt x="55" y="888"/>
                </a:lnTo>
                <a:lnTo>
                  <a:pt x="54" y="890"/>
                </a:lnTo>
                <a:lnTo>
                  <a:pt x="50" y="893"/>
                </a:lnTo>
                <a:lnTo>
                  <a:pt x="45" y="895"/>
                </a:lnTo>
                <a:lnTo>
                  <a:pt x="37" y="895"/>
                </a:lnTo>
                <a:lnTo>
                  <a:pt x="37" y="895"/>
                </a:lnTo>
                <a:lnTo>
                  <a:pt x="33" y="902"/>
                </a:lnTo>
                <a:lnTo>
                  <a:pt x="32" y="908"/>
                </a:lnTo>
                <a:lnTo>
                  <a:pt x="33" y="921"/>
                </a:lnTo>
                <a:lnTo>
                  <a:pt x="33" y="921"/>
                </a:lnTo>
                <a:lnTo>
                  <a:pt x="33" y="928"/>
                </a:lnTo>
                <a:lnTo>
                  <a:pt x="36" y="934"/>
                </a:lnTo>
                <a:lnTo>
                  <a:pt x="39" y="939"/>
                </a:lnTo>
                <a:lnTo>
                  <a:pt x="44" y="942"/>
                </a:lnTo>
                <a:lnTo>
                  <a:pt x="48" y="946"/>
                </a:lnTo>
                <a:lnTo>
                  <a:pt x="54" y="948"/>
                </a:lnTo>
                <a:lnTo>
                  <a:pt x="67" y="952"/>
                </a:lnTo>
                <a:lnTo>
                  <a:pt x="79" y="957"/>
                </a:lnTo>
                <a:lnTo>
                  <a:pt x="85" y="960"/>
                </a:lnTo>
                <a:lnTo>
                  <a:pt x="91" y="964"/>
                </a:lnTo>
                <a:lnTo>
                  <a:pt x="95" y="967"/>
                </a:lnTo>
                <a:lnTo>
                  <a:pt x="99" y="973"/>
                </a:lnTo>
                <a:lnTo>
                  <a:pt x="101" y="979"/>
                </a:lnTo>
                <a:lnTo>
                  <a:pt x="103" y="987"/>
                </a:lnTo>
                <a:lnTo>
                  <a:pt x="103" y="987"/>
                </a:lnTo>
                <a:lnTo>
                  <a:pt x="103" y="998"/>
                </a:lnTo>
                <a:lnTo>
                  <a:pt x="103" y="1008"/>
                </a:lnTo>
                <a:lnTo>
                  <a:pt x="101" y="1015"/>
                </a:lnTo>
                <a:lnTo>
                  <a:pt x="98" y="1021"/>
                </a:lnTo>
                <a:lnTo>
                  <a:pt x="94" y="1026"/>
                </a:lnTo>
                <a:lnTo>
                  <a:pt x="90" y="1030"/>
                </a:lnTo>
                <a:lnTo>
                  <a:pt x="85" y="1032"/>
                </a:lnTo>
                <a:lnTo>
                  <a:pt x="80" y="1034"/>
                </a:lnTo>
                <a:lnTo>
                  <a:pt x="70" y="1039"/>
                </a:lnTo>
                <a:lnTo>
                  <a:pt x="61" y="1042"/>
                </a:lnTo>
                <a:lnTo>
                  <a:pt x="57" y="1046"/>
                </a:lnTo>
                <a:lnTo>
                  <a:pt x="54" y="1049"/>
                </a:lnTo>
                <a:lnTo>
                  <a:pt x="53" y="1054"/>
                </a:lnTo>
                <a:lnTo>
                  <a:pt x="52" y="1061"/>
                </a:lnTo>
                <a:lnTo>
                  <a:pt x="52" y="1061"/>
                </a:lnTo>
                <a:lnTo>
                  <a:pt x="53" y="1066"/>
                </a:lnTo>
                <a:lnTo>
                  <a:pt x="54" y="1072"/>
                </a:lnTo>
                <a:lnTo>
                  <a:pt x="56" y="1078"/>
                </a:lnTo>
                <a:lnTo>
                  <a:pt x="60" y="1082"/>
                </a:lnTo>
                <a:lnTo>
                  <a:pt x="68" y="1094"/>
                </a:lnTo>
                <a:lnTo>
                  <a:pt x="77" y="1105"/>
                </a:lnTo>
                <a:lnTo>
                  <a:pt x="87" y="1118"/>
                </a:lnTo>
                <a:lnTo>
                  <a:pt x="91" y="1126"/>
                </a:lnTo>
                <a:lnTo>
                  <a:pt x="95" y="1133"/>
                </a:lnTo>
                <a:lnTo>
                  <a:pt x="98" y="1141"/>
                </a:lnTo>
                <a:lnTo>
                  <a:pt x="101" y="1150"/>
                </a:lnTo>
                <a:lnTo>
                  <a:pt x="102" y="1161"/>
                </a:lnTo>
                <a:lnTo>
                  <a:pt x="103" y="1171"/>
                </a:lnTo>
                <a:lnTo>
                  <a:pt x="103" y="1171"/>
                </a:lnTo>
                <a:lnTo>
                  <a:pt x="102" y="1187"/>
                </a:lnTo>
                <a:lnTo>
                  <a:pt x="99" y="1201"/>
                </a:lnTo>
                <a:lnTo>
                  <a:pt x="93" y="1211"/>
                </a:lnTo>
                <a:lnTo>
                  <a:pt x="87" y="1221"/>
                </a:lnTo>
                <a:lnTo>
                  <a:pt x="79" y="1229"/>
                </a:lnTo>
                <a:lnTo>
                  <a:pt x="70" y="1234"/>
                </a:lnTo>
                <a:lnTo>
                  <a:pt x="52" y="1246"/>
                </a:lnTo>
                <a:lnTo>
                  <a:pt x="32" y="1256"/>
                </a:lnTo>
                <a:lnTo>
                  <a:pt x="24" y="1262"/>
                </a:lnTo>
                <a:lnTo>
                  <a:pt x="16" y="1269"/>
                </a:lnTo>
                <a:lnTo>
                  <a:pt x="9" y="1278"/>
                </a:lnTo>
                <a:lnTo>
                  <a:pt x="4" y="1288"/>
                </a:lnTo>
                <a:lnTo>
                  <a:pt x="1" y="1302"/>
                </a:lnTo>
                <a:lnTo>
                  <a:pt x="0" y="1317"/>
                </a:lnTo>
                <a:lnTo>
                  <a:pt x="0" y="1317"/>
                </a:lnTo>
                <a:lnTo>
                  <a:pt x="1" y="1325"/>
                </a:lnTo>
                <a:lnTo>
                  <a:pt x="3" y="1332"/>
                </a:lnTo>
                <a:lnTo>
                  <a:pt x="7" y="1340"/>
                </a:lnTo>
                <a:lnTo>
                  <a:pt x="11" y="1348"/>
                </a:lnTo>
                <a:lnTo>
                  <a:pt x="17" y="1356"/>
                </a:lnTo>
                <a:lnTo>
                  <a:pt x="23" y="1366"/>
                </a:lnTo>
                <a:lnTo>
                  <a:pt x="38" y="1380"/>
                </a:lnTo>
                <a:lnTo>
                  <a:pt x="54" y="1394"/>
                </a:lnTo>
                <a:lnTo>
                  <a:pt x="63" y="1401"/>
                </a:lnTo>
                <a:lnTo>
                  <a:pt x="71" y="1406"/>
                </a:lnTo>
                <a:lnTo>
                  <a:pt x="80" y="1410"/>
                </a:lnTo>
                <a:lnTo>
                  <a:pt x="88" y="1414"/>
                </a:lnTo>
                <a:lnTo>
                  <a:pt x="95" y="1416"/>
                </a:lnTo>
                <a:lnTo>
                  <a:pt x="103" y="1416"/>
                </a:lnTo>
                <a:lnTo>
                  <a:pt x="103" y="1416"/>
                </a:lnTo>
                <a:lnTo>
                  <a:pt x="110" y="1416"/>
                </a:lnTo>
                <a:lnTo>
                  <a:pt x="115" y="1415"/>
                </a:lnTo>
                <a:lnTo>
                  <a:pt x="122" y="1414"/>
                </a:lnTo>
                <a:lnTo>
                  <a:pt x="126" y="1412"/>
                </a:lnTo>
                <a:lnTo>
                  <a:pt x="132" y="1413"/>
                </a:lnTo>
                <a:lnTo>
                  <a:pt x="132" y="1413"/>
                </a:lnTo>
                <a:lnTo>
                  <a:pt x="139" y="1421"/>
                </a:lnTo>
                <a:lnTo>
                  <a:pt x="146" y="1428"/>
                </a:lnTo>
                <a:lnTo>
                  <a:pt x="162" y="1441"/>
                </a:lnTo>
                <a:lnTo>
                  <a:pt x="169" y="1450"/>
                </a:lnTo>
                <a:lnTo>
                  <a:pt x="175" y="1460"/>
                </a:lnTo>
                <a:lnTo>
                  <a:pt x="177" y="1466"/>
                </a:lnTo>
                <a:lnTo>
                  <a:pt x="178" y="1471"/>
                </a:lnTo>
                <a:lnTo>
                  <a:pt x="179" y="1478"/>
                </a:lnTo>
                <a:lnTo>
                  <a:pt x="180" y="1486"/>
                </a:lnTo>
                <a:lnTo>
                  <a:pt x="180" y="1486"/>
                </a:lnTo>
                <a:lnTo>
                  <a:pt x="179" y="1501"/>
                </a:lnTo>
                <a:lnTo>
                  <a:pt x="179" y="1507"/>
                </a:lnTo>
                <a:lnTo>
                  <a:pt x="178" y="1513"/>
                </a:lnTo>
                <a:lnTo>
                  <a:pt x="176" y="1517"/>
                </a:lnTo>
                <a:lnTo>
                  <a:pt x="172" y="1522"/>
                </a:lnTo>
                <a:lnTo>
                  <a:pt x="168" y="1527"/>
                </a:lnTo>
                <a:lnTo>
                  <a:pt x="162" y="1530"/>
                </a:lnTo>
                <a:lnTo>
                  <a:pt x="162" y="1530"/>
                </a:lnTo>
                <a:lnTo>
                  <a:pt x="166" y="1548"/>
                </a:lnTo>
                <a:lnTo>
                  <a:pt x="169" y="1560"/>
                </a:lnTo>
                <a:lnTo>
                  <a:pt x="169" y="1560"/>
                </a:lnTo>
                <a:lnTo>
                  <a:pt x="169" y="156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Freeform 16"/>
          <p:cNvSpPr>
            <a:spLocks/>
          </p:cNvSpPr>
          <p:nvPr/>
        </p:nvSpPr>
        <p:spPr bwMode="auto">
          <a:xfrm>
            <a:off x="7013575" y="3260725"/>
            <a:ext cx="1211263" cy="2182813"/>
          </a:xfrm>
          <a:custGeom>
            <a:avLst/>
            <a:gdLst/>
            <a:ahLst/>
            <a:cxnLst>
              <a:cxn ang="0">
                <a:pos x="660" y="2184"/>
              </a:cxn>
              <a:cxn ang="0">
                <a:pos x="576" y="2143"/>
              </a:cxn>
              <a:cxn ang="0">
                <a:pos x="542" y="2047"/>
              </a:cxn>
              <a:cxn ang="0">
                <a:pos x="539" y="1966"/>
              </a:cxn>
              <a:cxn ang="0">
                <a:pos x="596" y="1848"/>
              </a:cxn>
              <a:cxn ang="0">
                <a:pos x="587" y="1784"/>
              </a:cxn>
              <a:cxn ang="0">
                <a:pos x="663" y="1736"/>
              </a:cxn>
              <a:cxn ang="0">
                <a:pos x="633" y="1585"/>
              </a:cxn>
              <a:cxn ang="0">
                <a:pos x="558" y="1624"/>
              </a:cxn>
              <a:cxn ang="0">
                <a:pos x="483" y="1723"/>
              </a:cxn>
              <a:cxn ang="0">
                <a:pos x="412" y="1765"/>
              </a:cxn>
              <a:cxn ang="0">
                <a:pos x="324" y="1731"/>
              </a:cxn>
              <a:cxn ang="0">
                <a:pos x="266" y="1703"/>
              </a:cxn>
              <a:cxn ang="0">
                <a:pos x="275" y="1612"/>
              </a:cxn>
              <a:cxn ang="0">
                <a:pos x="319" y="1459"/>
              </a:cxn>
              <a:cxn ang="0">
                <a:pos x="213" y="1459"/>
              </a:cxn>
              <a:cxn ang="0">
                <a:pos x="138" y="1322"/>
              </a:cxn>
              <a:cxn ang="0">
                <a:pos x="71" y="1253"/>
              </a:cxn>
              <a:cxn ang="0">
                <a:pos x="22" y="1139"/>
              </a:cxn>
              <a:cxn ang="0">
                <a:pos x="22" y="973"/>
              </a:cxn>
              <a:cxn ang="0">
                <a:pos x="134" y="853"/>
              </a:cxn>
              <a:cxn ang="0">
                <a:pos x="195" y="789"/>
              </a:cxn>
              <a:cxn ang="0">
                <a:pos x="243" y="683"/>
              </a:cxn>
              <a:cxn ang="0">
                <a:pos x="206" y="568"/>
              </a:cxn>
              <a:cxn ang="0">
                <a:pos x="155" y="431"/>
              </a:cxn>
              <a:cxn ang="0">
                <a:pos x="129" y="227"/>
              </a:cxn>
              <a:cxn ang="0">
                <a:pos x="249" y="200"/>
              </a:cxn>
              <a:cxn ang="0">
                <a:pos x="347" y="123"/>
              </a:cxn>
              <a:cxn ang="0">
                <a:pos x="413" y="101"/>
              </a:cxn>
              <a:cxn ang="0">
                <a:pos x="480" y="0"/>
              </a:cxn>
              <a:cxn ang="0">
                <a:pos x="606" y="114"/>
              </a:cxn>
              <a:cxn ang="0">
                <a:pos x="619" y="198"/>
              </a:cxn>
              <a:cxn ang="0">
                <a:pos x="709" y="179"/>
              </a:cxn>
              <a:cxn ang="0">
                <a:pos x="786" y="227"/>
              </a:cxn>
              <a:cxn ang="0">
                <a:pos x="705" y="318"/>
              </a:cxn>
              <a:cxn ang="0">
                <a:pos x="581" y="443"/>
              </a:cxn>
              <a:cxn ang="0">
                <a:pos x="575" y="786"/>
              </a:cxn>
              <a:cxn ang="0">
                <a:pos x="569" y="1109"/>
              </a:cxn>
              <a:cxn ang="0">
                <a:pos x="533" y="1387"/>
              </a:cxn>
              <a:cxn ang="0">
                <a:pos x="669" y="1329"/>
              </a:cxn>
              <a:cxn ang="0">
                <a:pos x="729" y="1428"/>
              </a:cxn>
              <a:cxn ang="0">
                <a:pos x="736" y="1338"/>
              </a:cxn>
              <a:cxn ang="0">
                <a:pos x="824" y="1393"/>
              </a:cxn>
              <a:cxn ang="0">
                <a:pos x="819" y="1249"/>
              </a:cxn>
              <a:cxn ang="0">
                <a:pos x="1010" y="1223"/>
              </a:cxn>
              <a:cxn ang="0">
                <a:pos x="1076" y="1273"/>
              </a:cxn>
              <a:cxn ang="0">
                <a:pos x="1182" y="1348"/>
              </a:cxn>
              <a:cxn ang="0">
                <a:pos x="1394" y="1710"/>
              </a:cxn>
              <a:cxn ang="0">
                <a:pos x="1476" y="1954"/>
              </a:cxn>
              <a:cxn ang="0">
                <a:pos x="1438" y="2065"/>
              </a:cxn>
              <a:cxn ang="0">
                <a:pos x="1293" y="2067"/>
              </a:cxn>
              <a:cxn ang="0">
                <a:pos x="1402" y="2097"/>
              </a:cxn>
              <a:cxn ang="0">
                <a:pos x="1355" y="2214"/>
              </a:cxn>
              <a:cxn ang="0">
                <a:pos x="1321" y="2315"/>
              </a:cxn>
              <a:cxn ang="0">
                <a:pos x="1176" y="2384"/>
              </a:cxn>
              <a:cxn ang="0">
                <a:pos x="1163" y="2456"/>
              </a:cxn>
              <a:cxn ang="0">
                <a:pos x="1127" y="2272"/>
              </a:cxn>
              <a:cxn ang="0">
                <a:pos x="1047" y="2203"/>
              </a:cxn>
              <a:cxn ang="0">
                <a:pos x="895" y="2453"/>
              </a:cxn>
              <a:cxn ang="0">
                <a:pos x="767" y="2479"/>
              </a:cxn>
              <a:cxn ang="0">
                <a:pos x="711" y="2347"/>
              </a:cxn>
              <a:cxn ang="0">
                <a:pos x="734" y="2270"/>
              </a:cxn>
            </a:cxnLst>
            <a:rect l="0" t="0" r="r" b="b"/>
            <a:pathLst>
              <a:path w="1482" h="2504">
                <a:moveTo>
                  <a:pt x="734" y="2270"/>
                </a:moveTo>
                <a:lnTo>
                  <a:pt x="734" y="2270"/>
                </a:lnTo>
                <a:lnTo>
                  <a:pt x="737" y="2270"/>
                </a:lnTo>
                <a:lnTo>
                  <a:pt x="737" y="2270"/>
                </a:lnTo>
                <a:lnTo>
                  <a:pt x="737" y="2270"/>
                </a:lnTo>
                <a:lnTo>
                  <a:pt x="728" y="2269"/>
                </a:lnTo>
                <a:lnTo>
                  <a:pt x="719" y="2265"/>
                </a:lnTo>
                <a:lnTo>
                  <a:pt x="711" y="2260"/>
                </a:lnTo>
                <a:lnTo>
                  <a:pt x="704" y="2254"/>
                </a:lnTo>
                <a:lnTo>
                  <a:pt x="697" y="2246"/>
                </a:lnTo>
                <a:lnTo>
                  <a:pt x="691" y="2238"/>
                </a:lnTo>
                <a:lnTo>
                  <a:pt x="681" y="2218"/>
                </a:lnTo>
                <a:lnTo>
                  <a:pt x="672" y="2200"/>
                </a:lnTo>
                <a:lnTo>
                  <a:pt x="666" y="2191"/>
                </a:lnTo>
                <a:lnTo>
                  <a:pt x="660" y="2184"/>
                </a:lnTo>
                <a:lnTo>
                  <a:pt x="653" y="2177"/>
                </a:lnTo>
                <a:lnTo>
                  <a:pt x="646" y="2172"/>
                </a:lnTo>
                <a:lnTo>
                  <a:pt x="637" y="2169"/>
                </a:lnTo>
                <a:lnTo>
                  <a:pt x="628" y="2168"/>
                </a:lnTo>
                <a:lnTo>
                  <a:pt x="628" y="2168"/>
                </a:lnTo>
                <a:lnTo>
                  <a:pt x="606" y="2168"/>
                </a:lnTo>
                <a:lnTo>
                  <a:pt x="606" y="2168"/>
                </a:lnTo>
                <a:lnTo>
                  <a:pt x="600" y="2166"/>
                </a:lnTo>
                <a:lnTo>
                  <a:pt x="597" y="2165"/>
                </a:lnTo>
                <a:lnTo>
                  <a:pt x="594" y="2162"/>
                </a:lnTo>
                <a:lnTo>
                  <a:pt x="590" y="2158"/>
                </a:lnTo>
                <a:lnTo>
                  <a:pt x="587" y="2150"/>
                </a:lnTo>
                <a:lnTo>
                  <a:pt x="584" y="2141"/>
                </a:lnTo>
                <a:lnTo>
                  <a:pt x="584" y="2141"/>
                </a:lnTo>
                <a:lnTo>
                  <a:pt x="576" y="2143"/>
                </a:lnTo>
                <a:lnTo>
                  <a:pt x="571" y="2143"/>
                </a:lnTo>
                <a:lnTo>
                  <a:pt x="565" y="2143"/>
                </a:lnTo>
                <a:lnTo>
                  <a:pt x="559" y="2141"/>
                </a:lnTo>
                <a:lnTo>
                  <a:pt x="554" y="2139"/>
                </a:lnTo>
                <a:lnTo>
                  <a:pt x="551" y="2136"/>
                </a:lnTo>
                <a:lnTo>
                  <a:pt x="547" y="2132"/>
                </a:lnTo>
                <a:lnTo>
                  <a:pt x="545" y="2127"/>
                </a:lnTo>
                <a:lnTo>
                  <a:pt x="541" y="2117"/>
                </a:lnTo>
                <a:lnTo>
                  <a:pt x="538" y="2104"/>
                </a:lnTo>
                <a:lnTo>
                  <a:pt x="537" y="2090"/>
                </a:lnTo>
                <a:lnTo>
                  <a:pt x="536" y="2075"/>
                </a:lnTo>
                <a:lnTo>
                  <a:pt x="536" y="2075"/>
                </a:lnTo>
                <a:lnTo>
                  <a:pt x="537" y="2065"/>
                </a:lnTo>
                <a:lnTo>
                  <a:pt x="538" y="2056"/>
                </a:lnTo>
                <a:lnTo>
                  <a:pt x="542" y="2047"/>
                </a:lnTo>
                <a:lnTo>
                  <a:pt x="544" y="2040"/>
                </a:lnTo>
                <a:lnTo>
                  <a:pt x="552" y="2026"/>
                </a:lnTo>
                <a:lnTo>
                  <a:pt x="558" y="2012"/>
                </a:lnTo>
                <a:lnTo>
                  <a:pt x="558" y="2012"/>
                </a:lnTo>
                <a:lnTo>
                  <a:pt x="550" y="2009"/>
                </a:lnTo>
                <a:lnTo>
                  <a:pt x="545" y="2006"/>
                </a:lnTo>
                <a:lnTo>
                  <a:pt x="541" y="2003"/>
                </a:lnTo>
                <a:lnTo>
                  <a:pt x="537" y="2000"/>
                </a:lnTo>
                <a:lnTo>
                  <a:pt x="535" y="1995"/>
                </a:lnTo>
                <a:lnTo>
                  <a:pt x="533" y="1989"/>
                </a:lnTo>
                <a:lnTo>
                  <a:pt x="533" y="1983"/>
                </a:lnTo>
                <a:lnTo>
                  <a:pt x="533" y="1983"/>
                </a:lnTo>
                <a:lnTo>
                  <a:pt x="533" y="1979"/>
                </a:lnTo>
                <a:lnTo>
                  <a:pt x="534" y="1975"/>
                </a:lnTo>
                <a:lnTo>
                  <a:pt x="539" y="1966"/>
                </a:lnTo>
                <a:lnTo>
                  <a:pt x="547" y="1957"/>
                </a:lnTo>
                <a:lnTo>
                  <a:pt x="557" y="1947"/>
                </a:lnTo>
                <a:lnTo>
                  <a:pt x="566" y="1936"/>
                </a:lnTo>
                <a:lnTo>
                  <a:pt x="574" y="1925"/>
                </a:lnTo>
                <a:lnTo>
                  <a:pt x="577" y="1918"/>
                </a:lnTo>
                <a:lnTo>
                  <a:pt x="581" y="1912"/>
                </a:lnTo>
                <a:lnTo>
                  <a:pt x="583" y="1905"/>
                </a:lnTo>
                <a:lnTo>
                  <a:pt x="584" y="1898"/>
                </a:lnTo>
                <a:lnTo>
                  <a:pt x="584" y="1898"/>
                </a:lnTo>
                <a:lnTo>
                  <a:pt x="584" y="1876"/>
                </a:lnTo>
                <a:lnTo>
                  <a:pt x="584" y="1876"/>
                </a:lnTo>
                <a:lnTo>
                  <a:pt x="584" y="1871"/>
                </a:lnTo>
                <a:lnTo>
                  <a:pt x="585" y="1866"/>
                </a:lnTo>
                <a:lnTo>
                  <a:pt x="590" y="1856"/>
                </a:lnTo>
                <a:lnTo>
                  <a:pt x="596" y="1848"/>
                </a:lnTo>
                <a:lnTo>
                  <a:pt x="602" y="1841"/>
                </a:lnTo>
                <a:lnTo>
                  <a:pt x="608" y="1834"/>
                </a:lnTo>
                <a:lnTo>
                  <a:pt x="614" y="1827"/>
                </a:lnTo>
                <a:lnTo>
                  <a:pt x="619" y="1819"/>
                </a:lnTo>
                <a:lnTo>
                  <a:pt x="620" y="1815"/>
                </a:lnTo>
                <a:lnTo>
                  <a:pt x="620" y="1811"/>
                </a:lnTo>
                <a:lnTo>
                  <a:pt x="620" y="1811"/>
                </a:lnTo>
                <a:lnTo>
                  <a:pt x="620" y="1805"/>
                </a:lnTo>
                <a:lnTo>
                  <a:pt x="619" y="1802"/>
                </a:lnTo>
                <a:lnTo>
                  <a:pt x="617" y="1798"/>
                </a:lnTo>
                <a:lnTo>
                  <a:pt x="613" y="1796"/>
                </a:lnTo>
                <a:lnTo>
                  <a:pt x="606" y="1792"/>
                </a:lnTo>
                <a:lnTo>
                  <a:pt x="598" y="1789"/>
                </a:lnTo>
                <a:lnTo>
                  <a:pt x="590" y="1787"/>
                </a:lnTo>
                <a:lnTo>
                  <a:pt x="587" y="1784"/>
                </a:lnTo>
                <a:lnTo>
                  <a:pt x="583" y="1782"/>
                </a:lnTo>
                <a:lnTo>
                  <a:pt x="580" y="1779"/>
                </a:lnTo>
                <a:lnTo>
                  <a:pt x="579" y="1774"/>
                </a:lnTo>
                <a:lnTo>
                  <a:pt x="576" y="1769"/>
                </a:lnTo>
                <a:lnTo>
                  <a:pt x="576" y="1763"/>
                </a:lnTo>
                <a:lnTo>
                  <a:pt x="576" y="1763"/>
                </a:lnTo>
                <a:lnTo>
                  <a:pt x="577" y="1757"/>
                </a:lnTo>
                <a:lnTo>
                  <a:pt x="581" y="1751"/>
                </a:lnTo>
                <a:lnTo>
                  <a:pt x="585" y="1745"/>
                </a:lnTo>
                <a:lnTo>
                  <a:pt x="591" y="1741"/>
                </a:lnTo>
                <a:lnTo>
                  <a:pt x="591" y="1741"/>
                </a:lnTo>
                <a:lnTo>
                  <a:pt x="650" y="1741"/>
                </a:lnTo>
                <a:lnTo>
                  <a:pt x="650" y="1741"/>
                </a:lnTo>
                <a:lnTo>
                  <a:pt x="650" y="1741"/>
                </a:lnTo>
                <a:lnTo>
                  <a:pt x="663" y="1736"/>
                </a:lnTo>
                <a:lnTo>
                  <a:pt x="678" y="1730"/>
                </a:lnTo>
                <a:lnTo>
                  <a:pt x="683" y="1726"/>
                </a:lnTo>
                <a:lnTo>
                  <a:pt x="689" y="1721"/>
                </a:lnTo>
                <a:lnTo>
                  <a:pt x="692" y="1715"/>
                </a:lnTo>
                <a:lnTo>
                  <a:pt x="694" y="1712"/>
                </a:lnTo>
                <a:lnTo>
                  <a:pt x="694" y="1708"/>
                </a:lnTo>
                <a:lnTo>
                  <a:pt x="694" y="1708"/>
                </a:lnTo>
                <a:lnTo>
                  <a:pt x="694" y="1702"/>
                </a:lnTo>
                <a:lnTo>
                  <a:pt x="691" y="1695"/>
                </a:lnTo>
                <a:lnTo>
                  <a:pt x="684" y="1675"/>
                </a:lnTo>
                <a:lnTo>
                  <a:pt x="675" y="1653"/>
                </a:lnTo>
                <a:lnTo>
                  <a:pt x="664" y="1631"/>
                </a:lnTo>
                <a:lnTo>
                  <a:pt x="651" y="1609"/>
                </a:lnTo>
                <a:lnTo>
                  <a:pt x="638" y="1592"/>
                </a:lnTo>
                <a:lnTo>
                  <a:pt x="633" y="1585"/>
                </a:lnTo>
                <a:lnTo>
                  <a:pt x="627" y="1581"/>
                </a:lnTo>
                <a:lnTo>
                  <a:pt x="621" y="1577"/>
                </a:lnTo>
                <a:lnTo>
                  <a:pt x="617" y="1576"/>
                </a:lnTo>
                <a:lnTo>
                  <a:pt x="617" y="1576"/>
                </a:lnTo>
                <a:lnTo>
                  <a:pt x="612" y="1576"/>
                </a:lnTo>
                <a:lnTo>
                  <a:pt x="608" y="1577"/>
                </a:lnTo>
                <a:lnTo>
                  <a:pt x="600" y="1581"/>
                </a:lnTo>
                <a:lnTo>
                  <a:pt x="595" y="1585"/>
                </a:lnTo>
                <a:lnTo>
                  <a:pt x="589" y="1592"/>
                </a:lnTo>
                <a:lnTo>
                  <a:pt x="580" y="1605"/>
                </a:lnTo>
                <a:lnTo>
                  <a:pt x="574" y="1611"/>
                </a:lnTo>
                <a:lnTo>
                  <a:pt x="569" y="1615"/>
                </a:lnTo>
                <a:lnTo>
                  <a:pt x="569" y="1615"/>
                </a:lnTo>
                <a:lnTo>
                  <a:pt x="564" y="1621"/>
                </a:lnTo>
                <a:lnTo>
                  <a:pt x="558" y="1624"/>
                </a:lnTo>
                <a:lnTo>
                  <a:pt x="546" y="1629"/>
                </a:lnTo>
                <a:lnTo>
                  <a:pt x="541" y="1631"/>
                </a:lnTo>
                <a:lnTo>
                  <a:pt x="535" y="1635"/>
                </a:lnTo>
                <a:lnTo>
                  <a:pt x="529" y="1639"/>
                </a:lnTo>
                <a:lnTo>
                  <a:pt x="526" y="1645"/>
                </a:lnTo>
                <a:lnTo>
                  <a:pt x="526" y="1645"/>
                </a:lnTo>
                <a:lnTo>
                  <a:pt x="520" y="1653"/>
                </a:lnTo>
                <a:lnTo>
                  <a:pt x="516" y="1662"/>
                </a:lnTo>
                <a:lnTo>
                  <a:pt x="512" y="1682"/>
                </a:lnTo>
                <a:lnTo>
                  <a:pt x="508" y="1692"/>
                </a:lnTo>
                <a:lnTo>
                  <a:pt x="505" y="1703"/>
                </a:lnTo>
                <a:lnTo>
                  <a:pt x="499" y="1711"/>
                </a:lnTo>
                <a:lnTo>
                  <a:pt x="492" y="1719"/>
                </a:lnTo>
                <a:lnTo>
                  <a:pt x="492" y="1719"/>
                </a:lnTo>
                <a:lnTo>
                  <a:pt x="483" y="1723"/>
                </a:lnTo>
                <a:lnTo>
                  <a:pt x="474" y="1727"/>
                </a:lnTo>
                <a:lnTo>
                  <a:pt x="463" y="1733"/>
                </a:lnTo>
                <a:lnTo>
                  <a:pt x="459" y="1736"/>
                </a:lnTo>
                <a:lnTo>
                  <a:pt x="455" y="1741"/>
                </a:lnTo>
                <a:lnTo>
                  <a:pt x="455" y="1741"/>
                </a:lnTo>
                <a:lnTo>
                  <a:pt x="451" y="1744"/>
                </a:lnTo>
                <a:lnTo>
                  <a:pt x="449" y="1748"/>
                </a:lnTo>
                <a:lnTo>
                  <a:pt x="443" y="1757"/>
                </a:lnTo>
                <a:lnTo>
                  <a:pt x="440" y="1760"/>
                </a:lnTo>
                <a:lnTo>
                  <a:pt x="436" y="1764"/>
                </a:lnTo>
                <a:lnTo>
                  <a:pt x="431" y="1766"/>
                </a:lnTo>
                <a:lnTo>
                  <a:pt x="426" y="1766"/>
                </a:lnTo>
                <a:lnTo>
                  <a:pt x="426" y="1766"/>
                </a:lnTo>
                <a:lnTo>
                  <a:pt x="417" y="1766"/>
                </a:lnTo>
                <a:lnTo>
                  <a:pt x="412" y="1765"/>
                </a:lnTo>
                <a:lnTo>
                  <a:pt x="406" y="1763"/>
                </a:lnTo>
                <a:lnTo>
                  <a:pt x="400" y="1759"/>
                </a:lnTo>
                <a:lnTo>
                  <a:pt x="392" y="1752"/>
                </a:lnTo>
                <a:lnTo>
                  <a:pt x="385" y="1744"/>
                </a:lnTo>
                <a:lnTo>
                  <a:pt x="378" y="1736"/>
                </a:lnTo>
                <a:lnTo>
                  <a:pt x="370" y="1729"/>
                </a:lnTo>
                <a:lnTo>
                  <a:pt x="366" y="1727"/>
                </a:lnTo>
                <a:lnTo>
                  <a:pt x="360" y="1725"/>
                </a:lnTo>
                <a:lnTo>
                  <a:pt x="353" y="1723"/>
                </a:lnTo>
                <a:lnTo>
                  <a:pt x="345" y="1723"/>
                </a:lnTo>
                <a:lnTo>
                  <a:pt x="345" y="1723"/>
                </a:lnTo>
                <a:lnTo>
                  <a:pt x="339" y="1723"/>
                </a:lnTo>
                <a:lnTo>
                  <a:pt x="333" y="1726"/>
                </a:lnTo>
                <a:lnTo>
                  <a:pt x="329" y="1729"/>
                </a:lnTo>
                <a:lnTo>
                  <a:pt x="324" y="1731"/>
                </a:lnTo>
                <a:lnTo>
                  <a:pt x="320" y="1735"/>
                </a:lnTo>
                <a:lnTo>
                  <a:pt x="315" y="1738"/>
                </a:lnTo>
                <a:lnTo>
                  <a:pt x="308" y="1741"/>
                </a:lnTo>
                <a:lnTo>
                  <a:pt x="301" y="1741"/>
                </a:lnTo>
                <a:lnTo>
                  <a:pt x="301" y="1741"/>
                </a:lnTo>
                <a:lnTo>
                  <a:pt x="294" y="1741"/>
                </a:lnTo>
                <a:lnTo>
                  <a:pt x="287" y="1739"/>
                </a:lnTo>
                <a:lnTo>
                  <a:pt x="281" y="1736"/>
                </a:lnTo>
                <a:lnTo>
                  <a:pt x="276" y="1734"/>
                </a:lnTo>
                <a:lnTo>
                  <a:pt x="271" y="1729"/>
                </a:lnTo>
                <a:lnTo>
                  <a:pt x="267" y="1723"/>
                </a:lnTo>
                <a:lnTo>
                  <a:pt x="264" y="1718"/>
                </a:lnTo>
                <a:lnTo>
                  <a:pt x="264" y="1712"/>
                </a:lnTo>
                <a:lnTo>
                  <a:pt x="264" y="1712"/>
                </a:lnTo>
                <a:lnTo>
                  <a:pt x="266" y="1703"/>
                </a:lnTo>
                <a:lnTo>
                  <a:pt x="268" y="1695"/>
                </a:lnTo>
                <a:lnTo>
                  <a:pt x="272" y="1688"/>
                </a:lnTo>
                <a:lnTo>
                  <a:pt x="277" y="1681"/>
                </a:lnTo>
                <a:lnTo>
                  <a:pt x="282" y="1674"/>
                </a:lnTo>
                <a:lnTo>
                  <a:pt x="286" y="1666"/>
                </a:lnTo>
                <a:lnTo>
                  <a:pt x="289" y="1658"/>
                </a:lnTo>
                <a:lnTo>
                  <a:pt x="290" y="1650"/>
                </a:lnTo>
                <a:lnTo>
                  <a:pt x="290" y="1650"/>
                </a:lnTo>
                <a:lnTo>
                  <a:pt x="290" y="1644"/>
                </a:lnTo>
                <a:lnTo>
                  <a:pt x="287" y="1639"/>
                </a:lnTo>
                <a:lnTo>
                  <a:pt x="283" y="1632"/>
                </a:lnTo>
                <a:lnTo>
                  <a:pt x="277" y="1623"/>
                </a:lnTo>
                <a:lnTo>
                  <a:pt x="276" y="1619"/>
                </a:lnTo>
                <a:lnTo>
                  <a:pt x="275" y="1612"/>
                </a:lnTo>
                <a:lnTo>
                  <a:pt x="275" y="1612"/>
                </a:lnTo>
                <a:lnTo>
                  <a:pt x="276" y="1608"/>
                </a:lnTo>
                <a:lnTo>
                  <a:pt x="277" y="1605"/>
                </a:lnTo>
                <a:lnTo>
                  <a:pt x="283" y="1599"/>
                </a:lnTo>
                <a:lnTo>
                  <a:pt x="289" y="1593"/>
                </a:lnTo>
                <a:lnTo>
                  <a:pt x="292" y="1590"/>
                </a:lnTo>
                <a:lnTo>
                  <a:pt x="293" y="1586"/>
                </a:lnTo>
                <a:lnTo>
                  <a:pt x="293" y="1586"/>
                </a:lnTo>
                <a:lnTo>
                  <a:pt x="302" y="1559"/>
                </a:lnTo>
                <a:lnTo>
                  <a:pt x="310" y="1529"/>
                </a:lnTo>
                <a:lnTo>
                  <a:pt x="314" y="1514"/>
                </a:lnTo>
                <a:lnTo>
                  <a:pt x="317" y="1499"/>
                </a:lnTo>
                <a:lnTo>
                  <a:pt x="319" y="1484"/>
                </a:lnTo>
                <a:lnTo>
                  <a:pt x="320" y="1469"/>
                </a:lnTo>
                <a:lnTo>
                  <a:pt x="320" y="1469"/>
                </a:lnTo>
                <a:lnTo>
                  <a:pt x="319" y="1459"/>
                </a:lnTo>
                <a:lnTo>
                  <a:pt x="317" y="1451"/>
                </a:lnTo>
                <a:lnTo>
                  <a:pt x="315" y="1444"/>
                </a:lnTo>
                <a:lnTo>
                  <a:pt x="312" y="1438"/>
                </a:lnTo>
                <a:lnTo>
                  <a:pt x="306" y="1433"/>
                </a:lnTo>
                <a:lnTo>
                  <a:pt x="299" y="1431"/>
                </a:lnTo>
                <a:lnTo>
                  <a:pt x="290" y="1430"/>
                </a:lnTo>
                <a:lnTo>
                  <a:pt x="278" y="1429"/>
                </a:lnTo>
                <a:lnTo>
                  <a:pt x="278" y="1429"/>
                </a:lnTo>
                <a:lnTo>
                  <a:pt x="270" y="1429"/>
                </a:lnTo>
                <a:lnTo>
                  <a:pt x="262" y="1430"/>
                </a:lnTo>
                <a:lnTo>
                  <a:pt x="254" y="1432"/>
                </a:lnTo>
                <a:lnTo>
                  <a:pt x="247" y="1435"/>
                </a:lnTo>
                <a:lnTo>
                  <a:pt x="235" y="1440"/>
                </a:lnTo>
                <a:lnTo>
                  <a:pt x="223" y="1450"/>
                </a:lnTo>
                <a:lnTo>
                  <a:pt x="213" y="1459"/>
                </a:lnTo>
                <a:lnTo>
                  <a:pt x="202" y="1469"/>
                </a:lnTo>
                <a:lnTo>
                  <a:pt x="184" y="1491"/>
                </a:lnTo>
                <a:lnTo>
                  <a:pt x="184" y="1491"/>
                </a:lnTo>
                <a:lnTo>
                  <a:pt x="157" y="1491"/>
                </a:lnTo>
                <a:lnTo>
                  <a:pt x="157" y="1491"/>
                </a:lnTo>
                <a:lnTo>
                  <a:pt x="157" y="1491"/>
                </a:lnTo>
                <a:lnTo>
                  <a:pt x="154" y="1470"/>
                </a:lnTo>
                <a:lnTo>
                  <a:pt x="152" y="1451"/>
                </a:lnTo>
                <a:lnTo>
                  <a:pt x="148" y="1413"/>
                </a:lnTo>
                <a:lnTo>
                  <a:pt x="147" y="1377"/>
                </a:lnTo>
                <a:lnTo>
                  <a:pt x="146" y="1344"/>
                </a:lnTo>
                <a:lnTo>
                  <a:pt x="146" y="1344"/>
                </a:lnTo>
                <a:lnTo>
                  <a:pt x="146" y="1336"/>
                </a:lnTo>
                <a:lnTo>
                  <a:pt x="142" y="1328"/>
                </a:lnTo>
                <a:lnTo>
                  <a:pt x="138" y="1322"/>
                </a:lnTo>
                <a:lnTo>
                  <a:pt x="132" y="1317"/>
                </a:lnTo>
                <a:lnTo>
                  <a:pt x="126" y="1313"/>
                </a:lnTo>
                <a:lnTo>
                  <a:pt x="118" y="1309"/>
                </a:lnTo>
                <a:lnTo>
                  <a:pt x="102" y="1305"/>
                </a:lnTo>
                <a:lnTo>
                  <a:pt x="86" y="1300"/>
                </a:lnTo>
                <a:lnTo>
                  <a:pt x="72" y="1295"/>
                </a:lnTo>
                <a:lnTo>
                  <a:pt x="67" y="1292"/>
                </a:lnTo>
                <a:lnTo>
                  <a:pt x="62" y="1288"/>
                </a:lnTo>
                <a:lnTo>
                  <a:pt x="60" y="1284"/>
                </a:lnTo>
                <a:lnTo>
                  <a:pt x="58" y="1278"/>
                </a:lnTo>
                <a:lnTo>
                  <a:pt x="58" y="1278"/>
                </a:lnTo>
                <a:lnTo>
                  <a:pt x="58" y="1273"/>
                </a:lnTo>
                <a:lnTo>
                  <a:pt x="60" y="1269"/>
                </a:lnTo>
                <a:lnTo>
                  <a:pt x="64" y="1261"/>
                </a:lnTo>
                <a:lnTo>
                  <a:pt x="71" y="1253"/>
                </a:lnTo>
                <a:lnTo>
                  <a:pt x="77" y="1245"/>
                </a:lnTo>
                <a:lnTo>
                  <a:pt x="77" y="1245"/>
                </a:lnTo>
                <a:lnTo>
                  <a:pt x="77" y="1191"/>
                </a:lnTo>
                <a:lnTo>
                  <a:pt x="77" y="1191"/>
                </a:lnTo>
                <a:lnTo>
                  <a:pt x="77" y="1191"/>
                </a:lnTo>
                <a:lnTo>
                  <a:pt x="49" y="1186"/>
                </a:lnTo>
                <a:lnTo>
                  <a:pt x="39" y="1184"/>
                </a:lnTo>
                <a:lnTo>
                  <a:pt x="30" y="1181"/>
                </a:lnTo>
                <a:lnTo>
                  <a:pt x="22" y="1178"/>
                </a:lnTo>
                <a:lnTo>
                  <a:pt x="15" y="1173"/>
                </a:lnTo>
                <a:lnTo>
                  <a:pt x="8" y="1166"/>
                </a:lnTo>
                <a:lnTo>
                  <a:pt x="0" y="1156"/>
                </a:lnTo>
                <a:lnTo>
                  <a:pt x="0" y="1156"/>
                </a:lnTo>
                <a:lnTo>
                  <a:pt x="10" y="1148"/>
                </a:lnTo>
                <a:lnTo>
                  <a:pt x="22" y="1139"/>
                </a:lnTo>
                <a:lnTo>
                  <a:pt x="27" y="1133"/>
                </a:lnTo>
                <a:lnTo>
                  <a:pt x="32" y="1127"/>
                </a:lnTo>
                <a:lnTo>
                  <a:pt x="35" y="1120"/>
                </a:lnTo>
                <a:lnTo>
                  <a:pt x="37" y="1112"/>
                </a:lnTo>
                <a:lnTo>
                  <a:pt x="37" y="1112"/>
                </a:lnTo>
                <a:lnTo>
                  <a:pt x="35" y="1099"/>
                </a:lnTo>
                <a:lnTo>
                  <a:pt x="33" y="1086"/>
                </a:lnTo>
                <a:lnTo>
                  <a:pt x="27" y="1061"/>
                </a:lnTo>
                <a:lnTo>
                  <a:pt x="22" y="1035"/>
                </a:lnTo>
                <a:lnTo>
                  <a:pt x="19" y="1020"/>
                </a:lnTo>
                <a:lnTo>
                  <a:pt x="18" y="1006"/>
                </a:lnTo>
                <a:lnTo>
                  <a:pt x="18" y="1006"/>
                </a:lnTo>
                <a:lnTo>
                  <a:pt x="18" y="994"/>
                </a:lnTo>
                <a:lnTo>
                  <a:pt x="19" y="983"/>
                </a:lnTo>
                <a:lnTo>
                  <a:pt x="22" y="973"/>
                </a:lnTo>
                <a:lnTo>
                  <a:pt x="24" y="965"/>
                </a:lnTo>
                <a:lnTo>
                  <a:pt x="26" y="956"/>
                </a:lnTo>
                <a:lnTo>
                  <a:pt x="30" y="949"/>
                </a:lnTo>
                <a:lnTo>
                  <a:pt x="33" y="942"/>
                </a:lnTo>
                <a:lnTo>
                  <a:pt x="38" y="936"/>
                </a:lnTo>
                <a:lnTo>
                  <a:pt x="47" y="926"/>
                </a:lnTo>
                <a:lnTo>
                  <a:pt x="56" y="918"/>
                </a:lnTo>
                <a:lnTo>
                  <a:pt x="68" y="911"/>
                </a:lnTo>
                <a:lnTo>
                  <a:pt x="79" y="904"/>
                </a:lnTo>
                <a:lnTo>
                  <a:pt x="101" y="891"/>
                </a:lnTo>
                <a:lnTo>
                  <a:pt x="111" y="885"/>
                </a:lnTo>
                <a:lnTo>
                  <a:pt x="121" y="876"/>
                </a:lnTo>
                <a:lnTo>
                  <a:pt x="129" y="866"/>
                </a:lnTo>
                <a:lnTo>
                  <a:pt x="131" y="860"/>
                </a:lnTo>
                <a:lnTo>
                  <a:pt x="134" y="853"/>
                </a:lnTo>
                <a:lnTo>
                  <a:pt x="137" y="847"/>
                </a:lnTo>
                <a:lnTo>
                  <a:pt x="138" y="837"/>
                </a:lnTo>
                <a:lnTo>
                  <a:pt x="139" y="829"/>
                </a:lnTo>
                <a:lnTo>
                  <a:pt x="139" y="819"/>
                </a:lnTo>
                <a:lnTo>
                  <a:pt x="139" y="819"/>
                </a:lnTo>
                <a:lnTo>
                  <a:pt x="140" y="812"/>
                </a:lnTo>
                <a:lnTo>
                  <a:pt x="141" y="806"/>
                </a:lnTo>
                <a:lnTo>
                  <a:pt x="144" y="802"/>
                </a:lnTo>
                <a:lnTo>
                  <a:pt x="146" y="798"/>
                </a:lnTo>
                <a:lnTo>
                  <a:pt x="149" y="796"/>
                </a:lnTo>
                <a:lnTo>
                  <a:pt x="154" y="794"/>
                </a:lnTo>
                <a:lnTo>
                  <a:pt x="163" y="791"/>
                </a:lnTo>
                <a:lnTo>
                  <a:pt x="174" y="790"/>
                </a:lnTo>
                <a:lnTo>
                  <a:pt x="184" y="790"/>
                </a:lnTo>
                <a:lnTo>
                  <a:pt x="195" y="789"/>
                </a:lnTo>
                <a:lnTo>
                  <a:pt x="206" y="786"/>
                </a:lnTo>
                <a:lnTo>
                  <a:pt x="206" y="786"/>
                </a:lnTo>
                <a:lnTo>
                  <a:pt x="213" y="782"/>
                </a:lnTo>
                <a:lnTo>
                  <a:pt x="218" y="779"/>
                </a:lnTo>
                <a:lnTo>
                  <a:pt x="223" y="775"/>
                </a:lnTo>
                <a:lnTo>
                  <a:pt x="228" y="771"/>
                </a:lnTo>
                <a:lnTo>
                  <a:pt x="231" y="765"/>
                </a:lnTo>
                <a:lnTo>
                  <a:pt x="233" y="760"/>
                </a:lnTo>
                <a:lnTo>
                  <a:pt x="237" y="748"/>
                </a:lnTo>
                <a:lnTo>
                  <a:pt x="239" y="735"/>
                </a:lnTo>
                <a:lnTo>
                  <a:pt x="239" y="722"/>
                </a:lnTo>
                <a:lnTo>
                  <a:pt x="239" y="694"/>
                </a:lnTo>
                <a:lnTo>
                  <a:pt x="239" y="694"/>
                </a:lnTo>
                <a:lnTo>
                  <a:pt x="240" y="688"/>
                </a:lnTo>
                <a:lnTo>
                  <a:pt x="243" y="683"/>
                </a:lnTo>
                <a:lnTo>
                  <a:pt x="247" y="680"/>
                </a:lnTo>
                <a:lnTo>
                  <a:pt x="252" y="676"/>
                </a:lnTo>
                <a:lnTo>
                  <a:pt x="256" y="673"/>
                </a:lnTo>
                <a:lnTo>
                  <a:pt x="260" y="669"/>
                </a:lnTo>
                <a:lnTo>
                  <a:pt x="263" y="666"/>
                </a:lnTo>
                <a:lnTo>
                  <a:pt x="264" y="661"/>
                </a:lnTo>
                <a:lnTo>
                  <a:pt x="264" y="661"/>
                </a:lnTo>
                <a:lnTo>
                  <a:pt x="263" y="653"/>
                </a:lnTo>
                <a:lnTo>
                  <a:pt x="262" y="645"/>
                </a:lnTo>
                <a:lnTo>
                  <a:pt x="259" y="631"/>
                </a:lnTo>
                <a:lnTo>
                  <a:pt x="253" y="619"/>
                </a:lnTo>
                <a:lnTo>
                  <a:pt x="246" y="607"/>
                </a:lnTo>
                <a:lnTo>
                  <a:pt x="237" y="596"/>
                </a:lnTo>
                <a:lnTo>
                  <a:pt x="226" y="586"/>
                </a:lnTo>
                <a:lnTo>
                  <a:pt x="206" y="568"/>
                </a:lnTo>
                <a:lnTo>
                  <a:pt x="184" y="549"/>
                </a:lnTo>
                <a:lnTo>
                  <a:pt x="174" y="539"/>
                </a:lnTo>
                <a:lnTo>
                  <a:pt x="164" y="529"/>
                </a:lnTo>
                <a:lnTo>
                  <a:pt x="157" y="517"/>
                </a:lnTo>
                <a:lnTo>
                  <a:pt x="152" y="506"/>
                </a:lnTo>
                <a:lnTo>
                  <a:pt x="148" y="492"/>
                </a:lnTo>
                <a:lnTo>
                  <a:pt x="147" y="484"/>
                </a:lnTo>
                <a:lnTo>
                  <a:pt x="146" y="477"/>
                </a:lnTo>
                <a:lnTo>
                  <a:pt x="146" y="477"/>
                </a:lnTo>
                <a:lnTo>
                  <a:pt x="147" y="469"/>
                </a:lnTo>
                <a:lnTo>
                  <a:pt x="148" y="463"/>
                </a:lnTo>
                <a:lnTo>
                  <a:pt x="148" y="458"/>
                </a:lnTo>
                <a:lnTo>
                  <a:pt x="146" y="452"/>
                </a:lnTo>
                <a:lnTo>
                  <a:pt x="146" y="452"/>
                </a:lnTo>
                <a:lnTo>
                  <a:pt x="155" y="431"/>
                </a:lnTo>
                <a:lnTo>
                  <a:pt x="163" y="413"/>
                </a:lnTo>
                <a:lnTo>
                  <a:pt x="167" y="404"/>
                </a:lnTo>
                <a:lnTo>
                  <a:pt x="170" y="393"/>
                </a:lnTo>
                <a:lnTo>
                  <a:pt x="171" y="383"/>
                </a:lnTo>
                <a:lnTo>
                  <a:pt x="172" y="370"/>
                </a:lnTo>
                <a:lnTo>
                  <a:pt x="172" y="370"/>
                </a:lnTo>
                <a:lnTo>
                  <a:pt x="172" y="362"/>
                </a:lnTo>
                <a:lnTo>
                  <a:pt x="170" y="353"/>
                </a:lnTo>
                <a:lnTo>
                  <a:pt x="165" y="333"/>
                </a:lnTo>
                <a:lnTo>
                  <a:pt x="159" y="314"/>
                </a:lnTo>
                <a:lnTo>
                  <a:pt x="151" y="293"/>
                </a:lnTo>
                <a:lnTo>
                  <a:pt x="136" y="256"/>
                </a:lnTo>
                <a:lnTo>
                  <a:pt x="130" y="240"/>
                </a:lnTo>
                <a:lnTo>
                  <a:pt x="129" y="233"/>
                </a:lnTo>
                <a:lnTo>
                  <a:pt x="129" y="227"/>
                </a:lnTo>
                <a:lnTo>
                  <a:pt x="129" y="227"/>
                </a:lnTo>
                <a:lnTo>
                  <a:pt x="129" y="223"/>
                </a:lnTo>
                <a:lnTo>
                  <a:pt x="130" y="218"/>
                </a:lnTo>
                <a:lnTo>
                  <a:pt x="133" y="211"/>
                </a:lnTo>
                <a:lnTo>
                  <a:pt x="139" y="206"/>
                </a:lnTo>
                <a:lnTo>
                  <a:pt x="146" y="201"/>
                </a:lnTo>
                <a:lnTo>
                  <a:pt x="154" y="198"/>
                </a:lnTo>
                <a:lnTo>
                  <a:pt x="162" y="195"/>
                </a:lnTo>
                <a:lnTo>
                  <a:pt x="171" y="194"/>
                </a:lnTo>
                <a:lnTo>
                  <a:pt x="180" y="194"/>
                </a:lnTo>
                <a:lnTo>
                  <a:pt x="180" y="194"/>
                </a:lnTo>
                <a:lnTo>
                  <a:pt x="231" y="194"/>
                </a:lnTo>
                <a:lnTo>
                  <a:pt x="231" y="194"/>
                </a:lnTo>
                <a:lnTo>
                  <a:pt x="238" y="196"/>
                </a:lnTo>
                <a:lnTo>
                  <a:pt x="249" y="200"/>
                </a:lnTo>
                <a:lnTo>
                  <a:pt x="258" y="201"/>
                </a:lnTo>
                <a:lnTo>
                  <a:pt x="266" y="202"/>
                </a:lnTo>
                <a:lnTo>
                  <a:pt x="274" y="201"/>
                </a:lnTo>
                <a:lnTo>
                  <a:pt x="282" y="199"/>
                </a:lnTo>
                <a:lnTo>
                  <a:pt x="282" y="199"/>
                </a:lnTo>
                <a:lnTo>
                  <a:pt x="287" y="195"/>
                </a:lnTo>
                <a:lnTo>
                  <a:pt x="292" y="191"/>
                </a:lnTo>
                <a:lnTo>
                  <a:pt x="295" y="186"/>
                </a:lnTo>
                <a:lnTo>
                  <a:pt x="300" y="180"/>
                </a:lnTo>
                <a:lnTo>
                  <a:pt x="314" y="154"/>
                </a:lnTo>
                <a:lnTo>
                  <a:pt x="322" y="141"/>
                </a:lnTo>
                <a:lnTo>
                  <a:pt x="327" y="135"/>
                </a:lnTo>
                <a:lnTo>
                  <a:pt x="333" y="131"/>
                </a:lnTo>
                <a:lnTo>
                  <a:pt x="339" y="126"/>
                </a:lnTo>
                <a:lnTo>
                  <a:pt x="347" y="123"/>
                </a:lnTo>
                <a:lnTo>
                  <a:pt x="356" y="122"/>
                </a:lnTo>
                <a:lnTo>
                  <a:pt x="367" y="120"/>
                </a:lnTo>
                <a:lnTo>
                  <a:pt x="367" y="120"/>
                </a:lnTo>
                <a:lnTo>
                  <a:pt x="376" y="120"/>
                </a:lnTo>
                <a:lnTo>
                  <a:pt x="382" y="122"/>
                </a:lnTo>
                <a:lnTo>
                  <a:pt x="388" y="125"/>
                </a:lnTo>
                <a:lnTo>
                  <a:pt x="390" y="125"/>
                </a:lnTo>
                <a:lnTo>
                  <a:pt x="393" y="125"/>
                </a:lnTo>
                <a:lnTo>
                  <a:pt x="404" y="120"/>
                </a:lnTo>
                <a:lnTo>
                  <a:pt x="404" y="120"/>
                </a:lnTo>
                <a:lnTo>
                  <a:pt x="407" y="119"/>
                </a:lnTo>
                <a:lnTo>
                  <a:pt x="409" y="116"/>
                </a:lnTo>
                <a:lnTo>
                  <a:pt x="411" y="114"/>
                </a:lnTo>
                <a:lnTo>
                  <a:pt x="412" y="109"/>
                </a:lnTo>
                <a:lnTo>
                  <a:pt x="413" y="101"/>
                </a:lnTo>
                <a:lnTo>
                  <a:pt x="412" y="91"/>
                </a:lnTo>
                <a:lnTo>
                  <a:pt x="409" y="69"/>
                </a:lnTo>
                <a:lnTo>
                  <a:pt x="409" y="59"/>
                </a:lnTo>
                <a:lnTo>
                  <a:pt x="411" y="51"/>
                </a:lnTo>
                <a:lnTo>
                  <a:pt x="411" y="51"/>
                </a:lnTo>
                <a:lnTo>
                  <a:pt x="417" y="46"/>
                </a:lnTo>
                <a:lnTo>
                  <a:pt x="424" y="39"/>
                </a:lnTo>
                <a:lnTo>
                  <a:pt x="440" y="21"/>
                </a:lnTo>
                <a:lnTo>
                  <a:pt x="449" y="13"/>
                </a:lnTo>
                <a:lnTo>
                  <a:pt x="457" y="5"/>
                </a:lnTo>
                <a:lnTo>
                  <a:pt x="463" y="1"/>
                </a:lnTo>
                <a:lnTo>
                  <a:pt x="467" y="0"/>
                </a:lnTo>
                <a:lnTo>
                  <a:pt x="469" y="0"/>
                </a:lnTo>
                <a:lnTo>
                  <a:pt x="469" y="0"/>
                </a:lnTo>
                <a:lnTo>
                  <a:pt x="480" y="0"/>
                </a:lnTo>
                <a:lnTo>
                  <a:pt x="490" y="2"/>
                </a:lnTo>
                <a:lnTo>
                  <a:pt x="501" y="5"/>
                </a:lnTo>
                <a:lnTo>
                  <a:pt x="513" y="9"/>
                </a:lnTo>
                <a:lnTo>
                  <a:pt x="524" y="15"/>
                </a:lnTo>
                <a:lnTo>
                  <a:pt x="536" y="20"/>
                </a:lnTo>
                <a:lnTo>
                  <a:pt x="546" y="27"/>
                </a:lnTo>
                <a:lnTo>
                  <a:pt x="557" y="34"/>
                </a:lnTo>
                <a:lnTo>
                  <a:pt x="567" y="42"/>
                </a:lnTo>
                <a:lnTo>
                  <a:pt x="576" y="51"/>
                </a:lnTo>
                <a:lnTo>
                  <a:pt x="584" y="61"/>
                </a:lnTo>
                <a:lnTo>
                  <a:pt x="591" y="71"/>
                </a:lnTo>
                <a:lnTo>
                  <a:pt x="597" y="81"/>
                </a:lnTo>
                <a:lnTo>
                  <a:pt x="602" y="92"/>
                </a:lnTo>
                <a:lnTo>
                  <a:pt x="605" y="102"/>
                </a:lnTo>
                <a:lnTo>
                  <a:pt x="606" y="114"/>
                </a:lnTo>
                <a:lnTo>
                  <a:pt x="606" y="114"/>
                </a:lnTo>
                <a:lnTo>
                  <a:pt x="605" y="118"/>
                </a:lnTo>
                <a:lnTo>
                  <a:pt x="604" y="124"/>
                </a:lnTo>
                <a:lnTo>
                  <a:pt x="598" y="132"/>
                </a:lnTo>
                <a:lnTo>
                  <a:pt x="594" y="142"/>
                </a:lnTo>
                <a:lnTo>
                  <a:pt x="591" y="148"/>
                </a:lnTo>
                <a:lnTo>
                  <a:pt x="591" y="154"/>
                </a:lnTo>
                <a:lnTo>
                  <a:pt x="591" y="154"/>
                </a:lnTo>
                <a:lnTo>
                  <a:pt x="591" y="164"/>
                </a:lnTo>
                <a:lnTo>
                  <a:pt x="594" y="173"/>
                </a:lnTo>
                <a:lnTo>
                  <a:pt x="596" y="181"/>
                </a:lnTo>
                <a:lnTo>
                  <a:pt x="599" y="187"/>
                </a:lnTo>
                <a:lnTo>
                  <a:pt x="605" y="192"/>
                </a:lnTo>
                <a:lnTo>
                  <a:pt x="611" y="195"/>
                </a:lnTo>
                <a:lnTo>
                  <a:pt x="619" y="198"/>
                </a:lnTo>
                <a:lnTo>
                  <a:pt x="628" y="199"/>
                </a:lnTo>
                <a:lnTo>
                  <a:pt x="628" y="199"/>
                </a:lnTo>
                <a:lnTo>
                  <a:pt x="637" y="198"/>
                </a:lnTo>
                <a:lnTo>
                  <a:pt x="644" y="194"/>
                </a:lnTo>
                <a:lnTo>
                  <a:pt x="649" y="189"/>
                </a:lnTo>
                <a:lnTo>
                  <a:pt x="652" y="185"/>
                </a:lnTo>
                <a:lnTo>
                  <a:pt x="656" y="180"/>
                </a:lnTo>
                <a:lnTo>
                  <a:pt x="660" y="177"/>
                </a:lnTo>
                <a:lnTo>
                  <a:pt x="665" y="173"/>
                </a:lnTo>
                <a:lnTo>
                  <a:pt x="672" y="172"/>
                </a:lnTo>
                <a:lnTo>
                  <a:pt x="672" y="172"/>
                </a:lnTo>
                <a:lnTo>
                  <a:pt x="683" y="173"/>
                </a:lnTo>
                <a:lnTo>
                  <a:pt x="691" y="176"/>
                </a:lnTo>
                <a:lnTo>
                  <a:pt x="699" y="178"/>
                </a:lnTo>
                <a:lnTo>
                  <a:pt x="709" y="179"/>
                </a:lnTo>
                <a:lnTo>
                  <a:pt x="709" y="179"/>
                </a:lnTo>
                <a:lnTo>
                  <a:pt x="742" y="179"/>
                </a:lnTo>
                <a:lnTo>
                  <a:pt x="742" y="179"/>
                </a:lnTo>
                <a:lnTo>
                  <a:pt x="745" y="180"/>
                </a:lnTo>
                <a:lnTo>
                  <a:pt x="749" y="181"/>
                </a:lnTo>
                <a:lnTo>
                  <a:pt x="751" y="183"/>
                </a:lnTo>
                <a:lnTo>
                  <a:pt x="755" y="186"/>
                </a:lnTo>
                <a:lnTo>
                  <a:pt x="758" y="193"/>
                </a:lnTo>
                <a:lnTo>
                  <a:pt x="763" y="201"/>
                </a:lnTo>
                <a:lnTo>
                  <a:pt x="766" y="209"/>
                </a:lnTo>
                <a:lnTo>
                  <a:pt x="771" y="217"/>
                </a:lnTo>
                <a:lnTo>
                  <a:pt x="778" y="223"/>
                </a:lnTo>
                <a:lnTo>
                  <a:pt x="781" y="226"/>
                </a:lnTo>
                <a:lnTo>
                  <a:pt x="786" y="227"/>
                </a:lnTo>
                <a:lnTo>
                  <a:pt x="786" y="227"/>
                </a:lnTo>
                <a:lnTo>
                  <a:pt x="776" y="236"/>
                </a:lnTo>
                <a:lnTo>
                  <a:pt x="770" y="244"/>
                </a:lnTo>
                <a:lnTo>
                  <a:pt x="764" y="252"/>
                </a:lnTo>
                <a:lnTo>
                  <a:pt x="760" y="260"/>
                </a:lnTo>
                <a:lnTo>
                  <a:pt x="759" y="269"/>
                </a:lnTo>
                <a:lnTo>
                  <a:pt x="760" y="278"/>
                </a:lnTo>
                <a:lnTo>
                  <a:pt x="764" y="290"/>
                </a:lnTo>
                <a:lnTo>
                  <a:pt x="771" y="301"/>
                </a:lnTo>
                <a:lnTo>
                  <a:pt x="771" y="301"/>
                </a:lnTo>
                <a:lnTo>
                  <a:pt x="759" y="301"/>
                </a:lnTo>
                <a:lnTo>
                  <a:pt x="747" y="302"/>
                </a:lnTo>
                <a:lnTo>
                  <a:pt x="735" y="305"/>
                </a:lnTo>
                <a:lnTo>
                  <a:pt x="725" y="308"/>
                </a:lnTo>
                <a:lnTo>
                  <a:pt x="714" y="313"/>
                </a:lnTo>
                <a:lnTo>
                  <a:pt x="705" y="318"/>
                </a:lnTo>
                <a:lnTo>
                  <a:pt x="696" y="325"/>
                </a:lnTo>
                <a:lnTo>
                  <a:pt x="688" y="331"/>
                </a:lnTo>
                <a:lnTo>
                  <a:pt x="674" y="344"/>
                </a:lnTo>
                <a:lnTo>
                  <a:pt x="663" y="355"/>
                </a:lnTo>
                <a:lnTo>
                  <a:pt x="653" y="367"/>
                </a:lnTo>
                <a:lnTo>
                  <a:pt x="653" y="367"/>
                </a:lnTo>
                <a:lnTo>
                  <a:pt x="648" y="381"/>
                </a:lnTo>
                <a:lnTo>
                  <a:pt x="642" y="392"/>
                </a:lnTo>
                <a:lnTo>
                  <a:pt x="634" y="401"/>
                </a:lnTo>
                <a:lnTo>
                  <a:pt x="627" y="409"/>
                </a:lnTo>
                <a:lnTo>
                  <a:pt x="619" y="416"/>
                </a:lnTo>
                <a:lnTo>
                  <a:pt x="611" y="422"/>
                </a:lnTo>
                <a:lnTo>
                  <a:pt x="595" y="431"/>
                </a:lnTo>
                <a:lnTo>
                  <a:pt x="588" y="437"/>
                </a:lnTo>
                <a:lnTo>
                  <a:pt x="581" y="443"/>
                </a:lnTo>
                <a:lnTo>
                  <a:pt x="574" y="450"/>
                </a:lnTo>
                <a:lnTo>
                  <a:pt x="569" y="458"/>
                </a:lnTo>
                <a:lnTo>
                  <a:pt x="565" y="467"/>
                </a:lnTo>
                <a:lnTo>
                  <a:pt x="561" y="479"/>
                </a:lnTo>
                <a:lnTo>
                  <a:pt x="559" y="493"/>
                </a:lnTo>
                <a:lnTo>
                  <a:pt x="558" y="511"/>
                </a:lnTo>
                <a:lnTo>
                  <a:pt x="558" y="511"/>
                </a:lnTo>
                <a:lnTo>
                  <a:pt x="559" y="536"/>
                </a:lnTo>
                <a:lnTo>
                  <a:pt x="560" y="561"/>
                </a:lnTo>
                <a:lnTo>
                  <a:pt x="564" y="611"/>
                </a:lnTo>
                <a:lnTo>
                  <a:pt x="568" y="658"/>
                </a:lnTo>
                <a:lnTo>
                  <a:pt x="573" y="703"/>
                </a:lnTo>
                <a:lnTo>
                  <a:pt x="576" y="745"/>
                </a:lnTo>
                <a:lnTo>
                  <a:pt x="576" y="766"/>
                </a:lnTo>
                <a:lnTo>
                  <a:pt x="575" y="786"/>
                </a:lnTo>
                <a:lnTo>
                  <a:pt x="573" y="805"/>
                </a:lnTo>
                <a:lnTo>
                  <a:pt x="569" y="824"/>
                </a:lnTo>
                <a:lnTo>
                  <a:pt x="565" y="842"/>
                </a:lnTo>
                <a:lnTo>
                  <a:pt x="558" y="859"/>
                </a:lnTo>
                <a:lnTo>
                  <a:pt x="558" y="859"/>
                </a:lnTo>
                <a:lnTo>
                  <a:pt x="557" y="863"/>
                </a:lnTo>
                <a:lnTo>
                  <a:pt x="557" y="867"/>
                </a:lnTo>
                <a:lnTo>
                  <a:pt x="558" y="882"/>
                </a:lnTo>
                <a:lnTo>
                  <a:pt x="565" y="934"/>
                </a:lnTo>
                <a:lnTo>
                  <a:pt x="568" y="970"/>
                </a:lnTo>
                <a:lnTo>
                  <a:pt x="572" y="1011"/>
                </a:lnTo>
                <a:lnTo>
                  <a:pt x="572" y="1057"/>
                </a:lnTo>
                <a:lnTo>
                  <a:pt x="571" y="1082"/>
                </a:lnTo>
                <a:lnTo>
                  <a:pt x="569" y="1109"/>
                </a:lnTo>
                <a:lnTo>
                  <a:pt x="569" y="1109"/>
                </a:lnTo>
                <a:lnTo>
                  <a:pt x="567" y="1132"/>
                </a:lnTo>
                <a:lnTo>
                  <a:pt x="562" y="1156"/>
                </a:lnTo>
                <a:lnTo>
                  <a:pt x="558" y="1181"/>
                </a:lnTo>
                <a:lnTo>
                  <a:pt x="552" y="1206"/>
                </a:lnTo>
                <a:lnTo>
                  <a:pt x="539" y="1255"/>
                </a:lnTo>
                <a:lnTo>
                  <a:pt x="528" y="1300"/>
                </a:lnTo>
                <a:lnTo>
                  <a:pt x="523" y="1321"/>
                </a:lnTo>
                <a:lnTo>
                  <a:pt x="521" y="1339"/>
                </a:lnTo>
                <a:lnTo>
                  <a:pt x="520" y="1355"/>
                </a:lnTo>
                <a:lnTo>
                  <a:pt x="520" y="1363"/>
                </a:lnTo>
                <a:lnTo>
                  <a:pt x="521" y="1369"/>
                </a:lnTo>
                <a:lnTo>
                  <a:pt x="523" y="1375"/>
                </a:lnTo>
                <a:lnTo>
                  <a:pt x="526" y="1380"/>
                </a:lnTo>
                <a:lnTo>
                  <a:pt x="529" y="1384"/>
                </a:lnTo>
                <a:lnTo>
                  <a:pt x="533" y="1387"/>
                </a:lnTo>
                <a:lnTo>
                  <a:pt x="538" y="1391"/>
                </a:lnTo>
                <a:lnTo>
                  <a:pt x="544" y="1392"/>
                </a:lnTo>
                <a:lnTo>
                  <a:pt x="550" y="1392"/>
                </a:lnTo>
                <a:lnTo>
                  <a:pt x="558" y="1392"/>
                </a:lnTo>
                <a:lnTo>
                  <a:pt x="558" y="1392"/>
                </a:lnTo>
                <a:lnTo>
                  <a:pt x="585" y="1367"/>
                </a:lnTo>
                <a:lnTo>
                  <a:pt x="610" y="1348"/>
                </a:lnTo>
                <a:lnTo>
                  <a:pt x="620" y="1342"/>
                </a:lnTo>
                <a:lnTo>
                  <a:pt x="629" y="1337"/>
                </a:lnTo>
                <a:lnTo>
                  <a:pt x="638" y="1332"/>
                </a:lnTo>
                <a:lnTo>
                  <a:pt x="645" y="1330"/>
                </a:lnTo>
                <a:lnTo>
                  <a:pt x="653" y="1328"/>
                </a:lnTo>
                <a:lnTo>
                  <a:pt x="659" y="1328"/>
                </a:lnTo>
                <a:lnTo>
                  <a:pt x="665" y="1328"/>
                </a:lnTo>
                <a:lnTo>
                  <a:pt x="669" y="1329"/>
                </a:lnTo>
                <a:lnTo>
                  <a:pt x="674" y="1331"/>
                </a:lnTo>
                <a:lnTo>
                  <a:pt x="679" y="1334"/>
                </a:lnTo>
                <a:lnTo>
                  <a:pt x="682" y="1338"/>
                </a:lnTo>
                <a:lnTo>
                  <a:pt x="684" y="1342"/>
                </a:lnTo>
                <a:lnTo>
                  <a:pt x="690" y="1353"/>
                </a:lnTo>
                <a:lnTo>
                  <a:pt x="694" y="1364"/>
                </a:lnTo>
                <a:lnTo>
                  <a:pt x="702" y="1391"/>
                </a:lnTo>
                <a:lnTo>
                  <a:pt x="705" y="1403"/>
                </a:lnTo>
                <a:lnTo>
                  <a:pt x="710" y="1416"/>
                </a:lnTo>
                <a:lnTo>
                  <a:pt x="715" y="1426"/>
                </a:lnTo>
                <a:lnTo>
                  <a:pt x="719" y="1432"/>
                </a:lnTo>
                <a:lnTo>
                  <a:pt x="724" y="1436"/>
                </a:lnTo>
                <a:lnTo>
                  <a:pt x="724" y="1436"/>
                </a:lnTo>
                <a:lnTo>
                  <a:pt x="727" y="1432"/>
                </a:lnTo>
                <a:lnTo>
                  <a:pt x="729" y="1428"/>
                </a:lnTo>
                <a:lnTo>
                  <a:pt x="730" y="1423"/>
                </a:lnTo>
                <a:lnTo>
                  <a:pt x="732" y="1417"/>
                </a:lnTo>
                <a:lnTo>
                  <a:pt x="732" y="1406"/>
                </a:lnTo>
                <a:lnTo>
                  <a:pt x="730" y="1393"/>
                </a:lnTo>
                <a:lnTo>
                  <a:pt x="728" y="1380"/>
                </a:lnTo>
                <a:lnTo>
                  <a:pt x="727" y="1368"/>
                </a:lnTo>
                <a:lnTo>
                  <a:pt x="727" y="1357"/>
                </a:lnTo>
                <a:lnTo>
                  <a:pt x="728" y="1352"/>
                </a:lnTo>
                <a:lnTo>
                  <a:pt x="730" y="1347"/>
                </a:lnTo>
                <a:lnTo>
                  <a:pt x="730" y="1347"/>
                </a:lnTo>
                <a:lnTo>
                  <a:pt x="732" y="1339"/>
                </a:lnTo>
                <a:lnTo>
                  <a:pt x="733" y="1338"/>
                </a:lnTo>
                <a:lnTo>
                  <a:pt x="734" y="1337"/>
                </a:lnTo>
                <a:lnTo>
                  <a:pt x="735" y="1337"/>
                </a:lnTo>
                <a:lnTo>
                  <a:pt x="736" y="1338"/>
                </a:lnTo>
                <a:lnTo>
                  <a:pt x="739" y="1344"/>
                </a:lnTo>
                <a:lnTo>
                  <a:pt x="747" y="1361"/>
                </a:lnTo>
                <a:lnTo>
                  <a:pt x="757" y="1383"/>
                </a:lnTo>
                <a:lnTo>
                  <a:pt x="764" y="1393"/>
                </a:lnTo>
                <a:lnTo>
                  <a:pt x="771" y="1402"/>
                </a:lnTo>
                <a:lnTo>
                  <a:pt x="779" y="1410"/>
                </a:lnTo>
                <a:lnTo>
                  <a:pt x="782" y="1413"/>
                </a:lnTo>
                <a:lnTo>
                  <a:pt x="787" y="1414"/>
                </a:lnTo>
                <a:lnTo>
                  <a:pt x="791" y="1415"/>
                </a:lnTo>
                <a:lnTo>
                  <a:pt x="796" y="1415"/>
                </a:lnTo>
                <a:lnTo>
                  <a:pt x="802" y="1413"/>
                </a:lnTo>
                <a:lnTo>
                  <a:pt x="806" y="1410"/>
                </a:lnTo>
                <a:lnTo>
                  <a:pt x="812" y="1406"/>
                </a:lnTo>
                <a:lnTo>
                  <a:pt x="818" y="1401"/>
                </a:lnTo>
                <a:lnTo>
                  <a:pt x="824" y="1393"/>
                </a:lnTo>
                <a:lnTo>
                  <a:pt x="829" y="1385"/>
                </a:lnTo>
                <a:lnTo>
                  <a:pt x="829" y="1385"/>
                </a:lnTo>
                <a:lnTo>
                  <a:pt x="836" y="1380"/>
                </a:lnTo>
                <a:lnTo>
                  <a:pt x="841" y="1376"/>
                </a:lnTo>
                <a:lnTo>
                  <a:pt x="843" y="1371"/>
                </a:lnTo>
                <a:lnTo>
                  <a:pt x="846" y="1366"/>
                </a:lnTo>
                <a:lnTo>
                  <a:pt x="846" y="1360"/>
                </a:lnTo>
                <a:lnTo>
                  <a:pt x="844" y="1353"/>
                </a:lnTo>
                <a:lnTo>
                  <a:pt x="840" y="1339"/>
                </a:lnTo>
                <a:lnTo>
                  <a:pt x="833" y="1322"/>
                </a:lnTo>
                <a:lnTo>
                  <a:pt x="826" y="1301"/>
                </a:lnTo>
                <a:lnTo>
                  <a:pt x="824" y="1290"/>
                </a:lnTo>
                <a:lnTo>
                  <a:pt x="821" y="1277"/>
                </a:lnTo>
                <a:lnTo>
                  <a:pt x="820" y="1263"/>
                </a:lnTo>
                <a:lnTo>
                  <a:pt x="819" y="1249"/>
                </a:lnTo>
                <a:lnTo>
                  <a:pt x="819" y="1249"/>
                </a:lnTo>
                <a:lnTo>
                  <a:pt x="837" y="1231"/>
                </a:lnTo>
                <a:lnTo>
                  <a:pt x="854" y="1216"/>
                </a:lnTo>
                <a:lnTo>
                  <a:pt x="870" y="1206"/>
                </a:lnTo>
                <a:lnTo>
                  <a:pt x="886" y="1199"/>
                </a:lnTo>
                <a:lnTo>
                  <a:pt x="900" y="1194"/>
                </a:lnTo>
                <a:lnTo>
                  <a:pt x="913" y="1192"/>
                </a:lnTo>
                <a:lnTo>
                  <a:pt x="926" y="1193"/>
                </a:lnTo>
                <a:lnTo>
                  <a:pt x="938" y="1194"/>
                </a:lnTo>
                <a:lnTo>
                  <a:pt x="949" y="1198"/>
                </a:lnTo>
                <a:lnTo>
                  <a:pt x="959" y="1202"/>
                </a:lnTo>
                <a:lnTo>
                  <a:pt x="979" y="1211"/>
                </a:lnTo>
                <a:lnTo>
                  <a:pt x="995" y="1219"/>
                </a:lnTo>
                <a:lnTo>
                  <a:pt x="1003" y="1222"/>
                </a:lnTo>
                <a:lnTo>
                  <a:pt x="1010" y="1223"/>
                </a:lnTo>
                <a:lnTo>
                  <a:pt x="1010" y="1223"/>
                </a:lnTo>
                <a:lnTo>
                  <a:pt x="1042" y="1219"/>
                </a:lnTo>
                <a:lnTo>
                  <a:pt x="1066" y="1218"/>
                </a:lnTo>
                <a:lnTo>
                  <a:pt x="1084" y="1219"/>
                </a:lnTo>
                <a:lnTo>
                  <a:pt x="1091" y="1221"/>
                </a:lnTo>
                <a:lnTo>
                  <a:pt x="1095" y="1222"/>
                </a:lnTo>
                <a:lnTo>
                  <a:pt x="1099" y="1224"/>
                </a:lnTo>
                <a:lnTo>
                  <a:pt x="1101" y="1226"/>
                </a:lnTo>
                <a:lnTo>
                  <a:pt x="1102" y="1229"/>
                </a:lnTo>
                <a:lnTo>
                  <a:pt x="1103" y="1232"/>
                </a:lnTo>
                <a:lnTo>
                  <a:pt x="1101" y="1238"/>
                </a:lnTo>
                <a:lnTo>
                  <a:pt x="1098" y="1245"/>
                </a:lnTo>
                <a:lnTo>
                  <a:pt x="1086" y="1260"/>
                </a:lnTo>
                <a:lnTo>
                  <a:pt x="1080" y="1267"/>
                </a:lnTo>
                <a:lnTo>
                  <a:pt x="1076" y="1273"/>
                </a:lnTo>
                <a:lnTo>
                  <a:pt x="1075" y="1279"/>
                </a:lnTo>
                <a:lnTo>
                  <a:pt x="1075" y="1282"/>
                </a:lnTo>
                <a:lnTo>
                  <a:pt x="1076" y="1284"/>
                </a:lnTo>
                <a:lnTo>
                  <a:pt x="1077" y="1286"/>
                </a:lnTo>
                <a:lnTo>
                  <a:pt x="1080" y="1287"/>
                </a:lnTo>
                <a:lnTo>
                  <a:pt x="1091" y="1288"/>
                </a:lnTo>
                <a:lnTo>
                  <a:pt x="1091" y="1288"/>
                </a:lnTo>
                <a:lnTo>
                  <a:pt x="1101" y="1291"/>
                </a:lnTo>
                <a:lnTo>
                  <a:pt x="1110" y="1294"/>
                </a:lnTo>
                <a:lnTo>
                  <a:pt x="1119" y="1296"/>
                </a:lnTo>
                <a:lnTo>
                  <a:pt x="1127" y="1301"/>
                </a:lnTo>
                <a:lnTo>
                  <a:pt x="1144" y="1310"/>
                </a:lnTo>
                <a:lnTo>
                  <a:pt x="1157" y="1321"/>
                </a:lnTo>
                <a:lnTo>
                  <a:pt x="1170" y="1334"/>
                </a:lnTo>
                <a:lnTo>
                  <a:pt x="1182" y="1348"/>
                </a:lnTo>
                <a:lnTo>
                  <a:pt x="1192" y="1364"/>
                </a:lnTo>
                <a:lnTo>
                  <a:pt x="1201" y="1380"/>
                </a:lnTo>
                <a:lnTo>
                  <a:pt x="1210" y="1398"/>
                </a:lnTo>
                <a:lnTo>
                  <a:pt x="1217" y="1416"/>
                </a:lnTo>
                <a:lnTo>
                  <a:pt x="1232" y="1453"/>
                </a:lnTo>
                <a:lnTo>
                  <a:pt x="1245" y="1490"/>
                </a:lnTo>
                <a:lnTo>
                  <a:pt x="1260" y="1524"/>
                </a:lnTo>
                <a:lnTo>
                  <a:pt x="1260" y="1524"/>
                </a:lnTo>
                <a:lnTo>
                  <a:pt x="1270" y="1545"/>
                </a:lnTo>
                <a:lnTo>
                  <a:pt x="1282" y="1565"/>
                </a:lnTo>
                <a:lnTo>
                  <a:pt x="1295" y="1584"/>
                </a:lnTo>
                <a:lnTo>
                  <a:pt x="1308" y="1603"/>
                </a:lnTo>
                <a:lnTo>
                  <a:pt x="1337" y="1639"/>
                </a:lnTo>
                <a:lnTo>
                  <a:pt x="1366" y="1674"/>
                </a:lnTo>
                <a:lnTo>
                  <a:pt x="1394" y="1710"/>
                </a:lnTo>
                <a:lnTo>
                  <a:pt x="1409" y="1728"/>
                </a:lnTo>
                <a:lnTo>
                  <a:pt x="1422" y="1746"/>
                </a:lnTo>
                <a:lnTo>
                  <a:pt x="1436" y="1766"/>
                </a:lnTo>
                <a:lnTo>
                  <a:pt x="1447" y="1786"/>
                </a:lnTo>
                <a:lnTo>
                  <a:pt x="1459" y="1807"/>
                </a:lnTo>
                <a:lnTo>
                  <a:pt x="1469" y="1829"/>
                </a:lnTo>
                <a:lnTo>
                  <a:pt x="1469" y="1829"/>
                </a:lnTo>
                <a:lnTo>
                  <a:pt x="1475" y="1843"/>
                </a:lnTo>
                <a:lnTo>
                  <a:pt x="1478" y="1856"/>
                </a:lnTo>
                <a:lnTo>
                  <a:pt x="1481" y="1867"/>
                </a:lnTo>
                <a:lnTo>
                  <a:pt x="1482" y="1880"/>
                </a:lnTo>
                <a:lnTo>
                  <a:pt x="1482" y="1891"/>
                </a:lnTo>
                <a:lnTo>
                  <a:pt x="1482" y="1903"/>
                </a:lnTo>
                <a:lnTo>
                  <a:pt x="1478" y="1927"/>
                </a:lnTo>
                <a:lnTo>
                  <a:pt x="1476" y="1954"/>
                </a:lnTo>
                <a:lnTo>
                  <a:pt x="1474" y="1983"/>
                </a:lnTo>
                <a:lnTo>
                  <a:pt x="1474" y="2001"/>
                </a:lnTo>
                <a:lnTo>
                  <a:pt x="1475" y="2019"/>
                </a:lnTo>
                <a:lnTo>
                  <a:pt x="1476" y="2039"/>
                </a:lnTo>
                <a:lnTo>
                  <a:pt x="1480" y="2061"/>
                </a:lnTo>
                <a:lnTo>
                  <a:pt x="1480" y="2061"/>
                </a:lnTo>
                <a:lnTo>
                  <a:pt x="1470" y="2064"/>
                </a:lnTo>
                <a:lnTo>
                  <a:pt x="1462" y="2067"/>
                </a:lnTo>
                <a:lnTo>
                  <a:pt x="1455" y="2071"/>
                </a:lnTo>
                <a:lnTo>
                  <a:pt x="1447" y="2072"/>
                </a:lnTo>
                <a:lnTo>
                  <a:pt x="1447" y="2072"/>
                </a:lnTo>
                <a:lnTo>
                  <a:pt x="1444" y="2071"/>
                </a:lnTo>
                <a:lnTo>
                  <a:pt x="1442" y="2070"/>
                </a:lnTo>
                <a:lnTo>
                  <a:pt x="1439" y="2067"/>
                </a:lnTo>
                <a:lnTo>
                  <a:pt x="1438" y="2065"/>
                </a:lnTo>
                <a:lnTo>
                  <a:pt x="1436" y="2058"/>
                </a:lnTo>
                <a:lnTo>
                  <a:pt x="1436" y="2050"/>
                </a:lnTo>
                <a:lnTo>
                  <a:pt x="1436" y="2033"/>
                </a:lnTo>
                <a:lnTo>
                  <a:pt x="1435" y="2026"/>
                </a:lnTo>
                <a:lnTo>
                  <a:pt x="1432" y="2020"/>
                </a:lnTo>
                <a:lnTo>
                  <a:pt x="1432" y="2020"/>
                </a:lnTo>
                <a:lnTo>
                  <a:pt x="1431" y="2019"/>
                </a:lnTo>
                <a:lnTo>
                  <a:pt x="1429" y="2017"/>
                </a:lnTo>
                <a:lnTo>
                  <a:pt x="1421" y="2011"/>
                </a:lnTo>
                <a:lnTo>
                  <a:pt x="1397" y="1997"/>
                </a:lnTo>
                <a:lnTo>
                  <a:pt x="1370" y="1985"/>
                </a:lnTo>
                <a:lnTo>
                  <a:pt x="1361" y="1981"/>
                </a:lnTo>
                <a:lnTo>
                  <a:pt x="1355" y="1980"/>
                </a:lnTo>
                <a:lnTo>
                  <a:pt x="1355" y="1980"/>
                </a:lnTo>
                <a:lnTo>
                  <a:pt x="1293" y="2067"/>
                </a:lnTo>
                <a:lnTo>
                  <a:pt x="1293" y="2067"/>
                </a:lnTo>
                <a:lnTo>
                  <a:pt x="1293" y="2067"/>
                </a:lnTo>
                <a:lnTo>
                  <a:pt x="1323" y="2082"/>
                </a:lnTo>
                <a:lnTo>
                  <a:pt x="1346" y="2093"/>
                </a:lnTo>
                <a:lnTo>
                  <a:pt x="1354" y="2096"/>
                </a:lnTo>
                <a:lnTo>
                  <a:pt x="1359" y="2097"/>
                </a:lnTo>
                <a:lnTo>
                  <a:pt x="1359" y="2097"/>
                </a:lnTo>
                <a:lnTo>
                  <a:pt x="1367" y="2097"/>
                </a:lnTo>
                <a:lnTo>
                  <a:pt x="1374" y="2096"/>
                </a:lnTo>
                <a:lnTo>
                  <a:pt x="1383" y="2093"/>
                </a:lnTo>
                <a:lnTo>
                  <a:pt x="1386" y="2093"/>
                </a:lnTo>
                <a:lnTo>
                  <a:pt x="1391" y="2093"/>
                </a:lnTo>
                <a:lnTo>
                  <a:pt x="1396" y="2094"/>
                </a:lnTo>
                <a:lnTo>
                  <a:pt x="1402" y="2097"/>
                </a:lnTo>
                <a:lnTo>
                  <a:pt x="1402" y="2097"/>
                </a:lnTo>
                <a:lnTo>
                  <a:pt x="1402" y="2156"/>
                </a:lnTo>
                <a:lnTo>
                  <a:pt x="1402" y="2156"/>
                </a:lnTo>
                <a:lnTo>
                  <a:pt x="1402" y="2156"/>
                </a:lnTo>
                <a:lnTo>
                  <a:pt x="1398" y="2164"/>
                </a:lnTo>
                <a:lnTo>
                  <a:pt x="1390" y="2170"/>
                </a:lnTo>
                <a:lnTo>
                  <a:pt x="1382" y="2176"/>
                </a:lnTo>
                <a:lnTo>
                  <a:pt x="1374" y="2181"/>
                </a:lnTo>
                <a:lnTo>
                  <a:pt x="1364" y="2186"/>
                </a:lnTo>
                <a:lnTo>
                  <a:pt x="1359" y="2191"/>
                </a:lnTo>
                <a:lnTo>
                  <a:pt x="1354" y="2195"/>
                </a:lnTo>
                <a:lnTo>
                  <a:pt x="1352" y="2197"/>
                </a:lnTo>
                <a:lnTo>
                  <a:pt x="1352" y="2200"/>
                </a:lnTo>
                <a:lnTo>
                  <a:pt x="1352" y="2200"/>
                </a:lnTo>
                <a:lnTo>
                  <a:pt x="1353" y="2207"/>
                </a:lnTo>
                <a:lnTo>
                  <a:pt x="1355" y="2214"/>
                </a:lnTo>
                <a:lnTo>
                  <a:pt x="1360" y="2219"/>
                </a:lnTo>
                <a:lnTo>
                  <a:pt x="1364" y="2226"/>
                </a:lnTo>
                <a:lnTo>
                  <a:pt x="1369" y="2232"/>
                </a:lnTo>
                <a:lnTo>
                  <a:pt x="1373" y="2238"/>
                </a:lnTo>
                <a:lnTo>
                  <a:pt x="1376" y="2245"/>
                </a:lnTo>
                <a:lnTo>
                  <a:pt x="1377" y="2252"/>
                </a:lnTo>
                <a:lnTo>
                  <a:pt x="1377" y="2252"/>
                </a:lnTo>
                <a:lnTo>
                  <a:pt x="1376" y="2264"/>
                </a:lnTo>
                <a:lnTo>
                  <a:pt x="1373" y="2275"/>
                </a:lnTo>
                <a:lnTo>
                  <a:pt x="1368" y="2284"/>
                </a:lnTo>
                <a:lnTo>
                  <a:pt x="1361" y="2293"/>
                </a:lnTo>
                <a:lnTo>
                  <a:pt x="1352" y="2300"/>
                </a:lnTo>
                <a:lnTo>
                  <a:pt x="1343" y="2306"/>
                </a:lnTo>
                <a:lnTo>
                  <a:pt x="1332" y="2310"/>
                </a:lnTo>
                <a:lnTo>
                  <a:pt x="1321" y="2315"/>
                </a:lnTo>
                <a:lnTo>
                  <a:pt x="1308" y="2317"/>
                </a:lnTo>
                <a:lnTo>
                  <a:pt x="1295" y="2321"/>
                </a:lnTo>
                <a:lnTo>
                  <a:pt x="1269" y="2323"/>
                </a:lnTo>
                <a:lnTo>
                  <a:pt x="1244" y="2324"/>
                </a:lnTo>
                <a:lnTo>
                  <a:pt x="1219" y="2325"/>
                </a:lnTo>
                <a:lnTo>
                  <a:pt x="1219" y="2325"/>
                </a:lnTo>
                <a:lnTo>
                  <a:pt x="1216" y="2325"/>
                </a:lnTo>
                <a:lnTo>
                  <a:pt x="1213" y="2326"/>
                </a:lnTo>
                <a:lnTo>
                  <a:pt x="1205" y="2331"/>
                </a:lnTo>
                <a:lnTo>
                  <a:pt x="1198" y="2339"/>
                </a:lnTo>
                <a:lnTo>
                  <a:pt x="1191" y="2347"/>
                </a:lnTo>
                <a:lnTo>
                  <a:pt x="1184" y="2357"/>
                </a:lnTo>
                <a:lnTo>
                  <a:pt x="1179" y="2367"/>
                </a:lnTo>
                <a:lnTo>
                  <a:pt x="1177" y="2376"/>
                </a:lnTo>
                <a:lnTo>
                  <a:pt x="1176" y="2384"/>
                </a:lnTo>
                <a:lnTo>
                  <a:pt x="1176" y="2384"/>
                </a:lnTo>
                <a:lnTo>
                  <a:pt x="1176" y="2393"/>
                </a:lnTo>
                <a:lnTo>
                  <a:pt x="1178" y="2400"/>
                </a:lnTo>
                <a:lnTo>
                  <a:pt x="1180" y="2407"/>
                </a:lnTo>
                <a:lnTo>
                  <a:pt x="1183" y="2413"/>
                </a:lnTo>
                <a:lnTo>
                  <a:pt x="1187" y="2423"/>
                </a:lnTo>
                <a:lnTo>
                  <a:pt x="1190" y="2429"/>
                </a:lnTo>
                <a:lnTo>
                  <a:pt x="1190" y="2436"/>
                </a:lnTo>
                <a:lnTo>
                  <a:pt x="1190" y="2436"/>
                </a:lnTo>
                <a:lnTo>
                  <a:pt x="1190" y="2443"/>
                </a:lnTo>
                <a:lnTo>
                  <a:pt x="1186" y="2448"/>
                </a:lnTo>
                <a:lnTo>
                  <a:pt x="1182" y="2452"/>
                </a:lnTo>
                <a:lnTo>
                  <a:pt x="1177" y="2454"/>
                </a:lnTo>
                <a:lnTo>
                  <a:pt x="1170" y="2456"/>
                </a:lnTo>
                <a:lnTo>
                  <a:pt x="1163" y="2456"/>
                </a:lnTo>
                <a:lnTo>
                  <a:pt x="1149" y="2458"/>
                </a:lnTo>
                <a:lnTo>
                  <a:pt x="1149" y="2458"/>
                </a:lnTo>
                <a:lnTo>
                  <a:pt x="1149" y="2454"/>
                </a:lnTo>
                <a:lnTo>
                  <a:pt x="1149" y="2454"/>
                </a:lnTo>
                <a:lnTo>
                  <a:pt x="1149" y="2454"/>
                </a:lnTo>
                <a:lnTo>
                  <a:pt x="1144" y="2433"/>
                </a:lnTo>
                <a:lnTo>
                  <a:pt x="1138" y="2412"/>
                </a:lnTo>
                <a:lnTo>
                  <a:pt x="1133" y="2391"/>
                </a:lnTo>
                <a:lnTo>
                  <a:pt x="1130" y="2369"/>
                </a:lnTo>
                <a:lnTo>
                  <a:pt x="1129" y="2347"/>
                </a:lnTo>
                <a:lnTo>
                  <a:pt x="1129" y="2323"/>
                </a:lnTo>
                <a:lnTo>
                  <a:pt x="1131" y="2299"/>
                </a:lnTo>
                <a:lnTo>
                  <a:pt x="1134" y="2273"/>
                </a:lnTo>
                <a:lnTo>
                  <a:pt x="1134" y="2273"/>
                </a:lnTo>
                <a:lnTo>
                  <a:pt x="1127" y="2272"/>
                </a:lnTo>
                <a:lnTo>
                  <a:pt x="1121" y="2271"/>
                </a:lnTo>
                <a:lnTo>
                  <a:pt x="1115" y="2269"/>
                </a:lnTo>
                <a:lnTo>
                  <a:pt x="1110" y="2267"/>
                </a:lnTo>
                <a:lnTo>
                  <a:pt x="1101" y="2260"/>
                </a:lnTo>
                <a:lnTo>
                  <a:pt x="1094" y="2252"/>
                </a:lnTo>
                <a:lnTo>
                  <a:pt x="1087" y="2242"/>
                </a:lnTo>
                <a:lnTo>
                  <a:pt x="1081" y="2234"/>
                </a:lnTo>
                <a:lnTo>
                  <a:pt x="1076" y="2226"/>
                </a:lnTo>
                <a:lnTo>
                  <a:pt x="1069" y="2218"/>
                </a:lnTo>
                <a:lnTo>
                  <a:pt x="1069" y="2218"/>
                </a:lnTo>
                <a:lnTo>
                  <a:pt x="1065" y="2212"/>
                </a:lnTo>
                <a:lnTo>
                  <a:pt x="1061" y="2208"/>
                </a:lnTo>
                <a:lnTo>
                  <a:pt x="1054" y="2206"/>
                </a:lnTo>
                <a:lnTo>
                  <a:pt x="1047" y="2203"/>
                </a:lnTo>
                <a:lnTo>
                  <a:pt x="1047" y="2203"/>
                </a:lnTo>
                <a:lnTo>
                  <a:pt x="1039" y="2210"/>
                </a:lnTo>
                <a:lnTo>
                  <a:pt x="1032" y="2218"/>
                </a:lnTo>
                <a:lnTo>
                  <a:pt x="1026" y="2226"/>
                </a:lnTo>
                <a:lnTo>
                  <a:pt x="1019" y="2235"/>
                </a:lnTo>
                <a:lnTo>
                  <a:pt x="1009" y="2256"/>
                </a:lnTo>
                <a:lnTo>
                  <a:pt x="997" y="2278"/>
                </a:lnTo>
                <a:lnTo>
                  <a:pt x="978" y="2326"/>
                </a:lnTo>
                <a:lnTo>
                  <a:pt x="966" y="2349"/>
                </a:lnTo>
                <a:lnTo>
                  <a:pt x="955" y="2372"/>
                </a:lnTo>
                <a:lnTo>
                  <a:pt x="955" y="2372"/>
                </a:lnTo>
                <a:lnTo>
                  <a:pt x="944" y="2391"/>
                </a:lnTo>
                <a:lnTo>
                  <a:pt x="933" y="2407"/>
                </a:lnTo>
                <a:lnTo>
                  <a:pt x="921" y="2424"/>
                </a:lnTo>
                <a:lnTo>
                  <a:pt x="909" y="2439"/>
                </a:lnTo>
                <a:lnTo>
                  <a:pt x="895" y="2453"/>
                </a:lnTo>
                <a:lnTo>
                  <a:pt x="881" y="2466"/>
                </a:lnTo>
                <a:lnTo>
                  <a:pt x="867" y="2477"/>
                </a:lnTo>
                <a:lnTo>
                  <a:pt x="854" y="2486"/>
                </a:lnTo>
                <a:lnTo>
                  <a:pt x="841" y="2494"/>
                </a:lnTo>
                <a:lnTo>
                  <a:pt x="827" y="2500"/>
                </a:lnTo>
                <a:lnTo>
                  <a:pt x="814" y="2504"/>
                </a:lnTo>
                <a:lnTo>
                  <a:pt x="803" y="2504"/>
                </a:lnTo>
                <a:lnTo>
                  <a:pt x="797" y="2504"/>
                </a:lnTo>
                <a:lnTo>
                  <a:pt x="793" y="2502"/>
                </a:lnTo>
                <a:lnTo>
                  <a:pt x="787" y="2500"/>
                </a:lnTo>
                <a:lnTo>
                  <a:pt x="782" y="2498"/>
                </a:lnTo>
                <a:lnTo>
                  <a:pt x="779" y="2494"/>
                </a:lnTo>
                <a:lnTo>
                  <a:pt x="774" y="2490"/>
                </a:lnTo>
                <a:lnTo>
                  <a:pt x="771" y="2485"/>
                </a:lnTo>
                <a:lnTo>
                  <a:pt x="767" y="2479"/>
                </a:lnTo>
                <a:lnTo>
                  <a:pt x="767" y="2479"/>
                </a:lnTo>
                <a:lnTo>
                  <a:pt x="755" y="2455"/>
                </a:lnTo>
                <a:lnTo>
                  <a:pt x="745" y="2435"/>
                </a:lnTo>
                <a:lnTo>
                  <a:pt x="739" y="2420"/>
                </a:lnTo>
                <a:lnTo>
                  <a:pt x="733" y="2407"/>
                </a:lnTo>
                <a:lnTo>
                  <a:pt x="727" y="2398"/>
                </a:lnTo>
                <a:lnTo>
                  <a:pt x="724" y="2394"/>
                </a:lnTo>
                <a:lnTo>
                  <a:pt x="720" y="2392"/>
                </a:lnTo>
                <a:lnTo>
                  <a:pt x="714" y="2390"/>
                </a:lnTo>
                <a:lnTo>
                  <a:pt x="709" y="2387"/>
                </a:lnTo>
                <a:lnTo>
                  <a:pt x="694" y="2384"/>
                </a:lnTo>
                <a:lnTo>
                  <a:pt x="694" y="2384"/>
                </a:lnTo>
                <a:lnTo>
                  <a:pt x="703" y="2371"/>
                </a:lnTo>
                <a:lnTo>
                  <a:pt x="709" y="2360"/>
                </a:lnTo>
                <a:lnTo>
                  <a:pt x="711" y="2347"/>
                </a:lnTo>
                <a:lnTo>
                  <a:pt x="712" y="2332"/>
                </a:lnTo>
                <a:lnTo>
                  <a:pt x="712" y="2332"/>
                </a:lnTo>
                <a:lnTo>
                  <a:pt x="712" y="2314"/>
                </a:lnTo>
                <a:lnTo>
                  <a:pt x="712" y="2314"/>
                </a:lnTo>
                <a:lnTo>
                  <a:pt x="713" y="2306"/>
                </a:lnTo>
                <a:lnTo>
                  <a:pt x="715" y="2300"/>
                </a:lnTo>
                <a:lnTo>
                  <a:pt x="718" y="2295"/>
                </a:lnTo>
                <a:lnTo>
                  <a:pt x="722" y="2292"/>
                </a:lnTo>
                <a:lnTo>
                  <a:pt x="726" y="2288"/>
                </a:lnTo>
                <a:lnTo>
                  <a:pt x="729" y="2284"/>
                </a:lnTo>
                <a:lnTo>
                  <a:pt x="733" y="2278"/>
                </a:lnTo>
                <a:lnTo>
                  <a:pt x="734" y="2270"/>
                </a:lnTo>
                <a:lnTo>
                  <a:pt x="734" y="2270"/>
                </a:lnTo>
                <a:lnTo>
                  <a:pt x="734" y="2273"/>
                </a:lnTo>
                <a:lnTo>
                  <a:pt x="734" y="2270"/>
                </a:lnTo>
                <a:lnTo>
                  <a:pt x="734" y="2270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2" name="Freeform 17"/>
          <p:cNvSpPr>
            <a:spLocks/>
          </p:cNvSpPr>
          <p:nvPr/>
        </p:nvSpPr>
        <p:spPr bwMode="auto">
          <a:xfrm>
            <a:off x="8905875" y="4856163"/>
            <a:ext cx="52388" cy="152400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0" y="66"/>
              </a:cxn>
              <a:cxn ang="0">
                <a:pos x="1" y="75"/>
              </a:cxn>
              <a:cxn ang="0">
                <a:pos x="2" y="82"/>
              </a:cxn>
              <a:cxn ang="0">
                <a:pos x="8" y="92"/>
              </a:cxn>
              <a:cxn ang="0">
                <a:pos x="8" y="92"/>
              </a:cxn>
              <a:cxn ang="0">
                <a:pos x="11" y="106"/>
              </a:cxn>
              <a:cxn ang="0">
                <a:pos x="14" y="121"/>
              </a:cxn>
              <a:cxn ang="0">
                <a:pos x="17" y="135"/>
              </a:cxn>
              <a:cxn ang="0">
                <a:pos x="22" y="148"/>
              </a:cxn>
              <a:cxn ang="0">
                <a:pos x="24" y="154"/>
              </a:cxn>
              <a:cxn ang="0">
                <a:pos x="27" y="159"/>
              </a:cxn>
              <a:cxn ang="0">
                <a:pos x="31" y="165"/>
              </a:cxn>
              <a:cxn ang="0">
                <a:pos x="35" y="168"/>
              </a:cxn>
              <a:cxn ang="0">
                <a:pos x="41" y="172"/>
              </a:cxn>
              <a:cxn ang="0">
                <a:pos x="47" y="174"/>
              </a:cxn>
              <a:cxn ang="0">
                <a:pos x="54" y="176"/>
              </a:cxn>
              <a:cxn ang="0">
                <a:pos x="63" y="176"/>
              </a:cxn>
              <a:cxn ang="0">
                <a:pos x="63" y="176"/>
              </a:cxn>
              <a:cxn ang="0">
                <a:pos x="63" y="166"/>
              </a:cxn>
              <a:cxn ang="0">
                <a:pos x="63" y="166"/>
              </a:cxn>
              <a:cxn ang="0">
                <a:pos x="63" y="166"/>
              </a:cxn>
              <a:cxn ang="0">
                <a:pos x="56" y="158"/>
              </a:cxn>
              <a:cxn ang="0">
                <a:pos x="48" y="146"/>
              </a:cxn>
              <a:cxn ang="0">
                <a:pos x="42" y="134"/>
              </a:cxn>
              <a:cxn ang="0">
                <a:pos x="41" y="127"/>
              </a:cxn>
              <a:cxn ang="0">
                <a:pos x="40" y="121"/>
              </a:cxn>
              <a:cxn ang="0">
                <a:pos x="40" y="121"/>
              </a:cxn>
              <a:cxn ang="0">
                <a:pos x="40" y="69"/>
              </a:cxn>
              <a:cxn ang="0">
                <a:pos x="40" y="69"/>
              </a:cxn>
              <a:cxn ang="0">
                <a:pos x="42" y="59"/>
              </a:cxn>
              <a:cxn ang="0">
                <a:pos x="46" y="46"/>
              </a:cxn>
              <a:cxn ang="0">
                <a:pos x="55" y="26"/>
              </a:cxn>
              <a:cxn ang="0">
                <a:pos x="55" y="26"/>
              </a:cxn>
              <a:cxn ang="0">
                <a:pos x="55" y="0"/>
              </a:cxn>
              <a:cxn ang="0">
                <a:pos x="55" y="0"/>
              </a:cxn>
              <a:cxn ang="0">
                <a:pos x="55" y="0"/>
              </a:cxn>
              <a:cxn ang="0">
                <a:pos x="45" y="4"/>
              </a:cxn>
              <a:cxn ang="0">
                <a:pos x="34" y="8"/>
              </a:cxn>
              <a:cxn ang="0">
                <a:pos x="25" y="14"/>
              </a:cxn>
              <a:cxn ang="0">
                <a:pos x="17" y="22"/>
              </a:cxn>
              <a:cxn ang="0">
                <a:pos x="10" y="31"/>
              </a:cxn>
              <a:cxn ang="0">
                <a:pos x="4" y="42"/>
              </a:cxn>
              <a:cxn ang="0">
                <a:pos x="1" y="53"/>
              </a:cxn>
              <a:cxn ang="0">
                <a:pos x="0" y="66"/>
              </a:cxn>
              <a:cxn ang="0">
                <a:pos x="0" y="66"/>
              </a:cxn>
              <a:cxn ang="0">
                <a:pos x="0" y="66"/>
              </a:cxn>
            </a:cxnLst>
            <a:rect l="0" t="0" r="r" b="b"/>
            <a:pathLst>
              <a:path w="63" h="176">
                <a:moveTo>
                  <a:pt x="0" y="66"/>
                </a:moveTo>
                <a:lnTo>
                  <a:pt x="0" y="66"/>
                </a:lnTo>
                <a:lnTo>
                  <a:pt x="1" y="75"/>
                </a:lnTo>
                <a:lnTo>
                  <a:pt x="2" y="82"/>
                </a:lnTo>
                <a:lnTo>
                  <a:pt x="8" y="92"/>
                </a:lnTo>
                <a:lnTo>
                  <a:pt x="8" y="92"/>
                </a:lnTo>
                <a:lnTo>
                  <a:pt x="11" y="106"/>
                </a:lnTo>
                <a:lnTo>
                  <a:pt x="14" y="121"/>
                </a:lnTo>
                <a:lnTo>
                  <a:pt x="17" y="135"/>
                </a:lnTo>
                <a:lnTo>
                  <a:pt x="22" y="148"/>
                </a:lnTo>
                <a:lnTo>
                  <a:pt x="24" y="154"/>
                </a:lnTo>
                <a:lnTo>
                  <a:pt x="27" y="159"/>
                </a:lnTo>
                <a:lnTo>
                  <a:pt x="31" y="165"/>
                </a:lnTo>
                <a:lnTo>
                  <a:pt x="35" y="168"/>
                </a:lnTo>
                <a:lnTo>
                  <a:pt x="41" y="172"/>
                </a:lnTo>
                <a:lnTo>
                  <a:pt x="47" y="174"/>
                </a:lnTo>
                <a:lnTo>
                  <a:pt x="54" y="176"/>
                </a:lnTo>
                <a:lnTo>
                  <a:pt x="63" y="176"/>
                </a:lnTo>
                <a:lnTo>
                  <a:pt x="63" y="176"/>
                </a:lnTo>
                <a:lnTo>
                  <a:pt x="63" y="166"/>
                </a:lnTo>
                <a:lnTo>
                  <a:pt x="63" y="166"/>
                </a:lnTo>
                <a:lnTo>
                  <a:pt x="63" y="166"/>
                </a:lnTo>
                <a:lnTo>
                  <a:pt x="56" y="158"/>
                </a:lnTo>
                <a:lnTo>
                  <a:pt x="48" y="146"/>
                </a:lnTo>
                <a:lnTo>
                  <a:pt x="42" y="134"/>
                </a:lnTo>
                <a:lnTo>
                  <a:pt x="41" y="127"/>
                </a:lnTo>
                <a:lnTo>
                  <a:pt x="40" y="121"/>
                </a:lnTo>
                <a:lnTo>
                  <a:pt x="40" y="121"/>
                </a:lnTo>
                <a:lnTo>
                  <a:pt x="40" y="69"/>
                </a:lnTo>
                <a:lnTo>
                  <a:pt x="40" y="69"/>
                </a:lnTo>
                <a:lnTo>
                  <a:pt x="42" y="59"/>
                </a:lnTo>
                <a:lnTo>
                  <a:pt x="46" y="46"/>
                </a:lnTo>
                <a:lnTo>
                  <a:pt x="55" y="26"/>
                </a:lnTo>
                <a:lnTo>
                  <a:pt x="55" y="26"/>
                </a:lnTo>
                <a:lnTo>
                  <a:pt x="55" y="0"/>
                </a:lnTo>
                <a:lnTo>
                  <a:pt x="55" y="0"/>
                </a:lnTo>
                <a:lnTo>
                  <a:pt x="55" y="0"/>
                </a:lnTo>
                <a:lnTo>
                  <a:pt x="45" y="4"/>
                </a:lnTo>
                <a:lnTo>
                  <a:pt x="34" y="8"/>
                </a:lnTo>
                <a:lnTo>
                  <a:pt x="25" y="14"/>
                </a:lnTo>
                <a:lnTo>
                  <a:pt x="17" y="22"/>
                </a:lnTo>
                <a:lnTo>
                  <a:pt x="10" y="31"/>
                </a:lnTo>
                <a:lnTo>
                  <a:pt x="4" y="42"/>
                </a:lnTo>
                <a:lnTo>
                  <a:pt x="1" y="53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3" name="Freeform 18"/>
          <p:cNvSpPr>
            <a:spLocks/>
          </p:cNvSpPr>
          <p:nvPr/>
        </p:nvSpPr>
        <p:spPr bwMode="auto">
          <a:xfrm>
            <a:off x="8934450" y="4611688"/>
            <a:ext cx="55563" cy="231775"/>
          </a:xfrm>
          <a:custGeom>
            <a:avLst/>
            <a:gdLst/>
            <a:ahLst/>
            <a:cxnLst>
              <a:cxn ang="0">
                <a:pos x="8" y="169"/>
              </a:cxn>
              <a:cxn ang="0">
                <a:pos x="8" y="110"/>
              </a:cxn>
              <a:cxn ang="0">
                <a:pos x="3" y="95"/>
              </a:cxn>
              <a:cxn ang="0">
                <a:pos x="0" y="77"/>
              </a:cxn>
              <a:cxn ang="0">
                <a:pos x="0" y="65"/>
              </a:cxn>
              <a:cxn ang="0">
                <a:pos x="8" y="65"/>
              </a:cxn>
              <a:cxn ang="0">
                <a:pos x="18" y="59"/>
              </a:cxn>
              <a:cxn ang="0">
                <a:pos x="25" y="50"/>
              </a:cxn>
              <a:cxn ang="0">
                <a:pos x="31" y="33"/>
              </a:cxn>
              <a:cxn ang="0">
                <a:pos x="38" y="10"/>
              </a:cxn>
              <a:cxn ang="0">
                <a:pos x="42" y="3"/>
              </a:cxn>
              <a:cxn ang="0">
                <a:pos x="51" y="0"/>
              </a:cxn>
              <a:cxn ang="0">
                <a:pos x="54" y="1"/>
              </a:cxn>
              <a:cxn ang="0">
                <a:pos x="62" y="8"/>
              </a:cxn>
              <a:cxn ang="0">
                <a:pos x="66" y="21"/>
              </a:cxn>
              <a:cxn ang="0">
                <a:pos x="65" y="31"/>
              </a:cxn>
              <a:cxn ang="0">
                <a:pos x="62" y="43"/>
              </a:cxn>
              <a:cxn ang="0">
                <a:pos x="54" y="59"/>
              </a:cxn>
              <a:cxn ang="0">
                <a:pos x="51" y="73"/>
              </a:cxn>
              <a:cxn ang="0">
                <a:pos x="53" y="89"/>
              </a:cxn>
              <a:cxn ang="0">
                <a:pos x="57" y="115"/>
              </a:cxn>
              <a:cxn ang="0">
                <a:pos x="58" y="129"/>
              </a:cxn>
              <a:cxn ang="0">
                <a:pos x="55" y="140"/>
              </a:cxn>
              <a:cxn ang="0">
                <a:pos x="48" y="148"/>
              </a:cxn>
              <a:cxn ang="0">
                <a:pos x="38" y="160"/>
              </a:cxn>
              <a:cxn ang="0">
                <a:pos x="36" y="165"/>
              </a:cxn>
              <a:cxn ang="0">
                <a:pos x="39" y="178"/>
              </a:cxn>
              <a:cxn ang="0">
                <a:pos x="49" y="203"/>
              </a:cxn>
              <a:cxn ang="0">
                <a:pos x="51" y="216"/>
              </a:cxn>
              <a:cxn ang="0">
                <a:pos x="51" y="224"/>
              </a:cxn>
              <a:cxn ang="0">
                <a:pos x="46" y="241"/>
              </a:cxn>
              <a:cxn ang="0">
                <a:pos x="41" y="259"/>
              </a:cxn>
              <a:cxn ang="0">
                <a:pos x="40" y="264"/>
              </a:cxn>
              <a:cxn ang="0">
                <a:pos x="32" y="257"/>
              </a:cxn>
              <a:cxn ang="0">
                <a:pos x="30" y="248"/>
              </a:cxn>
              <a:cxn ang="0">
                <a:pos x="30" y="224"/>
              </a:cxn>
              <a:cxn ang="0">
                <a:pos x="28" y="221"/>
              </a:cxn>
              <a:cxn ang="0">
                <a:pos x="25" y="216"/>
              </a:cxn>
              <a:cxn ang="0">
                <a:pos x="18" y="215"/>
              </a:cxn>
              <a:cxn ang="0">
                <a:pos x="15" y="213"/>
              </a:cxn>
              <a:cxn ang="0">
                <a:pos x="9" y="202"/>
              </a:cxn>
              <a:cxn ang="0">
                <a:pos x="8" y="189"/>
              </a:cxn>
              <a:cxn ang="0">
                <a:pos x="9" y="172"/>
              </a:cxn>
              <a:cxn ang="0">
                <a:pos x="8" y="169"/>
              </a:cxn>
            </a:cxnLst>
            <a:rect l="0" t="0" r="r" b="b"/>
            <a:pathLst>
              <a:path w="66" h="264">
                <a:moveTo>
                  <a:pt x="8" y="169"/>
                </a:moveTo>
                <a:lnTo>
                  <a:pt x="8" y="169"/>
                </a:lnTo>
                <a:lnTo>
                  <a:pt x="8" y="110"/>
                </a:lnTo>
                <a:lnTo>
                  <a:pt x="8" y="110"/>
                </a:lnTo>
                <a:lnTo>
                  <a:pt x="7" y="102"/>
                </a:lnTo>
                <a:lnTo>
                  <a:pt x="3" y="95"/>
                </a:lnTo>
                <a:lnTo>
                  <a:pt x="1" y="87"/>
                </a:lnTo>
                <a:lnTo>
                  <a:pt x="0" y="77"/>
                </a:lnTo>
                <a:lnTo>
                  <a:pt x="0" y="77"/>
                </a:lnTo>
                <a:lnTo>
                  <a:pt x="0" y="65"/>
                </a:lnTo>
                <a:lnTo>
                  <a:pt x="0" y="65"/>
                </a:lnTo>
                <a:lnTo>
                  <a:pt x="8" y="65"/>
                </a:lnTo>
                <a:lnTo>
                  <a:pt x="13" y="63"/>
                </a:lnTo>
                <a:lnTo>
                  <a:pt x="18" y="59"/>
                </a:lnTo>
                <a:lnTo>
                  <a:pt x="23" y="56"/>
                </a:lnTo>
                <a:lnTo>
                  <a:pt x="25" y="50"/>
                </a:lnTo>
                <a:lnTo>
                  <a:pt x="27" y="45"/>
                </a:lnTo>
                <a:lnTo>
                  <a:pt x="31" y="33"/>
                </a:lnTo>
                <a:lnTo>
                  <a:pt x="34" y="20"/>
                </a:lnTo>
                <a:lnTo>
                  <a:pt x="38" y="10"/>
                </a:lnTo>
                <a:lnTo>
                  <a:pt x="40" y="7"/>
                </a:lnTo>
                <a:lnTo>
                  <a:pt x="42" y="3"/>
                </a:lnTo>
                <a:lnTo>
                  <a:pt x="47" y="1"/>
                </a:lnTo>
                <a:lnTo>
                  <a:pt x="51" y="0"/>
                </a:lnTo>
                <a:lnTo>
                  <a:pt x="51" y="0"/>
                </a:lnTo>
                <a:lnTo>
                  <a:pt x="54" y="1"/>
                </a:lnTo>
                <a:lnTo>
                  <a:pt x="57" y="2"/>
                </a:lnTo>
                <a:lnTo>
                  <a:pt x="62" y="8"/>
                </a:lnTo>
                <a:lnTo>
                  <a:pt x="65" y="16"/>
                </a:lnTo>
                <a:lnTo>
                  <a:pt x="66" y="21"/>
                </a:lnTo>
                <a:lnTo>
                  <a:pt x="66" y="21"/>
                </a:lnTo>
                <a:lnTo>
                  <a:pt x="65" y="31"/>
                </a:lnTo>
                <a:lnTo>
                  <a:pt x="64" y="38"/>
                </a:lnTo>
                <a:lnTo>
                  <a:pt x="62" y="43"/>
                </a:lnTo>
                <a:lnTo>
                  <a:pt x="59" y="49"/>
                </a:lnTo>
                <a:lnTo>
                  <a:pt x="54" y="59"/>
                </a:lnTo>
                <a:lnTo>
                  <a:pt x="53" y="66"/>
                </a:lnTo>
                <a:lnTo>
                  <a:pt x="51" y="73"/>
                </a:lnTo>
                <a:lnTo>
                  <a:pt x="51" y="73"/>
                </a:lnTo>
                <a:lnTo>
                  <a:pt x="53" y="89"/>
                </a:lnTo>
                <a:lnTo>
                  <a:pt x="55" y="102"/>
                </a:lnTo>
                <a:lnTo>
                  <a:pt x="57" y="115"/>
                </a:lnTo>
                <a:lnTo>
                  <a:pt x="58" y="129"/>
                </a:lnTo>
                <a:lnTo>
                  <a:pt x="58" y="129"/>
                </a:lnTo>
                <a:lnTo>
                  <a:pt x="57" y="135"/>
                </a:lnTo>
                <a:lnTo>
                  <a:pt x="55" y="140"/>
                </a:lnTo>
                <a:lnTo>
                  <a:pt x="51" y="145"/>
                </a:lnTo>
                <a:lnTo>
                  <a:pt x="48" y="148"/>
                </a:lnTo>
                <a:lnTo>
                  <a:pt x="40" y="156"/>
                </a:lnTo>
                <a:lnTo>
                  <a:pt x="38" y="160"/>
                </a:lnTo>
                <a:lnTo>
                  <a:pt x="36" y="165"/>
                </a:lnTo>
                <a:lnTo>
                  <a:pt x="36" y="165"/>
                </a:lnTo>
                <a:lnTo>
                  <a:pt x="38" y="172"/>
                </a:lnTo>
                <a:lnTo>
                  <a:pt x="39" y="178"/>
                </a:lnTo>
                <a:lnTo>
                  <a:pt x="45" y="191"/>
                </a:lnTo>
                <a:lnTo>
                  <a:pt x="49" y="203"/>
                </a:lnTo>
                <a:lnTo>
                  <a:pt x="51" y="209"/>
                </a:lnTo>
                <a:lnTo>
                  <a:pt x="51" y="216"/>
                </a:lnTo>
                <a:lnTo>
                  <a:pt x="51" y="216"/>
                </a:lnTo>
                <a:lnTo>
                  <a:pt x="51" y="224"/>
                </a:lnTo>
                <a:lnTo>
                  <a:pt x="50" y="231"/>
                </a:lnTo>
                <a:lnTo>
                  <a:pt x="46" y="241"/>
                </a:lnTo>
                <a:lnTo>
                  <a:pt x="42" y="253"/>
                </a:lnTo>
                <a:lnTo>
                  <a:pt x="41" y="259"/>
                </a:lnTo>
                <a:lnTo>
                  <a:pt x="40" y="264"/>
                </a:lnTo>
                <a:lnTo>
                  <a:pt x="40" y="264"/>
                </a:lnTo>
                <a:lnTo>
                  <a:pt x="35" y="261"/>
                </a:lnTo>
                <a:lnTo>
                  <a:pt x="32" y="257"/>
                </a:lnTo>
                <a:lnTo>
                  <a:pt x="31" y="253"/>
                </a:lnTo>
                <a:lnTo>
                  <a:pt x="30" y="248"/>
                </a:lnTo>
                <a:lnTo>
                  <a:pt x="28" y="237"/>
                </a:lnTo>
                <a:lnTo>
                  <a:pt x="30" y="224"/>
                </a:lnTo>
                <a:lnTo>
                  <a:pt x="30" y="224"/>
                </a:lnTo>
                <a:lnTo>
                  <a:pt x="28" y="221"/>
                </a:lnTo>
                <a:lnTo>
                  <a:pt x="27" y="218"/>
                </a:lnTo>
                <a:lnTo>
                  <a:pt x="25" y="216"/>
                </a:lnTo>
                <a:lnTo>
                  <a:pt x="23" y="216"/>
                </a:lnTo>
                <a:lnTo>
                  <a:pt x="18" y="215"/>
                </a:lnTo>
                <a:lnTo>
                  <a:pt x="15" y="213"/>
                </a:lnTo>
                <a:lnTo>
                  <a:pt x="15" y="213"/>
                </a:lnTo>
                <a:lnTo>
                  <a:pt x="11" y="208"/>
                </a:lnTo>
                <a:lnTo>
                  <a:pt x="9" y="202"/>
                </a:lnTo>
                <a:lnTo>
                  <a:pt x="8" y="196"/>
                </a:lnTo>
                <a:lnTo>
                  <a:pt x="8" y="189"/>
                </a:lnTo>
                <a:lnTo>
                  <a:pt x="9" y="177"/>
                </a:lnTo>
                <a:lnTo>
                  <a:pt x="9" y="172"/>
                </a:lnTo>
                <a:lnTo>
                  <a:pt x="8" y="169"/>
                </a:lnTo>
                <a:lnTo>
                  <a:pt x="8" y="169"/>
                </a:lnTo>
                <a:lnTo>
                  <a:pt x="8" y="16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4" name="Freeform 19"/>
          <p:cNvSpPr>
            <a:spLocks/>
          </p:cNvSpPr>
          <p:nvPr/>
        </p:nvSpPr>
        <p:spPr bwMode="auto">
          <a:xfrm>
            <a:off x="8999538" y="4889500"/>
            <a:ext cx="20637" cy="36513"/>
          </a:xfrm>
          <a:custGeom>
            <a:avLst/>
            <a:gdLst/>
            <a:ahLst/>
            <a:cxnLst>
              <a:cxn ang="0">
                <a:pos x="26" y="10"/>
              </a:cxn>
              <a:cxn ang="0">
                <a:pos x="26" y="10"/>
              </a:cxn>
              <a:cxn ang="0">
                <a:pos x="23" y="10"/>
              </a:cxn>
              <a:cxn ang="0">
                <a:pos x="22" y="9"/>
              </a:cxn>
              <a:cxn ang="0">
                <a:pos x="18" y="6"/>
              </a:cxn>
              <a:cxn ang="0">
                <a:pos x="17" y="1"/>
              </a:cxn>
              <a:cxn ang="0">
                <a:pos x="16" y="0"/>
              </a:cxn>
              <a:cxn ang="0">
                <a:pos x="15" y="0"/>
              </a:cxn>
              <a:cxn ang="0">
                <a:pos x="15" y="0"/>
              </a:cxn>
              <a:cxn ang="0">
                <a:pos x="11" y="0"/>
              </a:cxn>
              <a:cxn ang="0">
                <a:pos x="8" y="2"/>
              </a:cxn>
              <a:cxn ang="0">
                <a:pos x="5" y="6"/>
              </a:cxn>
              <a:cxn ang="0">
                <a:pos x="3" y="10"/>
              </a:cxn>
              <a:cxn ang="0">
                <a:pos x="1" y="21"/>
              </a:cxn>
              <a:cxn ang="0">
                <a:pos x="0" y="32"/>
              </a:cxn>
              <a:cxn ang="0">
                <a:pos x="0" y="32"/>
              </a:cxn>
              <a:cxn ang="0">
                <a:pos x="0" y="35"/>
              </a:cxn>
              <a:cxn ang="0">
                <a:pos x="1" y="37"/>
              </a:cxn>
              <a:cxn ang="0">
                <a:pos x="4" y="39"/>
              </a:cxn>
              <a:cxn ang="0">
                <a:pos x="8" y="41"/>
              </a:cxn>
              <a:cxn ang="0">
                <a:pos x="11" y="44"/>
              </a:cxn>
              <a:cxn ang="0">
                <a:pos x="11" y="44"/>
              </a:cxn>
              <a:cxn ang="0">
                <a:pos x="20" y="24"/>
              </a:cxn>
              <a:cxn ang="0">
                <a:pos x="25" y="15"/>
              </a:cxn>
              <a:cxn ang="0">
                <a:pos x="26" y="12"/>
              </a:cxn>
              <a:cxn ang="0">
                <a:pos x="26" y="10"/>
              </a:cxn>
              <a:cxn ang="0">
                <a:pos x="26" y="10"/>
              </a:cxn>
              <a:cxn ang="0">
                <a:pos x="26" y="10"/>
              </a:cxn>
            </a:cxnLst>
            <a:rect l="0" t="0" r="r" b="b"/>
            <a:pathLst>
              <a:path w="26" h="44">
                <a:moveTo>
                  <a:pt x="26" y="10"/>
                </a:moveTo>
                <a:lnTo>
                  <a:pt x="26" y="10"/>
                </a:lnTo>
                <a:lnTo>
                  <a:pt x="23" y="10"/>
                </a:lnTo>
                <a:lnTo>
                  <a:pt x="22" y="9"/>
                </a:lnTo>
                <a:lnTo>
                  <a:pt x="18" y="6"/>
                </a:lnTo>
                <a:lnTo>
                  <a:pt x="17" y="1"/>
                </a:lnTo>
                <a:lnTo>
                  <a:pt x="16" y="0"/>
                </a:lnTo>
                <a:lnTo>
                  <a:pt x="15" y="0"/>
                </a:lnTo>
                <a:lnTo>
                  <a:pt x="15" y="0"/>
                </a:lnTo>
                <a:lnTo>
                  <a:pt x="11" y="0"/>
                </a:lnTo>
                <a:lnTo>
                  <a:pt x="8" y="2"/>
                </a:lnTo>
                <a:lnTo>
                  <a:pt x="5" y="6"/>
                </a:lnTo>
                <a:lnTo>
                  <a:pt x="3" y="10"/>
                </a:lnTo>
                <a:lnTo>
                  <a:pt x="1" y="21"/>
                </a:lnTo>
                <a:lnTo>
                  <a:pt x="0" y="32"/>
                </a:lnTo>
                <a:lnTo>
                  <a:pt x="0" y="32"/>
                </a:lnTo>
                <a:lnTo>
                  <a:pt x="0" y="35"/>
                </a:lnTo>
                <a:lnTo>
                  <a:pt x="1" y="37"/>
                </a:lnTo>
                <a:lnTo>
                  <a:pt x="4" y="39"/>
                </a:lnTo>
                <a:lnTo>
                  <a:pt x="8" y="41"/>
                </a:lnTo>
                <a:lnTo>
                  <a:pt x="11" y="44"/>
                </a:lnTo>
                <a:lnTo>
                  <a:pt x="11" y="44"/>
                </a:lnTo>
                <a:lnTo>
                  <a:pt x="20" y="24"/>
                </a:lnTo>
                <a:lnTo>
                  <a:pt x="25" y="15"/>
                </a:lnTo>
                <a:lnTo>
                  <a:pt x="26" y="12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8985250" y="4429125"/>
            <a:ext cx="34925" cy="127000"/>
          </a:xfrm>
          <a:custGeom>
            <a:avLst/>
            <a:gdLst/>
            <a:ahLst/>
            <a:cxnLst>
              <a:cxn ang="0">
                <a:pos x="41" y="31"/>
              </a:cxn>
              <a:cxn ang="0">
                <a:pos x="41" y="31"/>
              </a:cxn>
              <a:cxn ang="0">
                <a:pos x="41" y="97"/>
              </a:cxn>
              <a:cxn ang="0">
                <a:pos x="41" y="97"/>
              </a:cxn>
              <a:cxn ang="0">
                <a:pos x="39" y="106"/>
              </a:cxn>
              <a:cxn ang="0">
                <a:pos x="34" y="122"/>
              </a:cxn>
              <a:cxn ang="0">
                <a:pos x="30" y="137"/>
              </a:cxn>
              <a:cxn ang="0">
                <a:pos x="27" y="143"/>
              </a:cxn>
              <a:cxn ang="0">
                <a:pos x="26" y="145"/>
              </a:cxn>
              <a:cxn ang="0">
                <a:pos x="26" y="145"/>
              </a:cxn>
              <a:cxn ang="0">
                <a:pos x="17" y="129"/>
              </a:cxn>
              <a:cxn ang="0">
                <a:pos x="9" y="112"/>
              </a:cxn>
              <a:cxn ang="0">
                <a:pos x="6" y="104"/>
              </a:cxn>
              <a:cxn ang="0">
                <a:pos x="2" y="93"/>
              </a:cxn>
              <a:cxn ang="0">
                <a:pos x="1" y="83"/>
              </a:cxn>
              <a:cxn ang="0">
                <a:pos x="0" y="71"/>
              </a:cxn>
              <a:cxn ang="0">
                <a:pos x="0" y="71"/>
              </a:cxn>
              <a:cxn ang="0">
                <a:pos x="1" y="55"/>
              </a:cxn>
              <a:cxn ang="0">
                <a:pos x="2" y="41"/>
              </a:cxn>
              <a:cxn ang="0">
                <a:pos x="3" y="28"/>
              </a:cxn>
              <a:cxn ang="0">
                <a:pos x="4" y="13"/>
              </a:cxn>
              <a:cxn ang="0">
                <a:pos x="4" y="13"/>
              </a:cxn>
              <a:cxn ang="0">
                <a:pos x="4" y="8"/>
              </a:cxn>
              <a:cxn ang="0">
                <a:pos x="6" y="5"/>
              </a:cxn>
              <a:cxn ang="0">
                <a:pos x="8" y="2"/>
              </a:cxn>
              <a:cxn ang="0">
                <a:pos x="10" y="1"/>
              </a:cxn>
              <a:cxn ang="0">
                <a:pos x="12" y="0"/>
              </a:cxn>
              <a:cxn ang="0">
                <a:pos x="16" y="0"/>
              </a:cxn>
              <a:cxn ang="0">
                <a:pos x="23" y="2"/>
              </a:cxn>
              <a:cxn ang="0">
                <a:pos x="30" y="7"/>
              </a:cxn>
              <a:cxn ang="0">
                <a:pos x="35" y="14"/>
              </a:cxn>
              <a:cxn ang="0">
                <a:pos x="39" y="22"/>
              </a:cxn>
              <a:cxn ang="0">
                <a:pos x="40" y="27"/>
              </a:cxn>
              <a:cxn ang="0">
                <a:pos x="41" y="31"/>
              </a:cxn>
              <a:cxn ang="0">
                <a:pos x="41" y="31"/>
              </a:cxn>
              <a:cxn ang="0">
                <a:pos x="41" y="31"/>
              </a:cxn>
            </a:cxnLst>
            <a:rect l="0" t="0" r="r" b="b"/>
            <a:pathLst>
              <a:path w="41" h="145">
                <a:moveTo>
                  <a:pt x="41" y="31"/>
                </a:moveTo>
                <a:lnTo>
                  <a:pt x="41" y="31"/>
                </a:lnTo>
                <a:lnTo>
                  <a:pt x="41" y="97"/>
                </a:lnTo>
                <a:lnTo>
                  <a:pt x="41" y="97"/>
                </a:lnTo>
                <a:lnTo>
                  <a:pt x="39" y="106"/>
                </a:lnTo>
                <a:lnTo>
                  <a:pt x="34" y="122"/>
                </a:lnTo>
                <a:lnTo>
                  <a:pt x="30" y="137"/>
                </a:lnTo>
                <a:lnTo>
                  <a:pt x="27" y="143"/>
                </a:lnTo>
                <a:lnTo>
                  <a:pt x="26" y="145"/>
                </a:lnTo>
                <a:lnTo>
                  <a:pt x="26" y="145"/>
                </a:lnTo>
                <a:lnTo>
                  <a:pt x="17" y="129"/>
                </a:lnTo>
                <a:lnTo>
                  <a:pt x="9" y="112"/>
                </a:lnTo>
                <a:lnTo>
                  <a:pt x="6" y="104"/>
                </a:lnTo>
                <a:lnTo>
                  <a:pt x="2" y="93"/>
                </a:lnTo>
                <a:lnTo>
                  <a:pt x="1" y="83"/>
                </a:lnTo>
                <a:lnTo>
                  <a:pt x="0" y="71"/>
                </a:lnTo>
                <a:lnTo>
                  <a:pt x="0" y="71"/>
                </a:lnTo>
                <a:lnTo>
                  <a:pt x="1" y="55"/>
                </a:lnTo>
                <a:lnTo>
                  <a:pt x="2" y="41"/>
                </a:lnTo>
                <a:lnTo>
                  <a:pt x="3" y="28"/>
                </a:lnTo>
                <a:lnTo>
                  <a:pt x="4" y="13"/>
                </a:lnTo>
                <a:lnTo>
                  <a:pt x="4" y="13"/>
                </a:lnTo>
                <a:lnTo>
                  <a:pt x="4" y="8"/>
                </a:lnTo>
                <a:lnTo>
                  <a:pt x="6" y="5"/>
                </a:lnTo>
                <a:lnTo>
                  <a:pt x="8" y="2"/>
                </a:lnTo>
                <a:lnTo>
                  <a:pt x="10" y="1"/>
                </a:lnTo>
                <a:lnTo>
                  <a:pt x="12" y="0"/>
                </a:lnTo>
                <a:lnTo>
                  <a:pt x="16" y="0"/>
                </a:lnTo>
                <a:lnTo>
                  <a:pt x="23" y="2"/>
                </a:lnTo>
                <a:lnTo>
                  <a:pt x="30" y="7"/>
                </a:lnTo>
                <a:lnTo>
                  <a:pt x="35" y="14"/>
                </a:lnTo>
                <a:lnTo>
                  <a:pt x="39" y="22"/>
                </a:lnTo>
                <a:lnTo>
                  <a:pt x="40" y="27"/>
                </a:lnTo>
                <a:lnTo>
                  <a:pt x="41" y="31"/>
                </a:lnTo>
                <a:lnTo>
                  <a:pt x="41" y="31"/>
                </a:lnTo>
                <a:lnTo>
                  <a:pt x="41" y="3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Freeform 21"/>
          <p:cNvSpPr>
            <a:spLocks/>
          </p:cNvSpPr>
          <p:nvPr/>
        </p:nvSpPr>
        <p:spPr bwMode="auto">
          <a:xfrm>
            <a:off x="8999538" y="4224338"/>
            <a:ext cx="28575" cy="71437"/>
          </a:xfrm>
          <a:custGeom>
            <a:avLst/>
            <a:gdLst/>
            <a:ahLst/>
            <a:cxnLst>
              <a:cxn ang="0">
                <a:pos x="18" y="74"/>
              </a:cxn>
              <a:cxn ang="0">
                <a:pos x="18" y="51"/>
              </a:cxn>
              <a:cxn ang="0">
                <a:pos x="18" y="51"/>
              </a:cxn>
              <a:cxn ang="0">
                <a:pos x="18" y="51"/>
              </a:cxn>
              <a:cxn ang="0">
                <a:pos x="17" y="48"/>
              </a:cxn>
              <a:cxn ang="0">
                <a:pos x="15" y="44"/>
              </a:cxn>
              <a:cxn ang="0">
                <a:pos x="9" y="36"/>
              </a:cxn>
              <a:cxn ang="0">
                <a:pos x="5" y="32"/>
              </a:cxn>
              <a:cxn ang="0">
                <a:pos x="2" y="27"/>
              </a:cxn>
              <a:cxn ang="0">
                <a:pos x="1" y="21"/>
              </a:cxn>
              <a:cxn ang="0">
                <a:pos x="0" y="15"/>
              </a:cxn>
              <a:cxn ang="0">
                <a:pos x="0" y="15"/>
              </a:cxn>
              <a:cxn ang="0">
                <a:pos x="1" y="10"/>
              </a:cxn>
              <a:cxn ang="0">
                <a:pos x="4" y="5"/>
              </a:cxn>
              <a:cxn ang="0">
                <a:pos x="8" y="2"/>
              </a:cxn>
              <a:cxn ang="0">
                <a:pos x="11" y="0"/>
              </a:cxn>
              <a:cxn ang="0">
                <a:pos x="11" y="0"/>
              </a:cxn>
              <a:cxn ang="0">
                <a:pos x="19" y="13"/>
              </a:cxn>
              <a:cxn ang="0">
                <a:pos x="28" y="26"/>
              </a:cxn>
              <a:cxn ang="0">
                <a:pos x="32" y="34"/>
              </a:cxn>
              <a:cxn ang="0">
                <a:pos x="34" y="42"/>
              </a:cxn>
              <a:cxn ang="0">
                <a:pos x="37" y="51"/>
              </a:cxn>
              <a:cxn ang="0">
                <a:pos x="37" y="63"/>
              </a:cxn>
              <a:cxn ang="0">
                <a:pos x="37" y="63"/>
              </a:cxn>
              <a:cxn ang="0">
                <a:pos x="37" y="71"/>
              </a:cxn>
              <a:cxn ang="0">
                <a:pos x="35" y="76"/>
              </a:cxn>
              <a:cxn ang="0">
                <a:pos x="35" y="79"/>
              </a:cxn>
              <a:cxn ang="0">
                <a:pos x="33" y="80"/>
              </a:cxn>
              <a:cxn ang="0">
                <a:pos x="32" y="81"/>
              </a:cxn>
              <a:cxn ang="0">
                <a:pos x="30" y="81"/>
              </a:cxn>
              <a:cxn ang="0">
                <a:pos x="30" y="81"/>
              </a:cxn>
              <a:cxn ang="0">
                <a:pos x="26" y="80"/>
              </a:cxn>
              <a:cxn ang="0">
                <a:pos x="23" y="78"/>
              </a:cxn>
              <a:cxn ang="0">
                <a:pos x="18" y="74"/>
              </a:cxn>
              <a:cxn ang="0">
                <a:pos x="18" y="74"/>
              </a:cxn>
              <a:cxn ang="0">
                <a:pos x="18" y="74"/>
              </a:cxn>
            </a:cxnLst>
            <a:rect l="0" t="0" r="r" b="b"/>
            <a:pathLst>
              <a:path w="37" h="81">
                <a:moveTo>
                  <a:pt x="18" y="74"/>
                </a:moveTo>
                <a:lnTo>
                  <a:pt x="18" y="51"/>
                </a:lnTo>
                <a:lnTo>
                  <a:pt x="18" y="51"/>
                </a:lnTo>
                <a:lnTo>
                  <a:pt x="18" y="51"/>
                </a:lnTo>
                <a:lnTo>
                  <a:pt x="17" y="48"/>
                </a:lnTo>
                <a:lnTo>
                  <a:pt x="15" y="44"/>
                </a:lnTo>
                <a:lnTo>
                  <a:pt x="9" y="36"/>
                </a:lnTo>
                <a:lnTo>
                  <a:pt x="5" y="32"/>
                </a:lnTo>
                <a:lnTo>
                  <a:pt x="2" y="27"/>
                </a:lnTo>
                <a:lnTo>
                  <a:pt x="1" y="21"/>
                </a:lnTo>
                <a:lnTo>
                  <a:pt x="0" y="15"/>
                </a:lnTo>
                <a:lnTo>
                  <a:pt x="0" y="15"/>
                </a:lnTo>
                <a:lnTo>
                  <a:pt x="1" y="10"/>
                </a:lnTo>
                <a:lnTo>
                  <a:pt x="4" y="5"/>
                </a:lnTo>
                <a:lnTo>
                  <a:pt x="8" y="2"/>
                </a:lnTo>
                <a:lnTo>
                  <a:pt x="11" y="0"/>
                </a:lnTo>
                <a:lnTo>
                  <a:pt x="11" y="0"/>
                </a:lnTo>
                <a:lnTo>
                  <a:pt x="19" y="13"/>
                </a:lnTo>
                <a:lnTo>
                  <a:pt x="28" y="26"/>
                </a:lnTo>
                <a:lnTo>
                  <a:pt x="32" y="34"/>
                </a:lnTo>
                <a:lnTo>
                  <a:pt x="34" y="42"/>
                </a:lnTo>
                <a:lnTo>
                  <a:pt x="37" y="51"/>
                </a:lnTo>
                <a:lnTo>
                  <a:pt x="37" y="63"/>
                </a:lnTo>
                <a:lnTo>
                  <a:pt x="37" y="63"/>
                </a:lnTo>
                <a:lnTo>
                  <a:pt x="37" y="71"/>
                </a:lnTo>
                <a:lnTo>
                  <a:pt x="35" y="76"/>
                </a:lnTo>
                <a:lnTo>
                  <a:pt x="35" y="79"/>
                </a:lnTo>
                <a:lnTo>
                  <a:pt x="33" y="80"/>
                </a:lnTo>
                <a:lnTo>
                  <a:pt x="32" y="81"/>
                </a:lnTo>
                <a:lnTo>
                  <a:pt x="30" y="81"/>
                </a:lnTo>
                <a:lnTo>
                  <a:pt x="30" y="81"/>
                </a:lnTo>
                <a:lnTo>
                  <a:pt x="26" y="80"/>
                </a:lnTo>
                <a:lnTo>
                  <a:pt x="23" y="78"/>
                </a:lnTo>
                <a:lnTo>
                  <a:pt x="18" y="74"/>
                </a:lnTo>
                <a:lnTo>
                  <a:pt x="18" y="74"/>
                </a:lnTo>
                <a:lnTo>
                  <a:pt x="18" y="7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7" name="Freeform 22"/>
          <p:cNvSpPr>
            <a:spLocks/>
          </p:cNvSpPr>
          <p:nvPr/>
        </p:nvSpPr>
        <p:spPr bwMode="auto">
          <a:xfrm>
            <a:off x="8994775" y="4179888"/>
            <a:ext cx="14288" cy="25400"/>
          </a:xfrm>
          <a:custGeom>
            <a:avLst/>
            <a:gdLst/>
            <a:ahLst/>
            <a:cxnLst>
              <a:cxn ang="0">
                <a:pos x="12" y="30"/>
              </a:cxn>
              <a:cxn ang="0">
                <a:pos x="12" y="30"/>
              </a:cxn>
              <a:cxn ang="0">
                <a:pos x="6" y="28"/>
              </a:cxn>
              <a:cxn ang="0">
                <a:pos x="3" y="26"/>
              </a:cxn>
              <a:cxn ang="0">
                <a:pos x="1" y="23"/>
              </a:cxn>
              <a:cxn ang="0">
                <a:pos x="0" y="18"/>
              </a:cxn>
              <a:cxn ang="0">
                <a:pos x="0" y="18"/>
              </a:cxn>
              <a:cxn ang="0">
                <a:pos x="0" y="8"/>
              </a:cxn>
              <a:cxn ang="0">
                <a:pos x="4" y="0"/>
              </a:cxn>
              <a:cxn ang="0">
                <a:pos x="15" y="8"/>
              </a:cxn>
              <a:cxn ang="0">
                <a:pos x="15" y="8"/>
              </a:cxn>
              <a:cxn ang="0">
                <a:pos x="15" y="25"/>
              </a:cxn>
              <a:cxn ang="0">
                <a:pos x="15" y="25"/>
              </a:cxn>
              <a:cxn ang="0">
                <a:pos x="15" y="25"/>
              </a:cxn>
              <a:cxn ang="0">
                <a:pos x="12" y="30"/>
              </a:cxn>
              <a:cxn ang="0">
                <a:pos x="12" y="30"/>
              </a:cxn>
            </a:cxnLst>
            <a:rect l="0" t="0" r="r" b="b"/>
            <a:pathLst>
              <a:path w="15" h="30">
                <a:moveTo>
                  <a:pt x="12" y="30"/>
                </a:moveTo>
                <a:lnTo>
                  <a:pt x="12" y="30"/>
                </a:lnTo>
                <a:lnTo>
                  <a:pt x="6" y="28"/>
                </a:lnTo>
                <a:lnTo>
                  <a:pt x="3" y="26"/>
                </a:lnTo>
                <a:lnTo>
                  <a:pt x="1" y="23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4" y="0"/>
                </a:lnTo>
                <a:lnTo>
                  <a:pt x="15" y="8"/>
                </a:lnTo>
                <a:lnTo>
                  <a:pt x="15" y="8"/>
                </a:lnTo>
                <a:lnTo>
                  <a:pt x="15" y="25"/>
                </a:lnTo>
                <a:lnTo>
                  <a:pt x="15" y="25"/>
                </a:lnTo>
                <a:lnTo>
                  <a:pt x="15" y="25"/>
                </a:lnTo>
                <a:lnTo>
                  <a:pt x="12" y="30"/>
                </a:lnTo>
                <a:lnTo>
                  <a:pt x="12" y="3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8" name="Freeform 23"/>
          <p:cNvSpPr>
            <a:spLocks/>
          </p:cNvSpPr>
          <p:nvPr/>
        </p:nvSpPr>
        <p:spPr bwMode="auto">
          <a:xfrm>
            <a:off x="8990013" y="4110038"/>
            <a:ext cx="19050" cy="22225"/>
          </a:xfrm>
          <a:custGeom>
            <a:avLst/>
            <a:gdLst/>
            <a:ahLst/>
            <a:cxnLst>
              <a:cxn ang="0">
                <a:pos x="19" y="12"/>
              </a:cxn>
              <a:cxn ang="0">
                <a:pos x="19" y="12"/>
              </a:cxn>
              <a:cxn ang="0">
                <a:pos x="15" y="10"/>
              </a:cxn>
              <a:cxn ang="0">
                <a:pos x="13" y="9"/>
              </a:cxn>
              <a:cxn ang="0">
                <a:pos x="10" y="6"/>
              </a:cxn>
              <a:cxn ang="0">
                <a:pos x="5" y="2"/>
              </a:cxn>
              <a:cxn ang="0">
                <a:pos x="3" y="0"/>
              </a:cxn>
              <a:cxn ang="0">
                <a:pos x="0" y="0"/>
              </a:cxn>
              <a:cxn ang="0">
                <a:pos x="0" y="0"/>
              </a:cxn>
              <a:cxn ang="0">
                <a:pos x="0" y="15"/>
              </a:cxn>
              <a:cxn ang="0">
                <a:pos x="0" y="15"/>
              </a:cxn>
              <a:cxn ang="0">
                <a:pos x="0" y="19"/>
              </a:cxn>
              <a:cxn ang="0">
                <a:pos x="3" y="22"/>
              </a:cxn>
              <a:cxn ang="0">
                <a:pos x="5" y="24"/>
              </a:cxn>
              <a:cxn ang="0">
                <a:pos x="7" y="27"/>
              </a:cxn>
              <a:cxn ang="0">
                <a:pos x="7" y="27"/>
              </a:cxn>
              <a:cxn ang="0">
                <a:pos x="11" y="24"/>
              </a:cxn>
              <a:cxn ang="0">
                <a:pos x="14" y="22"/>
              </a:cxn>
              <a:cxn ang="0">
                <a:pos x="22" y="15"/>
              </a:cxn>
              <a:cxn ang="0">
                <a:pos x="19" y="12"/>
              </a:cxn>
              <a:cxn ang="0">
                <a:pos x="19" y="12"/>
              </a:cxn>
              <a:cxn ang="0">
                <a:pos x="19" y="12"/>
              </a:cxn>
            </a:cxnLst>
            <a:rect l="0" t="0" r="r" b="b"/>
            <a:pathLst>
              <a:path w="22" h="27">
                <a:moveTo>
                  <a:pt x="19" y="12"/>
                </a:moveTo>
                <a:lnTo>
                  <a:pt x="19" y="12"/>
                </a:lnTo>
                <a:lnTo>
                  <a:pt x="15" y="10"/>
                </a:lnTo>
                <a:lnTo>
                  <a:pt x="13" y="9"/>
                </a:lnTo>
                <a:lnTo>
                  <a:pt x="10" y="6"/>
                </a:lnTo>
                <a:lnTo>
                  <a:pt x="5" y="2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0" y="15"/>
                </a:lnTo>
                <a:lnTo>
                  <a:pt x="0" y="15"/>
                </a:lnTo>
                <a:lnTo>
                  <a:pt x="0" y="19"/>
                </a:lnTo>
                <a:lnTo>
                  <a:pt x="3" y="22"/>
                </a:lnTo>
                <a:lnTo>
                  <a:pt x="5" y="24"/>
                </a:lnTo>
                <a:lnTo>
                  <a:pt x="7" y="27"/>
                </a:lnTo>
                <a:lnTo>
                  <a:pt x="7" y="27"/>
                </a:lnTo>
                <a:lnTo>
                  <a:pt x="11" y="24"/>
                </a:lnTo>
                <a:lnTo>
                  <a:pt x="14" y="22"/>
                </a:lnTo>
                <a:lnTo>
                  <a:pt x="22" y="15"/>
                </a:lnTo>
                <a:lnTo>
                  <a:pt x="19" y="12"/>
                </a:lnTo>
                <a:lnTo>
                  <a:pt x="19" y="12"/>
                </a:lnTo>
                <a:lnTo>
                  <a:pt x="19" y="1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9" name="Freeform 24"/>
          <p:cNvSpPr>
            <a:spLocks/>
          </p:cNvSpPr>
          <p:nvPr/>
        </p:nvSpPr>
        <p:spPr bwMode="auto">
          <a:xfrm>
            <a:off x="8967788" y="4067175"/>
            <a:ext cx="17462" cy="19050"/>
          </a:xfrm>
          <a:custGeom>
            <a:avLst/>
            <a:gdLst/>
            <a:ahLst/>
            <a:cxnLst>
              <a:cxn ang="0">
                <a:pos x="11" y="22"/>
              </a:cxn>
              <a:cxn ang="0">
                <a:pos x="11" y="22"/>
              </a:cxn>
              <a:cxn ang="0">
                <a:pos x="8" y="21"/>
              </a:cxn>
              <a:cxn ang="0">
                <a:pos x="6" y="17"/>
              </a:cxn>
              <a:cxn ang="0">
                <a:pos x="3" y="15"/>
              </a:cxn>
              <a:cxn ang="0">
                <a:pos x="0" y="14"/>
              </a:cxn>
              <a:cxn ang="0">
                <a:pos x="0" y="14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8" y="1"/>
              </a:cxn>
              <a:cxn ang="0">
                <a:pos x="14" y="5"/>
              </a:cxn>
              <a:cxn ang="0">
                <a:pos x="18" y="9"/>
              </a:cxn>
              <a:cxn ang="0">
                <a:pos x="22" y="14"/>
              </a:cxn>
              <a:cxn ang="0">
                <a:pos x="22" y="14"/>
              </a:cxn>
              <a:cxn ang="0">
                <a:pos x="19" y="15"/>
              </a:cxn>
              <a:cxn ang="0">
                <a:pos x="17" y="17"/>
              </a:cxn>
              <a:cxn ang="0">
                <a:pos x="14" y="21"/>
              </a:cxn>
              <a:cxn ang="0">
                <a:pos x="11" y="22"/>
              </a:cxn>
              <a:cxn ang="0">
                <a:pos x="11" y="22"/>
              </a:cxn>
              <a:cxn ang="0">
                <a:pos x="11" y="22"/>
              </a:cxn>
            </a:cxnLst>
            <a:rect l="0" t="0" r="r" b="b"/>
            <a:pathLst>
              <a:path w="22" h="22">
                <a:moveTo>
                  <a:pt x="11" y="22"/>
                </a:moveTo>
                <a:lnTo>
                  <a:pt x="11" y="22"/>
                </a:lnTo>
                <a:lnTo>
                  <a:pt x="8" y="21"/>
                </a:lnTo>
                <a:lnTo>
                  <a:pt x="6" y="17"/>
                </a:lnTo>
                <a:lnTo>
                  <a:pt x="3" y="15"/>
                </a:lnTo>
                <a:lnTo>
                  <a:pt x="0" y="14"/>
                </a:lnTo>
                <a:lnTo>
                  <a:pt x="0" y="14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8" y="1"/>
                </a:lnTo>
                <a:lnTo>
                  <a:pt x="14" y="5"/>
                </a:lnTo>
                <a:lnTo>
                  <a:pt x="18" y="9"/>
                </a:lnTo>
                <a:lnTo>
                  <a:pt x="22" y="14"/>
                </a:lnTo>
                <a:lnTo>
                  <a:pt x="22" y="14"/>
                </a:lnTo>
                <a:lnTo>
                  <a:pt x="19" y="15"/>
                </a:lnTo>
                <a:lnTo>
                  <a:pt x="17" y="17"/>
                </a:lnTo>
                <a:lnTo>
                  <a:pt x="14" y="21"/>
                </a:lnTo>
                <a:lnTo>
                  <a:pt x="11" y="22"/>
                </a:lnTo>
                <a:lnTo>
                  <a:pt x="11" y="22"/>
                </a:lnTo>
                <a:lnTo>
                  <a:pt x="11" y="2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Freeform 25"/>
          <p:cNvSpPr>
            <a:spLocks/>
          </p:cNvSpPr>
          <p:nvPr/>
        </p:nvSpPr>
        <p:spPr bwMode="auto">
          <a:xfrm>
            <a:off x="8934450" y="3944938"/>
            <a:ext cx="23813" cy="34925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5" y="0"/>
              </a:cxn>
              <a:cxn ang="0">
                <a:pos x="10" y="1"/>
              </a:cxn>
              <a:cxn ang="0">
                <a:pos x="5" y="2"/>
              </a:cxn>
              <a:cxn ang="0">
                <a:pos x="3" y="4"/>
              </a:cxn>
              <a:cxn ang="0">
                <a:pos x="2" y="8"/>
              </a:cxn>
              <a:cxn ang="0">
                <a:pos x="0" y="16"/>
              </a:cxn>
              <a:cxn ang="0">
                <a:pos x="0" y="21"/>
              </a:cxn>
              <a:cxn ang="0">
                <a:pos x="0" y="21"/>
              </a:cxn>
              <a:cxn ang="0">
                <a:pos x="0" y="27"/>
              </a:cxn>
              <a:cxn ang="0">
                <a:pos x="1" y="31"/>
              </a:cxn>
              <a:cxn ang="0">
                <a:pos x="3" y="34"/>
              </a:cxn>
              <a:cxn ang="0">
                <a:pos x="4" y="36"/>
              </a:cxn>
              <a:cxn ang="0">
                <a:pos x="9" y="40"/>
              </a:cxn>
              <a:cxn ang="0">
                <a:pos x="15" y="40"/>
              </a:cxn>
              <a:cxn ang="0">
                <a:pos x="15" y="40"/>
              </a:cxn>
              <a:cxn ang="0">
                <a:pos x="17" y="40"/>
              </a:cxn>
              <a:cxn ang="0">
                <a:pos x="19" y="38"/>
              </a:cxn>
              <a:cxn ang="0">
                <a:pos x="23" y="33"/>
              </a:cxn>
              <a:cxn ang="0">
                <a:pos x="25" y="26"/>
              </a:cxn>
              <a:cxn ang="0">
                <a:pos x="26" y="21"/>
              </a:cxn>
              <a:cxn ang="0">
                <a:pos x="26" y="21"/>
              </a:cxn>
              <a:cxn ang="0">
                <a:pos x="26" y="8"/>
              </a:cxn>
              <a:cxn ang="0">
                <a:pos x="26" y="8"/>
              </a:cxn>
              <a:cxn ang="0">
                <a:pos x="20" y="2"/>
              </a:cxn>
              <a:cxn ang="0">
                <a:pos x="17" y="1"/>
              </a:cxn>
              <a:cxn ang="0">
                <a:pos x="15" y="0"/>
              </a:cxn>
              <a:cxn ang="0">
                <a:pos x="15" y="0"/>
              </a:cxn>
              <a:cxn ang="0">
                <a:pos x="15" y="0"/>
              </a:cxn>
            </a:cxnLst>
            <a:rect l="0" t="0" r="r" b="b"/>
            <a:pathLst>
              <a:path w="26" h="40">
                <a:moveTo>
                  <a:pt x="15" y="0"/>
                </a:moveTo>
                <a:lnTo>
                  <a:pt x="15" y="0"/>
                </a:lnTo>
                <a:lnTo>
                  <a:pt x="10" y="1"/>
                </a:lnTo>
                <a:lnTo>
                  <a:pt x="5" y="2"/>
                </a:lnTo>
                <a:lnTo>
                  <a:pt x="3" y="4"/>
                </a:lnTo>
                <a:lnTo>
                  <a:pt x="2" y="8"/>
                </a:lnTo>
                <a:lnTo>
                  <a:pt x="0" y="16"/>
                </a:lnTo>
                <a:lnTo>
                  <a:pt x="0" y="21"/>
                </a:lnTo>
                <a:lnTo>
                  <a:pt x="0" y="21"/>
                </a:lnTo>
                <a:lnTo>
                  <a:pt x="0" y="27"/>
                </a:lnTo>
                <a:lnTo>
                  <a:pt x="1" y="31"/>
                </a:lnTo>
                <a:lnTo>
                  <a:pt x="3" y="34"/>
                </a:lnTo>
                <a:lnTo>
                  <a:pt x="4" y="36"/>
                </a:lnTo>
                <a:lnTo>
                  <a:pt x="9" y="40"/>
                </a:lnTo>
                <a:lnTo>
                  <a:pt x="15" y="40"/>
                </a:lnTo>
                <a:lnTo>
                  <a:pt x="15" y="40"/>
                </a:lnTo>
                <a:lnTo>
                  <a:pt x="17" y="40"/>
                </a:lnTo>
                <a:lnTo>
                  <a:pt x="19" y="38"/>
                </a:lnTo>
                <a:lnTo>
                  <a:pt x="23" y="33"/>
                </a:lnTo>
                <a:lnTo>
                  <a:pt x="25" y="26"/>
                </a:lnTo>
                <a:lnTo>
                  <a:pt x="26" y="21"/>
                </a:lnTo>
                <a:lnTo>
                  <a:pt x="26" y="21"/>
                </a:lnTo>
                <a:lnTo>
                  <a:pt x="26" y="8"/>
                </a:lnTo>
                <a:lnTo>
                  <a:pt x="26" y="8"/>
                </a:lnTo>
                <a:lnTo>
                  <a:pt x="20" y="2"/>
                </a:lnTo>
                <a:lnTo>
                  <a:pt x="17" y="1"/>
                </a:lnTo>
                <a:lnTo>
                  <a:pt x="15" y="0"/>
                </a:lnTo>
                <a:lnTo>
                  <a:pt x="15" y="0"/>
                </a:lnTo>
                <a:lnTo>
                  <a:pt x="15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Freeform 26"/>
          <p:cNvSpPr>
            <a:spLocks/>
          </p:cNvSpPr>
          <p:nvPr/>
        </p:nvSpPr>
        <p:spPr bwMode="auto">
          <a:xfrm>
            <a:off x="8926513" y="3898900"/>
            <a:ext cx="19050" cy="15875"/>
          </a:xfrm>
          <a:custGeom>
            <a:avLst/>
            <a:gdLst/>
            <a:ahLst/>
            <a:cxnLst>
              <a:cxn ang="0">
                <a:pos x="23" y="11"/>
              </a:cxn>
              <a:cxn ang="0">
                <a:pos x="12" y="0"/>
              </a:cxn>
              <a:cxn ang="0">
                <a:pos x="12" y="0"/>
              </a:cxn>
              <a:cxn ang="0">
                <a:pos x="12" y="0"/>
              </a:cxn>
              <a:cxn ang="0">
                <a:pos x="8" y="0"/>
              </a:cxn>
              <a:cxn ang="0">
                <a:pos x="5" y="3"/>
              </a:cxn>
              <a:cxn ang="0">
                <a:pos x="1" y="6"/>
              </a:cxn>
              <a:cxn ang="0">
                <a:pos x="1" y="9"/>
              </a:cxn>
              <a:cxn ang="0">
                <a:pos x="0" y="11"/>
              </a:cxn>
              <a:cxn ang="0">
                <a:pos x="0" y="11"/>
              </a:cxn>
              <a:cxn ang="0">
                <a:pos x="1" y="13"/>
              </a:cxn>
              <a:cxn ang="0">
                <a:pos x="2" y="15"/>
              </a:cxn>
              <a:cxn ang="0">
                <a:pos x="8" y="18"/>
              </a:cxn>
              <a:cxn ang="0">
                <a:pos x="15" y="18"/>
              </a:cxn>
              <a:cxn ang="0">
                <a:pos x="20" y="18"/>
              </a:cxn>
              <a:cxn ang="0">
                <a:pos x="20" y="18"/>
              </a:cxn>
              <a:cxn ang="0">
                <a:pos x="22" y="18"/>
              </a:cxn>
              <a:cxn ang="0">
                <a:pos x="22" y="15"/>
              </a:cxn>
              <a:cxn ang="0">
                <a:pos x="23" y="11"/>
              </a:cxn>
              <a:cxn ang="0">
                <a:pos x="23" y="11"/>
              </a:cxn>
              <a:cxn ang="0">
                <a:pos x="23" y="11"/>
              </a:cxn>
              <a:cxn ang="0">
                <a:pos x="23" y="11"/>
              </a:cxn>
            </a:cxnLst>
            <a:rect l="0" t="0" r="r" b="b"/>
            <a:pathLst>
              <a:path w="23" h="18">
                <a:moveTo>
                  <a:pt x="23" y="11"/>
                </a:move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8" y="0"/>
                </a:lnTo>
                <a:lnTo>
                  <a:pt x="5" y="3"/>
                </a:lnTo>
                <a:lnTo>
                  <a:pt x="1" y="6"/>
                </a:lnTo>
                <a:lnTo>
                  <a:pt x="1" y="9"/>
                </a:lnTo>
                <a:lnTo>
                  <a:pt x="0" y="11"/>
                </a:lnTo>
                <a:lnTo>
                  <a:pt x="0" y="11"/>
                </a:lnTo>
                <a:lnTo>
                  <a:pt x="1" y="13"/>
                </a:lnTo>
                <a:lnTo>
                  <a:pt x="2" y="15"/>
                </a:lnTo>
                <a:lnTo>
                  <a:pt x="8" y="18"/>
                </a:lnTo>
                <a:lnTo>
                  <a:pt x="15" y="18"/>
                </a:lnTo>
                <a:lnTo>
                  <a:pt x="20" y="18"/>
                </a:lnTo>
                <a:lnTo>
                  <a:pt x="20" y="18"/>
                </a:lnTo>
                <a:lnTo>
                  <a:pt x="22" y="18"/>
                </a:lnTo>
                <a:lnTo>
                  <a:pt x="22" y="15"/>
                </a:lnTo>
                <a:lnTo>
                  <a:pt x="23" y="11"/>
                </a:lnTo>
                <a:lnTo>
                  <a:pt x="23" y="11"/>
                </a:lnTo>
                <a:lnTo>
                  <a:pt x="23" y="11"/>
                </a:lnTo>
                <a:lnTo>
                  <a:pt x="23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Freeform 27"/>
          <p:cNvSpPr>
            <a:spLocks/>
          </p:cNvSpPr>
          <p:nvPr/>
        </p:nvSpPr>
        <p:spPr bwMode="auto">
          <a:xfrm>
            <a:off x="8899525" y="3836988"/>
            <a:ext cx="38100" cy="44450"/>
          </a:xfrm>
          <a:custGeom>
            <a:avLst/>
            <a:gdLst/>
            <a:ahLst/>
            <a:cxnLst>
              <a:cxn ang="0">
                <a:pos x="47" y="33"/>
              </a:cxn>
              <a:cxn ang="0">
                <a:pos x="47" y="33"/>
              </a:cxn>
              <a:cxn ang="0">
                <a:pos x="40" y="23"/>
              </a:cxn>
              <a:cxn ang="0">
                <a:pos x="30" y="12"/>
              </a:cxn>
              <a:cxn ang="0">
                <a:pos x="24" y="7"/>
              </a:cxn>
              <a:cxn ang="0">
                <a:pos x="18" y="4"/>
              </a:cxn>
              <a:cxn ang="0">
                <a:pos x="13" y="1"/>
              </a:cxn>
              <a:cxn ang="0">
                <a:pos x="7" y="0"/>
              </a:cxn>
              <a:cxn ang="0">
                <a:pos x="7" y="0"/>
              </a:cxn>
              <a:cxn ang="0">
                <a:pos x="5" y="0"/>
              </a:cxn>
              <a:cxn ang="0">
                <a:pos x="2" y="1"/>
              </a:cxn>
              <a:cxn ang="0">
                <a:pos x="0" y="4"/>
              </a:cxn>
              <a:cxn ang="0">
                <a:pos x="0" y="4"/>
              </a:cxn>
              <a:cxn ang="0">
                <a:pos x="2" y="8"/>
              </a:cxn>
              <a:cxn ang="0">
                <a:pos x="3" y="13"/>
              </a:cxn>
              <a:cxn ang="0">
                <a:pos x="5" y="22"/>
              </a:cxn>
              <a:cxn ang="0">
                <a:pos x="6" y="27"/>
              </a:cxn>
              <a:cxn ang="0">
                <a:pos x="7" y="30"/>
              </a:cxn>
              <a:cxn ang="0">
                <a:pos x="10" y="33"/>
              </a:cxn>
              <a:cxn ang="0">
                <a:pos x="15" y="33"/>
              </a:cxn>
              <a:cxn ang="0">
                <a:pos x="15" y="33"/>
              </a:cxn>
              <a:cxn ang="0">
                <a:pos x="15" y="39"/>
              </a:cxn>
              <a:cxn ang="0">
                <a:pos x="16" y="43"/>
              </a:cxn>
              <a:cxn ang="0">
                <a:pos x="17" y="46"/>
              </a:cxn>
              <a:cxn ang="0">
                <a:pos x="19" y="49"/>
              </a:cxn>
              <a:cxn ang="0">
                <a:pos x="22" y="50"/>
              </a:cxn>
              <a:cxn ang="0">
                <a:pos x="25" y="51"/>
              </a:cxn>
              <a:cxn ang="0">
                <a:pos x="32" y="51"/>
              </a:cxn>
              <a:cxn ang="0">
                <a:pos x="32" y="51"/>
              </a:cxn>
              <a:cxn ang="0">
                <a:pos x="37" y="51"/>
              </a:cxn>
              <a:cxn ang="0">
                <a:pos x="39" y="50"/>
              </a:cxn>
              <a:cxn ang="0">
                <a:pos x="42" y="49"/>
              </a:cxn>
              <a:cxn ang="0">
                <a:pos x="44" y="46"/>
              </a:cxn>
              <a:cxn ang="0">
                <a:pos x="47" y="41"/>
              </a:cxn>
              <a:cxn ang="0">
                <a:pos x="47" y="33"/>
              </a:cxn>
              <a:cxn ang="0">
                <a:pos x="47" y="33"/>
              </a:cxn>
              <a:cxn ang="0">
                <a:pos x="47" y="33"/>
              </a:cxn>
            </a:cxnLst>
            <a:rect l="0" t="0" r="r" b="b"/>
            <a:pathLst>
              <a:path w="47" h="51">
                <a:moveTo>
                  <a:pt x="47" y="33"/>
                </a:moveTo>
                <a:lnTo>
                  <a:pt x="47" y="33"/>
                </a:lnTo>
                <a:lnTo>
                  <a:pt x="40" y="23"/>
                </a:lnTo>
                <a:lnTo>
                  <a:pt x="30" y="12"/>
                </a:lnTo>
                <a:lnTo>
                  <a:pt x="24" y="7"/>
                </a:lnTo>
                <a:lnTo>
                  <a:pt x="18" y="4"/>
                </a:lnTo>
                <a:lnTo>
                  <a:pt x="13" y="1"/>
                </a:lnTo>
                <a:lnTo>
                  <a:pt x="7" y="0"/>
                </a:lnTo>
                <a:lnTo>
                  <a:pt x="7" y="0"/>
                </a:lnTo>
                <a:lnTo>
                  <a:pt x="5" y="0"/>
                </a:lnTo>
                <a:lnTo>
                  <a:pt x="2" y="1"/>
                </a:lnTo>
                <a:lnTo>
                  <a:pt x="0" y="4"/>
                </a:lnTo>
                <a:lnTo>
                  <a:pt x="0" y="4"/>
                </a:lnTo>
                <a:lnTo>
                  <a:pt x="2" y="8"/>
                </a:lnTo>
                <a:lnTo>
                  <a:pt x="3" y="13"/>
                </a:lnTo>
                <a:lnTo>
                  <a:pt x="5" y="22"/>
                </a:lnTo>
                <a:lnTo>
                  <a:pt x="6" y="27"/>
                </a:lnTo>
                <a:lnTo>
                  <a:pt x="7" y="30"/>
                </a:lnTo>
                <a:lnTo>
                  <a:pt x="10" y="33"/>
                </a:lnTo>
                <a:lnTo>
                  <a:pt x="15" y="33"/>
                </a:lnTo>
                <a:lnTo>
                  <a:pt x="15" y="33"/>
                </a:lnTo>
                <a:lnTo>
                  <a:pt x="15" y="39"/>
                </a:lnTo>
                <a:lnTo>
                  <a:pt x="16" y="43"/>
                </a:lnTo>
                <a:lnTo>
                  <a:pt x="17" y="46"/>
                </a:lnTo>
                <a:lnTo>
                  <a:pt x="19" y="49"/>
                </a:lnTo>
                <a:lnTo>
                  <a:pt x="22" y="50"/>
                </a:lnTo>
                <a:lnTo>
                  <a:pt x="25" y="51"/>
                </a:lnTo>
                <a:lnTo>
                  <a:pt x="32" y="51"/>
                </a:lnTo>
                <a:lnTo>
                  <a:pt x="32" y="51"/>
                </a:lnTo>
                <a:lnTo>
                  <a:pt x="37" y="51"/>
                </a:lnTo>
                <a:lnTo>
                  <a:pt x="39" y="50"/>
                </a:lnTo>
                <a:lnTo>
                  <a:pt x="42" y="49"/>
                </a:lnTo>
                <a:lnTo>
                  <a:pt x="44" y="46"/>
                </a:lnTo>
                <a:lnTo>
                  <a:pt x="47" y="41"/>
                </a:lnTo>
                <a:lnTo>
                  <a:pt x="47" y="33"/>
                </a:lnTo>
                <a:lnTo>
                  <a:pt x="47" y="33"/>
                </a:lnTo>
                <a:lnTo>
                  <a:pt x="47" y="3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3" name="Freeform 28"/>
          <p:cNvSpPr>
            <a:spLocks/>
          </p:cNvSpPr>
          <p:nvPr/>
        </p:nvSpPr>
        <p:spPr bwMode="auto">
          <a:xfrm>
            <a:off x="8855075" y="3668713"/>
            <a:ext cx="36513" cy="114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4" y="1"/>
              </a:cxn>
              <a:cxn ang="0">
                <a:pos x="12" y="3"/>
              </a:cxn>
              <a:cxn ang="0">
                <a:pos x="22" y="7"/>
              </a:cxn>
              <a:cxn ang="0">
                <a:pos x="22" y="7"/>
              </a:cxn>
              <a:cxn ang="0">
                <a:pos x="25" y="7"/>
              </a:cxn>
              <a:cxn ang="0">
                <a:pos x="28" y="8"/>
              </a:cxn>
              <a:cxn ang="0">
                <a:pos x="31" y="9"/>
              </a:cxn>
              <a:cxn ang="0">
                <a:pos x="32" y="11"/>
              </a:cxn>
              <a:cxn ang="0">
                <a:pos x="34" y="17"/>
              </a:cxn>
              <a:cxn ang="0">
                <a:pos x="35" y="24"/>
              </a:cxn>
              <a:cxn ang="0">
                <a:pos x="36" y="40"/>
              </a:cxn>
              <a:cxn ang="0">
                <a:pos x="39" y="49"/>
              </a:cxn>
              <a:cxn ang="0">
                <a:pos x="43" y="58"/>
              </a:cxn>
              <a:cxn ang="0">
                <a:pos x="43" y="58"/>
              </a:cxn>
              <a:cxn ang="0">
                <a:pos x="43" y="117"/>
              </a:cxn>
              <a:cxn ang="0">
                <a:pos x="43" y="117"/>
              </a:cxn>
              <a:cxn ang="0">
                <a:pos x="42" y="121"/>
              </a:cxn>
              <a:cxn ang="0">
                <a:pos x="40" y="125"/>
              </a:cxn>
              <a:cxn ang="0">
                <a:pos x="39" y="128"/>
              </a:cxn>
              <a:cxn ang="0">
                <a:pos x="35" y="130"/>
              </a:cxn>
              <a:cxn ang="0">
                <a:pos x="33" y="131"/>
              </a:cxn>
              <a:cxn ang="0">
                <a:pos x="28" y="132"/>
              </a:cxn>
              <a:cxn ang="0">
                <a:pos x="28" y="132"/>
              </a:cxn>
              <a:cxn ang="0">
                <a:pos x="25" y="131"/>
              </a:cxn>
              <a:cxn ang="0">
                <a:pos x="22" y="128"/>
              </a:cxn>
              <a:cxn ang="0">
                <a:pos x="11" y="119"/>
              </a:cxn>
              <a:cxn ang="0">
                <a:pos x="7" y="114"/>
              </a:cxn>
              <a:cxn ang="0">
                <a:pos x="3" y="108"/>
              </a:cxn>
              <a:cxn ang="0">
                <a:pos x="1" y="102"/>
              </a:cxn>
              <a:cxn ang="0">
                <a:pos x="0" y="98"/>
              </a:cxn>
              <a:cxn ang="0">
                <a:pos x="0" y="98"/>
              </a:cxn>
              <a:cxn ang="0">
                <a:pos x="0" y="92"/>
              </a:cxn>
              <a:cxn ang="0">
                <a:pos x="1" y="87"/>
              </a:cxn>
              <a:cxn ang="0">
                <a:pos x="5" y="78"/>
              </a:cxn>
              <a:cxn ang="0">
                <a:pos x="9" y="71"/>
              </a:cxn>
              <a:cxn ang="0">
                <a:pos x="10" y="67"/>
              </a:cxn>
              <a:cxn ang="0">
                <a:pos x="10" y="62"/>
              </a:cxn>
              <a:cxn ang="0">
                <a:pos x="10" y="62"/>
              </a:cxn>
              <a:cxn ang="0">
                <a:pos x="10" y="54"/>
              </a:cxn>
              <a:cxn ang="0">
                <a:pos x="9" y="49"/>
              </a:cxn>
              <a:cxn ang="0">
                <a:pos x="7" y="45"/>
              </a:cxn>
              <a:cxn ang="0">
                <a:pos x="5" y="41"/>
              </a:cxn>
              <a:cxn ang="0">
                <a:pos x="1" y="35"/>
              </a:cxn>
              <a:cxn ang="0">
                <a:pos x="0" y="31"/>
              </a:cxn>
              <a:cxn ang="0">
                <a:pos x="0" y="24"/>
              </a:cxn>
              <a:cxn ang="0">
                <a:pos x="0" y="24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43" h="132">
                <a:moveTo>
                  <a:pt x="0" y="0"/>
                </a:moveTo>
                <a:lnTo>
                  <a:pt x="0" y="0"/>
                </a:lnTo>
                <a:lnTo>
                  <a:pt x="4" y="1"/>
                </a:lnTo>
                <a:lnTo>
                  <a:pt x="12" y="3"/>
                </a:lnTo>
                <a:lnTo>
                  <a:pt x="22" y="7"/>
                </a:lnTo>
                <a:lnTo>
                  <a:pt x="22" y="7"/>
                </a:lnTo>
                <a:lnTo>
                  <a:pt x="25" y="7"/>
                </a:lnTo>
                <a:lnTo>
                  <a:pt x="28" y="8"/>
                </a:lnTo>
                <a:lnTo>
                  <a:pt x="31" y="9"/>
                </a:lnTo>
                <a:lnTo>
                  <a:pt x="32" y="11"/>
                </a:lnTo>
                <a:lnTo>
                  <a:pt x="34" y="17"/>
                </a:lnTo>
                <a:lnTo>
                  <a:pt x="35" y="24"/>
                </a:lnTo>
                <a:lnTo>
                  <a:pt x="36" y="40"/>
                </a:lnTo>
                <a:lnTo>
                  <a:pt x="39" y="49"/>
                </a:lnTo>
                <a:lnTo>
                  <a:pt x="43" y="58"/>
                </a:lnTo>
                <a:lnTo>
                  <a:pt x="43" y="58"/>
                </a:lnTo>
                <a:lnTo>
                  <a:pt x="43" y="117"/>
                </a:lnTo>
                <a:lnTo>
                  <a:pt x="43" y="117"/>
                </a:lnTo>
                <a:lnTo>
                  <a:pt x="42" y="121"/>
                </a:lnTo>
                <a:lnTo>
                  <a:pt x="40" y="125"/>
                </a:lnTo>
                <a:lnTo>
                  <a:pt x="39" y="128"/>
                </a:lnTo>
                <a:lnTo>
                  <a:pt x="35" y="130"/>
                </a:lnTo>
                <a:lnTo>
                  <a:pt x="33" y="131"/>
                </a:lnTo>
                <a:lnTo>
                  <a:pt x="28" y="132"/>
                </a:lnTo>
                <a:lnTo>
                  <a:pt x="28" y="132"/>
                </a:lnTo>
                <a:lnTo>
                  <a:pt x="25" y="131"/>
                </a:lnTo>
                <a:lnTo>
                  <a:pt x="22" y="128"/>
                </a:lnTo>
                <a:lnTo>
                  <a:pt x="11" y="119"/>
                </a:lnTo>
                <a:lnTo>
                  <a:pt x="7" y="114"/>
                </a:lnTo>
                <a:lnTo>
                  <a:pt x="3" y="108"/>
                </a:lnTo>
                <a:lnTo>
                  <a:pt x="1" y="102"/>
                </a:lnTo>
                <a:lnTo>
                  <a:pt x="0" y="98"/>
                </a:lnTo>
                <a:lnTo>
                  <a:pt x="0" y="98"/>
                </a:lnTo>
                <a:lnTo>
                  <a:pt x="0" y="92"/>
                </a:lnTo>
                <a:lnTo>
                  <a:pt x="1" y="87"/>
                </a:lnTo>
                <a:lnTo>
                  <a:pt x="5" y="78"/>
                </a:lnTo>
                <a:lnTo>
                  <a:pt x="9" y="71"/>
                </a:lnTo>
                <a:lnTo>
                  <a:pt x="10" y="67"/>
                </a:lnTo>
                <a:lnTo>
                  <a:pt x="10" y="62"/>
                </a:lnTo>
                <a:lnTo>
                  <a:pt x="10" y="62"/>
                </a:lnTo>
                <a:lnTo>
                  <a:pt x="10" y="54"/>
                </a:lnTo>
                <a:lnTo>
                  <a:pt x="9" y="49"/>
                </a:lnTo>
                <a:lnTo>
                  <a:pt x="7" y="45"/>
                </a:lnTo>
                <a:lnTo>
                  <a:pt x="5" y="41"/>
                </a:lnTo>
                <a:lnTo>
                  <a:pt x="1" y="35"/>
                </a:lnTo>
                <a:lnTo>
                  <a:pt x="0" y="31"/>
                </a:lnTo>
                <a:lnTo>
                  <a:pt x="0" y="24"/>
                </a:lnTo>
                <a:lnTo>
                  <a:pt x="0" y="24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Freeform 29"/>
          <p:cNvSpPr>
            <a:spLocks/>
          </p:cNvSpPr>
          <p:nvPr/>
        </p:nvSpPr>
        <p:spPr bwMode="auto">
          <a:xfrm>
            <a:off x="8851900" y="3625850"/>
            <a:ext cx="31750" cy="31750"/>
          </a:xfrm>
          <a:custGeom>
            <a:avLst/>
            <a:gdLst/>
            <a:ahLst/>
            <a:cxnLst>
              <a:cxn ang="0">
                <a:pos x="17" y="7"/>
              </a:cxn>
              <a:cxn ang="0">
                <a:pos x="17" y="7"/>
              </a:cxn>
              <a:cxn ang="0">
                <a:pos x="12" y="7"/>
              </a:cxn>
              <a:cxn ang="0">
                <a:pos x="8" y="5"/>
              </a:cxn>
              <a:cxn ang="0">
                <a:pos x="5" y="3"/>
              </a:cxn>
              <a:cxn ang="0">
                <a:pos x="0" y="0"/>
              </a:cxn>
              <a:cxn ang="0">
                <a:pos x="0" y="0"/>
              </a:cxn>
              <a:cxn ang="0">
                <a:pos x="0" y="22"/>
              </a:cxn>
              <a:cxn ang="0">
                <a:pos x="0" y="22"/>
              </a:cxn>
              <a:cxn ang="0">
                <a:pos x="1" y="28"/>
              </a:cxn>
              <a:cxn ang="0">
                <a:pos x="5" y="33"/>
              </a:cxn>
              <a:cxn ang="0">
                <a:pos x="11" y="36"/>
              </a:cxn>
              <a:cxn ang="0">
                <a:pos x="14" y="37"/>
              </a:cxn>
              <a:cxn ang="0">
                <a:pos x="17" y="37"/>
              </a:cxn>
              <a:cxn ang="0">
                <a:pos x="17" y="37"/>
              </a:cxn>
              <a:cxn ang="0">
                <a:pos x="27" y="36"/>
              </a:cxn>
              <a:cxn ang="0">
                <a:pos x="34" y="34"/>
              </a:cxn>
              <a:cxn ang="0">
                <a:pos x="36" y="32"/>
              </a:cxn>
              <a:cxn ang="0">
                <a:pos x="37" y="29"/>
              </a:cxn>
              <a:cxn ang="0">
                <a:pos x="40" y="22"/>
              </a:cxn>
              <a:cxn ang="0">
                <a:pos x="40" y="22"/>
              </a:cxn>
              <a:cxn ang="0">
                <a:pos x="17" y="7"/>
              </a:cxn>
              <a:cxn ang="0">
                <a:pos x="17" y="7"/>
              </a:cxn>
            </a:cxnLst>
            <a:rect l="0" t="0" r="r" b="b"/>
            <a:pathLst>
              <a:path w="40" h="37">
                <a:moveTo>
                  <a:pt x="17" y="7"/>
                </a:moveTo>
                <a:lnTo>
                  <a:pt x="17" y="7"/>
                </a:lnTo>
                <a:lnTo>
                  <a:pt x="12" y="7"/>
                </a:lnTo>
                <a:lnTo>
                  <a:pt x="8" y="5"/>
                </a:lnTo>
                <a:lnTo>
                  <a:pt x="5" y="3"/>
                </a:lnTo>
                <a:lnTo>
                  <a:pt x="0" y="0"/>
                </a:lnTo>
                <a:lnTo>
                  <a:pt x="0" y="0"/>
                </a:lnTo>
                <a:lnTo>
                  <a:pt x="0" y="22"/>
                </a:lnTo>
                <a:lnTo>
                  <a:pt x="0" y="22"/>
                </a:lnTo>
                <a:lnTo>
                  <a:pt x="1" y="28"/>
                </a:lnTo>
                <a:lnTo>
                  <a:pt x="5" y="33"/>
                </a:lnTo>
                <a:lnTo>
                  <a:pt x="11" y="36"/>
                </a:lnTo>
                <a:lnTo>
                  <a:pt x="14" y="37"/>
                </a:lnTo>
                <a:lnTo>
                  <a:pt x="17" y="37"/>
                </a:lnTo>
                <a:lnTo>
                  <a:pt x="17" y="37"/>
                </a:lnTo>
                <a:lnTo>
                  <a:pt x="27" y="36"/>
                </a:lnTo>
                <a:lnTo>
                  <a:pt x="34" y="34"/>
                </a:lnTo>
                <a:lnTo>
                  <a:pt x="36" y="32"/>
                </a:lnTo>
                <a:lnTo>
                  <a:pt x="37" y="29"/>
                </a:lnTo>
                <a:lnTo>
                  <a:pt x="40" y="22"/>
                </a:lnTo>
                <a:lnTo>
                  <a:pt x="40" y="22"/>
                </a:lnTo>
                <a:lnTo>
                  <a:pt x="17" y="7"/>
                </a:lnTo>
                <a:lnTo>
                  <a:pt x="17" y="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5" name="Freeform 30"/>
          <p:cNvSpPr>
            <a:spLocks/>
          </p:cNvSpPr>
          <p:nvPr/>
        </p:nvSpPr>
        <p:spPr bwMode="auto">
          <a:xfrm>
            <a:off x="8804275" y="3679825"/>
            <a:ext cx="25400" cy="26988"/>
          </a:xfrm>
          <a:custGeom>
            <a:avLst/>
            <a:gdLst/>
            <a:ahLst/>
            <a:cxnLst>
              <a:cxn ang="0">
                <a:pos x="32" y="3"/>
              </a:cxn>
              <a:cxn ang="0">
                <a:pos x="32" y="3"/>
              </a:cxn>
              <a:cxn ang="0">
                <a:pos x="27" y="3"/>
              </a:cxn>
              <a:cxn ang="0">
                <a:pos x="21" y="2"/>
              </a:cxn>
              <a:cxn ang="0">
                <a:pos x="13" y="0"/>
              </a:cxn>
              <a:cxn ang="0">
                <a:pos x="13" y="0"/>
              </a:cxn>
              <a:cxn ang="0">
                <a:pos x="10" y="2"/>
              </a:cxn>
              <a:cxn ang="0">
                <a:pos x="5" y="7"/>
              </a:cxn>
              <a:cxn ang="0">
                <a:pos x="1" y="12"/>
              </a:cxn>
              <a:cxn ang="0">
                <a:pos x="0" y="16"/>
              </a:cxn>
              <a:cxn ang="0">
                <a:pos x="0" y="18"/>
              </a:cxn>
              <a:cxn ang="0">
                <a:pos x="0" y="18"/>
              </a:cxn>
              <a:cxn ang="0">
                <a:pos x="0" y="19"/>
              </a:cxn>
              <a:cxn ang="0">
                <a:pos x="2" y="21"/>
              </a:cxn>
              <a:cxn ang="0">
                <a:pos x="9" y="25"/>
              </a:cxn>
              <a:cxn ang="0">
                <a:pos x="16" y="28"/>
              </a:cxn>
              <a:cxn ang="0">
                <a:pos x="21" y="30"/>
              </a:cxn>
              <a:cxn ang="0">
                <a:pos x="21" y="30"/>
              </a:cxn>
              <a:cxn ang="0">
                <a:pos x="32" y="30"/>
              </a:cxn>
              <a:cxn ang="0">
                <a:pos x="32" y="30"/>
              </a:cxn>
              <a:cxn ang="0">
                <a:pos x="32" y="3"/>
              </a:cxn>
              <a:cxn ang="0">
                <a:pos x="32" y="3"/>
              </a:cxn>
              <a:cxn ang="0">
                <a:pos x="32" y="3"/>
              </a:cxn>
            </a:cxnLst>
            <a:rect l="0" t="0" r="r" b="b"/>
            <a:pathLst>
              <a:path w="32" h="30">
                <a:moveTo>
                  <a:pt x="32" y="3"/>
                </a:moveTo>
                <a:lnTo>
                  <a:pt x="32" y="3"/>
                </a:lnTo>
                <a:lnTo>
                  <a:pt x="27" y="3"/>
                </a:lnTo>
                <a:lnTo>
                  <a:pt x="21" y="2"/>
                </a:lnTo>
                <a:lnTo>
                  <a:pt x="13" y="0"/>
                </a:lnTo>
                <a:lnTo>
                  <a:pt x="13" y="0"/>
                </a:lnTo>
                <a:lnTo>
                  <a:pt x="10" y="2"/>
                </a:lnTo>
                <a:lnTo>
                  <a:pt x="5" y="7"/>
                </a:lnTo>
                <a:lnTo>
                  <a:pt x="1" y="12"/>
                </a:lnTo>
                <a:lnTo>
                  <a:pt x="0" y="16"/>
                </a:lnTo>
                <a:lnTo>
                  <a:pt x="0" y="18"/>
                </a:lnTo>
                <a:lnTo>
                  <a:pt x="0" y="18"/>
                </a:lnTo>
                <a:lnTo>
                  <a:pt x="0" y="19"/>
                </a:lnTo>
                <a:lnTo>
                  <a:pt x="2" y="21"/>
                </a:lnTo>
                <a:lnTo>
                  <a:pt x="9" y="25"/>
                </a:lnTo>
                <a:lnTo>
                  <a:pt x="16" y="28"/>
                </a:lnTo>
                <a:lnTo>
                  <a:pt x="21" y="30"/>
                </a:lnTo>
                <a:lnTo>
                  <a:pt x="21" y="30"/>
                </a:lnTo>
                <a:lnTo>
                  <a:pt x="32" y="30"/>
                </a:lnTo>
                <a:lnTo>
                  <a:pt x="32" y="30"/>
                </a:lnTo>
                <a:lnTo>
                  <a:pt x="32" y="3"/>
                </a:lnTo>
                <a:lnTo>
                  <a:pt x="32" y="3"/>
                </a:lnTo>
                <a:lnTo>
                  <a:pt x="32" y="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6" name="Freeform 31"/>
          <p:cNvSpPr>
            <a:spLocks/>
          </p:cNvSpPr>
          <p:nvPr/>
        </p:nvSpPr>
        <p:spPr bwMode="auto">
          <a:xfrm>
            <a:off x="8764588" y="2647950"/>
            <a:ext cx="73025" cy="33338"/>
          </a:xfrm>
          <a:custGeom>
            <a:avLst/>
            <a:gdLst/>
            <a:ahLst/>
            <a:cxnLst>
              <a:cxn ang="0">
                <a:pos x="66" y="11"/>
              </a:cxn>
              <a:cxn ang="0">
                <a:pos x="66" y="11"/>
              </a:cxn>
              <a:cxn ang="0">
                <a:pos x="52" y="11"/>
              </a:cxn>
              <a:cxn ang="0">
                <a:pos x="38" y="10"/>
              </a:cxn>
              <a:cxn ang="0">
                <a:pos x="31" y="9"/>
              </a:cxn>
              <a:cxn ang="0">
                <a:pos x="26" y="7"/>
              </a:cxn>
              <a:cxn ang="0">
                <a:pos x="20" y="3"/>
              </a:cxn>
              <a:cxn ang="0">
                <a:pos x="15" y="0"/>
              </a:cxn>
              <a:cxn ang="0">
                <a:pos x="15" y="0"/>
              </a:cxn>
              <a:cxn ang="0">
                <a:pos x="9" y="3"/>
              </a:cxn>
              <a:cxn ang="0">
                <a:pos x="6" y="5"/>
              </a:cxn>
              <a:cxn ang="0">
                <a:pos x="4" y="10"/>
              </a:cxn>
              <a:cxn ang="0">
                <a:pos x="0" y="15"/>
              </a:cxn>
              <a:cxn ang="0">
                <a:pos x="0" y="15"/>
              </a:cxn>
              <a:cxn ang="0">
                <a:pos x="0" y="37"/>
              </a:cxn>
              <a:cxn ang="0">
                <a:pos x="0" y="37"/>
              </a:cxn>
              <a:cxn ang="0">
                <a:pos x="0" y="37"/>
              </a:cxn>
              <a:cxn ang="0">
                <a:pos x="13" y="38"/>
              </a:cxn>
              <a:cxn ang="0">
                <a:pos x="26" y="38"/>
              </a:cxn>
              <a:cxn ang="0">
                <a:pos x="42" y="37"/>
              </a:cxn>
              <a:cxn ang="0">
                <a:pos x="62" y="37"/>
              </a:cxn>
              <a:cxn ang="0">
                <a:pos x="62" y="37"/>
              </a:cxn>
              <a:cxn ang="0">
                <a:pos x="70" y="35"/>
              </a:cxn>
              <a:cxn ang="0">
                <a:pos x="76" y="34"/>
              </a:cxn>
              <a:cxn ang="0">
                <a:pos x="80" y="32"/>
              </a:cxn>
              <a:cxn ang="0">
                <a:pos x="83" y="30"/>
              </a:cxn>
              <a:cxn ang="0">
                <a:pos x="85" y="26"/>
              </a:cxn>
              <a:cxn ang="0">
                <a:pos x="87" y="22"/>
              </a:cxn>
              <a:cxn ang="0">
                <a:pos x="89" y="11"/>
              </a:cxn>
              <a:cxn ang="0">
                <a:pos x="89" y="11"/>
              </a:cxn>
              <a:cxn ang="0">
                <a:pos x="66" y="11"/>
              </a:cxn>
              <a:cxn ang="0">
                <a:pos x="66" y="11"/>
              </a:cxn>
              <a:cxn ang="0">
                <a:pos x="66" y="11"/>
              </a:cxn>
            </a:cxnLst>
            <a:rect l="0" t="0" r="r" b="b"/>
            <a:pathLst>
              <a:path w="89" h="38">
                <a:moveTo>
                  <a:pt x="66" y="11"/>
                </a:moveTo>
                <a:lnTo>
                  <a:pt x="66" y="11"/>
                </a:lnTo>
                <a:lnTo>
                  <a:pt x="52" y="11"/>
                </a:lnTo>
                <a:lnTo>
                  <a:pt x="38" y="10"/>
                </a:lnTo>
                <a:lnTo>
                  <a:pt x="31" y="9"/>
                </a:lnTo>
                <a:lnTo>
                  <a:pt x="26" y="7"/>
                </a:lnTo>
                <a:lnTo>
                  <a:pt x="20" y="3"/>
                </a:lnTo>
                <a:lnTo>
                  <a:pt x="15" y="0"/>
                </a:lnTo>
                <a:lnTo>
                  <a:pt x="15" y="0"/>
                </a:lnTo>
                <a:lnTo>
                  <a:pt x="9" y="3"/>
                </a:lnTo>
                <a:lnTo>
                  <a:pt x="6" y="5"/>
                </a:lnTo>
                <a:lnTo>
                  <a:pt x="4" y="10"/>
                </a:lnTo>
                <a:lnTo>
                  <a:pt x="0" y="15"/>
                </a:lnTo>
                <a:lnTo>
                  <a:pt x="0" y="15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13" y="38"/>
                </a:lnTo>
                <a:lnTo>
                  <a:pt x="26" y="38"/>
                </a:lnTo>
                <a:lnTo>
                  <a:pt x="42" y="37"/>
                </a:lnTo>
                <a:lnTo>
                  <a:pt x="62" y="37"/>
                </a:lnTo>
                <a:lnTo>
                  <a:pt x="62" y="37"/>
                </a:lnTo>
                <a:lnTo>
                  <a:pt x="70" y="35"/>
                </a:lnTo>
                <a:lnTo>
                  <a:pt x="76" y="34"/>
                </a:lnTo>
                <a:lnTo>
                  <a:pt x="80" y="32"/>
                </a:lnTo>
                <a:lnTo>
                  <a:pt x="83" y="30"/>
                </a:lnTo>
                <a:lnTo>
                  <a:pt x="85" y="26"/>
                </a:lnTo>
                <a:lnTo>
                  <a:pt x="87" y="22"/>
                </a:lnTo>
                <a:lnTo>
                  <a:pt x="89" y="11"/>
                </a:lnTo>
                <a:lnTo>
                  <a:pt x="89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7" name="Freeform 32"/>
          <p:cNvSpPr>
            <a:spLocks/>
          </p:cNvSpPr>
          <p:nvPr/>
        </p:nvSpPr>
        <p:spPr bwMode="auto">
          <a:xfrm>
            <a:off x="8863013" y="2578100"/>
            <a:ext cx="53975" cy="31750"/>
          </a:xfrm>
          <a:custGeom>
            <a:avLst/>
            <a:gdLst/>
            <a:ahLst/>
            <a:cxnLst>
              <a:cxn ang="0">
                <a:pos x="26" y="34"/>
              </a:cxn>
              <a:cxn ang="0">
                <a:pos x="8" y="37"/>
              </a:cxn>
              <a:cxn ang="0">
                <a:pos x="8" y="37"/>
              </a:cxn>
              <a:cxn ang="0">
                <a:pos x="8" y="37"/>
              </a:cxn>
              <a:cxn ang="0">
                <a:pos x="7" y="34"/>
              </a:cxn>
              <a:cxn ang="0">
                <a:pos x="5" y="30"/>
              </a:cxn>
              <a:cxn ang="0">
                <a:pos x="0" y="25"/>
              </a:cxn>
              <a:cxn ang="0">
                <a:pos x="0" y="25"/>
              </a:cxn>
              <a:cxn ang="0">
                <a:pos x="1" y="21"/>
              </a:cxn>
              <a:cxn ang="0">
                <a:pos x="3" y="15"/>
              </a:cxn>
              <a:cxn ang="0">
                <a:pos x="7" y="11"/>
              </a:cxn>
              <a:cxn ang="0">
                <a:pos x="13" y="7"/>
              </a:cxn>
              <a:cxn ang="0">
                <a:pos x="18" y="4"/>
              </a:cxn>
              <a:cxn ang="0">
                <a:pos x="25" y="1"/>
              </a:cxn>
              <a:cxn ang="0">
                <a:pos x="33" y="0"/>
              </a:cxn>
              <a:cxn ang="0">
                <a:pos x="41" y="0"/>
              </a:cxn>
              <a:cxn ang="0">
                <a:pos x="41" y="0"/>
              </a:cxn>
              <a:cxn ang="0">
                <a:pos x="50" y="0"/>
              </a:cxn>
              <a:cxn ang="0">
                <a:pos x="56" y="1"/>
              </a:cxn>
              <a:cxn ang="0">
                <a:pos x="60" y="2"/>
              </a:cxn>
              <a:cxn ang="0">
                <a:pos x="63" y="5"/>
              </a:cxn>
              <a:cxn ang="0">
                <a:pos x="66" y="7"/>
              </a:cxn>
              <a:cxn ang="0">
                <a:pos x="67" y="11"/>
              </a:cxn>
              <a:cxn ang="0">
                <a:pos x="67" y="11"/>
              </a:cxn>
              <a:cxn ang="0">
                <a:pos x="60" y="15"/>
              </a:cxn>
              <a:cxn ang="0">
                <a:pos x="53" y="17"/>
              </a:cxn>
              <a:cxn ang="0">
                <a:pos x="51" y="19"/>
              </a:cxn>
              <a:cxn ang="0">
                <a:pos x="50" y="20"/>
              </a:cxn>
              <a:cxn ang="0">
                <a:pos x="48" y="22"/>
              </a:cxn>
              <a:cxn ang="0">
                <a:pos x="48" y="25"/>
              </a:cxn>
              <a:cxn ang="0">
                <a:pos x="48" y="25"/>
              </a:cxn>
              <a:cxn ang="0">
                <a:pos x="26" y="34"/>
              </a:cxn>
              <a:cxn ang="0">
                <a:pos x="26" y="34"/>
              </a:cxn>
            </a:cxnLst>
            <a:rect l="0" t="0" r="r" b="b"/>
            <a:pathLst>
              <a:path w="67" h="37">
                <a:moveTo>
                  <a:pt x="26" y="34"/>
                </a:moveTo>
                <a:lnTo>
                  <a:pt x="8" y="37"/>
                </a:lnTo>
                <a:lnTo>
                  <a:pt x="8" y="37"/>
                </a:lnTo>
                <a:lnTo>
                  <a:pt x="8" y="37"/>
                </a:lnTo>
                <a:lnTo>
                  <a:pt x="7" y="34"/>
                </a:lnTo>
                <a:lnTo>
                  <a:pt x="5" y="30"/>
                </a:lnTo>
                <a:lnTo>
                  <a:pt x="0" y="25"/>
                </a:lnTo>
                <a:lnTo>
                  <a:pt x="0" y="25"/>
                </a:lnTo>
                <a:lnTo>
                  <a:pt x="1" y="21"/>
                </a:lnTo>
                <a:lnTo>
                  <a:pt x="3" y="15"/>
                </a:lnTo>
                <a:lnTo>
                  <a:pt x="7" y="11"/>
                </a:lnTo>
                <a:lnTo>
                  <a:pt x="13" y="7"/>
                </a:lnTo>
                <a:lnTo>
                  <a:pt x="18" y="4"/>
                </a:lnTo>
                <a:lnTo>
                  <a:pt x="25" y="1"/>
                </a:lnTo>
                <a:lnTo>
                  <a:pt x="33" y="0"/>
                </a:lnTo>
                <a:lnTo>
                  <a:pt x="41" y="0"/>
                </a:lnTo>
                <a:lnTo>
                  <a:pt x="41" y="0"/>
                </a:lnTo>
                <a:lnTo>
                  <a:pt x="50" y="0"/>
                </a:lnTo>
                <a:lnTo>
                  <a:pt x="56" y="1"/>
                </a:lnTo>
                <a:lnTo>
                  <a:pt x="60" y="2"/>
                </a:lnTo>
                <a:lnTo>
                  <a:pt x="63" y="5"/>
                </a:lnTo>
                <a:lnTo>
                  <a:pt x="66" y="7"/>
                </a:lnTo>
                <a:lnTo>
                  <a:pt x="67" y="11"/>
                </a:lnTo>
                <a:lnTo>
                  <a:pt x="67" y="11"/>
                </a:lnTo>
                <a:lnTo>
                  <a:pt x="60" y="15"/>
                </a:lnTo>
                <a:lnTo>
                  <a:pt x="53" y="17"/>
                </a:lnTo>
                <a:lnTo>
                  <a:pt x="51" y="19"/>
                </a:lnTo>
                <a:lnTo>
                  <a:pt x="50" y="20"/>
                </a:lnTo>
                <a:lnTo>
                  <a:pt x="48" y="22"/>
                </a:lnTo>
                <a:lnTo>
                  <a:pt x="48" y="25"/>
                </a:lnTo>
                <a:lnTo>
                  <a:pt x="48" y="25"/>
                </a:lnTo>
                <a:lnTo>
                  <a:pt x="26" y="34"/>
                </a:lnTo>
                <a:lnTo>
                  <a:pt x="26" y="3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8" name="Freeform 33"/>
          <p:cNvSpPr>
            <a:spLocks/>
          </p:cNvSpPr>
          <p:nvPr/>
        </p:nvSpPr>
        <p:spPr bwMode="auto">
          <a:xfrm>
            <a:off x="7213600" y="952500"/>
            <a:ext cx="73025" cy="187325"/>
          </a:xfrm>
          <a:custGeom>
            <a:avLst/>
            <a:gdLst/>
            <a:ahLst/>
            <a:cxnLst>
              <a:cxn ang="0">
                <a:pos x="87" y="0"/>
              </a:cxn>
              <a:cxn ang="0">
                <a:pos x="87" y="0"/>
              </a:cxn>
              <a:cxn ang="0">
                <a:pos x="78" y="5"/>
              </a:cxn>
              <a:cxn ang="0">
                <a:pos x="68" y="11"/>
              </a:cxn>
              <a:cxn ang="0">
                <a:pos x="60" y="17"/>
              </a:cxn>
              <a:cxn ang="0">
                <a:pos x="51" y="24"/>
              </a:cxn>
              <a:cxn ang="0">
                <a:pos x="43" y="31"/>
              </a:cxn>
              <a:cxn ang="0">
                <a:pos x="36" y="38"/>
              </a:cxn>
              <a:cxn ang="0">
                <a:pos x="29" y="47"/>
              </a:cxn>
              <a:cxn ang="0">
                <a:pos x="23" y="55"/>
              </a:cxn>
              <a:cxn ang="0">
                <a:pos x="17" y="64"/>
              </a:cxn>
              <a:cxn ang="0">
                <a:pos x="13" y="74"/>
              </a:cxn>
              <a:cxn ang="0">
                <a:pos x="9" y="85"/>
              </a:cxn>
              <a:cxn ang="0">
                <a:pos x="6" y="96"/>
              </a:cxn>
              <a:cxn ang="0">
                <a:pos x="3" y="108"/>
              </a:cxn>
              <a:cxn ang="0">
                <a:pos x="1" y="121"/>
              </a:cxn>
              <a:cxn ang="0">
                <a:pos x="0" y="133"/>
              </a:cxn>
              <a:cxn ang="0">
                <a:pos x="0" y="147"/>
              </a:cxn>
              <a:cxn ang="0">
                <a:pos x="0" y="147"/>
              </a:cxn>
              <a:cxn ang="0">
                <a:pos x="0" y="159"/>
              </a:cxn>
              <a:cxn ang="0">
                <a:pos x="1" y="169"/>
              </a:cxn>
              <a:cxn ang="0">
                <a:pos x="3" y="177"/>
              </a:cxn>
              <a:cxn ang="0">
                <a:pos x="7" y="185"/>
              </a:cxn>
              <a:cxn ang="0">
                <a:pos x="10" y="192"/>
              </a:cxn>
              <a:cxn ang="0">
                <a:pos x="15" y="196"/>
              </a:cxn>
              <a:cxn ang="0">
                <a:pos x="21" y="201"/>
              </a:cxn>
              <a:cxn ang="0">
                <a:pos x="26" y="206"/>
              </a:cxn>
              <a:cxn ang="0">
                <a:pos x="32" y="208"/>
              </a:cxn>
              <a:cxn ang="0">
                <a:pos x="39" y="210"/>
              </a:cxn>
              <a:cxn ang="0">
                <a:pos x="54" y="214"/>
              </a:cxn>
              <a:cxn ang="0">
                <a:pos x="70" y="215"/>
              </a:cxn>
              <a:cxn ang="0">
                <a:pos x="87" y="216"/>
              </a:cxn>
              <a:cxn ang="0">
                <a:pos x="87" y="216"/>
              </a:cxn>
              <a:cxn ang="0">
                <a:pos x="87" y="0"/>
              </a:cxn>
              <a:cxn ang="0">
                <a:pos x="87" y="0"/>
              </a:cxn>
            </a:cxnLst>
            <a:rect l="0" t="0" r="r" b="b"/>
            <a:pathLst>
              <a:path w="87" h="216">
                <a:moveTo>
                  <a:pt x="87" y="0"/>
                </a:moveTo>
                <a:lnTo>
                  <a:pt x="87" y="0"/>
                </a:lnTo>
                <a:lnTo>
                  <a:pt x="78" y="5"/>
                </a:lnTo>
                <a:lnTo>
                  <a:pt x="68" y="11"/>
                </a:lnTo>
                <a:lnTo>
                  <a:pt x="60" y="17"/>
                </a:lnTo>
                <a:lnTo>
                  <a:pt x="51" y="24"/>
                </a:lnTo>
                <a:lnTo>
                  <a:pt x="43" y="31"/>
                </a:lnTo>
                <a:lnTo>
                  <a:pt x="36" y="38"/>
                </a:lnTo>
                <a:lnTo>
                  <a:pt x="29" y="47"/>
                </a:lnTo>
                <a:lnTo>
                  <a:pt x="23" y="55"/>
                </a:lnTo>
                <a:lnTo>
                  <a:pt x="17" y="64"/>
                </a:lnTo>
                <a:lnTo>
                  <a:pt x="13" y="74"/>
                </a:lnTo>
                <a:lnTo>
                  <a:pt x="9" y="85"/>
                </a:lnTo>
                <a:lnTo>
                  <a:pt x="6" y="96"/>
                </a:lnTo>
                <a:lnTo>
                  <a:pt x="3" y="108"/>
                </a:lnTo>
                <a:lnTo>
                  <a:pt x="1" y="121"/>
                </a:lnTo>
                <a:lnTo>
                  <a:pt x="0" y="133"/>
                </a:lnTo>
                <a:lnTo>
                  <a:pt x="0" y="147"/>
                </a:lnTo>
                <a:lnTo>
                  <a:pt x="0" y="147"/>
                </a:lnTo>
                <a:lnTo>
                  <a:pt x="0" y="159"/>
                </a:lnTo>
                <a:lnTo>
                  <a:pt x="1" y="169"/>
                </a:lnTo>
                <a:lnTo>
                  <a:pt x="3" y="177"/>
                </a:lnTo>
                <a:lnTo>
                  <a:pt x="7" y="185"/>
                </a:lnTo>
                <a:lnTo>
                  <a:pt x="10" y="192"/>
                </a:lnTo>
                <a:lnTo>
                  <a:pt x="15" y="196"/>
                </a:lnTo>
                <a:lnTo>
                  <a:pt x="21" y="201"/>
                </a:lnTo>
                <a:lnTo>
                  <a:pt x="26" y="206"/>
                </a:lnTo>
                <a:lnTo>
                  <a:pt x="32" y="208"/>
                </a:lnTo>
                <a:lnTo>
                  <a:pt x="39" y="210"/>
                </a:lnTo>
                <a:lnTo>
                  <a:pt x="54" y="214"/>
                </a:lnTo>
                <a:lnTo>
                  <a:pt x="70" y="215"/>
                </a:lnTo>
                <a:lnTo>
                  <a:pt x="87" y="216"/>
                </a:lnTo>
                <a:lnTo>
                  <a:pt x="87" y="216"/>
                </a:lnTo>
                <a:lnTo>
                  <a:pt x="87" y="0"/>
                </a:lnTo>
                <a:lnTo>
                  <a:pt x="87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9" name="Freeform 34"/>
          <p:cNvSpPr>
            <a:spLocks/>
          </p:cNvSpPr>
          <p:nvPr/>
        </p:nvSpPr>
        <p:spPr bwMode="auto">
          <a:xfrm>
            <a:off x="3551238" y="1598613"/>
            <a:ext cx="74612" cy="46037"/>
          </a:xfrm>
          <a:custGeom>
            <a:avLst/>
            <a:gdLst/>
            <a:ahLst/>
            <a:cxnLst>
              <a:cxn ang="0">
                <a:pos x="88" y="52"/>
              </a:cxn>
              <a:cxn ang="0">
                <a:pos x="88" y="52"/>
              </a:cxn>
              <a:cxn ang="0">
                <a:pos x="89" y="51"/>
              </a:cxn>
              <a:cxn ang="0">
                <a:pos x="90" y="49"/>
              </a:cxn>
              <a:cxn ang="0">
                <a:pos x="90" y="46"/>
              </a:cxn>
              <a:cxn ang="0">
                <a:pos x="90" y="34"/>
              </a:cxn>
              <a:cxn ang="0">
                <a:pos x="88" y="18"/>
              </a:cxn>
              <a:cxn ang="0">
                <a:pos x="88" y="18"/>
              </a:cxn>
              <a:cxn ang="0">
                <a:pos x="78" y="11"/>
              </a:cxn>
              <a:cxn ang="0">
                <a:pos x="70" y="7"/>
              </a:cxn>
              <a:cxn ang="0">
                <a:pos x="70" y="7"/>
              </a:cxn>
              <a:cxn ang="0">
                <a:pos x="21" y="7"/>
              </a:cxn>
              <a:cxn ang="0">
                <a:pos x="21" y="7"/>
              </a:cxn>
              <a:cxn ang="0">
                <a:pos x="21" y="7"/>
              </a:cxn>
              <a:cxn ang="0">
                <a:pos x="17" y="6"/>
              </a:cxn>
              <a:cxn ang="0">
                <a:pos x="11" y="3"/>
              </a:cxn>
              <a:cxn ang="0">
                <a:pos x="6" y="2"/>
              </a:cxn>
              <a:cxn ang="0">
                <a:pos x="3" y="0"/>
              </a:cxn>
              <a:cxn ang="0">
                <a:pos x="3" y="0"/>
              </a:cxn>
              <a:cxn ang="0">
                <a:pos x="0" y="5"/>
              </a:cxn>
              <a:cxn ang="0">
                <a:pos x="0" y="7"/>
              </a:cxn>
              <a:cxn ang="0">
                <a:pos x="0" y="15"/>
              </a:cxn>
              <a:cxn ang="0">
                <a:pos x="0" y="15"/>
              </a:cxn>
              <a:cxn ang="0">
                <a:pos x="1" y="21"/>
              </a:cxn>
              <a:cxn ang="0">
                <a:pos x="1" y="25"/>
              </a:cxn>
              <a:cxn ang="0">
                <a:pos x="3" y="29"/>
              </a:cxn>
              <a:cxn ang="0">
                <a:pos x="5" y="32"/>
              </a:cxn>
              <a:cxn ang="0">
                <a:pos x="8" y="34"/>
              </a:cxn>
              <a:cxn ang="0">
                <a:pos x="11" y="37"/>
              </a:cxn>
              <a:cxn ang="0">
                <a:pos x="18" y="38"/>
              </a:cxn>
              <a:cxn ang="0">
                <a:pos x="26" y="39"/>
              </a:cxn>
              <a:cxn ang="0">
                <a:pos x="35" y="38"/>
              </a:cxn>
              <a:cxn ang="0">
                <a:pos x="55" y="37"/>
              </a:cxn>
              <a:cxn ang="0">
                <a:pos x="55" y="37"/>
              </a:cxn>
              <a:cxn ang="0">
                <a:pos x="70" y="37"/>
              </a:cxn>
              <a:cxn ang="0">
                <a:pos x="70" y="37"/>
              </a:cxn>
              <a:cxn ang="0">
                <a:pos x="71" y="42"/>
              </a:cxn>
              <a:cxn ang="0">
                <a:pos x="74" y="47"/>
              </a:cxn>
              <a:cxn ang="0">
                <a:pos x="80" y="51"/>
              </a:cxn>
              <a:cxn ang="0">
                <a:pos x="88" y="52"/>
              </a:cxn>
              <a:cxn ang="0">
                <a:pos x="88" y="52"/>
              </a:cxn>
              <a:cxn ang="0">
                <a:pos x="88" y="52"/>
              </a:cxn>
            </a:cxnLst>
            <a:rect l="0" t="0" r="r" b="b"/>
            <a:pathLst>
              <a:path w="90" h="52">
                <a:moveTo>
                  <a:pt x="88" y="52"/>
                </a:moveTo>
                <a:lnTo>
                  <a:pt x="88" y="52"/>
                </a:lnTo>
                <a:lnTo>
                  <a:pt x="89" y="51"/>
                </a:lnTo>
                <a:lnTo>
                  <a:pt x="90" y="49"/>
                </a:lnTo>
                <a:lnTo>
                  <a:pt x="90" y="46"/>
                </a:lnTo>
                <a:lnTo>
                  <a:pt x="90" y="34"/>
                </a:lnTo>
                <a:lnTo>
                  <a:pt x="88" y="18"/>
                </a:lnTo>
                <a:lnTo>
                  <a:pt x="88" y="18"/>
                </a:lnTo>
                <a:lnTo>
                  <a:pt x="78" y="11"/>
                </a:lnTo>
                <a:lnTo>
                  <a:pt x="70" y="7"/>
                </a:lnTo>
                <a:lnTo>
                  <a:pt x="70" y="7"/>
                </a:lnTo>
                <a:lnTo>
                  <a:pt x="21" y="7"/>
                </a:lnTo>
                <a:lnTo>
                  <a:pt x="21" y="7"/>
                </a:lnTo>
                <a:lnTo>
                  <a:pt x="21" y="7"/>
                </a:lnTo>
                <a:lnTo>
                  <a:pt x="17" y="6"/>
                </a:lnTo>
                <a:lnTo>
                  <a:pt x="11" y="3"/>
                </a:lnTo>
                <a:lnTo>
                  <a:pt x="6" y="2"/>
                </a:lnTo>
                <a:lnTo>
                  <a:pt x="3" y="0"/>
                </a:lnTo>
                <a:lnTo>
                  <a:pt x="3" y="0"/>
                </a:lnTo>
                <a:lnTo>
                  <a:pt x="0" y="5"/>
                </a:lnTo>
                <a:lnTo>
                  <a:pt x="0" y="7"/>
                </a:lnTo>
                <a:lnTo>
                  <a:pt x="0" y="15"/>
                </a:lnTo>
                <a:lnTo>
                  <a:pt x="0" y="15"/>
                </a:lnTo>
                <a:lnTo>
                  <a:pt x="1" y="21"/>
                </a:lnTo>
                <a:lnTo>
                  <a:pt x="1" y="25"/>
                </a:lnTo>
                <a:lnTo>
                  <a:pt x="3" y="29"/>
                </a:lnTo>
                <a:lnTo>
                  <a:pt x="5" y="32"/>
                </a:lnTo>
                <a:lnTo>
                  <a:pt x="8" y="34"/>
                </a:lnTo>
                <a:lnTo>
                  <a:pt x="11" y="37"/>
                </a:lnTo>
                <a:lnTo>
                  <a:pt x="18" y="38"/>
                </a:lnTo>
                <a:lnTo>
                  <a:pt x="26" y="39"/>
                </a:lnTo>
                <a:lnTo>
                  <a:pt x="35" y="38"/>
                </a:lnTo>
                <a:lnTo>
                  <a:pt x="55" y="37"/>
                </a:lnTo>
                <a:lnTo>
                  <a:pt x="55" y="37"/>
                </a:lnTo>
                <a:lnTo>
                  <a:pt x="70" y="37"/>
                </a:lnTo>
                <a:lnTo>
                  <a:pt x="70" y="37"/>
                </a:lnTo>
                <a:lnTo>
                  <a:pt x="71" y="42"/>
                </a:lnTo>
                <a:lnTo>
                  <a:pt x="74" y="47"/>
                </a:lnTo>
                <a:lnTo>
                  <a:pt x="80" y="51"/>
                </a:lnTo>
                <a:lnTo>
                  <a:pt x="88" y="52"/>
                </a:lnTo>
                <a:lnTo>
                  <a:pt x="88" y="52"/>
                </a:lnTo>
                <a:lnTo>
                  <a:pt x="88" y="5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0" name="Freeform 35"/>
          <p:cNvSpPr>
            <a:spLocks/>
          </p:cNvSpPr>
          <p:nvPr/>
        </p:nvSpPr>
        <p:spPr bwMode="auto">
          <a:xfrm>
            <a:off x="3557588" y="1628775"/>
            <a:ext cx="123825" cy="79375"/>
          </a:xfrm>
          <a:custGeom>
            <a:avLst/>
            <a:gdLst/>
            <a:ahLst/>
            <a:cxnLst>
              <a:cxn ang="0">
                <a:pos x="74" y="47"/>
              </a:cxn>
              <a:cxn ang="0">
                <a:pos x="67" y="45"/>
              </a:cxn>
              <a:cxn ang="0">
                <a:pos x="56" y="35"/>
              </a:cxn>
              <a:cxn ang="0">
                <a:pos x="49" y="34"/>
              </a:cxn>
              <a:cxn ang="0">
                <a:pos x="46" y="34"/>
              </a:cxn>
              <a:cxn ang="0">
                <a:pos x="40" y="38"/>
              </a:cxn>
              <a:cxn ang="0">
                <a:pos x="30" y="44"/>
              </a:cxn>
              <a:cxn ang="0">
                <a:pos x="27" y="44"/>
              </a:cxn>
              <a:cxn ang="0">
                <a:pos x="14" y="43"/>
              </a:cxn>
              <a:cxn ang="0">
                <a:pos x="8" y="37"/>
              </a:cxn>
              <a:cxn ang="0">
                <a:pos x="6" y="39"/>
              </a:cxn>
              <a:cxn ang="0">
                <a:pos x="2" y="50"/>
              </a:cxn>
              <a:cxn ang="0">
                <a:pos x="0" y="62"/>
              </a:cxn>
              <a:cxn ang="0">
                <a:pos x="2" y="76"/>
              </a:cxn>
              <a:cxn ang="0">
                <a:pos x="3" y="85"/>
              </a:cxn>
              <a:cxn ang="0">
                <a:pos x="7" y="90"/>
              </a:cxn>
              <a:cxn ang="0">
                <a:pos x="15" y="92"/>
              </a:cxn>
              <a:cxn ang="0">
                <a:pos x="23" y="91"/>
              </a:cxn>
              <a:cxn ang="0">
                <a:pos x="35" y="85"/>
              </a:cxn>
              <a:cxn ang="0">
                <a:pos x="46" y="74"/>
              </a:cxn>
              <a:cxn ang="0">
                <a:pos x="52" y="70"/>
              </a:cxn>
              <a:cxn ang="0">
                <a:pos x="56" y="72"/>
              </a:cxn>
              <a:cxn ang="0">
                <a:pos x="64" y="76"/>
              </a:cxn>
              <a:cxn ang="0">
                <a:pos x="67" y="77"/>
              </a:cxn>
              <a:cxn ang="0">
                <a:pos x="72" y="75"/>
              </a:cxn>
              <a:cxn ang="0">
                <a:pos x="82" y="65"/>
              </a:cxn>
              <a:cxn ang="0">
                <a:pos x="89" y="62"/>
              </a:cxn>
              <a:cxn ang="0">
                <a:pos x="119" y="62"/>
              </a:cxn>
              <a:cxn ang="0">
                <a:pos x="133" y="62"/>
              </a:cxn>
              <a:cxn ang="0">
                <a:pos x="141" y="61"/>
              </a:cxn>
              <a:cxn ang="0">
                <a:pos x="145" y="57"/>
              </a:cxn>
              <a:cxn ang="0">
                <a:pos x="151" y="44"/>
              </a:cxn>
              <a:cxn ang="0">
                <a:pos x="151" y="37"/>
              </a:cxn>
              <a:cxn ang="0">
                <a:pos x="145" y="36"/>
              </a:cxn>
              <a:cxn ang="0">
                <a:pos x="135" y="34"/>
              </a:cxn>
              <a:cxn ang="0">
                <a:pos x="133" y="29"/>
              </a:cxn>
              <a:cxn ang="0">
                <a:pos x="134" y="18"/>
              </a:cxn>
              <a:cxn ang="0">
                <a:pos x="135" y="9"/>
              </a:cxn>
              <a:cxn ang="0">
                <a:pos x="133" y="0"/>
              </a:cxn>
              <a:cxn ang="0">
                <a:pos x="122" y="0"/>
              </a:cxn>
              <a:cxn ang="0">
                <a:pos x="114" y="3"/>
              </a:cxn>
              <a:cxn ang="0">
                <a:pos x="109" y="7"/>
              </a:cxn>
              <a:cxn ang="0">
                <a:pos x="98" y="24"/>
              </a:cxn>
              <a:cxn ang="0">
                <a:pos x="88" y="41"/>
              </a:cxn>
              <a:cxn ang="0">
                <a:pos x="82" y="45"/>
              </a:cxn>
              <a:cxn ang="0">
                <a:pos x="74" y="47"/>
              </a:cxn>
              <a:cxn ang="0">
                <a:pos x="74" y="47"/>
              </a:cxn>
            </a:cxnLst>
            <a:rect l="0" t="0" r="r" b="b"/>
            <a:pathLst>
              <a:path w="151" h="92">
                <a:moveTo>
                  <a:pt x="74" y="47"/>
                </a:moveTo>
                <a:lnTo>
                  <a:pt x="74" y="47"/>
                </a:lnTo>
                <a:lnTo>
                  <a:pt x="71" y="47"/>
                </a:lnTo>
                <a:lnTo>
                  <a:pt x="67" y="45"/>
                </a:lnTo>
                <a:lnTo>
                  <a:pt x="61" y="41"/>
                </a:lnTo>
                <a:lnTo>
                  <a:pt x="56" y="35"/>
                </a:lnTo>
                <a:lnTo>
                  <a:pt x="53" y="34"/>
                </a:lnTo>
                <a:lnTo>
                  <a:pt x="49" y="34"/>
                </a:lnTo>
                <a:lnTo>
                  <a:pt x="49" y="34"/>
                </a:lnTo>
                <a:lnTo>
                  <a:pt x="46" y="34"/>
                </a:lnTo>
                <a:lnTo>
                  <a:pt x="44" y="35"/>
                </a:lnTo>
                <a:lnTo>
                  <a:pt x="40" y="38"/>
                </a:lnTo>
                <a:lnTo>
                  <a:pt x="34" y="43"/>
                </a:lnTo>
                <a:lnTo>
                  <a:pt x="30" y="44"/>
                </a:lnTo>
                <a:lnTo>
                  <a:pt x="27" y="44"/>
                </a:lnTo>
                <a:lnTo>
                  <a:pt x="27" y="44"/>
                </a:lnTo>
                <a:lnTo>
                  <a:pt x="20" y="44"/>
                </a:lnTo>
                <a:lnTo>
                  <a:pt x="14" y="43"/>
                </a:lnTo>
                <a:lnTo>
                  <a:pt x="11" y="41"/>
                </a:lnTo>
                <a:lnTo>
                  <a:pt x="8" y="37"/>
                </a:lnTo>
                <a:lnTo>
                  <a:pt x="8" y="37"/>
                </a:lnTo>
                <a:lnTo>
                  <a:pt x="6" y="39"/>
                </a:lnTo>
                <a:lnTo>
                  <a:pt x="4" y="43"/>
                </a:lnTo>
                <a:lnTo>
                  <a:pt x="2" y="50"/>
                </a:lnTo>
                <a:lnTo>
                  <a:pt x="0" y="57"/>
                </a:lnTo>
                <a:lnTo>
                  <a:pt x="0" y="62"/>
                </a:lnTo>
                <a:lnTo>
                  <a:pt x="0" y="62"/>
                </a:lnTo>
                <a:lnTo>
                  <a:pt x="2" y="76"/>
                </a:lnTo>
                <a:lnTo>
                  <a:pt x="2" y="82"/>
                </a:lnTo>
                <a:lnTo>
                  <a:pt x="3" y="85"/>
                </a:lnTo>
                <a:lnTo>
                  <a:pt x="4" y="89"/>
                </a:lnTo>
                <a:lnTo>
                  <a:pt x="7" y="90"/>
                </a:lnTo>
                <a:lnTo>
                  <a:pt x="11" y="91"/>
                </a:lnTo>
                <a:lnTo>
                  <a:pt x="15" y="92"/>
                </a:lnTo>
                <a:lnTo>
                  <a:pt x="15" y="92"/>
                </a:lnTo>
                <a:lnTo>
                  <a:pt x="23" y="91"/>
                </a:lnTo>
                <a:lnTo>
                  <a:pt x="29" y="89"/>
                </a:lnTo>
                <a:lnTo>
                  <a:pt x="35" y="85"/>
                </a:lnTo>
                <a:lnTo>
                  <a:pt x="40" y="81"/>
                </a:lnTo>
                <a:lnTo>
                  <a:pt x="46" y="74"/>
                </a:lnTo>
                <a:lnTo>
                  <a:pt x="50" y="72"/>
                </a:lnTo>
                <a:lnTo>
                  <a:pt x="52" y="70"/>
                </a:lnTo>
                <a:lnTo>
                  <a:pt x="52" y="70"/>
                </a:lnTo>
                <a:lnTo>
                  <a:pt x="56" y="72"/>
                </a:lnTo>
                <a:lnTo>
                  <a:pt x="60" y="74"/>
                </a:lnTo>
                <a:lnTo>
                  <a:pt x="64" y="76"/>
                </a:lnTo>
                <a:lnTo>
                  <a:pt x="67" y="77"/>
                </a:lnTo>
                <a:lnTo>
                  <a:pt x="67" y="77"/>
                </a:lnTo>
                <a:lnTo>
                  <a:pt x="69" y="76"/>
                </a:lnTo>
                <a:lnTo>
                  <a:pt x="72" y="75"/>
                </a:lnTo>
                <a:lnTo>
                  <a:pt x="76" y="69"/>
                </a:lnTo>
                <a:lnTo>
                  <a:pt x="82" y="65"/>
                </a:lnTo>
                <a:lnTo>
                  <a:pt x="86" y="64"/>
                </a:lnTo>
                <a:lnTo>
                  <a:pt x="89" y="62"/>
                </a:lnTo>
                <a:lnTo>
                  <a:pt x="89" y="62"/>
                </a:lnTo>
                <a:lnTo>
                  <a:pt x="119" y="62"/>
                </a:lnTo>
                <a:lnTo>
                  <a:pt x="119" y="62"/>
                </a:lnTo>
                <a:lnTo>
                  <a:pt x="133" y="62"/>
                </a:lnTo>
                <a:lnTo>
                  <a:pt x="137" y="62"/>
                </a:lnTo>
                <a:lnTo>
                  <a:pt x="141" y="61"/>
                </a:lnTo>
                <a:lnTo>
                  <a:pt x="143" y="60"/>
                </a:lnTo>
                <a:lnTo>
                  <a:pt x="145" y="57"/>
                </a:lnTo>
                <a:lnTo>
                  <a:pt x="151" y="44"/>
                </a:lnTo>
                <a:lnTo>
                  <a:pt x="151" y="44"/>
                </a:lnTo>
                <a:lnTo>
                  <a:pt x="151" y="37"/>
                </a:lnTo>
                <a:lnTo>
                  <a:pt x="151" y="37"/>
                </a:lnTo>
                <a:lnTo>
                  <a:pt x="151" y="37"/>
                </a:lnTo>
                <a:lnTo>
                  <a:pt x="145" y="36"/>
                </a:lnTo>
                <a:lnTo>
                  <a:pt x="140" y="36"/>
                </a:lnTo>
                <a:lnTo>
                  <a:pt x="135" y="34"/>
                </a:lnTo>
                <a:lnTo>
                  <a:pt x="134" y="31"/>
                </a:lnTo>
                <a:lnTo>
                  <a:pt x="133" y="29"/>
                </a:lnTo>
                <a:lnTo>
                  <a:pt x="133" y="29"/>
                </a:lnTo>
                <a:lnTo>
                  <a:pt x="134" y="18"/>
                </a:lnTo>
                <a:lnTo>
                  <a:pt x="134" y="13"/>
                </a:lnTo>
                <a:lnTo>
                  <a:pt x="135" y="9"/>
                </a:lnTo>
                <a:lnTo>
                  <a:pt x="133" y="0"/>
                </a:lnTo>
                <a:lnTo>
                  <a:pt x="133" y="0"/>
                </a:lnTo>
                <a:lnTo>
                  <a:pt x="122" y="0"/>
                </a:lnTo>
                <a:lnTo>
                  <a:pt x="122" y="0"/>
                </a:lnTo>
                <a:lnTo>
                  <a:pt x="118" y="0"/>
                </a:lnTo>
                <a:lnTo>
                  <a:pt x="114" y="3"/>
                </a:lnTo>
                <a:lnTo>
                  <a:pt x="111" y="5"/>
                </a:lnTo>
                <a:lnTo>
                  <a:pt x="109" y="7"/>
                </a:lnTo>
                <a:lnTo>
                  <a:pt x="103" y="15"/>
                </a:lnTo>
                <a:lnTo>
                  <a:pt x="98" y="24"/>
                </a:lnTo>
                <a:lnTo>
                  <a:pt x="94" y="32"/>
                </a:lnTo>
                <a:lnTo>
                  <a:pt x="88" y="41"/>
                </a:lnTo>
                <a:lnTo>
                  <a:pt x="86" y="43"/>
                </a:lnTo>
                <a:lnTo>
                  <a:pt x="82" y="45"/>
                </a:lnTo>
                <a:lnTo>
                  <a:pt x="79" y="47"/>
                </a:lnTo>
                <a:lnTo>
                  <a:pt x="74" y="47"/>
                </a:lnTo>
                <a:lnTo>
                  <a:pt x="74" y="47"/>
                </a:lnTo>
                <a:lnTo>
                  <a:pt x="74" y="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1" name="Freeform 36"/>
          <p:cNvSpPr>
            <a:spLocks/>
          </p:cNvSpPr>
          <p:nvPr/>
        </p:nvSpPr>
        <p:spPr bwMode="auto">
          <a:xfrm>
            <a:off x="3665538" y="1728788"/>
            <a:ext cx="33337" cy="46037"/>
          </a:xfrm>
          <a:custGeom>
            <a:avLst/>
            <a:gdLst/>
            <a:ahLst/>
            <a:cxnLst>
              <a:cxn ang="0">
                <a:pos x="18" y="7"/>
              </a:cxn>
              <a:cxn ang="0">
                <a:pos x="18" y="7"/>
              </a:cxn>
              <a:cxn ang="0">
                <a:pos x="11" y="10"/>
              </a:cxn>
              <a:cxn ang="0">
                <a:pos x="5" y="16"/>
              </a:cxn>
              <a:cxn ang="0">
                <a:pos x="3" y="19"/>
              </a:cxn>
              <a:cxn ang="0">
                <a:pos x="2" y="23"/>
              </a:cxn>
              <a:cxn ang="0">
                <a:pos x="1" y="27"/>
              </a:cxn>
              <a:cxn ang="0">
                <a:pos x="0" y="33"/>
              </a:cxn>
              <a:cxn ang="0">
                <a:pos x="0" y="33"/>
              </a:cxn>
              <a:cxn ang="0">
                <a:pos x="1" y="38"/>
              </a:cxn>
              <a:cxn ang="0">
                <a:pos x="2" y="41"/>
              </a:cxn>
              <a:cxn ang="0">
                <a:pos x="4" y="45"/>
              </a:cxn>
              <a:cxn ang="0">
                <a:pos x="7" y="46"/>
              </a:cxn>
              <a:cxn ang="0">
                <a:pos x="12" y="49"/>
              </a:cxn>
              <a:cxn ang="0">
                <a:pos x="18" y="51"/>
              </a:cxn>
              <a:cxn ang="0">
                <a:pos x="18" y="51"/>
              </a:cxn>
              <a:cxn ang="0">
                <a:pos x="26" y="51"/>
              </a:cxn>
              <a:cxn ang="0">
                <a:pos x="26" y="51"/>
              </a:cxn>
              <a:cxn ang="0">
                <a:pos x="26" y="51"/>
              </a:cxn>
              <a:cxn ang="0">
                <a:pos x="26" y="45"/>
              </a:cxn>
              <a:cxn ang="0">
                <a:pos x="29" y="38"/>
              </a:cxn>
              <a:cxn ang="0">
                <a:pos x="33" y="25"/>
              </a:cxn>
              <a:cxn ang="0">
                <a:pos x="39" y="12"/>
              </a:cxn>
              <a:cxn ang="0">
                <a:pos x="40" y="8"/>
              </a:cxn>
              <a:cxn ang="0">
                <a:pos x="41" y="3"/>
              </a:cxn>
              <a:cxn ang="0">
                <a:pos x="41" y="3"/>
              </a:cxn>
              <a:cxn ang="0">
                <a:pos x="38" y="3"/>
              </a:cxn>
              <a:cxn ang="0">
                <a:pos x="35" y="2"/>
              </a:cxn>
              <a:cxn ang="0">
                <a:pos x="32" y="1"/>
              </a:cxn>
              <a:cxn ang="0">
                <a:pos x="30" y="0"/>
              </a:cxn>
              <a:cxn ang="0">
                <a:pos x="30" y="0"/>
              </a:cxn>
              <a:cxn ang="0">
                <a:pos x="25" y="2"/>
              </a:cxn>
              <a:cxn ang="0">
                <a:pos x="18" y="7"/>
              </a:cxn>
              <a:cxn ang="0">
                <a:pos x="18" y="7"/>
              </a:cxn>
              <a:cxn ang="0">
                <a:pos x="18" y="7"/>
              </a:cxn>
            </a:cxnLst>
            <a:rect l="0" t="0" r="r" b="b"/>
            <a:pathLst>
              <a:path w="41" h="51">
                <a:moveTo>
                  <a:pt x="18" y="7"/>
                </a:moveTo>
                <a:lnTo>
                  <a:pt x="18" y="7"/>
                </a:lnTo>
                <a:lnTo>
                  <a:pt x="11" y="10"/>
                </a:lnTo>
                <a:lnTo>
                  <a:pt x="5" y="16"/>
                </a:lnTo>
                <a:lnTo>
                  <a:pt x="3" y="19"/>
                </a:lnTo>
                <a:lnTo>
                  <a:pt x="2" y="23"/>
                </a:lnTo>
                <a:lnTo>
                  <a:pt x="1" y="27"/>
                </a:lnTo>
                <a:lnTo>
                  <a:pt x="0" y="33"/>
                </a:lnTo>
                <a:lnTo>
                  <a:pt x="0" y="33"/>
                </a:lnTo>
                <a:lnTo>
                  <a:pt x="1" y="38"/>
                </a:lnTo>
                <a:lnTo>
                  <a:pt x="2" y="41"/>
                </a:lnTo>
                <a:lnTo>
                  <a:pt x="4" y="45"/>
                </a:lnTo>
                <a:lnTo>
                  <a:pt x="7" y="46"/>
                </a:lnTo>
                <a:lnTo>
                  <a:pt x="12" y="49"/>
                </a:lnTo>
                <a:lnTo>
                  <a:pt x="18" y="51"/>
                </a:lnTo>
                <a:lnTo>
                  <a:pt x="18" y="51"/>
                </a:lnTo>
                <a:lnTo>
                  <a:pt x="26" y="51"/>
                </a:lnTo>
                <a:lnTo>
                  <a:pt x="26" y="51"/>
                </a:lnTo>
                <a:lnTo>
                  <a:pt x="26" y="51"/>
                </a:lnTo>
                <a:lnTo>
                  <a:pt x="26" y="45"/>
                </a:lnTo>
                <a:lnTo>
                  <a:pt x="29" y="38"/>
                </a:lnTo>
                <a:lnTo>
                  <a:pt x="33" y="25"/>
                </a:lnTo>
                <a:lnTo>
                  <a:pt x="39" y="12"/>
                </a:lnTo>
                <a:lnTo>
                  <a:pt x="40" y="8"/>
                </a:lnTo>
                <a:lnTo>
                  <a:pt x="41" y="3"/>
                </a:lnTo>
                <a:lnTo>
                  <a:pt x="41" y="3"/>
                </a:lnTo>
                <a:lnTo>
                  <a:pt x="38" y="3"/>
                </a:lnTo>
                <a:lnTo>
                  <a:pt x="35" y="2"/>
                </a:lnTo>
                <a:lnTo>
                  <a:pt x="32" y="1"/>
                </a:lnTo>
                <a:lnTo>
                  <a:pt x="30" y="0"/>
                </a:lnTo>
                <a:lnTo>
                  <a:pt x="30" y="0"/>
                </a:lnTo>
                <a:lnTo>
                  <a:pt x="25" y="2"/>
                </a:lnTo>
                <a:lnTo>
                  <a:pt x="18" y="7"/>
                </a:lnTo>
                <a:lnTo>
                  <a:pt x="18" y="7"/>
                </a:lnTo>
                <a:lnTo>
                  <a:pt x="18" y="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2" name="Freeform 37"/>
          <p:cNvSpPr>
            <a:spLocks/>
          </p:cNvSpPr>
          <p:nvPr/>
        </p:nvSpPr>
        <p:spPr bwMode="auto">
          <a:xfrm>
            <a:off x="3913188" y="1752600"/>
            <a:ext cx="63500" cy="57150"/>
          </a:xfrm>
          <a:custGeom>
            <a:avLst/>
            <a:gdLst/>
            <a:ahLst/>
            <a:cxnLst>
              <a:cxn ang="0">
                <a:pos x="54" y="0"/>
              </a:cxn>
              <a:cxn ang="0">
                <a:pos x="54" y="18"/>
              </a:cxn>
              <a:cxn ang="0">
                <a:pos x="54" y="18"/>
              </a:cxn>
              <a:cxn ang="0">
                <a:pos x="54" y="18"/>
              </a:cxn>
              <a:cxn ang="0">
                <a:pos x="53" y="22"/>
              </a:cxn>
              <a:cxn ang="0">
                <a:pos x="51" y="24"/>
              </a:cxn>
              <a:cxn ang="0">
                <a:pos x="48" y="25"/>
              </a:cxn>
              <a:cxn ang="0">
                <a:pos x="44" y="26"/>
              </a:cxn>
              <a:cxn ang="0">
                <a:pos x="36" y="28"/>
              </a:cxn>
              <a:cxn ang="0">
                <a:pos x="26" y="29"/>
              </a:cxn>
              <a:cxn ang="0">
                <a:pos x="16" y="29"/>
              </a:cxn>
              <a:cxn ang="0">
                <a:pos x="7" y="31"/>
              </a:cxn>
              <a:cxn ang="0">
                <a:pos x="5" y="32"/>
              </a:cxn>
              <a:cxn ang="0">
                <a:pos x="2" y="34"/>
              </a:cxn>
              <a:cxn ang="0">
                <a:pos x="0" y="37"/>
              </a:cxn>
              <a:cxn ang="0">
                <a:pos x="0" y="40"/>
              </a:cxn>
              <a:cxn ang="0">
                <a:pos x="0" y="40"/>
              </a:cxn>
              <a:cxn ang="0">
                <a:pos x="0" y="48"/>
              </a:cxn>
              <a:cxn ang="0">
                <a:pos x="3" y="54"/>
              </a:cxn>
              <a:cxn ang="0">
                <a:pos x="5" y="59"/>
              </a:cxn>
              <a:cxn ang="0">
                <a:pos x="8" y="62"/>
              </a:cxn>
              <a:cxn ang="0">
                <a:pos x="13" y="64"/>
              </a:cxn>
              <a:cxn ang="0">
                <a:pos x="19" y="66"/>
              </a:cxn>
              <a:cxn ang="0">
                <a:pos x="29" y="67"/>
              </a:cxn>
              <a:cxn ang="0">
                <a:pos x="29" y="67"/>
              </a:cxn>
              <a:cxn ang="0">
                <a:pos x="43" y="66"/>
              </a:cxn>
              <a:cxn ang="0">
                <a:pos x="54" y="63"/>
              </a:cxn>
              <a:cxn ang="0">
                <a:pos x="63" y="59"/>
              </a:cxn>
              <a:cxn ang="0">
                <a:pos x="69" y="53"/>
              </a:cxn>
              <a:cxn ang="0">
                <a:pos x="75" y="46"/>
              </a:cxn>
              <a:cxn ang="0">
                <a:pos x="77" y="37"/>
              </a:cxn>
              <a:cxn ang="0">
                <a:pos x="80" y="26"/>
              </a:cxn>
              <a:cxn ang="0">
                <a:pos x="80" y="15"/>
              </a:cxn>
              <a:cxn ang="0">
                <a:pos x="80" y="15"/>
              </a:cxn>
              <a:cxn ang="0">
                <a:pos x="80" y="10"/>
              </a:cxn>
              <a:cxn ang="0">
                <a:pos x="77" y="6"/>
              </a:cxn>
              <a:cxn ang="0">
                <a:pos x="75" y="3"/>
              </a:cxn>
              <a:cxn ang="0">
                <a:pos x="72" y="2"/>
              </a:cxn>
              <a:cxn ang="0">
                <a:pos x="64" y="0"/>
              </a:cxn>
              <a:cxn ang="0">
                <a:pos x="54" y="0"/>
              </a:cxn>
              <a:cxn ang="0">
                <a:pos x="54" y="0"/>
              </a:cxn>
              <a:cxn ang="0">
                <a:pos x="54" y="0"/>
              </a:cxn>
            </a:cxnLst>
            <a:rect l="0" t="0" r="r" b="b"/>
            <a:pathLst>
              <a:path w="80" h="67">
                <a:moveTo>
                  <a:pt x="54" y="0"/>
                </a:move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3" y="22"/>
                </a:lnTo>
                <a:lnTo>
                  <a:pt x="51" y="24"/>
                </a:lnTo>
                <a:lnTo>
                  <a:pt x="48" y="25"/>
                </a:lnTo>
                <a:lnTo>
                  <a:pt x="44" y="26"/>
                </a:lnTo>
                <a:lnTo>
                  <a:pt x="36" y="28"/>
                </a:lnTo>
                <a:lnTo>
                  <a:pt x="26" y="29"/>
                </a:lnTo>
                <a:lnTo>
                  <a:pt x="16" y="29"/>
                </a:lnTo>
                <a:lnTo>
                  <a:pt x="7" y="31"/>
                </a:lnTo>
                <a:lnTo>
                  <a:pt x="5" y="32"/>
                </a:lnTo>
                <a:lnTo>
                  <a:pt x="2" y="34"/>
                </a:lnTo>
                <a:lnTo>
                  <a:pt x="0" y="37"/>
                </a:lnTo>
                <a:lnTo>
                  <a:pt x="0" y="40"/>
                </a:lnTo>
                <a:lnTo>
                  <a:pt x="0" y="40"/>
                </a:lnTo>
                <a:lnTo>
                  <a:pt x="0" y="48"/>
                </a:lnTo>
                <a:lnTo>
                  <a:pt x="3" y="54"/>
                </a:lnTo>
                <a:lnTo>
                  <a:pt x="5" y="59"/>
                </a:lnTo>
                <a:lnTo>
                  <a:pt x="8" y="62"/>
                </a:lnTo>
                <a:lnTo>
                  <a:pt x="13" y="64"/>
                </a:lnTo>
                <a:lnTo>
                  <a:pt x="19" y="66"/>
                </a:lnTo>
                <a:lnTo>
                  <a:pt x="29" y="67"/>
                </a:lnTo>
                <a:lnTo>
                  <a:pt x="29" y="67"/>
                </a:lnTo>
                <a:lnTo>
                  <a:pt x="43" y="66"/>
                </a:lnTo>
                <a:lnTo>
                  <a:pt x="54" y="63"/>
                </a:lnTo>
                <a:lnTo>
                  <a:pt x="63" y="59"/>
                </a:lnTo>
                <a:lnTo>
                  <a:pt x="69" y="53"/>
                </a:lnTo>
                <a:lnTo>
                  <a:pt x="75" y="46"/>
                </a:lnTo>
                <a:lnTo>
                  <a:pt x="77" y="37"/>
                </a:lnTo>
                <a:lnTo>
                  <a:pt x="80" y="26"/>
                </a:lnTo>
                <a:lnTo>
                  <a:pt x="80" y="15"/>
                </a:lnTo>
                <a:lnTo>
                  <a:pt x="80" y="15"/>
                </a:lnTo>
                <a:lnTo>
                  <a:pt x="80" y="10"/>
                </a:lnTo>
                <a:lnTo>
                  <a:pt x="77" y="6"/>
                </a:lnTo>
                <a:lnTo>
                  <a:pt x="75" y="3"/>
                </a:lnTo>
                <a:lnTo>
                  <a:pt x="72" y="2"/>
                </a:lnTo>
                <a:lnTo>
                  <a:pt x="6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3" name="Freeform 38"/>
          <p:cNvSpPr>
            <a:spLocks/>
          </p:cNvSpPr>
          <p:nvPr/>
        </p:nvSpPr>
        <p:spPr bwMode="auto">
          <a:xfrm>
            <a:off x="3825875" y="1758950"/>
            <a:ext cx="71438" cy="69850"/>
          </a:xfrm>
          <a:custGeom>
            <a:avLst/>
            <a:gdLst/>
            <a:ahLst/>
            <a:cxnLst>
              <a:cxn ang="0">
                <a:pos x="42" y="81"/>
              </a:cxn>
              <a:cxn ang="0">
                <a:pos x="42" y="81"/>
              </a:cxn>
              <a:cxn ang="0">
                <a:pos x="34" y="79"/>
              </a:cxn>
              <a:cxn ang="0">
                <a:pos x="26" y="78"/>
              </a:cxn>
              <a:cxn ang="0">
                <a:pos x="19" y="76"/>
              </a:cxn>
              <a:cxn ang="0">
                <a:pos x="13" y="73"/>
              </a:cxn>
              <a:cxn ang="0">
                <a:pos x="8" y="68"/>
              </a:cxn>
              <a:cxn ang="0">
                <a:pos x="4" y="63"/>
              </a:cxn>
              <a:cxn ang="0">
                <a:pos x="1" y="58"/>
              </a:cxn>
              <a:cxn ang="0">
                <a:pos x="0" y="51"/>
              </a:cxn>
              <a:cxn ang="0">
                <a:pos x="0" y="51"/>
              </a:cxn>
              <a:cxn ang="0">
                <a:pos x="1" y="46"/>
              </a:cxn>
              <a:cxn ang="0">
                <a:pos x="4" y="38"/>
              </a:cxn>
              <a:cxn ang="0">
                <a:pos x="9" y="21"/>
              </a:cxn>
              <a:cxn ang="0">
                <a:pos x="14" y="13"/>
              </a:cxn>
              <a:cxn ang="0">
                <a:pos x="17" y="6"/>
              </a:cxn>
              <a:cxn ang="0">
                <a:pos x="22" y="1"/>
              </a:cxn>
              <a:cxn ang="0">
                <a:pos x="24" y="0"/>
              </a:cxn>
              <a:cxn ang="0">
                <a:pos x="27" y="0"/>
              </a:cxn>
              <a:cxn ang="0">
                <a:pos x="27" y="0"/>
              </a:cxn>
              <a:cxn ang="0">
                <a:pos x="31" y="1"/>
              </a:cxn>
              <a:cxn ang="0">
                <a:pos x="36" y="3"/>
              </a:cxn>
              <a:cxn ang="0">
                <a:pos x="40" y="6"/>
              </a:cxn>
              <a:cxn ang="0">
                <a:pos x="45" y="7"/>
              </a:cxn>
              <a:cxn ang="0">
                <a:pos x="45" y="7"/>
              </a:cxn>
              <a:cxn ang="0">
                <a:pos x="47" y="13"/>
              </a:cxn>
              <a:cxn ang="0">
                <a:pos x="51" y="16"/>
              </a:cxn>
              <a:cxn ang="0">
                <a:pos x="55" y="17"/>
              </a:cxn>
              <a:cxn ang="0">
                <a:pos x="61" y="17"/>
              </a:cxn>
              <a:cxn ang="0">
                <a:pos x="74" y="16"/>
              </a:cxn>
              <a:cxn ang="0">
                <a:pos x="85" y="14"/>
              </a:cxn>
              <a:cxn ang="0">
                <a:pos x="85" y="14"/>
              </a:cxn>
              <a:cxn ang="0">
                <a:pos x="89" y="30"/>
              </a:cxn>
              <a:cxn ang="0">
                <a:pos x="89" y="44"/>
              </a:cxn>
              <a:cxn ang="0">
                <a:pos x="88" y="50"/>
              </a:cxn>
              <a:cxn ang="0">
                <a:pos x="87" y="54"/>
              </a:cxn>
              <a:cxn ang="0">
                <a:pos x="84" y="60"/>
              </a:cxn>
              <a:cxn ang="0">
                <a:pos x="82" y="63"/>
              </a:cxn>
              <a:cxn ang="0">
                <a:pos x="78" y="68"/>
              </a:cxn>
              <a:cxn ang="0">
                <a:pos x="75" y="71"/>
              </a:cxn>
              <a:cxn ang="0">
                <a:pos x="70" y="74"/>
              </a:cxn>
              <a:cxn ang="0">
                <a:pos x="66" y="76"/>
              </a:cxn>
              <a:cxn ang="0">
                <a:pos x="54" y="79"/>
              </a:cxn>
              <a:cxn ang="0">
                <a:pos x="42" y="81"/>
              </a:cxn>
              <a:cxn ang="0">
                <a:pos x="42" y="81"/>
              </a:cxn>
              <a:cxn ang="0">
                <a:pos x="42" y="81"/>
              </a:cxn>
            </a:cxnLst>
            <a:rect l="0" t="0" r="r" b="b"/>
            <a:pathLst>
              <a:path w="89" h="81">
                <a:moveTo>
                  <a:pt x="42" y="81"/>
                </a:moveTo>
                <a:lnTo>
                  <a:pt x="42" y="81"/>
                </a:lnTo>
                <a:lnTo>
                  <a:pt x="34" y="79"/>
                </a:lnTo>
                <a:lnTo>
                  <a:pt x="26" y="78"/>
                </a:lnTo>
                <a:lnTo>
                  <a:pt x="19" y="76"/>
                </a:lnTo>
                <a:lnTo>
                  <a:pt x="13" y="73"/>
                </a:lnTo>
                <a:lnTo>
                  <a:pt x="8" y="68"/>
                </a:lnTo>
                <a:lnTo>
                  <a:pt x="4" y="63"/>
                </a:lnTo>
                <a:lnTo>
                  <a:pt x="1" y="58"/>
                </a:lnTo>
                <a:lnTo>
                  <a:pt x="0" y="51"/>
                </a:lnTo>
                <a:lnTo>
                  <a:pt x="0" y="51"/>
                </a:lnTo>
                <a:lnTo>
                  <a:pt x="1" y="46"/>
                </a:lnTo>
                <a:lnTo>
                  <a:pt x="4" y="38"/>
                </a:lnTo>
                <a:lnTo>
                  <a:pt x="9" y="21"/>
                </a:lnTo>
                <a:lnTo>
                  <a:pt x="14" y="13"/>
                </a:lnTo>
                <a:lnTo>
                  <a:pt x="17" y="6"/>
                </a:lnTo>
                <a:lnTo>
                  <a:pt x="22" y="1"/>
                </a:lnTo>
                <a:lnTo>
                  <a:pt x="24" y="0"/>
                </a:lnTo>
                <a:lnTo>
                  <a:pt x="27" y="0"/>
                </a:lnTo>
                <a:lnTo>
                  <a:pt x="27" y="0"/>
                </a:lnTo>
                <a:lnTo>
                  <a:pt x="31" y="1"/>
                </a:lnTo>
                <a:lnTo>
                  <a:pt x="36" y="3"/>
                </a:lnTo>
                <a:lnTo>
                  <a:pt x="40" y="6"/>
                </a:lnTo>
                <a:lnTo>
                  <a:pt x="45" y="7"/>
                </a:lnTo>
                <a:lnTo>
                  <a:pt x="45" y="7"/>
                </a:lnTo>
                <a:lnTo>
                  <a:pt x="47" y="13"/>
                </a:lnTo>
                <a:lnTo>
                  <a:pt x="51" y="16"/>
                </a:lnTo>
                <a:lnTo>
                  <a:pt x="55" y="17"/>
                </a:lnTo>
                <a:lnTo>
                  <a:pt x="61" y="17"/>
                </a:lnTo>
                <a:lnTo>
                  <a:pt x="74" y="16"/>
                </a:lnTo>
                <a:lnTo>
                  <a:pt x="85" y="14"/>
                </a:lnTo>
                <a:lnTo>
                  <a:pt x="85" y="14"/>
                </a:lnTo>
                <a:lnTo>
                  <a:pt x="89" y="30"/>
                </a:lnTo>
                <a:lnTo>
                  <a:pt x="89" y="44"/>
                </a:lnTo>
                <a:lnTo>
                  <a:pt x="88" y="50"/>
                </a:lnTo>
                <a:lnTo>
                  <a:pt x="87" y="54"/>
                </a:lnTo>
                <a:lnTo>
                  <a:pt x="84" y="60"/>
                </a:lnTo>
                <a:lnTo>
                  <a:pt x="82" y="63"/>
                </a:lnTo>
                <a:lnTo>
                  <a:pt x="78" y="68"/>
                </a:lnTo>
                <a:lnTo>
                  <a:pt x="75" y="71"/>
                </a:lnTo>
                <a:lnTo>
                  <a:pt x="70" y="74"/>
                </a:lnTo>
                <a:lnTo>
                  <a:pt x="66" y="76"/>
                </a:lnTo>
                <a:lnTo>
                  <a:pt x="54" y="79"/>
                </a:lnTo>
                <a:lnTo>
                  <a:pt x="42" y="81"/>
                </a:lnTo>
                <a:lnTo>
                  <a:pt x="42" y="81"/>
                </a:lnTo>
                <a:lnTo>
                  <a:pt x="42" y="8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4" name="Freeform 39"/>
          <p:cNvSpPr>
            <a:spLocks/>
          </p:cNvSpPr>
          <p:nvPr/>
        </p:nvSpPr>
        <p:spPr bwMode="auto">
          <a:xfrm>
            <a:off x="3757613" y="1782763"/>
            <a:ext cx="52387" cy="53975"/>
          </a:xfrm>
          <a:custGeom>
            <a:avLst/>
            <a:gdLst/>
            <a:ahLst/>
            <a:cxnLst>
              <a:cxn ang="0">
                <a:pos x="56" y="11"/>
              </a:cxn>
              <a:cxn ang="0">
                <a:pos x="56" y="11"/>
              </a:cxn>
              <a:cxn ang="0">
                <a:pos x="53" y="11"/>
              </a:cxn>
              <a:cxn ang="0">
                <a:pos x="51" y="9"/>
              </a:cxn>
              <a:cxn ang="0">
                <a:pos x="48" y="6"/>
              </a:cxn>
              <a:cxn ang="0">
                <a:pos x="45" y="2"/>
              </a:cxn>
              <a:cxn ang="0">
                <a:pos x="43" y="1"/>
              </a:cxn>
              <a:cxn ang="0">
                <a:pos x="41" y="0"/>
              </a:cxn>
              <a:cxn ang="0">
                <a:pos x="41" y="0"/>
              </a:cxn>
              <a:cxn ang="0">
                <a:pos x="38" y="1"/>
              </a:cxn>
              <a:cxn ang="0">
                <a:pos x="34" y="2"/>
              </a:cxn>
              <a:cxn ang="0">
                <a:pos x="26" y="6"/>
              </a:cxn>
              <a:cxn ang="0">
                <a:pos x="19" y="11"/>
              </a:cxn>
              <a:cxn ang="0">
                <a:pos x="13" y="18"/>
              </a:cxn>
              <a:cxn ang="0">
                <a:pos x="8" y="25"/>
              </a:cxn>
              <a:cxn ang="0">
                <a:pos x="4" y="32"/>
              </a:cxn>
              <a:cxn ang="0">
                <a:pos x="1" y="39"/>
              </a:cxn>
              <a:cxn ang="0">
                <a:pos x="0" y="45"/>
              </a:cxn>
              <a:cxn ang="0">
                <a:pos x="0" y="45"/>
              </a:cxn>
              <a:cxn ang="0">
                <a:pos x="1" y="50"/>
              </a:cxn>
              <a:cxn ang="0">
                <a:pos x="3" y="56"/>
              </a:cxn>
              <a:cxn ang="0">
                <a:pos x="7" y="61"/>
              </a:cxn>
              <a:cxn ang="0">
                <a:pos x="9" y="62"/>
              </a:cxn>
              <a:cxn ang="0">
                <a:pos x="11" y="62"/>
              </a:cxn>
              <a:cxn ang="0">
                <a:pos x="11" y="62"/>
              </a:cxn>
              <a:cxn ang="0">
                <a:pos x="18" y="62"/>
              </a:cxn>
              <a:cxn ang="0">
                <a:pos x="24" y="58"/>
              </a:cxn>
              <a:cxn ang="0">
                <a:pos x="28" y="55"/>
              </a:cxn>
              <a:cxn ang="0">
                <a:pos x="33" y="52"/>
              </a:cxn>
              <a:cxn ang="0">
                <a:pos x="38" y="48"/>
              </a:cxn>
              <a:cxn ang="0">
                <a:pos x="43" y="44"/>
              </a:cxn>
              <a:cxn ang="0">
                <a:pos x="49" y="41"/>
              </a:cxn>
              <a:cxn ang="0">
                <a:pos x="56" y="41"/>
              </a:cxn>
              <a:cxn ang="0">
                <a:pos x="56" y="41"/>
              </a:cxn>
              <a:cxn ang="0">
                <a:pos x="58" y="39"/>
              </a:cxn>
              <a:cxn ang="0">
                <a:pos x="61" y="37"/>
              </a:cxn>
              <a:cxn ang="0">
                <a:pos x="62" y="33"/>
              </a:cxn>
              <a:cxn ang="0">
                <a:pos x="63" y="30"/>
              </a:cxn>
              <a:cxn ang="0">
                <a:pos x="63" y="30"/>
              </a:cxn>
              <a:cxn ang="0">
                <a:pos x="63" y="11"/>
              </a:cxn>
              <a:cxn ang="0">
                <a:pos x="63" y="11"/>
              </a:cxn>
              <a:cxn ang="0">
                <a:pos x="56" y="11"/>
              </a:cxn>
              <a:cxn ang="0">
                <a:pos x="56" y="11"/>
              </a:cxn>
              <a:cxn ang="0">
                <a:pos x="56" y="11"/>
              </a:cxn>
            </a:cxnLst>
            <a:rect l="0" t="0" r="r" b="b"/>
            <a:pathLst>
              <a:path w="63" h="62">
                <a:moveTo>
                  <a:pt x="56" y="11"/>
                </a:moveTo>
                <a:lnTo>
                  <a:pt x="56" y="11"/>
                </a:lnTo>
                <a:lnTo>
                  <a:pt x="53" y="11"/>
                </a:lnTo>
                <a:lnTo>
                  <a:pt x="51" y="9"/>
                </a:lnTo>
                <a:lnTo>
                  <a:pt x="48" y="6"/>
                </a:lnTo>
                <a:lnTo>
                  <a:pt x="45" y="2"/>
                </a:lnTo>
                <a:lnTo>
                  <a:pt x="43" y="1"/>
                </a:lnTo>
                <a:lnTo>
                  <a:pt x="41" y="0"/>
                </a:lnTo>
                <a:lnTo>
                  <a:pt x="41" y="0"/>
                </a:lnTo>
                <a:lnTo>
                  <a:pt x="38" y="1"/>
                </a:lnTo>
                <a:lnTo>
                  <a:pt x="34" y="2"/>
                </a:lnTo>
                <a:lnTo>
                  <a:pt x="26" y="6"/>
                </a:lnTo>
                <a:lnTo>
                  <a:pt x="19" y="11"/>
                </a:lnTo>
                <a:lnTo>
                  <a:pt x="13" y="18"/>
                </a:lnTo>
                <a:lnTo>
                  <a:pt x="8" y="25"/>
                </a:lnTo>
                <a:lnTo>
                  <a:pt x="4" y="32"/>
                </a:lnTo>
                <a:lnTo>
                  <a:pt x="1" y="39"/>
                </a:lnTo>
                <a:lnTo>
                  <a:pt x="0" y="45"/>
                </a:lnTo>
                <a:lnTo>
                  <a:pt x="0" y="45"/>
                </a:lnTo>
                <a:lnTo>
                  <a:pt x="1" y="50"/>
                </a:lnTo>
                <a:lnTo>
                  <a:pt x="3" y="56"/>
                </a:lnTo>
                <a:lnTo>
                  <a:pt x="7" y="61"/>
                </a:lnTo>
                <a:lnTo>
                  <a:pt x="9" y="62"/>
                </a:lnTo>
                <a:lnTo>
                  <a:pt x="11" y="62"/>
                </a:lnTo>
                <a:lnTo>
                  <a:pt x="11" y="62"/>
                </a:lnTo>
                <a:lnTo>
                  <a:pt x="18" y="62"/>
                </a:lnTo>
                <a:lnTo>
                  <a:pt x="24" y="58"/>
                </a:lnTo>
                <a:lnTo>
                  <a:pt x="28" y="55"/>
                </a:lnTo>
                <a:lnTo>
                  <a:pt x="33" y="52"/>
                </a:lnTo>
                <a:lnTo>
                  <a:pt x="38" y="48"/>
                </a:lnTo>
                <a:lnTo>
                  <a:pt x="43" y="44"/>
                </a:lnTo>
                <a:lnTo>
                  <a:pt x="49" y="41"/>
                </a:lnTo>
                <a:lnTo>
                  <a:pt x="56" y="41"/>
                </a:lnTo>
                <a:lnTo>
                  <a:pt x="56" y="41"/>
                </a:lnTo>
                <a:lnTo>
                  <a:pt x="58" y="39"/>
                </a:lnTo>
                <a:lnTo>
                  <a:pt x="61" y="37"/>
                </a:lnTo>
                <a:lnTo>
                  <a:pt x="62" y="33"/>
                </a:lnTo>
                <a:lnTo>
                  <a:pt x="63" y="30"/>
                </a:lnTo>
                <a:lnTo>
                  <a:pt x="63" y="30"/>
                </a:lnTo>
                <a:lnTo>
                  <a:pt x="63" y="11"/>
                </a:lnTo>
                <a:lnTo>
                  <a:pt x="63" y="11"/>
                </a:lnTo>
                <a:lnTo>
                  <a:pt x="56" y="11"/>
                </a:lnTo>
                <a:lnTo>
                  <a:pt x="56" y="11"/>
                </a:lnTo>
                <a:lnTo>
                  <a:pt x="56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5" name="Freeform 40"/>
          <p:cNvSpPr>
            <a:spLocks/>
          </p:cNvSpPr>
          <p:nvPr/>
        </p:nvSpPr>
        <p:spPr bwMode="auto">
          <a:xfrm>
            <a:off x="3725863" y="1782763"/>
            <a:ext cx="41275" cy="44450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0" y="33"/>
              </a:cxn>
              <a:cxn ang="0">
                <a:pos x="2" y="39"/>
              </a:cxn>
              <a:cxn ang="0">
                <a:pos x="5" y="44"/>
              </a:cxn>
              <a:cxn ang="0">
                <a:pos x="8" y="47"/>
              </a:cxn>
              <a:cxn ang="0">
                <a:pos x="12" y="48"/>
              </a:cxn>
              <a:cxn ang="0">
                <a:pos x="12" y="48"/>
              </a:cxn>
              <a:cxn ang="0">
                <a:pos x="15" y="46"/>
              </a:cxn>
              <a:cxn ang="0">
                <a:pos x="22" y="40"/>
              </a:cxn>
              <a:cxn ang="0">
                <a:pos x="30" y="33"/>
              </a:cxn>
              <a:cxn ang="0">
                <a:pos x="40" y="24"/>
              </a:cxn>
              <a:cxn ang="0">
                <a:pos x="46" y="15"/>
              </a:cxn>
              <a:cxn ang="0">
                <a:pos x="51" y="8"/>
              </a:cxn>
              <a:cxn ang="0">
                <a:pos x="52" y="4"/>
              </a:cxn>
              <a:cxn ang="0">
                <a:pos x="51" y="2"/>
              </a:cxn>
              <a:cxn ang="0">
                <a:pos x="49" y="1"/>
              </a:cxn>
              <a:cxn ang="0">
                <a:pos x="45" y="0"/>
              </a:cxn>
              <a:cxn ang="0">
                <a:pos x="45" y="0"/>
              </a:cxn>
              <a:cxn ang="0">
                <a:pos x="38" y="0"/>
              </a:cxn>
              <a:cxn ang="0">
                <a:pos x="31" y="2"/>
              </a:cxn>
              <a:cxn ang="0">
                <a:pos x="25" y="6"/>
              </a:cxn>
              <a:cxn ang="0">
                <a:pos x="18" y="10"/>
              </a:cxn>
              <a:cxn ang="0">
                <a:pos x="11" y="15"/>
              </a:cxn>
              <a:cxn ang="0">
                <a:pos x="5" y="22"/>
              </a:cxn>
              <a:cxn ang="0">
                <a:pos x="2" y="27"/>
              </a:cxn>
              <a:cxn ang="0">
                <a:pos x="0" y="33"/>
              </a:cxn>
              <a:cxn ang="0">
                <a:pos x="0" y="33"/>
              </a:cxn>
              <a:cxn ang="0">
                <a:pos x="0" y="33"/>
              </a:cxn>
            </a:cxnLst>
            <a:rect l="0" t="0" r="r" b="b"/>
            <a:pathLst>
              <a:path w="52" h="48">
                <a:moveTo>
                  <a:pt x="0" y="33"/>
                </a:moveTo>
                <a:lnTo>
                  <a:pt x="0" y="33"/>
                </a:lnTo>
                <a:lnTo>
                  <a:pt x="2" y="39"/>
                </a:lnTo>
                <a:lnTo>
                  <a:pt x="5" y="44"/>
                </a:lnTo>
                <a:lnTo>
                  <a:pt x="8" y="47"/>
                </a:lnTo>
                <a:lnTo>
                  <a:pt x="12" y="48"/>
                </a:lnTo>
                <a:lnTo>
                  <a:pt x="12" y="48"/>
                </a:lnTo>
                <a:lnTo>
                  <a:pt x="15" y="46"/>
                </a:lnTo>
                <a:lnTo>
                  <a:pt x="22" y="40"/>
                </a:lnTo>
                <a:lnTo>
                  <a:pt x="30" y="33"/>
                </a:lnTo>
                <a:lnTo>
                  <a:pt x="40" y="24"/>
                </a:lnTo>
                <a:lnTo>
                  <a:pt x="46" y="15"/>
                </a:lnTo>
                <a:lnTo>
                  <a:pt x="51" y="8"/>
                </a:lnTo>
                <a:lnTo>
                  <a:pt x="52" y="4"/>
                </a:lnTo>
                <a:lnTo>
                  <a:pt x="51" y="2"/>
                </a:lnTo>
                <a:lnTo>
                  <a:pt x="49" y="1"/>
                </a:lnTo>
                <a:lnTo>
                  <a:pt x="45" y="0"/>
                </a:lnTo>
                <a:lnTo>
                  <a:pt x="45" y="0"/>
                </a:lnTo>
                <a:lnTo>
                  <a:pt x="38" y="0"/>
                </a:lnTo>
                <a:lnTo>
                  <a:pt x="31" y="2"/>
                </a:lnTo>
                <a:lnTo>
                  <a:pt x="25" y="6"/>
                </a:lnTo>
                <a:lnTo>
                  <a:pt x="18" y="10"/>
                </a:lnTo>
                <a:lnTo>
                  <a:pt x="11" y="15"/>
                </a:lnTo>
                <a:lnTo>
                  <a:pt x="5" y="22"/>
                </a:lnTo>
                <a:lnTo>
                  <a:pt x="2" y="27"/>
                </a:lnTo>
                <a:lnTo>
                  <a:pt x="0" y="33"/>
                </a:lnTo>
                <a:lnTo>
                  <a:pt x="0" y="33"/>
                </a:lnTo>
                <a:lnTo>
                  <a:pt x="0" y="3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6" name="Freeform 41"/>
          <p:cNvSpPr>
            <a:spLocks/>
          </p:cNvSpPr>
          <p:nvPr/>
        </p:nvSpPr>
        <p:spPr bwMode="auto">
          <a:xfrm>
            <a:off x="3789363" y="1858963"/>
            <a:ext cx="20637" cy="222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0"/>
              </a:cxn>
              <a:cxn ang="0">
                <a:pos x="6" y="1"/>
              </a:cxn>
              <a:cxn ang="0">
                <a:pos x="4" y="2"/>
              </a:cxn>
              <a:cxn ang="0">
                <a:pos x="2" y="5"/>
              </a:cxn>
              <a:cxn ang="0">
                <a:pos x="0" y="7"/>
              </a:cxn>
              <a:cxn ang="0">
                <a:pos x="0" y="10"/>
              </a:cxn>
              <a:cxn ang="0">
                <a:pos x="0" y="10"/>
              </a:cxn>
              <a:cxn ang="0">
                <a:pos x="0" y="14"/>
              </a:cxn>
              <a:cxn ang="0">
                <a:pos x="2" y="17"/>
              </a:cxn>
              <a:cxn ang="0">
                <a:pos x="5" y="22"/>
              </a:cxn>
              <a:cxn ang="0">
                <a:pos x="9" y="24"/>
              </a:cxn>
              <a:cxn ang="0">
                <a:pos x="12" y="25"/>
              </a:cxn>
              <a:cxn ang="0">
                <a:pos x="12" y="25"/>
              </a:cxn>
              <a:cxn ang="0">
                <a:pos x="15" y="24"/>
              </a:cxn>
              <a:cxn ang="0">
                <a:pos x="19" y="24"/>
              </a:cxn>
              <a:cxn ang="0">
                <a:pos x="21" y="22"/>
              </a:cxn>
              <a:cxn ang="0">
                <a:pos x="23" y="21"/>
              </a:cxn>
              <a:cxn ang="0">
                <a:pos x="26" y="16"/>
              </a:cxn>
              <a:cxn ang="0">
                <a:pos x="27" y="10"/>
              </a:cxn>
              <a:cxn ang="0">
                <a:pos x="27" y="10"/>
              </a:cxn>
              <a:cxn ang="0">
                <a:pos x="26" y="8"/>
              </a:cxn>
              <a:cxn ang="0">
                <a:pos x="23" y="5"/>
              </a:cxn>
              <a:cxn ang="0">
                <a:pos x="20" y="2"/>
              </a:cxn>
              <a:cxn ang="0">
                <a:pos x="20" y="0"/>
              </a:cxn>
              <a:cxn ang="0">
                <a:pos x="20" y="0"/>
              </a:cxn>
              <a:cxn ang="0">
                <a:pos x="20" y="0"/>
              </a:cxn>
            </a:cxnLst>
            <a:rect l="0" t="0" r="r" b="b"/>
            <a:pathLst>
              <a:path w="27" h="25">
                <a:moveTo>
                  <a:pt x="20" y="0"/>
                </a:moveTo>
                <a:lnTo>
                  <a:pt x="20" y="0"/>
                </a:lnTo>
                <a:lnTo>
                  <a:pt x="12" y="0"/>
                </a:lnTo>
                <a:lnTo>
                  <a:pt x="6" y="1"/>
                </a:lnTo>
                <a:lnTo>
                  <a:pt x="4" y="2"/>
                </a:lnTo>
                <a:lnTo>
                  <a:pt x="2" y="5"/>
                </a:lnTo>
                <a:lnTo>
                  <a:pt x="0" y="7"/>
                </a:lnTo>
                <a:lnTo>
                  <a:pt x="0" y="10"/>
                </a:lnTo>
                <a:lnTo>
                  <a:pt x="0" y="10"/>
                </a:lnTo>
                <a:lnTo>
                  <a:pt x="0" y="14"/>
                </a:lnTo>
                <a:lnTo>
                  <a:pt x="2" y="17"/>
                </a:lnTo>
                <a:lnTo>
                  <a:pt x="5" y="22"/>
                </a:lnTo>
                <a:lnTo>
                  <a:pt x="9" y="24"/>
                </a:lnTo>
                <a:lnTo>
                  <a:pt x="12" y="25"/>
                </a:lnTo>
                <a:lnTo>
                  <a:pt x="12" y="25"/>
                </a:lnTo>
                <a:lnTo>
                  <a:pt x="15" y="24"/>
                </a:lnTo>
                <a:lnTo>
                  <a:pt x="19" y="24"/>
                </a:lnTo>
                <a:lnTo>
                  <a:pt x="21" y="22"/>
                </a:lnTo>
                <a:lnTo>
                  <a:pt x="23" y="21"/>
                </a:lnTo>
                <a:lnTo>
                  <a:pt x="26" y="16"/>
                </a:lnTo>
                <a:lnTo>
                  <a:pt x="27" y="10"/>
                </a:lnTo>
                <a:lnTo>
                  <a:pt x="27" y="10"/>
                </a:lnTo>
                <a:lnTo>
                  <a:pt x="26" y="8"/>
                </a:lnTo>
                <a:lnTo>
                  <a:pt x="23" y="5"/>
                </a:lnTo>
                <a:lnTo>
                  <a:pt x="20" y="2"/>
                </a:lnTo>
                <a:lnTo>
                  <a:pt x="20" y="0"/>
                </a:lnTo>
                <a:lnTo>
                  <a:pt x="20" y="0"/>
                </a:lnTo>
                <a:lnTo>
                  <a:pt x="2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7" name="Freeform 42"/>
          <p:cNvSpPr>
            <a:spLocks/>
          </p:cNvSpPr>
          <p:nvPr/>
        </p:nvSpPr>
        <p:spPr bwMode="auto">
          <a:xfrm>
            <a:off x="3757613" y="1666875"/>
            <a:ext cx="52387" cy="79375"/>
          </a:xfrm>
          <a:custGeom>
            <a:avLst/>
            <a:gdLst/>
            <a:ahLst/>
            <a:cxnLst>
              <a:cxn ang="0">
                <a:pos x="45" y="26"/>
              </a:cxn>
              <a:cxn ang="0">
                <a:pos x="45" y="26"/>
              </a:cxn>
              <a:cxn ang="0">
                <a:pos x="35" y="25"/>
              </a:cxn>
              <a:cxn ang="0">
                <a:pos x="28" y="22"/>
              </a:cxn>
              <a:cxn ang="0">
                <a:pos x="24" y="18"/>
              </a:cxn>
              <a:cxn ang="0">
                <a:pos x="20" y="13"/>
              </a:cxn>
              <a:cxn ang="0">
                <a:pos x="17" y="8"/>
              </a:cxn>
              <a:cxn ang="0">
                <a:pos x="13" y="5"/>
              </a:cxn>
              <a:cxn ang="0">
                <a:pos x="10" y="1"/>
              </a:cxn>
              <a:cxn ang="0">
                <a:pos x="4" y="0"/>
              </a:cxn>
              <a:cxn ang="0">
                <a:pos x="4" y="0"/>
              </a:cxn>
              <a:cxn ang="0">
                <a:pos x="2" y="1"/>
              </a:cxn>
              <a:cxn ang="0">
                <a:pos x="0" y="1"/>
              </a:cxn>
              <a:cxn ang="0">
                <a:pos x="0" y="5"/>
              </a:cxn>
              <a:cxn ang="0">
                <a:pos x="0" y="12"/>
              </a:cxn>
              <a:cxn ang="0">
                <a:pos x="0" y="12"/>
              </a:cxn>
              <a:cxn ang="0">
                <a:pos x="1" y="22"/>
              </a:cxn>
              <a:cxn ang="0">
                <a:pos x="3" y="35"/>
              </a:cxn>
              <a:cxn ang="0">
                <a:pos x="8" y="48"/>
              </a:cxn>
              <a:cxn ang="0">
                <a:pos x="12" y="61"/>
              </a:cxn>
              <a:cxn ang="0">
                <a:pos x="19" y="74"/>
              </a:cxn>
              <a:cxn ang="0">
                <a:pos x="26" y="83"/>
              </a:cxn>
              <a:cxn ang="0">
                <a:pos x="31" y="86"/>
              </a:cxn>
              <a:cxn ang="0">
                <a:pos x="35" y="90"/>
              </a:cxn>
              <a:cxn ang="0">
                <a:pos x="40" y="91"/>
              </a:cxn>
              <a:cxn ang="0">
                <a:pos x="45" y="92"/>
              </a:cxn>
              <a:cxn ang="0">
                <a:pos x="45" y="92"/>
              </a:cxn>
              <a:cxn ang="0">
                <a:pos x="56" y="92"/>
              </a:cxn>
              <a:cxn ang="0">
                <a:pos x="56" y="92"/>
              </a:cxn>
              <a:cxn ang="0">
                <a:pos x="56" y="85"/>
              </a:cxn>
              <a:cxn ang="0">
                <a:pos x="59" y="81"/>
              </a:cxn>
              <a:cxn ang="0">
                <a:pos x="62" y="76"/>
              </a:cxn>
              <a:cxn ang="0">
                <a:pos x="63" y="69"/>
              </a:cxn>
              <a:cxn ang="0">
                <a:pos x="63" y="69"/>
              </a:cxn>
              <a:cxn ang="0">
                <a:pos x="62" y="66"/>
              </a:cxn>
              <a:cxn ang="0">
                <a:pos x="59" y="61"/>
              </a:cxn>
              <a:cxn ang="0">
                <a:pos x="56" y="55"/>
              </a:cxn>
              <a:cxn ang="0">
                <a:pos x="56" y="52"/>
              </a:cxn>
              <a:cxn ang="0">
                <a:pos x="56" y="52"/>
              </a:cxn>
              <a:cxn ang="0">
                <a:pos x="57" y="44"/>
              </a:cxn>
              <a:cxn ang="0">
                <a:pos x="58" y="40"/>
              </a:cxn>
              <a:cxn ang="0">
                <a:pos x="59" y="37"/>
              </a:cxn>
              <a:cxn ang="0">
                <a:pos x="59" y="37"/>
              </a:cxn>
              <a:cxn ang="0">
                <a:pos x="58" y="33"/>
              </a:cxn>
              <a:cxn ang="0">
                <a:pos x="57" y="31"/>
              </a:cxn>
              <a:cxn ang="0">
                <a:pos x="55" y="29"/>
              </a:cxn>
              <a:cxn ang="0">
                <a:pos x="51" y="28"/>
              </a:cxn>
              <a:cxn ang="0">
                <a:pos x="47" y="26"/>
              </a:cxn>
              <a:cxn ang="0">
                <a:pos x="45" y="26"/>
              </a:cxn>
              <a:cxn ang="0">
                <a:pos x="45" y="26"/>
              </a:cxn>
              <a:cxn ang="0">
                <a:pos x="45" y="26"/>
              </a:cxn>
            </a:cxnLst>
            <a:rect l="0" t="0" r="r" b="b"/>
            <a:pathLst>
              <a:path w="63" h="92">
                <a:moveTo>
                  <a:pt x="45" y="26"/>
                </a:moveTo>
                <a:lnTo>
                  <a:pt x="45" y="26"/>
                </a:lnTo>
                <a:lnTo>
                  <a:pt x="35" y="25"/>
                </a:lnTo>
                <a:lnTo>
                  <a:pt x="28" y="22"/>
                </a:lnTo>
                <a:lnTo>
                  <a:pt x="24" y="18"/>
                </a:lnTo>
                <a:lnTo>
                  <a:pt x="20" y="13"/>
                </a:lnTo>
                <a:lnTo>
                  <a:pt x="17" y="8"/>
                </a:lnTo>
                <a:lnTo>
                  <a:pt x="13" y="5"/>
                </a:lnTo>
                <a:lnTo>
                  <a:pt x="10" y="1"/>
                </a:lnTo>
                <a:lnTo>
                  <a:pt x="4" y="0"/>
                </a:lnTo>
                <a:lnTo>
                  <a:pt x="4" y="0"/>
                </a:lnTo>
                <a:lnTo>
                  <a:pt x="2" y="1"/>
                </a:lnTo>
                <a:lnTo>
                  <a:pt x="0" y="1"/>
                </a:lnTo>
                <a:lnTo>
                  <a:pt x="0" y="5"/>
                </a:lnTo>
                <a:lnTo>
                  <a:pt x="0" y="12"/>
                </a:lnTo>
                <a:lnTo>
                  <a:pt x="0" y="12"/>
                </a:lnTo>
                <a:lnTo>
                  <a:pt x="1" y="22"/>
                </a:lnTo>
                <a:lnTo>
                  <a:pt x="3" y="35"/>
                </a:lnTo>
                <a:lnTo>
                  <a:pt x="8" y="48"/>
                </a:lnTo>
                <a:lnTo>
                  <a:pt x="12" y="61"/>
                </a:lnTo>
                <a:lnTo>
                  <a:pt x="19" y="74"/>
                </a:lnTo>
                <a:lnTo>
                  <a:pt x="26" y="83"/>
                </a:lnTo>
                <a:lnTo>
                  <a:pt x="31" y="86"/>
                </a:lnTo>
                <a:lnTo>
                  <a:pt x="35" y="90"/>
                </a:lnTo>
                <a:lnTo>
                  <a:pt x="40" y="91"/>
                </a:lnTo>
                <a:lnTo>
                  <a:pt x="45" y="92"/>
                </a:lnTo>
                <a:lnTo>
                  <a:pt x="45" y="92"/>
                </a:lnTo>
                <a:lnTo>
                  <a:pt x="56" y="92"/>
                </a:lnTo>
                <a:lnTo>
                  <a:pt x="56" y="92"/>
                </a:lnTo>
                <a:lnTo>
                  <a:pt x="56" y="85"/>
                </a:lnTo>
                <a:lnTo>
                  <a:pt x="59" y="81"/>
                </a:lnTo>
                <a:lnTo>
                  <a:pt x="62" y="76"/>
                </a:lnTo>
                <a:lnTo>
                  <a:pt x="63" y="69"/>
                </a:lnTo>
                <a:lnTo>
                  <a:pt x="63" y="69"/>
                </a:lnTo>
                <a:lnTo>
                  <a:pt x="62" y="66"/>
                </a:lnTo>
                <a:lnTo>
                  <a:pt x="59" y="61"/>
                </a:lnTo>
                <a:lnTo>
                  <a:pt x="56" y="55"/>
                </a:lnTo>
                <a:lnTo>
                  <a:pt x="56" y="52"/>
                </a:lnTo>
                <a:lnTo>
                  <a:pt x="56" y="52"/>
                </a:lnTo>
                <a:lnTo>
                  <a:pt x="57" y="44"/>
                </a:lnTo>
                <a:lnTo>
                  <a:pt x="58" y="40"/>
                </a:lnTo>
                <a:lnTo>
                  <a:pt x="59" y="37"/>
                </a:lnTo>
                <a:lnTo>
                  <a:pt x="59" y="37"/>
                </a:lnTo>
                <a:lnTo>
                  <a:pt x="58" y="33"/>
                </a:lnTo>
                <a:lnTo>
                  <a:pt x="57" y="31"/>
                </a:lnTo>
                <a:lnTo>
                  <a:pt x="55" y="29"/>
                </a:lnTo>
                <a:lnTo>
                  <a:pt x="51" y="28"/>
                </a:lnTo>
                <a:lnTo>
                  <a:pt x="47" y="26"/>
                </a:lnTo>
                <a:lnTo>
                  <a:pt x="45" y="26"/>
                </a:lnTo>
                <a:lnTo>
                  <a:pt x="45" y="26"/>
                </a:lnTo>
                <a:lnTo>
                  <a:pt x="45" y="2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8" name="Freeform 43"/>
          <p:cNvSpPr>
            <a:spLocks/>
          </p:cNvSpPr>
          <p:nvPr/>
        </p:nvSpPr>
        <p:spPr bwMode="auto">
          <a:xfrm>
            <a:off x="3795713" y="1630363"/>
            <a:ext cx="61912" cy="44450"/>
          </a:xfrm>
          <a:custGeom>
            <a:avLst/>
            <a:gdLst/>
            <a:ahLst/>
            <a:cxnLst>
              <a:cxn ang="0">
                <a:pos x="35" y="15"/>
              </a:cxn>
              <a:cxn ang="0">
                <a:pos x="0" y="15"/>
              </a:cxn>
              <a:cxn ang="0">
                <a:pos x="0" y="15"/>
              </a:cxn>
              <a:cxn ang="0">
                <a:pos x="0" y="22"/>
              </a:cxn>
              <a:cxn ang="0">
                <a:pos x="0" y="22"/>
              </a:cxn>
              <a:cxn ang="0">
                <a:pos x="0" y="27"/>
              </a:cxn>
              <a:cxn ang="0">
                <a:pos x="2" y="33"/>
              </a:cxn>
              <a:cxn ang="0">
                <a:pos x="4" y="38"/>
              </a:cxn>
              <a:cxn ang="0">
                <a:pos x="6" y="42"/>
              </a:cxn>
              <a:cxn ang="0">
                <a:pos x="11" y="46"/>
              </a:cxn>
              <a:cxn ang="0">
                <a:pos x="14" y="49"/>
              </a:cxn>
              <a:cxn ang="0">
                <a:pos x="20" y="50"/>
              </a:cxn>
              <a:cxn ang="0">
                <a:pos x="25" y="52"/>
              </a:cxn>
              <a:cxn ang="0">
                <a:pos x="25" y="52"/>
              </a:cxn>
              <a:cxn ang="0">
                <a:pos x="29" y="50"/>
              </a:cxn>
              <a:cxn ang="0">
                <a:pos x="33" y="48"/>
              </a:cxn>
              <a:cxn ang="0">
                <a:pos x="35" y="46"/>
              </a:cxn>
              <a:cxn ang="0">
                <a:pos x="38" y="42"/>
              </a:cxn>
              <a:cxn ang="0">
                <a:pos x="40" y="35"/>
              </a:cxn>
              <a:cxn ang="0">
                <a:pos x="41" y="33"/>
              </a:cxn>
              <a:cxn ang="0">
                <a:pos x="43" y="33"/>
              </a:cxn>
              <a:cxn ang="0">
                <a:pos x="43" y="33"/>
              </a:cxn>
              <a:cxn ang="0">
                <a:pos x="65" y="33"/>
              </a:cxn>
              <a:cxn ang="0">
                <a:pos x="65" y="33"/>
              </a:cxn>
              <a:cxn ang="0">
                <a:pos x="69" y="32"/>
              </a:cxn>
              <a:cxn ang="0">
                <a:pos x="72" y="31"/>
              </a:cxn>
              <a:cxn ang="0">
                <a:pos x="74" y="28"/>
              </a:cxn>
              <a:cxn ang="0">
                <a:pos x="75" y="26"/>
              </a:cxn>
              <a:cxn ang="0">
                <a:pos x="75" y="23"/>
              </a:cxn>
              <a:cxn ang="0">
                <a:pos x="77" y="18"/>
              </a:cxn>
              <a:cxn ang="0">
                <a:pos x="77" y="18"/>
              </a:cxn>
              <a:cxn ang="0">
                <a:pos x="75" y="10"/>
              </a:cxn>
              <a:cxn ang="0">
                <a:pos x="72" y="4"/>
              </a:cxn>
              <a:cxn ang="0">
                <a:pos x="67" y="1"/>
              </a:cxn>
              <a:cxn ang="0">
                <a:pos x="64" y="0"/>
              </a:cxn>
              <a:cxn ang="0">
                <a:pos x="62" y="0"/>
              </a:cxn>
              <a:cxn ang="0">
                <a:pos x="62" y="0"/>
              </a:cxn>
              <a:cxn ang="0">
                <a:pos x="59" y="0"/>
              </a:cxn>
              <a:cxn ang="0">
                <a:pos x="57" y="2"/>
              </a:cxn>
              <a:cxn ang="0">
                <a:pos x="54" y="7"/>
              </a:cxn>
              <a:cxn ang="0">
                <a:pos x="51" y="14"/>
              </a:cxn>
              <a:cxn ang="0">
                <a:pos x="50" y="22"/>
              </a:cxn>
              <a:cxn ang="0">
                <a:pos x="50" y="22"/>
              </a:cxn>
              <a:cxn ang="0">
                <a:pos x="47" y="22"/>
              </a:cxn>
              <a:cxn ang="0">
                <a:pos x="43" y="19"/>
              </a:cxn>
              <a:cxn ang="0">
                <a:pos x="35" y="15"/>
              </a:cxn>
              <a:cxn ang="0">
                <a:pos x="35" y="15"/>
              </a:cxn>
              <a:cxn ang="0">
                <a:pos x="35" y="15"/>
              </a:cxn>
            </a:cxnLst>
            <a:rect l="0" t="0" r="r" b="b"/>
            <a:pathLst>
              <a:path w="77" h="52">
                <a:moveTo>
                  <a:pt x="35" y="15"/>
                </a:moveTo>
                <a:lnTo>
                  <a:pt x="0" y="15"/>
                </a:lnTo>
                <a:lnTo>
                  <a:pt x="0" y="15"/>
                </a:lnTo>
                <a:lnTo>
                  <a:pt x="0" y="22"/>
                </a:lnTo>
                <a:lnTo>
                  <a:pt x="0" y="22"/>
                </a:lnTo>
                <a:lnTo>
                  <a:pt x="0" y="27"/>
                </a:lnTo>
                <a:lnTo>
                  <a:pt x="2" y="33"/>
                </a:lnTo>
                <a:lnTo>
                  <a:pt x="4" y="38"/>
                </a:lnTo>
                <a:lnTo>
                  <a:pt x="6" y="42"/>
                </a:lnTo>
                <a:lnTo>
                  <a:pt x="11" y="46"/>
                </a:lnTo>
                <a:lnTo>
                  <a:pt x="14" y="49"/>
                </a:lnTo>
                <a:lnTo>
                  <a:pt x="20" y="50"/>
                </a:lnTo>
                <a:lnTo>
                  <a:pt x="25" y="52"/>
                </a:lnTo>
                <a:lnTo>
                  <a:pt x="25" y="52"/>
                </a:lnTo>
                <a:lnTo>
                  <a:pt x="29" y="50"/>
                </a:lnTo>
                <a:lnTo>
                  <a:pt x="33" y="48"/>
                </a:lnTo>
                <a:lnTo>
                  <a:pt x="35" y="46"/>
                </a:lnTo>
                <a:lnTo>
                  <a:pt x="38" y="42"/>
                </a:lnTo>
                <a:lnTo>
                  <a:pt x="40" y="35"/>
                </a:lnTo>
                <a:lnTo>
                  <a:pt x="41" y="33"/>
                </a:lnTo>
                <a:lnTo>
                  <a:pt x="43" y="33"/>
                </a:lnTo>
                <a:lnTo>
                  <a:pt x="43" y="33"/>
                </a:lnTo>
                <a:lnTo>
                  <a:pt x="65" y="33"/>
                </a:lnTo>
                <a:lnTo>
                  <a:pt x="65" y="33"/>
                </a:lnTo>
                <a:lnTo>
                  <a:pt x="69" y="32"/>
                </a:lnTo>
                <a:lnTo>
                  <a:pt x="72" y="31"/>
                </a:lnTo>
                <a:lnTo>
                  <a:pt x="74" y="28"/>
                </a:lnTo>
                <a:lnTo>
                  <a:pt x="75" y="26"/>
                </a:lnTo>
                <a:lnTo>
                  <a:pt x="75" y="23"/>
                </a:lnTo>
                <a:lnTo>
                  <a:pt x="77" y="18"/>
                </a:lnTo>
                <a:lnTo>
                  <a:pt x="77" y="18"/>
                </a:lnTo>
                <a:lnTo>
                  <a:pt x="75" y="10"/>
                </a:lnTo>
                <a:lnTo>
                  <a:pt x="72" y="4"/>
                </a:lnTo>
                <a:lnTo>
                  <a:pt x="67" y="1"/>
                </a:lnTo>
                <a:lnTo>
                  <a:pt x="64" y="0"/>
                </a:lnTo>
                <a:lnTo>
                  <a:pt x="62" y="0"/>
                </a:lnTo>
                <a:lnTo>
                  <a:pt x="62" y="0"/>
                </a:lnTo>
                <a:lnTo>
                  <a:pt x="59" y="0"/>
                </a:lnTo>
                <a:lnTo>
                  <a:pt x="57" y="2"/>
                </a:lnTo>
                <a:lnTo>
                  <a:pt x="54" y="7"/>
                </a:lnTo>
                <a:lnTo>
                  <a:pt x="51" y="14"/>
                </a:lnTo>
                <a:lnTo>
                  <a:pt x="50" y="22"/>
                </a:lnTo>
                <a:lnTo>
                  <a:pt x="50" y="22"/>
                </a:lnTo>
                <a:lnTo>
                  <a:pt x="47" y="22"/>
                </a:lnTo>
                <a:lnTo>
                  <a:pt x="43" y="19"/>
                </a:lnTo>
                <a:lnTo>
                  <a:pt x="35" y="15"/>
                </a:lnTo>
                <a:lnTo>
                  <a:pt x="35" y="15"/>
                </a:lnTo>
                <a:lnTo>
                  <a:pt x="35" y="1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9" name="Freeform 44"/>
          <p:cNvSpPr>
            <a:spLocks/>
          </p:cNvSpPr>
          <p:nvPr/>
        </p:nvSpPr>
        <p:spPr bwMode="auto">
          <a:xfrm>
            <a:off x="3870325" y="1728788"/>
            <a:ext cx="36513" cy="23812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0" y="3"/>
              </a:cxn>
              <a:cxn ang="0">
                <a:pos x="2" y="7"/>
              </a:cxn>
              <a:cxn ang="0">
                <a:pos x="2" y="7"/>
              </a:cxn>
              <a:cxn ang="0">
                <a:pos x="2" y="12"/>
              </a:cxn>
              <a:cxn ang="0">
                <a:pos x="4" y="16"/>
              </a:cxn>
              <a:cxn ang="0">
                <a:pos x="5" y="19"/>
              </a:cxn>
              <a:cxn ang="0">
                <a:pos x="9" y="22"/>
              </a:cxn>
              <a:cxn ang="0">
                <a:pos x="12" y="23"/>
              </a:cxn>
              <a:cxn ang="0">
                <a:pos x="18" y="25"/>
              </a:cxn>
              <a:cxn ang="0">
                <a:pos x="24" y="25"/>
              </a:cxn>
              <a:cxn ang="0">
                <a:pos x="24" y="25"/>
              </a:cxn>
              <a:cxn ang="0">
                <a:pos x="32" y="24"/>
              </a:cxn>
              <a:cxn ang="0">
                <a:pos x="38" y="20"/>
              </a:cxn>
              <a:cxn ang="0">
                <a:pos x="41" y="16"/>
              </a:cxn>
              <a:cxn ang="0">
                <a:pos x="42" y="10"/>
              </a:cxn>
              <a:cxn ang="0">
                <a:pos x="42" y="10"/>
              </a:cxn>
              <a:cxn ang="0">
                <a:pos x="41" y="5"/>
              </a:cxn>
              <a:cxn ang="0">
                <a:pos x="41" y="2"/>
              </a:cxn>
              <a:cxn ang="0">
                <a:pos x="42" y="0"/>
              </a:cxn>
              <a:cxn ang="0">
                <a:pos x="4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</a:cxnLst>
            <a:rect l="0" t="0" r="r" b="b"/>
            <a:pathLst>
              <a:path w="42" h="25">
                <a:moveTo>
                  <a:pt x="2" y="0"/>
                </a:move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2" y="7"/>
                </a:lnTo>
                <a:lnTo>
                  <a:pt x="2" y="7"/>
                </a:lnTo>
                <a:lnTo>
                  <a:pt x="2" y="12"/>
                </a:lnTo>
                <a:lnTo>
                  <a:pt x="4" y="16"/>
                </a:lnTo>
                <a:lnTo>
                  <a:pt x="5" y="19"/>
                </a:lnTo>
                <a:lnTo>
                  <a:pt x="9" y="22"/>
                </a:lnTo>
                <a:lnTo>
                  <a:pt x="12" y="23"/>
                </a:lnTo>
                <a:lnTo>
                  <a:pt x="18" y="25"/>
                </a:lnTo>
                <a:lnTo>
                  <a:pt x="24" y="25"/>
                </a:lnTo>
                <a:lnTo>
                  <a:pt x="24" y="25"/>
                </a:lnTo>
                <a:lnTo>
                  <a:pt x="32" y="24"/>
                </a:lnTo>
                <a:lnTo>
                  <a:pt x="38" y="20"/>
                </a:lnTo>
                <a:lnTo>
                  <a:pt x="41" y="16"/>
                </a:lnTo>
                <a:lnTo>
                  <a:pt x="42" y="10"/>
                </a:lnTo>
                <a:lnTo>
                  <a:pt x="42" y="10"/>
                </a:lnTo>
                <a:lnTo>
                  <a:pt x="41" y="5"/>
                </a:lnTo>
                <a:lnTo>
                  <a:pt x="41" y="2"/>
                </a:lnTo>
                <a:lnTo>
                  <a:pt x="42" y="0"/>
                </a:lnTo>
                <a:lnTo>
                  <a:pt x="4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0" name="Freeform 45"/>
          <p:cNvSpPr>
            <a:spLocks/>
          </p:cNvSpPr>
          <p:nvPr/>
        </p:nvSpPr>
        <p:spPr bwMode="auto">
          <a:xfrm>
            <a:off x="3957638" y="1652588"/>
            <a:ext cx="19050" cy="36512"/>
          </a:xfrm>
          <a:custGeom>
            <a:avLst/>
            <a:gdLst/>
            <a:ahLst/>
            <a:cxnLst>
              <a:cxn ang="0">
                <a:pos x="26" y="12"/>
              </a:cxn>
              <a:cxn ang="0">
                <a:pos x="9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15"/>
              </a:cxn>
              <a:cxn ang="0">
                <a:pos x="0" y="15"/>
              </a:cxn>
              <a:cxn ang="0">
                <a:pos x="2" y="24"/>
              </a:cxn>
              <a:cxn ang="0">
                <a:pos x="4" y="32"/>
              </a:cxn>
              <a:cxn ang="0">
                <a:pos x="7" y="39"/>
              </a:cxn>
              <a:cxn ang="0">
                <a:pos x="10" y="40"/>
              </a:cxn>
              <a:cxn ang="0">
                <a:pos x="12" y="41"/>
              </a:cxn>
              <a:cxn ang="0">
                <a:pos x="12" y="41"/>
              </a:cxn>
              <a:cxn ang="0">
                <a:pos x="17" y="40"/>
              </a:cxn>
              <a:cxn ang="0">
                <a:pos x="20" y="37"/>
              </a:cxn>
              <a:cxn ang="0">
                <a:pos x="22" y="32"/>
              </a:cxn>
              <a:cxn ang="0">
                <a:pos x="25" y="28"/>
              </a:cxn>
              <a:cxn ang="0">
                <a:pos x="26" y="17"/>
              </a:cxn>
              <a:cxn ang="0">
                <a:pos x="26" y="12"/>
              </a:cxn>
              <a:cxn ang="0">
                <a:pos x="26" y="12"/>
              </a:cxn>
              <a:cxn ang="0">
                <a:pos x="26" y="12"/>
              </a:cxn>
            </a:cxnLst>
            <a:rect l="0" t="0" r="r" b="b"/>
            <a:pathLst>
              <a:path w="26" h="41">
                <a:moveTo>
                  <a:pt x="26" y="12"/>
                </a:moveTo>
                <a:lnTo>
                  <a:pt x="9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15"/>
                </a:lnTo>
                <a:lnTo>
                  <a:pt x="0" y="15"/>
                </a:lnTo>
                <a:lnTo>
                  <a:pt x="2" y="24"/>
                </a:lnTo>
                <a:lnTo>
                  <a:pt x="4" y="32"/>
                </a:lnTo>
                <a:lnTo>
                  <a:pt x="7" y="39"/>
                </a:lnTo>
                <a:lnTo>
                  <a:pt x="10" y="40"/>
                </a:lnTo>
                <a:lnTo>
                  <a:pt x="12" y="41"/>
                </a:lnTo>
                <a:lnTo>
                  <a:pt x="12" y="41"/>
                </a:lnTo>
                <a:lnTo>
                  <a:pt x="17" y="40"/>
                </a:lnTo>
                <a:lnTo>
                  <a:pt x="20" y="37"/>
                </a:lnTo>
                <a:lnTo>
                  <a:pt x="22" y="32"/>
                </a:lnTo>
                <a:lnTo>
                  <a:pt x="25" y="28"/>
                </a:lnTo>
                <a:lnTo>
                  <a:pt x="26" y="17"/>
                </a:lnTo>
                <a:lnTo>
                  <a:pt x="26" y="12"/>
                </a:lnTo>
                <a:lnTo>
                  <a:pt x="26" y="12"/>
                </a:lnTo>
                <a:lnTo>
                  <a:pt x="26" y="1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1" name="Freeform 46"/>
          <p:cNvSpPr>
            <a:spLocks/>
          </p:cNvSpPr>
          <p:nvPr/>
        </p:nvSpPr>
        <p:spPr bwMode="auto">
          <a:xfrm>
            <a:off x="3879850" y="1601788"/>
            <a:ext cx="26988" cy="23812"/>
          </a:xfrm>
          <a:custGeom>
            <a:avLst/>
            <a:gdLst/>
            <a:ahLst/>
            <a:cxnLst>
              <a:cxn ang="0">
                <a:pos x="26" y="4"/>
              </a:cxn>
              <a:cxn ang="0">
                <a:pos x="26" y="4"/>
              </a:cxn>
              <a:cxn ang="0">
                <a:pos x="23" y="4"/>
              </a:cxn>
              <a:cxn ang="0">
                <a:pos x="21" y="3"/>
              </a:cxn>
              <a:cxn ang="0">
                <a:pos x="17" y="2"/>
              </a:cxn>
              <a:cxn ang="0">
                <a:pos x="15" y="0"/>
              </a:cxn>
              <a:cxn ang="0">
                <a:pos x="15" y="0"/>
              </a:cxn>
              <a:cxn ang="0">
                <a:pos x="8" y="2"/>
              </a:cxn>
              <a:cxn ang="0">
                <a:pos x="6" y="3"/>
              </a:cxn>
              <a:cxn ang="0">
                <a:pos x="3" y="4"/>
              </a:cxn>
              <a:cxn ang="0">
                <a:pos x="2" y="6"/>
              </a:cxn>
              <a:cxn ang="0">
                <a:pos x="1" y="8"/>
              </a:cxn>
              <a:cxn ang="0">
                <a:pos x="0" y="15"/>
              </a:cxn>
              <a:cxn ang="0">
                <a:pos x="0" y="15"/>
              </a:cxn>
              <a:cxn ang="0">
                <a:pos x="1" y="16"/>
              </a:cxn>
              <a:cxn ang="0">
                <a:pos x="2" y="19"/>
              </a:cxn>
              <a:cxn ang="0">
                <a:pos x="8" y="22"/>
              </a:cxn>
              <a:cxn ang="0">
                <a:pos x="14" y="26"/>
              </a:cxn>
              <a:cxn ang="0">
                <a:pos x="18" y="27"/>
              </a:cxn>
              <a:cxn ang="0">
                <a:pos x="18" y="27"/>
              </a:cxn>
              <a:cxn ang="0">
                <a:pos x="24" y="26"/>
              </a:cxn>
              <a:cxn ang="0">
                <a:pos x="29" y="23"/>
              </a:cxn>
              <a:cxn ang="0">
                <a:pos x="32" y="20"/>
              </a:cxn>
              <a:cxn ang="0">
                <a:pos x="33" y="15"/>
              </a:cxn>
              <a:cxn ang="0">
                <a:pos x="33" y="15"/>
              </a:cxn>
              <a:cxn ang="0">
                <a:pos x="32" y="12"/>
              </a:cxn>
              <a:cxn ang="0">
                <a:pos x="31" y="8"/>
              </a:cxn>
              <a:cxn ang="0">
                <a:pos x="29" y="5"/>
              </a:cxn>
              <a:cxn ang="0">
                <a:pos x="26" y="4"/>
              </a:cxn>
              <a:cxn ang="0">
                <a:pos x="26" y="4"/>
              </a:cxn>
              <a:cxn ang="0">
                <a:pos x="26" y="4"/>
              </a:cxn>
            </a:cxnLst>
            <a:rect l="0" t="0" r="r" b="b"/>
            <a:pathLst>
              <a:path w="33" h="27">
                <a:moveTo>
                  <a:pt x="26" y="4"/>
                </a:moveTo>
                <a:lnTo>
                  <a:pt x="26" y="4"/>
                </a:lnTo>
                <a:lnTo>
                  <a:pt x="23" y="4"/>
                </a:lnTo>
                <a:lnTo>
                  <a:pt x="21" y="3"/>
                </a:lnTo>
                <a:lnTo>
                  <a:pt x="17" y="2"/>
                </a:lnTo>
                <a:lnTo>
                  <a:pt x="15" y="0"/>
                </a:lnTo>
                <a:lnTo>
                  <a:pt x="15" y="0"/>
                </a:lnTo>
                <a:lnTo>
                  <a:pt x="8" y="2"/>
                </a:lnTo>
                <a:lnTo>
                  <a:pt x="6" y="3"/>
                </a:lnTo>
                <a:lnTo>
                  <a:pt x="3" y="4"/>
                </a:lnTo>
                <a:lnTo>
                  <a:pt x="2" y="6"/>
                </a:lnTo>
                <a:lnTo>
                  <a:pt x="1" y="8"/>
                </a:lnTo>
                <a:lnTo>
                  <a:pt x="0" y="15"/>
                </a:lnTo>
                <a:lnTo>
                  <a:pt x="0" y="15"/>
                </a:lnTo>
                <a:lnTo>
                  <a:pt x="1" y="16"/>
                </a:lnTo>
                <a:lnTo>
                  <a:pt x="2" y="19"/>
                </a:lnTo>
                <a:lnTo>
                  <a:pt x="8" y="22"/>
                </a:lnTo>
                <a:lnTo>
                  <a:pt x="14" y="26"/>
                </a:lnTo>
                <a:lnTo>
                  <a:pt x="18" y="27"/>
                </a:lnTo>
                <a:lnTo>
                  <a:pt x="18" y="27"/>
                </a:lnTo>
                <a:lnTo>
                  <a:pt x="24" y="26"/>
                </a:lnTo>
                <a:lnTo>
                  <a:pt x="29" y="23"/>
                </a:lnTo>
                <a:lnTo>
                  <a:pt x="32" y="20"/>
                </a:lnTo>
                <a:lnTo>
                  <a:pt x="33" y="15"/>
                </a:lnTo>
                <a:lnTo>
                  <a:pt x="33" y="15"/>
                </a:lnTo>
                <a:lnTo>
                  <a:pt x="32" y="12"/>
                </a:lnTo>
                <a:lnTo>
                  <a:pt x="31" y="8"/>
                </a:lnTo>
                <a:lnTo>
                  <a:pt x="29" y="5"/>
                </a:lnTo>
                <a:lnTo>
                  <a:pt x="26" y="4"/>
                </a:lnTo>
                <a:lnTo>
                  <a:pt x="26" y="4"/>
                </a:lnTo>
                <a:lnTo>
                  <a:pt x="26" y="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2" name="Freeform 47"/>
          <p:cNvSpPr>
            <a:spLocks/>
          </p:cNvSpPr>
          <p:nvPr/>
        </p:nvSpPr>
        <p:spPr bwMode="auto">
          <a:xfrm>
            <a:off x="7867650" y="4144963"/>
            <a:ext cx="61913" cy="46037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33" y="0"/>
              </a:cxn>
              <a:cxn ang="0">
                <a:pos x="15" y="7"/>
              </a:cxn>
              <a:cxn ang="0">
                <a:pos x="10" y="11"/>
              </a:cxn>
              <a:cxn ang="0">
                <a:pos x="5" y="14"/>
              </a:cxn>
              <a:cxn ang="0">
                <a:pos x="3" y="19"/>
              </a:cxn>
              <a:cxn ang="0">
                <a:pos x="2" y="26"/>
              </a:cxn>
              <a:cxn ang="0">
                <a:pos x="0" y="34"/>
              </a:cxn>
              <a:cxn ang="0">
                <a:pos x="0" y="45"/>
              </a:cxn>
              <a:cxn ang="0">
                <a:pos x="0" y="45"/>
              </a:cxn>
              <a:cxn ang="0">
                <a:pos x="27" y="50"/>
              </a:cxn>
              <a:cxn ang="0">
                <a:pos x="37" y="52"/>
              </a:cxn>
              <a:cxn ang="0">
                <a:pos x="45" y="53"/>
              </a:cxn>
              <a:cxn ang="0">
                <a:pos x="53" y="53"/>
              </a:cxn>
              <a:cxn ang="0">
                <a:pos x="60" y="50"/>
              </a:cxn>
              <a:cxn ang="0">
                <a:pos x="68" y="45"/>
              </a:cxn>
              <a:cxn ang="0">
                <a:pos x="78" y="37"/>
              </a:cxn>
              <a:cxn ang="0">
                <a:pos x="78" y="37"/>
              </a:cxn>
              <a:cxn ang="0">
                <a:pos x="72" y="33"/>
              </a:cxn>
              <a:cxn ang="0">
                <a:pos x="66" y="28"/>
              </a:cxn>
              <a:cxn ang="0">
                <a:pos x="53" y="20"/>
              </a:cxn>
              <a:cxn ang="0">
                <a:pos x="43" y="12"/>
              </a:cxn>
              <a:cxn ang="0">
                <a:pos x="37" y="7"/>
              </a:cxn>
              <a:cxn ang="0">
                <a:pos x="33" y="0"/>
              </a:cxn>
              <a:cxn ang="0">
                <a:pos x="33" y="0"/>
              </a:cxn>
              <a:cxn ang="0">
                <a:pos x="33" y="0"/>
              </a:cxn>
            </a:cxnLst>
            <a:rect l="0" t="0" r="r" b="b"/>
            <a:pathLst>
              <a:path w="78" h="53">
                <a:moveTo>
                  <a:pt x="33" y="0"/>
                </a:moveTo>
                <a:lnTo>
                  <a:pt x="33" y="0"/>
                </a:lnTo>
                <a:lnTo>
                  <a:pt x="15" y="7"/>
                </a:lnTo>
                <a:lnTo>
                  <a:pt x="10" y="11"/>
                </a:lnTo>
                <a:lnTo>
                  <a:pt x="5" y="14"/>
                </a:lnTo>
                <a:lnTo>
                  <a:pt x="3" y="19"/>
                </a:lnTo>
                <a:lnTo>
                  <a:pt x="2" y="26"/>
                </a:lnTo>
                <a:lnTo>
                  <a:pt x="0" y="34"/>
                </a:lnTo>
                <a:lnTo>
                  <a:pt x="0" y="45"/>
                </a:lnTo>
                <a:lnTo>
                  <a:pt x="0" y="45"/>
                </a:lnTo>
                <a:lnTo>
                  <a:pt x="27" y="50"/>
                </a:lnTo>
                <a:lnTo>
                  <a:pt x="37" y="52"/>
                </a:lnTo>
                <a:lnTo>
                  <a:pt x="45" y="53"/>
                </a:lnTo>
                <a:lnTo>
                  <a:pt x="53" y="53"/>
                </a:lnTo>
                <a:lnTo>
                  <a:pt x="60" y="50"/>
                </a:lnTo>
                <a:lnTo>
                  <a:pt x="68" y="45"/>
                </a:lnTo>
                <a:lnTo>
                  <a:pt x="78" y="37"/>
                </a:lnTo>
                <a:lnTo>
                  <a:pt x="78" y="37"/>
                </a:lnTo>
                <a:lnTo>
                  <a:pt x="72" y="33"/>
                </a:lnTo>
                <a:lnTo>
                  <a:pt x="66" y="28"/>
                </a:lnTo>
                <a:lnTo>
                  <a:pt x="53" y="20"/>
                </a:lnTo>
                <a:lnTo>
                  <a:pt x="43" y="12"/>
                </a:lnTo>
                <a:lnTo>
                  <a:pt x="37" y="7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3" name="Freeform 48"/>
          <p:cNvSpPr>
            <a:spLocks/>
          </p:cNvSpPr>
          <p:nvPr/>
        </p:nvSpPr>
        <p:spPr bwMode="auto">
          <a:xfrm>
            <a:off x="8305800" y="2514600"/>
            <a:ext cx="41275" cy="112713"/>
          </a:xfrm>
          <a:custGeom>
            <a:avLst/>
            <a:gdLst/>
            <a:ahLst/>
            <a:cxnLst>
              <a:cxn ang="0">
                <a:pos x="10" y="73"/>
              </a:cxn>
              <a:cxn ang="0">
                <a:pos x="3" y="28"/>
              </a:cxn>
              <a:cxn ang="0">
                <a:pos x="3" y="28"/>
              </a:cxn>
              <a:cxn ang="0">
                <a:pos x="3" y="28"/>
              </a:cxn>
              <a:cxn ang="0">
                <a:pos x="1" y="27"/>
              </a:cxn>
              <a:cxn ang="0">
                <a:pos x="0" y="25"/>
              </a:cxn>
              <a:cxn ang="0">
                <a:pos x="0" y="14"/>
              </a:cxn>
              <a:cxn ang="0">
                <a:pos x="0" y="14"/>
              </a:cxn>
              <a:cxn ang="0">
                <a:pos x="1" y="9"/>
              </a:cxn>
              <a:cxn ang="0">
                <a:pos x="3" y="4"/>
              </a:cxn>
              <a:cxn ang="0">
                <a:pos x="7" y="1"/>
              </a:cxn>
              <a:cxn ang="0">
                <a:pos x="10" y="0"/>
              </a:cxn>
              <a:cxn ang="0">
                <a:pos x="10" y="0"/>
              </a:cxn>
              <a:cxn ang="0">
                <a:pos x="40" y="14"/>
              </a:cxn>
              <a:cxn ang="0">
                <a:pos x="40" y="14"/>
              </a:cxn>
              <a:cxn ang="0">
                <a:pos x="40" y="14"/>
              </a:cxn>
              <a:cxn ang="0">
                <a:pos x="40" y="51"/>
              </a:cxn>
              <a:cxn ang="0">
                <a:pos x="40" y="51"/>
              </a:cxn>
              <a:cxn ang="0">
                <a:pos x="41" y="60"/>
              </a:cxn>
              <a:cxn ang="0">
                <a:pos x="42" y="70"/>
              </a:cxn>
              <a:cxn ang="0">
                <a:pos x="47" y="93"/>
              </a:cxn>
              <a:cxn ang="0">
                <a:pos x="50" y="113"/>
              </a:cxn>
              <a:cxn ang="0">
                <a:pos x="51" y="121"/>
              </a:cxn>
              <a:cxn ang="0">
                <a:pos x="50" y="128"/>
              </a:cxn>
              <a:cxn ang="0">
                <a:pos x="50" y="128"/>
              </a:cxn>
              <a:cxn ang="0">
                <a:pos x="48" y="127"/>
              </a:cxn>
              <a:cxn ang="0">
                <a:pos x="46" y="124"/>
              </a:cxn>
              <a:cxn ang="0">
                <a:pos x="40" y="113"/>
              </a:cxn>
              <a:cxn ang="0">
                <a:pos x="40" y="113"/>
              </a:cxn>
              <a:cxn ang="0">
                <a:pos x="38" y="107"/>
              </a:cxn>
              <a:cxn ang="0">
                <a:pos x="33" y="102"/>
              </a:cxn>
              <a:cxn ang="0">
                <a:pos x="24" y="92"/>
              </a:cxn>
              <a:cxn ang="0">
                <a:pos x="19" y="87"/>
              </a:cxn>
              <a:cxn ang="0">
                <a:pos x="15" y="82"/>
              </a:cxn>
              <a:cxn ang="0">
                <a:pos x="11" y="78"/>
              </a:cxn>
              <a:cxn ang="0">
                <a:pos x="10" y="73"/>
              </a:cxn>
              <a:cxn ang="0">
                <a:pos x="10" y="73"/>
              </a:cxn>
              <a:cxn ang="0">
                <a:pos x="10" y="73"/>
              </a:cxn>
            </a:cxnLst>
            <a:rect l="0" t="0" r="r" b="b"/>
            <a:pathLst>
              <a:path w="51" h="128">
                <a:moveTo>
                  <a:pt x="10" y="73"/>
                </a:moveTo>
                <a:lnTo>
                  <a:pt x="3" y="28"/>
                </a:lnTo>
                <a:lnTo>
                  <a:pt x="3" y="28"/>
                </a:lnTo>
                <a:lnTo>
                  <a:pt x="3" y="28"/>
                </a:lnTo>
                <a:lnTo>
                  <a:pt x="1" y="27"/>
                </a:lnTo>
                <a:lnTo>
                  <a:pt x="0" y="25"/>
                </a:lnTo>
                <a:lnTo>
                  <a:pt x="0" y="14"/>
                </a:lnTo>
                <a:lnTo>
                  <a:pt x="0" y="14"/>
                </a:lnTo>
                <a:lnTo>
                  <a:pt x="1" y="9"/>
                </a:lnTo>
                <a:lnTo>
                  <a:pt x="3" y="4"/>
                </a:lnTo>
                <a:lnTo>
                  <a:pt x="7" y="1"/>
                </a:lnTo>
                <a:lnTo>
                  <a:pt x="10" y="0"/>
                </a:lnTo>
                <a:lnTo>
                  <a:pt x="10" y="0"/>
                </a:lnTo>
                <a:lnTo>
                  <a:pt x="40" y="14"/>
                </a:lnTo>
                <a:lnTo>
                  <a:pt x="40" y="14"/>
                </a:lnTo>
                <a:lnTo>
                  <a:pt x="40" y="14"/>
                </a:lnTo>
                <a:lnTo>
                  <a:pt x="40" y="51"/>
                </a:lnTo>
                <a:lnTo>
                  <a:pt x="40" y="51"/>
                </a:lnTo>
                <a:lnTo>
                  <a:pt x="41" y="60"/>
                </a:lnTo>
                <a:lnTo>
                  <a:pt x="42" y="70"/>
                </a:lnTo>
                <a:lnTo>
                  <a:pt x="47" y="93"/>
                </a:lnTo>
                <a:lnTo>
                  <a:pt x="50" y="113"/>
                </a:lnTo>
                <a:lnTo>
                  <a:pt x="51" y="121"/>
                </a:lnTo>
                <a:lnTo>
                  <a:pt x="50" y="128"/>
                </a:lnTo>
                <a:lnTo>
                  <a:pt x="50" y="128"/>
                </a:lnTo>
                <a:lnTo>
                  <a:pt x="48" y="127"/>
                </a:lnTo>
                <a:lnTo>
                  <a:pt x="46" y="124"/>
                </a:lnTo>
                <a:lnTo>
                  <a:pt x="40" y="113"/>
                </a:lnTo>
                <a:lnTo>
                  <a:pt x="40" y="113"/>
                </a:lnTo>
                <a:lnTo>
                  <a:pt x="38" y="107"/>
                </a:lnTo>
                <a:lnTo>
                  <a:pt x="33" y="102"/>
                </a:lnTo>
                <a:lnTo>
                  <a:pt x="24" y="92"/>
                </a:lnTo>
                <a:lnTo>
                  <a:pt x="19" y="87"/>
                </a:lnTo>
                <a:lnTo>
                  <a:pt x="15" y="82"/>
                </a:lnTo>
                <a:lnTo>
                  <a:pt x="11" y="78"/>
                </a:lnTo>
                <a:lnTo>
                  <a:pt x="10" y="73"/>
                </a:lnTo>
                <a:lnTo>
                  <a:pt x="10" y="73"/>
                </a:lnTo>
                <a:lnTo>
                  <a:pt x="10" y="7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4" name="Freeform 49"/>
          <p:cNvSpPr>
            <a:spLocks/>
          </p:cNvSpPr>
          <p:nvPr/>
        </p:nvSpPr>
        <p:spPr bwMode="auto">
          <a:xfrm>
            <a:off x="2424113" y="4167188"/>
            <a:ext cx="617537" cy="803275"/>
          </a:xfrm>
          <a:custGeom>
            <a:avLst/>
            <a:gdLst/>
            <a:ahLst/>
            <a:cxnLst>
              <a:cxn ang="0">
                <a:pos x="442" y="145"/>
              </a:cxn>
              <a:cxn ang="0">
                <a:pos x="392" y="238"/>
              </a:cxn>
              <a:cxn ang="0">
                <a:pos x="359" y="276"/>
              </a:cxn>
              <a:cxn ang="0">
                <a:pos x="296" y="299"/>
              </a:cxn>
              <a:cxn ang="0">
                <a:pos x="282" y="323"/>
              </a:cxn>
              <a:cxn ang="0">
                <a:pos x="293" y="361"/>
              </a:cxn>
              <a:cxn ang="0">
                <a:pos x="304" y="390"/>
              </a:cxn>
              <a:cxn ang="0">
                <a:pos x="289" y="416"/>
              </a:cxn>
              <a:cxn ang="0">
                <a:pos x="283" y="438"/>
              </a:cxn>
              <a:cxn ang="0">
                <a:pos x="297" y="467"/>
              </a:cxn>
              <a:cxn ang="0">
                <a:pos x="290" y="489"/>
              </a:cxn>
              <a:cxn ang="0">
                <a:pos x="251" y="514"/>
              </a:cxn>
              <a:cxn ang="0">
                <a:pos x="214" y="521"/>
              </a:cxn>
              <a:cxn ang="0">
                <a:pos x="199" y="547"/>
              </a:cxn>
              <a:cxn ang="0">
                <a:pos x="185" y="576"/>
              </a:cxn>
              <a:cxn ang="0">
                <a:pos x="156" y="570"/>
              </a:cxn>
              <a:cxn ang="0">
                <a:pos x="130" y="574"/>
              </a:cxn>
              <a:cxn ang="0">
                <a:pos x="101" y="612"/>
              </a:cxn>
              <a:cxn ang="0">
                <a:pos x="82" y="634"/>
              </a:cxn>
              <a:cxn ang="0">
                <a:pos x="50" y="633"/>
              </a:cxn>
              <a:cxn ang="0">
                <a:pos x="23" y="656"/>
              </a:cxn>
              <a:cxn ang="0">
                <a:pos x="0" y="720"/>
              </a:cxn>
              <a:cxn ang="0">
                <a:pos x="11" y="744"/>
              </a:cxn>
              <a:cxn ang="0">
                <a:pos x="92" y="795"/>
              </a:cxn>
              <a:cxn ang="0">
                <a:pos x="111" y="796"/>
              </a:cxn>
              <a:cxn ang="0">
                <a:pos x="136" y="786"/>
              </a:cxn>
              <a:cxn ang="0">
                <a:pos x="186" y="806"/>
              </a:cxn>
              <a:cxn ang="0">
                <a:pos x="232" y="847"/>
              </a:cxn>
              <a:cxn ang="0">
                <a:pos x="290" y="854"/>
              </a:cxn>
              <a:cxn ang="0">
                <a:pos x="320" y="874"/>
              </a:cxn>
              <a:cxn ang="0">
                <a:pos x="345" y="889"/>
              </a:cxn>
              <a:cxn ang="0">
                <a:pos x="377" y="872"/>
              </a:cxn>
              <a:cxn ang="0">
                <a:pos x="404" y="864"/>
              </a:cxn>
              <a:cxn ang="0">
                <a:pos x="464" y="893"/>
              </a:cxn>
              <a:cxn ang="0">
                <a:pos x="521" y="923"/>
              </a:cxn>
              <a:cxn ang="0">
                <a:pos x="543" y="910"/>
              </a:cxn>
              <a:cxn ang="0">
                <a:pos x="565" y="896"/>
              </a:cxn>
              <a:cxn ang="0">
                <a:pos x="599" y="908"/>
              </a:cxn>
              <a:cxn ang="0">
                <a:pos x="613" y="895"/>
              </a:cxn>
              <a:cxn ang="0">
                <a:pos x="609" y="847"/>
              </a:cxn>
              <a:cxn ang="0">
                <a:pos x="630" y="794"/>
              </a:cxn>
              <a:cxn ang="0">
                <a:pos x="734" y="775"/>
              </a:cxn>
              <a:cxn ang="0">
                <a:pos x="750" y="738"/>
              </a:cxn>
              <a:cxn ang="0">
                <a:pos x="749" y="627"/>
              </a:cxn>
              <a:cxn ang="0">
                <a:pos x="732" y="556"/>
              </a:cxn>
              <a:cxn ang="0">
                <a:pos x="695" y="531"/>
              </a:cxn>
              <a:cxn ang="0">
                <a:pos x="659" y="506"/>
              </a:cxn>
              <a:cxn ang="0">
                <a:pos x="659" y="478"/>
              </a:cxn>
              <a:cxn ang="0">
                <a:pos x="664" y="397"/>
              </a:cxn>
              <a:cxn ang="0">
                <a:pos x="653" y="298"/>
              </a:cxn>
              <a:cxn ang="0">
                <a:pos x="658" y="254"/>
              </a:cxn>
              <a:cxn ang="0">
                <a:pos x="663" y="215"/>
              </a:cxn>
              <a:cxn ang="0">
                <a:pos x="635" y="172"/>
              </a:cxn>
              <a:cxn ang="0">
                <a:pos x="615" y="134"/>
              </a:cxn>
              <a:cxn ang="0">
                <a:pos x="557" y="75"/>
              </a:cxn>
              <a:cxn ang="0">
                <a:pos x="528" y="23"/>
              </a:cxn>
              <a:cxn ang="0">
                <a:pos x="513" y="7"/>
              </a:cxn>
              <a:cxn ang="0">
                <a:pos x="506" y="8"/>
              </a:cxn>
            </a:cxnLst>
            <a:rect l="0" t="0" r="r" b="b"/>
            <a:pathLst>
              <a:path w="756" h="923">
                <a:moveTo>
                  <a:pt x="506" y="8"/>
                </a:moveTo>
                <a:lnTo>
                  <a:pt x="506" y="8"/>
                </a:lnTo>
                <a:lnTo>
                  <a:pt x="487" y="53"/>
                </a:lnTo>
                <a:lnTo>
                  <a:pt x="465" y="99"/>
                </a:lnTo>
                <a:lnTo>
                  <a:pt x="442" y="145"/>
                </a:lnTo>
                <a:lnTo>
                  <a:pt x="430" y="167"/>
                </a:lnTo>
                <a:lnTo>
                  <a:pt x="418" y="187"/>
                </a:lnTo>
                <a:lnTo>
                  <a:pt x="418" y="187"/>
                </a:lnTo>
                <a:lnTo>
                  <a:pt x="405" y="214"/>
                </a:lnTo>
                <a:lnTo>
                  <a:pt x="392" y="238"/>
                </a:lnTo>
                <a:lnTo>
                  <a:pt x="386" y="248"/>
                </a:lnTo>
                <a:lnTo>
                  <a:pt x="378" y="259"/>
                </a:lnTo>
                <a:lnTo>
                  <a:pt x="369" y="268"/>
                </a:lnTo>
                <a:lnTo>
                  <a:pt x="359" y="276"/>
                </a:lnTo>
                <a:lnTo>
                  <a:pt x="359" y="276"/>
                </a:lnTo>
                <a:lnTo>
                  <a:pt x="350" y="280"/>
                </a:lnTo>
                <a:lnTo>
                  <a:pt x="338" y="284"/>
                </a:lnTo>
                <a:lnTo>
                  <a:pt x="313" y="292"/>
                </a:lnTo>
                <a:lnTo>
                  <a:pt x="300" y="297"/>
                </a:lnTo>
                <a:lnTo>
                  <a:pt x="296" y="299"/>
                </a:lnTo>
                <a:lnTo>
                  <a:pt x="291" y="302"/>
                </a:lnTo>
                <a:lnTo>
                  <a:pt x="288" y="307"/>
                </a:lnTo>
                <a:lnTo>
                  <a:pt x="284" y="312"/>
                </a:lnTo>
                <a:lnTo>
                  <a:pt x="283" y="317"/>
                </a:lnTo>
                <a:lnTo>
                  <a:pt x="282" y="323"/>
                </a:lnTo>
                <a:lnTo>
                  <a:pt x="282" y="323"/>
                </a:lnTo>
                <a:lnTo>
                  <a:pt x="283" y="336"/>
                </a:lnTo>
                <a:lnTo>
                  <a:pt x="285" y="346"/>
                </a:lnTo>
                <a:lnTo>
                  <a:pt x="289" y="354"/>
                </a:lnTo>
                <a:lnTo>
                  <a:pt x="293" y="361"/>
                </a:lnTo>
                <a:lnTo>
                  <a:pt x="297" y="367"/>
                </a:lnTo>
                <a:lnTo>
                  <a:pt x="300" y="374"/>
                </a:lnTo>
                <a:lnTo>
                  <a:pt x="302" y="381"/>
                </a:lnTo>
                <a:lnTo>
                  <a:pt x="304" y="390"/>
                </a:lnTo>
                <a:lnTo>
                  <a:pt x="304" y="390"/>
                </a:lnTo>
                <a:lnTo>
                  <a:pt x="302" y="397"/>
                </a:lnTo>
                <a:lnTo>
                  <a:pt x="300" y="401"/>
                </a:lnTo>
                <a:lnTo>
                  <a:pt x="297" y="407"/>
                </a:lnTo>
                <a:lnTo>
                  <a:pt x="293" y="412"/>
                </a:lnTo>
                <a:lnTo>
                  <a:pt x="289" y="416"/>
                </a:lnTo>
                <a:lnTo>
                  <a:pt x="285" y="422"/>
                </a:lnTo>
                <a:lnTo>
                  <a:pt x="283" y="428"/>
                </a:lnTo>
                <a:lnTo>
                  <a:pt x="282" y="434"/>
                </a:lnTo>
                <a:lnTo>
                  <a:pt x="282" y="434"/>
                </a:lnTo>
                <a:lnTo>
                  <a:pt x="283" y="438"/>
                </a:lnTo>
                <a:lnTo>
                  <a:pt x="284" y="442"/>
                </a:lnTo>
                <a:lnTo>
                  <a:pt x="290" y="448"/>
                </a:lnTo>
                <a:lnTo>
                  <a:pt x="294" y="457"/>
                </a:lnTo>
                <a:lnTo>
                  <a:pt x="297" y="461"/>
                </a:lnTo>
                <a:lnTo>
                  <a:pt x="297" y="467"/>
                </a:lnTo>
                <a:lnTo>
                  <a:pt x="297" y="467"/>
                </a:lnTo>
                <a:lnTo>
                  <a:pt x="297" y="473"/>
                </a:lnTo>
                <a:lnTo>
                  <a:pt x="296" y="478"/>
                </a:lnTo>
                <a:lnTo>
                  <a:pt x="293" y="484"/>
                </a:lnTo>
                <a:lnTo>
                  <a:pt x="290" y="489"/>
                </a:lnTo>
                <a:lnTo>
                  <a:pt x="286" y="493"/>
                </a:lnTo>
                <a:lnTo>
                  <a:pt x="283" y="498"/>
                </a:lnTo>
                <a:lnTo>
                  <a:pt x="273" y="505"/>
                </a:lnTo>
                <a:lnTo>
                  <a:pt x="262" y="511"/>
                </a:lnTo>
                <a:lnTo>
                  <a:pt x="251" y="514"/>
                </a:lnTo>
                <a:lnTo>
                  <a:pt x="238" y="518"/>
                </a:lnTo>
                <a:lnTo>
                  <a:pt x="227" y="518"/>
                </a:lnTo>
                <a:lnTo>
                  <a:pt x="227" y="518"/>
                </a:lnTo>
                <a:lnTo>
                  <a:pt x="220" y="519"/>
                </a:lnTo>
                <a:lnTo>
                  <a:pt x="214" y="521"/>
                </a:lnTo>
                <a:lnTo>
                  <a:pt x="209" y="523"/>
                </a:lnTo>
                <a:lnTo>
                  <a:pt x="206" y="527"/>
                </a:lnTo>
                <a:lnTo>
                  <a:pt x="204" y="531"/>
                </a:lnTo>
                <a:lnTo>
                  <a:pt x="201" y="537"/>
                </a:lnTo>
                <a:lnTo>
                  <a:pt x="199" y="547"/>
                </a:lnTo>
                <a:lnTo>
                  <a:pt x="198" y="558"/>
                </a:lnTo>
                <a:lnTo>
                  <a:pt x="194" y="568"/>
                </a:lnTo>
                <a:lnTo>
                  <a:pt x="192" y="572"/>
                </a:lnTo>
                <a:lnTo>
                  <a:pt x="189" y="574"/>
                </a:lnTo>
                <a:lnTo>
                  <a:pt x="185" y="576"/>
                </a:lnTo>
                <a:lnTo>
                  <a:pt x="179" y="576"/>
                </a:lnTo>
                <a:lnTo>
                  <a:pt x="179" y="576"/>
                </a:lnTo>
                <a:lnTo>
                  <a:pt x="172" y="576"/>
                </a:lnTo>
                <a:lnTo>
                  <a:pt x="166" y="573"/>
                </a:lnTo>
                <a:lnTo>
                  <a:pt x="156" y="570"/>
                </a:lnTo>
                <a:lnTo>
                  <a:pt x="146" y="569"/>
                </a:lnTo>
                <a:lnTo>
                  <a:pt x="146" y="569"/>
                </a:lnTo>
                <a:lnTo>
                  <a:pt x="140" y="570"/>
                </a:lnTo>
                <a:lnTo>
                  <a:pt x="134" y="572"/>
                </a:lnTo>
                <a:lnTo>
                  <a:pt x="130" y="574"/>
                </a:lnTo>
                <a:lnTo>
                  <a:pt x="125" y="576"/>
                </a:lnTo>
                <a:lnTo>
                  <a:pt x="118" y="583"/>
                </a:lnTo>
                <a:lnTo>
                  <a:pt x="111" y="592"/>
                </a:lnTo>
                <a:lnTo>
                  <a:pt x="106" y="602"/>
                </a:lnTo>
                <a:lnTo>
                  <a:pt x="101" y="612"/>
                </a:lnTo>
                <a:lnTo>
                  <a:pt x="96" y="621"/>
                </a:lnTo>
                <a:lnTo>
                  <a:pt x="91" y="629"/>
                </a:lnTo>
                <a:lnTo>
                  <a:pt x="91" y="629"/>
                </a:lnTo>
                <a:lnTo>
                  <a:pt x="87" y="631"/>
                </a:lnTo>
                <a:lnTo>
                  <a:pt x="82" y="634"/>
                </a:lnTo>
                <a:lnTo>
                  <a:pt x="77" y="634"/>
                </a:lnTo>
                <a:lnTo>
                  <a:pt x="72" y="634"/>
                </a:lnTo>
                <a:lnTo>
                  <a:pt x="62" y="631"/>
                </a:lnTo>
                <a:lnTo>
                  <a:pt x="56" y="631"/>
                </a:lnTo>
                <a:lnTo>
                  <a:pt x="50" y="633"/>
                </a:lnTo>
                <a:lnTo>
                  <a:pt x="50" y="633"/>
                </a:lnTo>
                <a:lnTo>
                  <a:pt x="46" y="634"/>
                </a:lnTo>
                <a:lnTo>
                  <a:pt x="41" y="637"/>
                </a:lnTo>
                <a:lnTo>
                  <a:pt x="32" y="645"/>
                </a:lnTo>
                <a:lnTo>
                  <a:pt x="23" y="656"/>
                </a:lnTo>
                <a:lnTo>
                  <a:pt x="15" y="668"/>
                </a:lnTo>
                <a:lnTo>
                  <a:pt x="9" y="681"/>
                </a:lnTo>
                <a:lnTo>
                  <a:pt x="3" y="695"/>
                </a:lnTo>
                <a:lnTo>
                  <a:pt x="1" y="709"/>
                </a:lnTo>
                <a:lnTo>
                  <a:pt x="0" y="720"/>
                </a:lnTo>
                <a:lnTo>
                  <a:pt x="0" y="720"/>
                </a:lnTo>
                <a:lnTo>
                  <a:pt x="0" y="726"/>
                </a:lnTo>
                <a:lnTo>
                  <a:pt x="2" y="732"/>
                </a:lnTo>
                <a:lnTo>
                  <a:pt x="7" y="738"/>
                </a:lnTo>
                <a:lnTo>
                  <a:pt x="11" y="744"/>
                </a:lnTo>
                <a:lnTo>
                  <a:pt x="24" y="758"/>
                </a:lnTo>
                <a:lnTo>
                  <a:pt x="40" y="770"/>
                </a:lnTo>
                <a:lnTo>
                  <a:pt x="57" y="781"/>
                </a:lnTo>
                <a:lnTo>
                  <a:pt x="76" y="789"/>
                </a:lnTo>
                <a:lnTo>
                  <a:pt x="92" y="795"/>
                </a:lnTo>
                <a:lnTo>
                  <a:pt x="99" y="797"/>
                </a:lnTo>
                <a:lnTo>
                  <a:pt x="106" y="797"/>
                </a:lnTo>
                <a:lnTo>
                  <a:pt x="106" y="797"/>
                </a:lnTo>
                <a:lnTo>
                  <a:pt x="108" y="797"/>
                </a:lnTo>
                <a:lnTo>
                  <a:pt x="111" y="796"/>
                </a:lnTo>
                <a:lnTo>
                  <a:pt x="117" y="791"/>
                </a:lnTo>
                <a:lnTo>
                  <a:pt x="125" y="788"/>
                </a:lnTo>
                <a:lnTo>
                  <a:pt x="130" y="787"/>
                </a:lnTo>
                <a:lnTo>
                  <a:pt x="136" y="786"/>
                </a:lnTo>
                <a:lnTo>
                  <a:pt x="136" y="786"/>
                </a:lnTo>
                <a:lnTo>
                  <a:pt x="143" y="787"/>
                </a:lnTo>
                <a:lnTo>
                  <a:pt x="148" y="788"/>
                </a:lnTo>
                <a:lnTo>
                  <a:pt x="162" y="793"/>
                </a:lnTo>
                <a:lnTo>
                  <a:pt x="174" y="798"/>
                </a:lnTo>
                <a:lnTo>
                  <a:pt x="186" y="806"/>
                </a:lnTo>
                <a:lnTo>
                  <a:pt x="197" y="816"/>
                </a:lnTo>
                <a:lnTo>
                  <a:pt x="207" y="825"/>
                </a:lnTo>
                <a:lnTo>
                  <a:pt x="223" y="841"/>
                </a:lnTo>
                <a:lnTo>
                  <a:pt x="223" y="841"/>
                </a:lnTo>
                <a:lnTo>
                  <a:pt x="232" y="847"/>
                </a:lnTo>
                <a:lnTo>
                  <a:pt x="240" y="850"/>
                </a:lnTo>
                <a:lnTo>
                  <a:pt x="250" y="851"/>
                </a:lnTo>
                <a:lnTo>
                  <a:pt x="259" y="851"/>
                </a:lnTo>
                <a:lnTo>
                  <a:pt x="279" y="851"/>
                </a:lnTo>
                <a:lnTo>
                  <a:pt x="290" y="854"/>
                </a:lnTo>
                <a:lnTo>
                  <a:pt x="300" y="856"/>
                </a:lnTo>
                <a:lnTo>
                  <a:pt x="300" y="856"/>
                </a:lnTo>
                <a:lnTo>
                  <a:pt x="306" y="858"/>
                </a:lnTo>
                <a:lnTo>
                  <a:pt x="311" y="863"/>
                </a:lnTo>
                <a:lnTo>
                  <a:pt x="320" y="874"/>
                </a:lnTo>
                <a:lnTo>
                  <a:pt x="324" y="880"/>
                </a:lnTo>
                <a:lnTo>
                  <a:pt x="330" y="885"/>
                </a:lnTo>
                <a:lnTo>
                  <a:pt x="337" y="888"/>
                </a:lnTo>
                <a:lnTo>
                  <a:pt x="345" y="889"/>
                </a:lnTo>
                <a:lnTo>
                  <a:pt x="345" y="889"/>
                </a:lnTo>
                <a:lnTo>
                  <a:pt x="354" y="888"/>
                </a:lnTo>
                <a:lnTo>
                  <a:pt x="362" y="885"/>
                </a:lnTo>
                <a:lnTo>
                  <a:pt x="368" y="881"/>
                </a:lnTo>
                <a:lnTo>
                  <a:pt x="373" y="877"/>
                </a:lnTo>
                <a:lnTo>
                  <a:pt x="377" y="872"/>
                </a:lnTo>
                <a:lnTo>
                  <a:pt x="383" y="867"/>
                </a:lnTo>
                <a:lnTo>
                  <a:pt x="389" y="865"/>
                </a:lnTo>
                <a:lnTo>
                  <a:pt x="396" y="864"/>
                </a:lnTo>
                <a:lnTo>
                  <a:pt x="396" y="864"/>
                </a:lnTo>
                <a:lnTo>
                  <a:pt x="404" y="864"/>
                </a:lnTo>
                <a:lnTo>
                  <a:pt x="412" y="866"/>
                </a:lnTo>
                <a:lnTo>
                  <a:pt x="420" y="870"/>
                </a:lnTo>
                <a:lnTo>
                  <a:pt x="429" y="873"/>
                </a:lnTo>
                <a:lnTo>
                  <a:pt x="446" y="882"/>
                </a:lnTo>
                <a:lnTo>
                  <a:pt x="464" y="893"/>
                </a:lnTo>
                <a:lnTo>
                  <a:pt x="481" y="904"/>
                </a:lnTo>
                <a:lnTo>
                  <a:pt x="496" y="913"/>
                </a:lnTo>
                <a:lnTo>
                  <a:pt x="510" y="920"/>
                </a:lnTo>
                <a:lnTo>
                  <a:pt x="515" y="921"/>
                </a:lnTo>
                <a:lnTo>
                  <a:pt x="521" y="923"/>
                </a:lnTo>
                <a:lnTo>
                  <a:pt x="521" y="923"/>
                </a:lnTo>
                <a:lnTo>
                  <a:pt x="527" y="921"/>
                </a:lnTo>
                <a:lnTo>
                  <a:pt x="533" y="918"/>
                </a:lnTo>
                <a:lnTo>
                  <a:pt x="538" y="915"/>
                </a:lnTo>
                <a:lnTo>
                  <a:pt x="543" y="910"/>
                </a:lnTo>
                <a:lnTo>
                  <a:pt x="548" y="905"/>
                </a:lnTo>
                <a:lnTo>
                  <a:pt x="553" y="901"/>
                </a:lnTo>
                <a:lnTo>
                  <a:pt x="559" y="897"/>
                </a:lnTo>
                <a:lnTo>
                  <a:pt x="565" y="896"/>
                </a:lnTo>
                <a:lnTo>
                  <a:pt x="565" y="896"/>
                </a:lnTo>
                <a:lnTo>
                  <a:pt x="571" y="897"/>
                </a:lnTo>
                <a:lnTo>
                  <a:pt x="575" y="898"/>
                </a:lnTo>
                <a:lnTo>
                  <a:pt x="584" y="902"/>
                </a:lnTo>
                <a:lnTo>
                  <a:pt x="595" y="906"/>
                </a:lnTo>
                <a:lnTo>
                  <a:pt x="599" y="908"/>
                </a:lnTo>
                <a:lnTo>
                  <a:pt x="605" y="908"/>
                </a:lnTo>
                <a:lnTo>
                  <a:pt x="605" y="908"/>
                </a:lnTo>
                <a:lnTo>
                  <a:pt x="609" y="904"/>
                </a:lnTo>
                <a:lnTo>
                  <a:pt x="611" y="900"/>
                </a:lnTo>
                <a:lnTo>
                  <a:pt x="613" y="895"/>
                </a:lnTo>
                <a:lnTo>
                  <a:pt x="614" y="889"/>
                </a:lnTo>
                <a:lnTo>
                  <a:pt x="614" y="878"/>
                </a:lnTo>
                <a:lnTo>
                  <a:pt x="613" y="866"/>
                </a:lnTo>
                <a:lnTo>
                  <a:pt x="611" y="855"/>
                </a:lnTo>
                <a:lnTo>
                  <a:pt x="609" y="847"/>
                </a:lnTo>
                <a:lnTo>
                  <a:pt x="605" y="837"/>
                </a:lnTo>
                <a:lnTo>
                  <a:pt x="605" y="837"/>
                </a:lnTo>
                <a:lnTo>
                  <a:pt x="617" y="818"/>
                </a:lnTo>
                <a:lnTo>
                  <a:pt x="626" y="802"/>
                </a:lnTo>
                <a:lnTo>
                  <a:pt x="630" y="794"/>
                </a:lnTo>
                <a:lnTo>
                  <a:pt x="636" y="788"/>
                </a:lnTo>
                <a:lnTo>
                  <a:pt x="642" y="781"/>
                </a:lnTo>
                <a:lnTo>
                  <a:pt x="649" y="775"/>
                </a:lnTo>
                <a:lnTo>
                  <a:pt x="649" y="775"/>
                </a:lnTo>
                <a:lnTo>
                  <a:pt x="734" y="775"/>
                </a:lnTo>
                <a:lnTo>
                  <a:pt x="734" y="775"/>
                </a:lnTo>
                <a:lnTo>
                  <a:pt x="734" y="775"/>
                </a:lnTo>
                <a:lnTo>
                  <a:pt x="741" y="763"/>
                </a:lnTo>
                <a:lnTo>
                  <a:pt x="747" y="751"/>
                </a:lnTo>
                <a:lnTo>
                  <a:pt x="750" y="738"/>
                </a:lnTo>
                <a:lnTo>
                  <a:pt x="751" y="726"/>
                </a:lnTo>
                <a:lnTo>
                  <a:pt x="754" y="699"/>
                </a:lnTo>
                <a:lnTo>
                  <a:pt x="756" y="669"/>
                </a:lnTo>
                <a:lnTo>
                  <a:pt x="756" y="669"/>
                </a:lnTo>
                <a:lnTo>
                  <a:pt x="749" y="627"/>
                </a:lnTo>
                <a:lnTo>
                  <a:pt x="742" y="591"/>
                </a:lnTo>
                <a:lnTo>
                  <a:pt x="737" y="575"/>
                </a:lnTo>
                <a:lnTo>
                  <a:pt x="734" y="562"/>
                </a:lnTo>
                <a:lnTo>
                  <a:pt x="734" y="562"/>
                </a:lnTo>
                <a:lnTo>
                  <a:pt x="732" y="556"/>
                </a:lnTo>
                <a:lnTo>
                  <a:pt x="727" y="551"/>
                </a:lnTo>
                <a:lnTo>
                  <a:pt x="724" y="546"/>
                </a:lnTo>
                <a:lnTo>
                  <a:pt x="719" y="542"/>
                </a:lnTo>
                <a:lnTo>
                  <a:pt x="708" y="536"/>
                </a:lnTo>
                <a:lnTo>
                  <a:pt x="695" y="531"/>
                </a:lnTo>
                <a:lnTo>
                  <a:pt x="683" y="527"/>
                </a:lnTo>
                <a:lnTo>
                  <a:pt x="672" y="520"/>
                </a:lnTo>
                <a:lnTo>
                  <a:pt x="667" y="516"/>
                </a:lnTo>
                <a:lnTo>
                  <a:pt x="663" y="512"/>
                </a:lnTo>
                <a:lnTo>
                  <a:pt x="659" y="506"/>
                </a:lnTo>
                <a:lnTo>
                  <a:pt x="657" y="500"/>
                </a:lnTo>
                <a:lnTo>
                  <a:pt x="657" y="500"/>
                </a:lnTo>
                <a:lnTo>
                  <a:pt x="656" y="495"/>
                </a:lnTo>
                <a:lnTo>
                  <a:pt x="657" y="489"/>
                </a:lnTo>
                <a:lnTo>
                  <a:pt x="659" y="478"/>
                </a:lnTo>
                <a:lnTo>
                  <a:pt x="663" y="470"/>
                </a:lnTo>
                <a:lnTo>
                  <a:pt x="664" y="463"/>
                </a:lnTo>
                <a:lnTo>
                  <a:pt x="664" y="463"/>
                </a:lnTo>
                <a:lnTo>
                  <a:pt x="664" y="397"/>
                </a:lnTo>
                <a:lnTo>
                  <a:pt x="664" y="397"/>
                </a:lnTo>
                <a:lnTo>
                  <a:pt x="664" y="382"/>
                </a:lnTo>
                <a:lnTo>
                  <a:pt x="663" y="368"/>
                </a:lnTo>
                <a:lnTo>
                  <a:pt x="658" y="340"/>
                </a:lnTo>
                <a:lnTo>
                  <a:pt x="655" y="312"/>
                </a:lnTo>
                <a:lnTo>
                  <a:pt x="653" y="298"/>
                </a:lnTo>
                <a:lnTo>
                  <a:pt x="653" y="283"/>
                </a:lnTo>
                <a:lnTo>
                  <a:pt x="653" y="283"/>
                </a:lnTo>
                <a:lnTo>
                  <a:pt x="653" y="275"/>
                </a:lnTo>
                <a:lnTo>
                  <a:pt x="655" y="268"/>
                </a:lnTo>
                <a:lnTo>
                  <a:pt x="658" y="254"/>
                </a:lnTo>
                <a:lnTo>
                  <a:pt x="663" y="240"/>
                </a:lnTo>
                <a:lnTo>
                  <a:pt x="664" y="232"/>
                </a:lnTo>
                <a:lnTo>
                  <a:pt x="664" y="224"/>
                </a:lnTo>
                <a:lnTo>
                  <a:pt x="664" y="224"/>
                </a:lnTo>
                <a:lnTo>
                  <a:pt x="663" y="215"/>
                </a:lnTo>
                <a:lnTo>
                  <a:pt x="660" y="207"/>
                </a:lnTo>
                <a:lnTo>
                  <a:pt x="656" y="200"/>
                </a:lnTo>
                <a:lnTo>
                  <a:pt x="651" y="192"/>
                </a:lnTo>
                <a:lnTo>
                  <a:pt x="641" y="179"/>
                </a:lnTo>
                <a:lnTo>
                  <a:pt x="635" y="172"/>
                </a:lnTo>
                <a:lnTo>
                  <a:pt x="630" y="165"/>
                </a:lnTo>
                <a:lnTo>
                  <a:pt x="630" y="165"/>
                </a:lnTo>
                <a:lnTo>
                  <a:pt x="626" y="154"/>
                </a:lnTo>
                <a:lnTo>
                  <a:pt x="621" y="144"/>
                </a:lnTo>
                <a:lnTo>
                  <a:pt x="615" y="134"/>
                </a:lnTo>
                <a:lnTo>
                  <a:pt x="609" y="126"/>
                </a:lnTo>
                <a:lnTo>
                  <a:pt x="595" y="110"/>
                </a:lnTo>
                <a:lnTo>
                  <a:pt x="580" y="96"/>
                </a:lnTo>
                <a:lnTo>
                  <a:pt x="565" y="83"/>
                </a:lnTo>
                <a:lnTo>
                  <a:pt x="557" y="75"/>
                </a:lnTo>
                <a:lnTo>
                  <a:pt x="550" y="66"/>
                </a:lnTo>
                <a:lnTo>
                  <a:pt x="544" y="57"/>
                </a:lnTo>
                <a:lnTo>
                  <a:pt x="538" y="47"/>
                </a:lnTo>
                <a:lnTo>
                  <a:pt x="533" y="35"/>
                </a:lnTo>
                <a:lnTo>
                  <a:pt x="528" y="23"/>
                </a:lnTo>
                <a:lnTo>
                  <a:pt x="528" y="23"/>
                </a:lnTo>
                <a:lnTo>
                  <a:pt x="527" y="20"/>
                </a:lnTo>
                <a:lnTo>
                  <a:pt x="525" y="18"/>
                </a:lnTo>
                <a:lnTo>
                  <a:pt x="519" y="12"/>
                </a:lnTo>
                <a:lnTo>
                  <a:pt x="513" y="7"/>
                </a:lnTo>
                <a:lnTo>
                  <a:pt x="511" y="3"/>
                </a:lnTo>
                <a:lnTo>
                  <a:pt x="510" y="0"/>
                </a:lnTo>
                <a:lnTo>
                  <a:pt x="510" y="0"/>
                </a:lnTo>
                <a:lnTo>
                  <a:pt x="506" y="8"/>
                </a:lnTo>
                <a:lnTo>
                  <a:pt x="506" y="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5" name="Freeform 50"/>
          <p:cNvSpPr>
            <a:spLocks/>
          </p:cNvSpPr>
          <p:nvPr/>
        </p:nvSpPr>
        <p:spPr bwMode="auto">
          <a:xfrm>
            <a:off x="1897063" y="2376488"/>
            <a:ext cx="501650" cy="698500"/>
          </a:xfrm>
          <a:custGeom>
            <a:avLst/>
            <a:gdLst/>
            <a:ahLst/>
            <a:cxnLst>
              <a:cxn ang="0">
                <a:pos x="95" y="429"/>
              </a:cxn>
              <a:cxn ang="0">
                <a:pos x="101" y="443"/>
              </a:cxn>
              <a:cxn ang="0">
                <a:pos x="137" y="454"/>
              </a:cxn>
              <a:cxn ang="0">
                <a:pos x="161" y="426"/>
              </a:cxn>
              <a:cxn ang="0">
                <a:pos x="174" y="365"/>
              </a:cxn>
              <a:cxn ang="0">
                <a:pos x="181" y="370"/>
              </a:cxn>
              <a:cxn ang="0">
                <a:pos x="202" y="470"/>
              </a:cxn>
              <a:cxn ang="0">
                <a:pos x="227" y="540"/>
              </a:cxn>
              <a:cxn ang="0">
                <a:pos x="249" y="617"/>
              </a:cxn>
              <a:cxn ang="0">
                <a:pos x="293" y="705"/>
              </a:cxn>
              <a:cxn ang="0">
                <a:pos x="354" y="769"/>
              </a:cxn>
              <a:cxn ang="0">
                <a:pos x="432" y="800"/>
              </a:cxn>
              <a:cxn ang="0">
                <a:pos x="477" y="800"/>
              </a:cxn>
              <a:cxn ang="0">
                <a:pos x="548" y="774"/>
              </a:cxn>
              <a:cxn ang="0">
                <a:pos x="593" y="722"/>
              </a:cxn>
              <a:cxn ang="0">
                <a:pos x="612" y="649"/>
              </a:cxn>
              <a:cxn ang="0">
                <a:pos x="608" y="583"/>
              </a:cxn>
              <a:cxn ang="0">
                <a:pos x="588" y="513"/>
              </a:cxn>
              <a:cxn ang="0">
                <a:pos x="566" y="437"/>
              </a:cxn>
              <a:cxn ang="0">
                <a:pos x="560" y="347"/>
              </a:cxn>
              <a:cxn ang="0">
                <a:pos x="537" y="288"/>
              </a:cxn>
              <a:cxn ang="0">
                <a:pos x="519" y="239"/>
              </a:cxn>
              <a:cxn ang="0">
                <a:pos x="443" y="199"/>
              </a:cxn>
              <a:cxn ang="0">
                <a:pos x="415" y="191"/>
              </a:cxn>
              <a:cxn ang="0">
                <a:pos x="431" y="184"/>
              </a:cxn>
              <a:cxn ang="0">
                <a:pos x="470" y="169"/>
              </a:cxn>
              <a:cxn ang="0">
                <a:pos x="469" y="158"/>
              </a:cxn>
              <a:cxn ang="0">
                <a:pos x="455" y="147"/>
              </a:cxn>
              <a:cxn ang="0">
                <a:pos x="456" y="84"/>
              </a:cxn>
              <a:cxn ang="0">
                <a:pos x="462" y="84"/>
              </a:cxn>
              <a:cxn ang="0">
                <a:pos x="492" y="130"/>
              </a:cxn>
              <a:cxn ang="0">
                <a:pos x="506" y="139"/>
              </a:cxn>
              <a:cxn ang="0">
                <a:pos x="506" y="128"/>
              </a:cxn>
              <a:cxn ang="0">
                <a:pos x="489" y="75"/>
              </a:cxn>
              <a:cxn ang="0">
                <a:pos x="474" y="54"/>
              </a:cxn>
              <a:cxn ang="0">
                <a:pos x="444" y="47"/>
              </a:cxn>
              <a:cxn ang="0">
                <a:pos x="424" y="50"/>
              </a:cxn>
              <a:cxn ang="0">
                <a:pos x="386" y="36"/>
              </a:cxn>
              <a:cxn ang="0">
                <a:pos x="330" y="3"/>
              </a:cxn>
              <a:cxn ang="0">
                <a:pos x="268" y="0"/>
              </a:cxn>
              <a:cxn ang="0">
                <a:pos x="209" y="17"/>
              </a:cxn>
              <a:cxn ang="0">
                <a:pos x="176" y="56"/>
              </a:cxn>
              <a:cxn ang="0">
                <a:pos x="164" y="120"/>
              </a:cxn>
              <a:cxn ang="0">
                <a:pos x="163" y="170"/>
              </a:cxn>
              <a:cxn ang="0">
                <a:pos x="140" y="202"/>
              </a:cxn>
              <a:cxn ang="0">
                <a:pos x="99" y="213"/>
              </a:cxn>
              <a:cxn ang="0">
                <a:pos x="42" y="223"/>
              </a:cxn>
              <a:cxn ang="0">
                <a:pos x="21" y="239"/>
              </a:cxn>
              <a:cxn ang="0">
                <a:pos x="0" y="286"/>
              </a:cxn>
              <a:cxn ang="0">
                <a:pos x="65" y="338"/>
              </a:cxn>
              <a:cxn ang="0">
                <a:pos x="90" y="374"/>
              </a:cxn>
              <a:cxn ang="0">
                <a:pos x="95" y="392"/>
              </a:cxn>
            </a:cxnLst>
            <a:rect l="0" t="0" r="r" b="b"/>
            <a:pathLst>
              <a:path w="613" h="801">
                <a:moveTo>
                  <a:pt x="95" y="392"/>
                </a:moveTo>
                <a:lnTo>
                  <a:pt x="95" y="392"/>
                </a:lnTo>
                <a:lnTo>
                  <a:pt x="95" y="429"/>
                </a:lnTo>
                <a:lnTo>
                  <a:pt x="95" y="429"/>
                </a:lnTo>
                <a:lnTo>
                  <a:pt x="95" y="434"/>
                </a:lnTo>
                <a:lnTo>
                  <a:pt x="96" y="437"/>
                </a:lnTo>
                <a:lnTo>
                  <a:pt x="99" y="441"/>
                </a:lnTo>
                <a:lnTo>
                  <a:pt x="101" y="443"/>
                </a:lnTo>
                <a:lnTo>
                  <a:pt x="107" y="447"/>
                </a:lnTo>
                <a:lnTo>
                  <a:pt x="116" y="451"/>
                </a:lnTo>
                <a:lnTo>
                  <a:pt x="125" y="453"/>
                </a:lnTo>
                <a:lnTo>
                  <a:pt x="137" y="454"/>
                </a:lnTo>
                <a:lnTo>
                  <a:pt x="161" y="456"/>
                </a:lnTo>
                <a:lnTo>
                  <a:pt x="161" y="456"/>
                </a:lnTo>
                <a:lnTo>
                  <a:pt x="161" y="426"/>
                </a:lnTo>
                <a:lnTo>
                  <a:pt x="161" y="426"/>
                </a:lnTo>
                <a:lnTo>
                  <a:pt x="165" y="399"/>
                </a:lnTo>
                <a:lnTo>
                  <a:pt x="169" y="380"/>
                </a:lnTo>
                <a:lnTo>
                  <a:pt x="172" y="368"/>
                </a:lnTo>
                <a:lnTo>
                  <a:pt x="174" y="365"/>
                </a:lnTo>
                <a:lnTo>
                  <a:pt x="176" y="363"/>
                </a:lnTo>
                <a:lnTo>
                  <a:pt x="177" y="363"/>
                </a:lnTo>
                <a:lnTo>
                  <a:pt x="179" y="365"/>
                </a:lnTo>
                <a:lnTo>
                  <a:pt x="181" y="370"/>
                </a:lnTo>
                <a:lnTo>
                  <a:pt x="185" y="381"/>
                </a:lnTo>
                <a:lnTo>
                  <a:pt x="187" y="395"/>
                </a:lnTo>
                <a:lnTo>
                  <a:pt x="194" y="430"/>
                </a:lnTo>
                <a:lnTo>
                  <a:pt x="202" y="470"/>
                </a:lnTo>
                <a:lnTo>
                  <a:pt x="207" y="490"/>
                </a:lnTo>
                <a:lnTo>
                  <a:pt x="212" y="508"/>
                </a:lnTo>
                <a:lnTo>
                  <a:pt x="219" y="526"/>
                </a:lnTo>
                <a:lnTo>
                  <a:pt x="227" y="540"/>
                </a:lnTo>
                <a:lnTo>
                  <a:pt x="227" y="540"/>
                </a:lnTo>
                <a:lnTo>
                  <a:pt x="233" y="566"/>
                </a:lnTo>
                <a:lnTo>
                  <a:pt x="240" y="592"/>
                </a:lnTo>
                <a:lnTo>
                  <a:pt x="249" y="617"/>
                </a:lnTo>
                <a:lnTo>
                  <a:pt x="258" y="641"/>
                </a:lnTo>
                <a:lnTo>
                  <a:pt x="269" y="664"/>
                </a:lnTo>
                <a:lnTo>
                  <a:pt x="280" y="686"/>
                </a:lnTo>
                <a:lnTo>
                  <a:pt x="293" y="705"/>
                </a:lnTo>
                <a:lnTo>
                  <a:pt x="307" y="724"/>
                </a:lnTo>
                <a:lnTo>
                  <a:pt x="322" y="741"/>
                </a:lnTo>
                <a:lnTo>
                  <a:pt x="338" y="756"/>
                </a:lnTo>
                <a:lnTo>
                  <a:pt x="354" y="769"/>
                </a:lnTo>
                <a:lnTo>
                  <a:pt x="372" y="780"/>
                </a:lnTo>
                <a:lnTo>
                  <a:pt x="391" y="789"/>
                </a:lnTo>
                <a:lnTo>
                  <a:pt x="412" y="795"/>
                </a:lnTo>
                <a:lnTo>
                  <a:pt x="432" y="800"/>
                </a:lnTo>
                <a:lnTo>
                  <a:pt x="444" y="801"/>
                </a:lnTo>
                <a:lnTo>
                  <a:pt x="455" y="801"/>
                </a:lnTo>
                <a:lnTo>
                  <a:pt x="455" y="801"/>
                </a:lnTo>
                <a:lnTo>
                  <a:pt x="477" y="800"/>
                </a:lnTo>
                <a:lnTo>
                  <a:pt x="497" y="796"/>
                </a:lnTo>
                <a:lnTo>
                  <a:pt x="515" y="792"/>
                </a:lnTo>
                <a:lnTo>
                  <a:pt x="532" y="783"/>
                </a:lnTo>
                <a:lnTo>
                  <a:pt x="548" y="774"/>
                </a:lnTo>
                <a:lnTo>
                  <a:pt x="562" y="764"/>
                </a:lnTo>
                <a:lnTo>
                  <a:pt x="574" y="751"/>
                </a:lnTo>
                <a:lnTo>
                  <a:pt x="584" y="737"/>
                </a:lnTo>
                <a:lnTo>
                  <a:pt x="593" y="722"/>
                </a:lnTo>
                <a:lnTo>
                  <a:pt x="600" y="705"/>
                </a:lnTo>
                <a:lnTo>
                  <a:pt x="606" y="688"/>
                </a:lnTo>
                <a:lnTo>
                  <a:pt x="609" y="668"/>
                </a:lnTo>
                <a:lnTo>
                  <a:pt x="612" y="649"/>
                </a:lnTo>
                <a:lnTo>
                  <a:pt x="613" y="628"/>
                </a:lnTo>
                <a:lnTo>
                  <a:pt x="612" y="606"/>
                </a:lnTo>
                <a:lnTo>
                  <a:pt x="608" y="583"/>
                </a:lnTo>
                <a:lnTo>
                  <a:pt x="608" y="583"/>
                </a:lnTo>
                <a:lnTo>
                  <a:pt x="607" y="572"/>
                </a:lnTo>
                <a:lnTo>
                  <a:pt x="604" y="560"/>
                </a:lnTo>
                <a:lnTo>
                  <a:pt x="597" y="537"/>
                </a:lnTo>
                <a:lnTo>
                  <a:pt x="588" y="513"/>
                </a:lnTo>
                <a:lnTo>
                  <a:pt x="578" y="485"/>
                </a:lnTo>
                <a:lnTo>
                  <a:pt x="574" y="472"/>
                </a:lnTo>
                <a:lnTo>
                  <a:pt x="569" y="454"/>
                </a:lnTo>
                <a:lnTo>
                  <a:pt x="566" y="437"/>
                </a:lnTo>
                <a:lnTo>
                  <a:pt x="563" y="418"/>
                </a:lnTo>
                <a:lnTo>
                  <a:pt x="561" y="397"/>
                </a:lnTo>
                <a:lnTo>
                  <a:pt x="560" y="373"/>
                </a:lnTo>
                <a:lnTo>
                  <a:pt x="560" y="347"/>
                </a:lnTo>
                <a:lnTo>
                  <a:pt x="561" y="319"/>
                </a:lnTo>
                <a:lnTo>
                  <a:pt x="561" y="319"/>
                </a:lnTo>
                <a:lnTo>
                  <a:pt x="546" y="301"/>
                </a:lnTo>
                <a:lnTo>
                  <a:pt x="537" y="288"/>
                </a:lnTo>
                <a:lnTo>
                  <a:pt x="531" y="275"/>
                </a:lnTo>
                <a:lnTo>
                  <a:pt x="528" y="263"/>
                </a:lnTo>
                <a:lnTo>
                  <a:pt x="524" y="252"/>
                </a:lnTo>
                <a:lnTo>
                  <a:pt x="519" y="239"/>
                </a:lnTo>
                <a:lnTo>
                  <a:pt x="512" y="224"/>
                </a:lnTo>
                <a:lnTo>
                  <a:pt x="499" y="206"/>
                </a:lnTo>
                <a:lnTo>
                  <a:pt x="499" y="206"/>
                </a:lnTo>
                <a:lnTo>
                  <a:pt x="443" y="199"/>
                </a:lnTo>
                <a:lnTo>
                  <a:pt x="426" y="195"/>
                </a:lnTo>
                <a:lnTo>
                  <a:pt x="418" y="193"/>
                </a:lnTo>
                <a:lnTo>
                  <a:pt x="416" y="192"/>
                </a:lnTo>
                <a:lnTo>
                  <a:pt x="415" y="191"/>
                </a:lnTo>
                <a:lnTo>
                  <a:pt x="416" y="190"/>
                </a:lnTo>
                <a:lnTo>
                  <a:pt x="417" y="189"/>
                </a:lnTo>
                <a:lnTo>
                  <a:pt x="423" y="186"/>
                </a:lnTo>
                <a:lnTo>
                  <a:pt x="431" y="184"/>
                </a:lnTo>
                <a:lnTo>
                  <a:pt x="451" y="179"/>
                </a:lnTo>
                <a:lnTo>
                  <a:pt x="460" y="176"/>
                </a:lnTo>
                <a:lnTo>
                  <a:pt x="467" y="171"/>
                </a:lnTo>
                <a:lnTo>
                  <a:pt x="470" y="169"/>
                </a:lnTo>
                <a:lnTo>
                  <a:pt x="471" y="167"/>
                </a:lnTo>
                <a:lnTo>
                  <a:pt x="473" y="164"/>
                </a:lnTo>
                <a:lnTo>
                  <a:pt x="471" y="161"/>
                </a:lnTo>
                <a:lnTo>
                  <a:pt x="469" y="158"/>
                </a:lnTo>
                <a:lnTo>
                  <a:pt x="467" y="154"/>
                </a:lnTo>
                <a:lnTo>
                  <a:pt x="461" y="151"/>
                </a:lnTo>
                <a:lnTo>
                  <a:pt x="455" y="147"/>
                </a:lnTo>
                <a:lnTo>
                  <a:pt x="455" y="147"/>
                </a:lnTo>
                <a:lnTo>
                  <a:pt x="453" y="122"/>
                </a:lnTo>
                <a:lnTo>
                  <a:pt x="453" y="103"/>
                </a:lnTo>
                <a:lnTo>
                  <a:pt x="454" y="91"/>
                </a:lnTo>
                <a:lnTo>
                  <a:pt x="456" y="84"/>
                </a:lnTo>
                <a:lnTo>
                  <a:pt x="458" y="83"/>
                </a:lnTo>
                <a:lnTo>
                  <a:pt x="459" y="83"/>
                </a:lnTo>
                <a:lnTo>
                  <a:pt x="461" y="83"/>
                </a:lnTo>
                <a:lnTo>
                  <a:pt x="462" y="84"/>
                </a:lnTo>
                <a:lnTo>
                  <a:pt x="467" y="88"/>
                </a:lnTo>
                <a:lnTo>
                  <a:pt x="471" y="95"/>
                </a:lnTo>
                <a:lnTo>
                  <a:pt x="482" y="113"/>
                </a:lnTo>
                <a:lnTo>
                  <a:pt x="492" y="130"/>
                </a:lnTo>
                <a:lnTo>
                  <a:pt x="497" y="136"/>
                </a:lnTo>
                <a:lnTo>
                  <a:pt x="501" y="139"/>
                </a:lnTo>
                <a:lnTo>
                  <a:pt x="504" y="140"/>
                </a:lnTo>
                <a:lnTo>
                  <a:pt x="506" y="139"/>
                </a:lnTo>
                <a:lnTo>
                  <a:pt x="508" y="138"/>
                </a:lnTo>
                <a:lnTo>
                  <a:pt x="510" y="136"/>
                </a:lnTo>
                <a:lnTo>
                  <a:pt x="510" y="136"/>
                </a:lnTo>
                <a:lnTo>
                  <a:pt x="506" y="128"/>
                </a:lnTo>
                <a:lnTo>
                  <a:pt x="504" y="120"/>
                </a:lnTo>
                <a:lnTo>
                  <a:pt x="498" y="105"/>
                </a:lnTo>
                <a:lnTo>
                  <a:pt x="493" y="88"/>
                </a:lnTo>
                <a:lnTo>
                  <a:pt x="489" y="75"/>
                </a:lnTo>
                <a:lnTo>
                  <a:pt x="486" y="69"/>
                </a:lnTo>
                <a:lnTo>
                  <a:pt x="483" y="63"/>
                </a:lnTo>
                <a:lnTo>
                  <a:pt x="479" y="59"/>
                </a:lnTo>
                <a:lnTo>
                  <a:pt x="474" y="54"/>
                </a:lnTo>
                <a:lnTo>
                  <a:pt x="468" y="50"/>
                </a:lnTo>
                <a:lnTo>
                  <a:pt x="461" y="48"/>
                </a:lnTo>
                <a:lnTo>
                  <a:pt x="453" y="47"/>
                </a:lnTo>
                <a:lnTo>
                  <a:pt x="444" y="47"/>
                </a:lnTo>
                <a:lnTo>
                  <a:pt x="444" y="47"/>
                </a:lnTo>
                <a:lnTo>
                  <a:pt x="438" y="50"/>
                </a:lnTo>
                <a:lnTo>
                  <a:pt x="431" y="50"/>
                </a:lnTo>
                <a:lnTo>
                  <a:pt x="424" y="50"/>
                </a:lnTo>
                <a:lnTo>
                  <a:pt x="417" y="49"/>
                </a:lnTo>
                <a:lnTo>
                  <a:pt x="410" y="47"/>
                </a:lnTo>
                <a:lnTo>
                  <a:pt x="402" y="44"/>
                </a:lnTo>
                <a:lnTo>
                  <a:pt x="386" y="36"/>
                </a:lnTo>
                <a:lnTo>
                  <a:pt x="356" y="16"/>
                </a:lnTo>
                <a:lnTo>
                  <a:pt x="342" y="8"/>
                </a:lnTo>
                <a:lnTo>
                  <a:pt x="336" y="6"/>
                </a:lnTo>
                <a:lnTo>
                  <a:pt x="330" y="3"/>
                </a:lnTo>
                <a:lnTo>
                  <a:pt x="330" y="3"/>
                </a:lnTo>
                <a:lnTo>
                  <a:pt x="308" y="1"/>
                </a:lnTo>
                <a:lnTo>
                  <a:pt x="287" y="0"/>
                </a:lnTo>
                <a:lnTo>
                  <a:pt x="268" y="0"/>
                </a:lnTo>
                <a:lnTo>
                  <a:pt x="250" y="2"/>
                </a:lnTo>
                <a:lnTo>
                  <a:pt x="235" y="6"/>
                </a:lnTo>
                <a:lnTo>
                  <a:pt x="222" y="10"/>
                </a:lnTo>
                <a:lnTo>
                  <a:pt x="209" y="17"/>
                </a:lnTo>
                <a:lnTo>
                  <a:pt x="199" y="24"/>
                </a:lnTo>
                <a:lnTo>
                  <a:pt x="189" y="33"/>
                </a:lnTo>
                <a:lnTo>
                  <a:pt x="183" y="45"/>
                </a:lnTo>
                <a:lnTo>
                  <a:pt x="176" y="56"/>
                </a:lnTo>
                <a:lnTo>
                  <a:pt x="171" y="70"/>
                </a:lnTo>
                <a:lnTo>
                  <a:pt x="168" y="85"/>
                </a:lnTo>
                <a:lnTo>
                  <a:pt x="165" y="102"/>
                </a:lnTo>
                <a:lnTo>
                  <a:pt x="164" y="120"/>
                </a:lnTo>
                <a:lnTo>
                  <a:pt x="164" y="139"/>
                </a:lnTo>
                <a:lnTo>
                  <a:pt x="164" y="139"/>
                </a:lnTo>
                <a:lnTo>
                  <a:pt x="164" y="156"/>
                </a:lnTo>
                <a:lnTo>
                  <a:pt x="163" y="170"/>
                </a:lnTo>
                <a:lnTo>
                  <a:pt x="160" y="182"/>
                </a:lnTo>
                <a:lnTo>
                  <a:pt x="154" y="191"/>
                </a:lnTo>
                <a:lnTo>
                  <a:pt x="147" y="198"/>
                </a:lnTo>
                <a:lnTo>
                  <a:pt x="140" y="202"/>
                </a:lnTo>
                <a:lnTo>
                  <a:pt x="131" y="207"/>
                </a:lnTo>
                <a:lnTo>
                  <a:pt x="120" y="209"/>
                </a:lnTo>
                <a:lnTo>
                  <a:pt x="110" y="212"/>
                </a:lnTo>
                <a:lnTo>
                  <a:pt x="99" y="213"/>
                </a:lnTo>
                <a:lnTo>
                  <a:pt x="76" y="215"/>
                </a:lnTo>
                <a:lnTo>
                  <a:pt x="64" y="217"/>
                </a:lnTo>
                <a:lnTo>
                  <a:pt x="53" y="220"/>
                </a:lnTo>
                <a:lnTo>
                  <a:pt x="42" y="223"/>
                </a:lnTo>
                <a:lnTo>
                  <a:pt x="32" y="228"/>
                </a:lnTo>
                <a:lnTo>
                  <a:pt x="32" y="228"/>
                </a:lnTo>
                <a:lnTo>
                  <a:pt x="27" y="233"/>
                </a:lnTo>
                <a:lnTo>
                  <a:pt x="21" y="239"/>
                </a:lnTo>
                <a:lnTo>
                  <a:pt x="13" y="254"/>
                </a:lnTo>
                <a:lnTo>
                  <a:pt x="5" y="270"/>
                </a:lnTo>
                <a:lnTo>
                  <a:pt x="0" y="286"/>
                </a:lnTo>
                <a:lnTo>
                  <a:pt x="0" y="286"/>
                </a:lnTo>
                <a:lnTo>
                  <a:pt x="15" y="296"/>
                </a:lnTo>
                <a:lnTo>
                  <a:pt x="30" y="307"/>
                </a:lnTo>
                <a:lnTo>
                  <a:pt x="47" y="321"/>
                </a:lnTo>
                <a:lnTo>
                  <a:pt x="65" y="338"/>
                </a:lnTo>
                <a:lnTo>
                  <a:pt x="73" y="346"/>
                </a:lnTo>
                <a:lnTo>
                  <a:pt x="80" y="355"/>
                </a:lnTo>
                <a:lnTo>
                  <a:pt x="86" y="365"/>
                </a:lnTo>
                <a:lnTo>
                  <a:pt x="90" y="374"/>
                </a:lnTo>
                <a:lnTo>
                  <a:pt x="94" y="383"/>
                </a:lnTo>
                <a:lnTo>
                  <a:pt x="95" y="392"/>
                </a:lnTo>
                <a:lnTo>
                  <a:pt x="95" y="392"/>
                </a:lnTo>
                <a:lnTo>
                  <a:pt x="95" y="39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6" name="Freeform 51"/>
          <p:cNvSpPr>
            <a:spLocks/>
          </p:cNvSpPr>
          <p:nvPr/>
        </p:nvSpPr>
        <p:spPr bwMode="auto">
          <a:xfrm>
            <a:off x="3049588" y="2655888"/>
            <a:ext cx="258762" cy="396875"/>
          </a:xfrm>
          <a:custGeom>
            <a:avLst/>
            <a:gdLst/>
            <a:ahLst/>
            <a:cxnLst>
              <a:cxn ang="0">
                <a:pos x="218" y="8"/>
              </a:cxn>
              <a:cxn ang="0">
                <a:pos x="199" y="0"/>
              </a:cxn>
              <a:cxn ang="0">
                <a:pos x="185" y="40"/>
              </a:cxn>
              <a:cxn ang="0">
                <a:pos x="176" y="50"/>
              </a:cxn>
              <a:cxn ang="0">
                <a:pos x="154" y="39"/>
              </a:cxn>
              <a:cxn ang="0">
                <a:pos x="144" y="38"/>
              </a:cxn>
              <a:cxn ang="0">
                <a:pos x="119" y="55"/>
              </a:cxn>
              <a:cxn ang="0">
                <a:pos x="130" y="73"/>
              </a:cxn>
              <a:cxn ang="0">
                <a:pos x="144" y="88"/>
              </a:cxn>
              <a:cxn ang="0">
                <a:pos x="114" y="94"/>
              </a:cxn>
              <a:cxn ang="0">
                <a:pos x="100" y="103"/>
              </a:cxn>
              <a:cxn ang="0">
                <a:pos x="95" y="115"/>
              </a:cxn>
              <a:cxn ang="0">
                <a:pos x="86" y="137"/>
              </a:cxn>
              <a:cxn ang="0">
                <a:pos x="74" y="140"/>
              </a:cxn>
              <a:cxn ang="0">
                <a:pos x="61" y="133"/>
              </a:cxn>
              <a:cxn ang="0">
                <a:pos x="49" y="118"/>
              </a:cxn>
              <a:cxn ang="0">
                <a:pos x="39" y="118"/>
              </a:cxn>
              <a:cxn ang="0">
                <a:pos x="26" y="124"/>
              </a:cxn>
              <a:cxn ang="0">
                <a:pos x="7" y="150"/>
              </a:cxn>
              <a:cxn ang="0">
                <a:pos x="0" y="184"/>
              </a:cxn>
              <a:cxn ang="0">
                <a:pos x="2" y="199"/>
              </a:cxn>
              <a:cxn ang="0">
                <a:pos x="13" y="217"/>
              </a:cxn>
              <a:cxn ang="0">
                <a:pos x="40" y="238"/>
              </a:cxn>
              <a:cxn ang="0">
                <a:pos x="70" y="250"/>
              </a:cxn>
              <a:cxn ang="0">
                <a:pos x="68" y="270"/>
              </a:cxn>
              <a:cxn ang="0">
                <a:pos x="70" y="285"/>
              </a:cxn>
              <a:cxn ang="0">
                <a:pos x="70" y="298"/>
              </a:cxn>
              <a:cxn ang="0">
                <a:pos x="61" y="313"/>
              </a:cxn>
              <a:cxn ang="0">
                <a:pos x="46" y="325"/>
              </a:cxn>
              <a:cxn ang="0">
                <a:pos x="42" y="338"/>
              </a:cxn>
              <a:cxn ang="0">
                <a:pos x="45" y="360"/>
              </a:cxn>
              <a:cxn ang="0">
                <a:pos x="62" y="387"/>
              </a:cxn>
              <a:cxn ang="0">
                <a:pos x="90" y="410"/>
              </a:cxn>
              <a:cxn ang="0">
                <a:pos x="153" y="446"/>
              </a:cxn>
              <a:cxn ang="0">
                <a:pos x="191" y="455"/>
              </a:cxn>
              <a:cxn ang="0">
                <a:pos x="185" y="423"/>
              </a:cxn>
              <a:cxn ang="0">
                <a:pos x="175" y="362"/>
              </a:cxn>
              <a:cxn ang="0">
                <a:pos x="174" y="323"/>
              </a:cxn>
              <a:cxn ang="0">
                <a:pos x="179" y="261"/>
              </a:cxn>
              <a:cxn ang="0">
                <a:pos x="194" y="216"/>
              </a:cxn>
              <a:cxn ang="0">
                <a:pos x="217" y="183"/>
              </a:cxn>
              <a:cxn ang="0">
                <a:pos x="265" y="138"/>
              </a:cxn>
              <a:cxn ang="0">
                <a:pos x="282" y="115"/>
              </a:cxn>
              <a:cxn ang="0">
                <a:pos x="276" y="107"/>
              </a:cxn>
              <a:cxn ang="0">
                <a:pos x="310" y="95"/>
              </a:cxn>
              <a:cxn ang="0">
                <a:pos x="310" y="84"/>
              </a:cxn>
              <a:cxn ang="0">
                <a:pos x="284" y="55"/>
              </a:cxn>
              <a:cxn ang="0">
                <a:pos x="273" y="26"/>
              </a:cxn>
              <a:cxn ang="0">
                <a:pos x="258" y="24"/>
              </a:cxn>
              <a:cxn ang="0">
                <a:pos x="227" y="13"/>
              </a:cxn>
              <a:cxn ang="0">
                <a:pos x="226" y="11"/>
              </a:cxn>
            </a:cxnLst>
            <a:rect l="0" t="0" r="r" b="b"/>
            <a:pathLst>
              <a:path w="317" h="455">
                <a:moveTo>
                  <a:pt x="226" y="11"/>
                </a:moveTo>
                <a:lnTo>
                  <a:pt x="226" y="11"/>
                </a:lnTo>
                <a:lnTo>
                  <a:pt x="218" y="8"/>
                </a:lnTo>
                <a:lnTo>
                  <a:pt x="212" y="4"/>
                </a:lnTo>
                <a:lnTo>
                  <a:pt x="199" y="0"/>
                </a:lnTo>
                <a:lnTo>
                  <a:pt x="199" y="0"/>
                </a:lnTo>
                <a:lnTo>
                  <a:pt x="195" y="15"/>
                </a:lnTo>
                <a:lnTo>
                  <a:pt x="190" y="27"/>
                </a:lnTo>
                <a:lnTo>
                  <a:pt x="185" y="40"/>
                </a:lnTo>
                <a:lnTo>
                  <a:pt x="181" y="51"/>
                </a:lnTo>
                <a:lnTo>
                  <a:pt x="181" y="51"/>
                </a:lnTo>
                <a:lnTo>
                  <a:pt x="176" y="50"/>
                </a:lnTo>
                <a:lnTo>
                  <a:pt x="172" y="48"/>
                </a:lnTo>
                <a:lnTo>
                  <a:pt x="162" y="43"/>
                </a:lnTo>
                <a:lnTo>
                  <a:pt x="154" y="39"/>
                </a:lnTo>
                <a:lnTo>
                  <a:pt x="150" y="38"/>
                </a:lnTo>
                <a:lnTo>
                  <a:pt x="144" y="38"/>
                </a:lnTo>
                <a:lnTo>
                  <a:pt x="144" y="38"/>
                </a:lnTo>
                <a:lnTo>
                  <a:pt x="119" y="38"/>
                </a:lnTo>
                <a:lnTo>
                  <a:pt x="119" y="55"/>
                </a:lnTo>
                <a:lnTo>
                  <a:pt x="119" y="55"/>
                </a:lnTo>
                <a:lnTo>
                  <a:pt x="119" y="55"/>
                </a:lnTo>
                <a:lnTo>
                  <a:pt x="124" y="65"/>
                </a:lnTo>
                <a:lnTo>
                  <a:pt x="130" y="73"/>
                </a:lnTo>
                <a:lnTo>
                  <a:pt x="136" y="80"/>
                </a:lnTo>
                <a:lnTo>
                  <a:pt x="144" y="88"/>
                </a:lnTo>
                <a:lnTo>
                  <a:pt x="144" y="88"/>
                </a:lnTo>
                <a:lnTo>
                  <a:pt x="135" y="89"/>
                </a:lnTo>
                <a:lnTo>
                  <a:pt x="121" y="92"/>
                </a:lnTo>
                <a:lnTo>
                  <a:pt x="114" y="94"/>
                </a:lnTo>
                <a:lnTo>
                  <a:pt x="107" y="96"/>
                </a:lnTo>
                <a:lnTo>
                  <a:pt x="103" y="100"/>
                </a:lnTo>
                <a:lnTo>
                  <a:pt x="100" y="103"/>
                </a:lnTo>
                <a:lnTo>
                  <a:pt x="100" y="103"/>
                </a:lnTo>
                <a:lnTo>
                  <a:pt x="97" y="109"/>
                </a:lnTo>
                <a:lnTo>
                  <a:pt x="95" y="115"/>
                </a:lnTo>
                <a:lnTo>
                  <a:pt x="91" y="127"/>
                </a:lnTo>
                <a:lnTo>
                  <a:pt x="89" y="132"/>
                </a:lnTo>
                <a:lnTo>
                  <a:pt x="86" y="137"/>
                </a:lnTo>
                <a:lnTo>
                  <a:pt x="81" y="139"/>
                </a:lnTo>
                <a:lnTo>
                  <a:pt x="74" y="140"/>
                </a:lnTo>
                <a:lnTo>
                  <a:pt x="74" y="140"/>
                </a:lnTo>
                <a:lnTo>
                  <a:pt x="69" y="139"/>
                </a:lnTo>
                <a:lnTo>
                  <a:pt x="65" y="137"/>
                </a:lnTo>
                <a:lnTo>
                  <a:pt x="61" y="133"/>
                </a:lnTo>
                <a:lnTo>
                  <a:pt x="58" y="128"/>
                </a:lnTo>
                <a:lnTo>
                  <a:pt x="52" y="122"/>
                </a:lnTo>
                <a:lnTo>
                  <a:pt x="49" y="118"/>
                </a:lnTo>
                <a:lnTo>
                  <a:pt x="45" y="118"/>
                </a:lnTo>
                <a:lnTo>
                  <a:pt x="45" y="118"/>
                </a:lnTo>
                <a:lnTo>
                  <a:pt x="39" y="118"/>
                </a:lnTo>
                <a:lnTo>
                  <a:pt x="35" y="119"/>
                </a:lnTo>
                <a:lnTo>
                  <a:pt x="30" y="122"/>
                </a:lnTo>
                <a:lnTo>
                  <a:pt x="26" y="124"/>
                </a:lnTo>
                <a:lnTo>
                  <a:pt x="17" y="131"/>
                </a:lnTo>
                <a:lnTo>
                  <a:pt x="12" y="140"/>
                </a:lnTo>
                <a:lnTo>
                  <a:pt x="7" y="150"/>
                </a:lnTo>
                <a:lnTo>
                  <a:pt x="4" y="162"/>
                </a:lnTo>
                <a:lnTo>
                  <a:pt x="1" y="173"/>
                </a:lnTo>
                <a:lnTo>
                  <a:pt x="0" y="184"/>
                </a:lnTo>
                <a:lnTo>
                  <a:pt x="0" y="184"/>
                </a:lnTo>
                <a:lnTo>
                  <a:pt x="1" y="192"/>
                </a:lnTo>
                <a:lnTo>
                  <a:pt x="2" y="199"/>
                </a:lnTo>
                <a:lnTo>
                  <a:pt x="6" y="204"/>
                </a:lnTo>
                <a:lnTo>
                  <a:pt x="9" y="211"/>
                </a:lnTo>
                <a:lnTo>
                  <a:pt x="13" y="217"/>
                </a:lnTo>
                <a:lnTo>
                  <a:pt x="17" y="222"/>
                </a:lnTo>
                <a:lnTo>
                  <a:pt x="29" y="231"/>
                </a:lnTo>
                <a:lnTo>
                  <a:pt x="40" y="238"/>
                </a:lnTo>
                <a:lnTo>
                  <a:pt x="52" y="244"/>
                </a:lnTo>
                <a:lnTo>
                  <a:pt x="62" y="248"/>
                </a:lnTo>
                <a:lnTo>
                  <a:pt x="70" y="250"/>
                </a:lnTo>
                <a:lnTo>
                  <a:pt x="70" y="250"/>
                </a:lnTo>
                <a:lnTo>
                  <a:pt x="68" y="267"/>
                </a:lnTo>
                <a:lnTo>
                  <a:pt x="68" y="270"/>
                </a:lnTo>
                <a:lnTo>
                  <a:pt x="68" y="273"/>
                </a:lnTo>
                <a:lnTo>
                  <a:pt x="69" y="279"/>
                </a:lnTo>
                <a:lnTo>
                  <a:pt x="70" y="285"/>
                </a:lnTo>
                <a:lnTo>
                  <a:pt x="70" y="294"/>
                </a:lnTo>
                <a:lnTo>
                  <a:pt x="70" y="294"/>
                </a:lnTo>
                <a:lnTo>
                  <a:pt x="70" y="298"/>
                </a:lnTo>
                <a:lnTo>
                  <a:pt x="69" y="301"/>
                </a:lnTo>
                <a:lnTo>
                  <a:pt x="66" y="307"/>
                </a:lnTo>
                <a:lnTo>
                  <a:pt x="61" y="313"/>
                </a:lnTo>
                <a:lnTo>
                  <a:pt x="55" y="316"/>
                </a:lnTo>
                <a:lnTo>
                  <a:pt x="51" y="321"/>
                </a:lnTo>
                <a:lnTo>
                  <a:pt x="46" y="325"/>
                </a:lnTo>
                <a:lnTo>
                  <a:pt x="43" y="331"/>
                </a:lnTo>
                <a:lnTo>
                  <a:pt x="42" y="334"/>
                </a:lnTo>
                <a:lnTo>
                  <a:pt x="42" y="338"/>
                </a:lnTo>
                <a:lnTo>
                  <a:pt x="42" y="338"/>
                </a:lnTo>
                <a:lnTo>
                  <a:pt x="43" y="349"/>
                </a:lnTo>
                <a:lnTo>
                  <a:pt x="45" y="360"/>
                </a:lnTo>
                <a:lnTo>
                  <a:pt x="50" y="370"/>
                </a:lnTo>
                <a:lnTo>
                  <a:pt x="55" y="379"/>
                </a:lnTo>
                <a:lnTo>
                  <a:pt x="62" y="387"/>
                </a:lnTo>
                <a:lnTo>
                  <a:pt x="72" y="395"/>
                </a:lnTo>
                <a:lnTo>
                  <a:pt x="81" y="403"/>
                </a:lnTo>
                <a:lnTo>
                  <a:pt x="90" y="410"/>
                </a:lnTo>
                <a:lnTo>
                  <a:pt x="112" y="423"/>
                </a:lnTo>
                <a:lnTo>
                  <a:pt x="133" y="436"/>
                </a:lnTo>
                <a:lnTo>
                  <a:pt x="153" y="446"/>
                </a:lnTo>
                <a:lnTo>
                  <a:pt x="170" y="455"/>
                </a:lnTo>
                <a:lnTo>
                  <a:pt x="170" y="455"/>
                </a:lnTo>
                <a:lnTo>
                  <a:pt x="191" y="455"/>
                </a:lnTo>
                <a:lnTo>
                  <a:pt x="191" y="455"/>
                </a:lnTo>
                <a:lnTo>
                  <a:pt x="191" y="455"/>
                </a:lnTo>
                <a:lnTo>
                  <a:pt x="185" y="423"/>
                </a:lnTo>
                <a:lnTo>
                  <a:pt x="180" y="394"/>
                </a:lnTo>
                <a:lnTo>
                  <a:pt x="177" y="378"/>
                </a:lnTo>
                <a:lnTo>
                  <a:pt x="175" y="362"/>
                </a:lnTo>
                <a:lnTo>
                  <a:pt x="174" y="344"/>
                </a:lnTo>
                <a:lnTo>
                  <a:pt x="174" y="323"/>
                </a:lnTo>
                <a:lnTo>
                  <a:pt x="174" y="323"/>
                </a:lnTo>
                <a:lnTo>
                  <a:pt x="174" y="300"/>
                </a:lnTo>
                <a:lnTo>
                  <a:pt x="176" y="279"/>
                </a:lnTo>
                <a:lnTo>
                  <a:pt x="179" y="261"/>
                </a:lnTo>
                <a:lnTo>
                  <a:pt x="183" y="244"/>
                </a:lnTo>
                <a:lnTo>
                  <a:pt x="188" y="229"/>
                </a:lnTo>
                <a:lnTo>
                  <a:pt x="194" y="216"/>
                </a:lnTo>
                <a:lnTo>
                  <a:pt x="200" y="203"/>
                </a:lnTo>
                <a:lnTo>
                  <a:pt x="208" y="193"/>
                </a:lnTo>
                <a:lnTo>
                  <a:pt x="217" y="183"/>
                </a:lnTo>
                <a:lnTo>
                  <a:pt x="226" y="173"/>
                </a:lnTo>
                <a:lnTo>
                  <a:pt x="244" y="156"/>
                </a:lnTo>
                <a:lnTo>
                  <a:pt x="265" y="138"/>
                </a:lnTo>
                <a:lnTo>
                  <a:pt x="287" y="118"/>
                </a:lnTo>
                <a:lnTo>
                  <a:pt x="287" y="118"/>
                </a:lnTo>
                <a:lnTo>
                  <a:pt x="282" y="115"/>
                </a:lnTo>
                <a:lnTo>
                  <a:pt x="279" y="112"/>
                </a:lnTo>
                <a:lnTo>
                  <a:pt x="278" y="110"/>
                </a:lnTo>
                <a:lnTo>
                  <a:pt x="276" y="107"/>
                </a:lnTo>
                <a:lnTo>
                  <a:pt x="276" y="107"/>
                </a:lnTo>
                <a:lnTo>
                  <a:pt x="301" y="100"/>
                </a:lnTo>
                <a:lnTo>
                  <a:pt x="310" y="95"/>
                </a:lnTo>
                <a:lnTo>
                  <a:pt x="317" y="93"/>
                </a:lnTo>
                <a:lnTo>
                  <a:pt x="317" y="93"/>
                </a:lnTo>
                <a:lnTo>
                  <a:pt x="310" y="84"/>
                </a:lnTo>
                <a:lnTo>
                  <a:pt x="303" y="76"/>
                </a:lnTo>
                <a:lnTo>
                  <a:pt x="290" y="62"/>
                </a:lnTo>
                <a:lnTo>
                  <a:pt x="284" y="55"/>
                </a:lnTo>
                <a:lnTo>
                  <a:pt x="280" y="47"/>
                </a:lnTo>
                <a:lnTo>
                  <a:pt x="276" y="38"/>
                </a:lnTo>
                <a:lnTo>
                  <a:pt x="273" y="26"/>
                </a:lnTo>
                <a:lnTo>
                  <a:pt x="273" y="26"/>
                </a:lnTo>
                <a:lnTo>
                  <a:pt x="266" y="25"/>
                </a:lnTo>
                <a:lnTo>
                  <a:pt x="258" y="24"/>
                </a:lnTo>
                <a:lnTo>
                  <a:pt x="242" y="20"/>
                </a:lnTo>
                <a:lnTo>
                  <a:pt x="230" y="15"/>
                </a:lnTo>
                <a:lnTo>
                  <a:pt x="227" y="13"/>
                </a:lnTo>
                <a:lnTo>
                  <a:pt x="226" y="11"/>
                </a:lnTo>
                <a:lnTo>
                  <a:pt x="226" y="11"/>
                </a:lnTo>
                <a:lnTo>
                  <a:pt x="226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7" name="Freeform 52"/>
          <p:cNvSpPr>
            <a:spLocks/>
          </p:cNvSpPr>
          <p:nvPr/>
        </p:nvSpPr>
        <p:spPr bwMode="auto">
          <a:xfrm>
            <a:off x="3260725" y="2378075"/>
            <a:ext cx="622300" cy="344488"/>
          </a:xfrm>
          <a:custGeom>
            <a:avLst/>
            <a:gdLst/>
            <a:ahLst/>
            <a:cxnLst>
              <a:cxn ang="0">
                <a:pos x="665" y="22"/>
              </a:cxn>
              <a:cxn ang="0">
                <a:pos x="642" y="49"/>
              </a:cxn>
              <a:cxn ang="0">
                <a:pos x="605" y="46"/>
              </a:cxn>
              <a:cxn ang="0">
                <a:pos x="550" y="62"/>
              </a:cxn>
              <a:cxn ang="0">
                <a:pos x="518" y="63"/>
              </a:cxn>
              <a:cxn ang="0">
                <a:pos x="460" y="33"/>
              </a:cxn>
              <a:cxn ang="0">
                <a:pos x="433" y="46"/>
              </a:cxn>
              <a:cxn ang="0">
                <a:pos x="316" y="64"/>
              </a:cxn>
              <a:cxn ang="0">
                <a:pos x="283" y="82"/>
              </a:cxn>
              <a:cxn ang="0">
                <a:pos x="272" y="105"/>
              </a:cxn>
              <a:cxn ang="0">
                <a:pos x="245" y="91"/>
              </a:cxn>
              <a:cxn ang="0">
                <a:pos x="213" y="113"/>
              </a:cxn>
              <a:cxn ang="0">
                <a:pos x="204" y="101"/>
              </a:cxn>
              <a:cxn ang="0">
                <a:pos x="186" y="128"/>
              </a:cxn>
              <a:cxn ang="0">
                <a:pos x="201" y="142"/>
              </a:cxn>
              <a:cxn ang="0">
                <a:pos x="176" y="162"/>
              </a:cxn>
              <a:cxn ang="0">
                <a:pos x="169" y="177"/>
              </a:cxn>
              <a:cxn ang="0">
                <a:pos x="143" y="168"/>
              </a:cxn>
              <a:cxn ang="0">
                <a:pos x="143" y="200"/>
              </a:cxn>
              <a:cxn ang="0">
                <a:pos x="124" y="200"/>
              </a:cxn>
              <a:cxn ang="0">
                <a:pos x="113" y="205"/>
              </a:cxn>
              <a:cxn ang="0">
                <a:pos x="102" y="249"/>
              </a:cxn>
              <a:cxn ang="0">
                <a:pos x="72" y="227"/>
              </a:cxn>
              <a:cxn ang="0">
                <a:pos x="36" y="234"/>
              </a:cxn>
              <a:cxn ang="0">
                <a:pos x="1" y="260"/>
              </a:cxn>
              <a:cxn ang="0">
                <a:pos x="23" y="283"/>
              </a:cxn>
              <a:cxn ang="0">
                <a:pos x="25" y="304"/>
              </a:cxn>
              <a:cxn ang="0">
                <a:pos x="1" y="312"/>
              </a:cxn>
              <a:cxn ang="0">
                <a:pos x="7" y="330"/>
              </a:cxn>
              <a:cxn ang="0">
                <a:pos x="29" y="337"/>
              </a:cxn>
              <a:cxn ang="0">
                <a:pos x="41" y="362"/>
              </a:cxn>
              <a:cxn ang="0">
                <a:pos x="52" y="383"/>
              </a:cxn>
              <a:cxn ang="0">
                <a:pos x="102" y="396"/>
              </a:cxn>
              <a:cxn ang="0">
                <a:pos x="113" y="390"/>
              </a:cxn>
              <a:cxn ang="0">
                <a:pos x="113" y="344"/>
              </a:cxn>
              <a:cxn ang="0">
                <a:pos x="146" y="356"/>
              </a:cxn>
              <a:cxn ang="0">
                <a:pos x="138" y="315"/>
              </a:cxn>
              <a:cxn ang="0">
                <a:pos x="154" y="331"/>
              </a:cxn>
              <a:cxn ang="0">
                <a:pos x="169" y="336"/>
              </a:cxn>
              <a:cxn ang="0">
                <a:pos x="179" y="314"/>
              </a:cxn>
              <a:cxn ang="0">
                <a:pos x="175" y="295"/>
              </a:cxn>
              <a:cxn ang="0">
                <a:pos x="183" y="291"/>
              </a:cxn>
              <a:cxn ang="0">
                <a:pos x="201" y="303"/>
              </a:cxn>
              <a:cxn ang="0">
                <a:pos x="236" y="257"/>
              </a:cxn>
              <a:cxn ang="0">
                <a:pos x="260" y="258"/>
              </a:cxn>
              <a:cxn ang="0">
                <a:pos x="274" y="257"/>
              </a:cxn>
              <a:cxn ang="0">
                <a:pos x="285" y="241"/>
              </a:cxn>
              <a:cxn ang="0">
                <a:pos x="341" y="234"/>
              </a:cxn>
              <a:cxn ang="0">
                <a:pos x="350" y="213"/>
              </a:cxn>
              <a:cxn ang="0">
                <a:pos x="379" y="196"/>
              </a:cxn>
              <a:cxn ang="0">
                <a:pos x="518" y="165"/>
              </a:cxn>
              <a:cxn ang="0">
                <a:pos x="679" y="147"/>
              </a:cxn>
              <a:cxn ang="0">
                <a:pos x="735" y="114"/>
              </a:cxn>
              <a:cxn ang="0">
                <a:pos x="759" y="63"/>
              </a:cxn>
              <a:cxn ang="0">
                <a:pos x="752" y="26"/>
              </a:cxn>
              <a:cxn ang="0">
                <a:pos x="723" y="5"/>
              </a:cxn>
              <a:cxn ang="0">
                <a:pos x="686" y="2"/>
              </a:cxn>
            </a:cxnLst>
            <a:rect l="0" t="0" r="r" b="b"/>
            <a:pathLst>
              <a:path w="759" h="396">
                <a:moveTo>
                  <a:pt x="686" y="2"/>
                </a:moveTo>
                <a:lnTo>
                  <a:pt x="686" y="2"/>
                </a:lnTo>
                <a:lnTo>
                  <a:pt x="678" y="7"/>
                </a:lnTo>
                <a:lnTo>
                  <a:pt x="671" y="14"/>
                </a:lnTo>
                <a:lnTo>
                  <a:pt x="665" y="22"/>
                </a:lnTo>
                <a:lnTo>
                  <a:pt x="660" y="29"/>
                </a:lnTo>
                <a:lnTo>
                  <a:pt x="651" y="43"/>
                </a:lnTo>
                <a:lnTo>
                  <a:pt x="647" y="47"/>
                </a:lnTo>
                <a:lnTo>
                  <a:pt x="642" y="49"/>
                </a:lnTo>
                <a:lnTo>
                  <a:pt x="642" y="49"/>
                </a:lnTo>
                <a:lnTo>
                  <a:pt x="637" y="51"/>
                </a:lnTo>
                <a:lnTo>
                  <a:pt x="633" y="51"/>
                </a:lnTo>
                <a:lnTo>
                  <a:pt x="622" y="49"/>
                </a:lnTo>
                <a:lnTo>
                  <a:pt x="613" y="47"/>
                </a:lnTo>
                <a:lnTo>
                  <a:pt x="605" y="46"/>
                </a:lnTo>
                <a:lnTo>
                  <a:pt x="605" y="46"/>
                </a:lnTo>
                <a:lnTo>
                  <a:pt x="595" y="47"/>
                </a:lnTo>
                <a:lnTo>
                  <a:pt x="586" y="49"/>
                </a:lnTo>
                <a:lnTo>
                  <a:pt x="567" y="55"/>
                </a:lnTo>
                <a:lnTo>
                  <a:pt x="550" y="62"/>
                </a:lnTo>
                <a:lnTo>
                  <a:pt x="542" y="63"/>
                </a:lnTo>
                <a:lnTo>
                  <a:pt x="533" y="64"/>
                </a:lnTo>
                <a:lnTo>
                  <a:pt x="533" y="64"/>
                </a:lnTo>
                <a:lnTo>
                  <a:pt x="525" y="64"/>
                </a:lnTo>
                <a:lnTo>
                  <a:pt x="518" y="63"/>
                </a:lnTo>
                <a:lnTo>
                  <a:pt x="505" y="59"/>
                </a:lnTo>
                <a:lnTo>
                  <a:pt x="494" y="53"/>
                </a:lnTo>
                <a:lnTo>
                  <a:pt x="482" y="46"/>
                </a:lnTo>
                <a:lnTo>
                  <a:pt x="472" y="40"/>
                </a:lnTo>
                <a:lnTo>
                  <a:pt x="460" y="33"/>
                </a:lnTo>
                <a:lnTo>
                  <a:pt x="448" y="30"/>
                </a:lnTo>
                <a:lnTo>
                  <a:pt x="441" y="29"/>
                </a:lnTo>
                <a:lnTo>
                  <a:pt x="433" y="29"/>
                </a:lnTo>
                <a:lnTo>
                  <a:pt x="433" y="29"/>
                </a:lnTo>
                <a:lnTo>
                  <a:pt x="433" y="46"/>
                </a:lnTo>
                <a:lnTo>
                  <a:pt x="349" y="46"/>
                </a:lnTo>
                <a:lnTo>
                  <a:pt x="349" y="46"/>
                </a:lnTo>
                <a:lnTo>
                  <a:pt x="349" y="46"/>
                </a:lnTo>
                <a:lnTo>
                  <a:pt x="331" y="55"/>
                </a:lnTo>
                <a:lnTo>
                  <a:pt x="316" y="64"/>
                </a:lnTo>
                <a:lnTo>
                  <a:pt x="301" y="72"/>
                </a:lnTo>
                <a:lnTo>
                  <a:pt x="293" y="76"/>
                </a:lnTo>
                <a:lnTo>
                  <a:pt x="285" y="79"/>
                </a:lnTo>
                <a:lnTo>
                  <a:pt x="285" y="79"/>
                </a:lnTo>
                <a:lnTo>
                  <a:pt x="283" y="82"/>
                </a:lnTo>
                <a:lnTo>
                  <a:pt x="282" y="85"/>
                </a:lnTo>
                <a:lnTo>
                  <a:pt x="278" y="94"/>
                </a:lnTo>
                <a:lnTo>
                  <a:pt x="276" y="98"/>
                </a:lnTo>
                <a:lnTo>
                  <a:pt x="274" y="101"/>
                </a:lnTo>
                <a:lnTo>
                  <a:pt x="272" y="105"/>
                </a:lnTo>
                <a:lnTo>
                  <a:pt x="268" y="105"/>
                </a:lnTo>
                <a:lnTo>
                  <a:pt x="268" y="105"/>
                </a:lnTo>
                <a:lnTo>
                  <a:pt x="262" y="102"/>
                </a:lnTo>
                <a:lnTo>
                  <a:pt x="255" y="98"/>
                </a:lnTo>
                <a:lnTo>
                  <a:pt x="245" y="91"/>
                </a:lnTo>
                <a:lnTo>
                  <a:pt x="245" y="91"/>
                </a:lnTo>
                <a:lnTo>
                  <a:pt x="236" y="100"/>
                </a:lnTo>
                <a:lnTo>
                  <a:pt x="229" y="106"/>
                </a:lnTo>
                <a:lnTo>
                  <a:pt x="222" y="109"/>
                </a:lnTo>
                <a:lnTo>
                  <a:pt x="213" y="113"/>
                </a:lnTo>
                <a:lnTo>
                  <a:pt x="213" y="113"/>
                </a:lnTo>
                <a:lnTo>
                  <a:pt x="211" y="108"/>
                </a:lnTo>
                <a:lnTo>
                  <a:pt x="209" y="105"/>
                </a:lnTo>
                <a:lnTo>
                  <a:pt x="206" y="102"/>
                </a:lnTo>
                <a:lnTo>
                  <a:pt x="204" y="101"/>
                </a:lnTo>
                <a:lnTo>
                  <a:pt x="197" y="101"/>
                </a:lnTo>
                <a:lnTo>
                  <a:pt x="186" y="101"/>
                </a:lnTo>
                <a:lnTo>
                  <a:pt x="186" y="101"/>
                </a:lnTo>
                <a:lnTo>
                  <a:pt x="186" y="128"/>
                </a:lnTo>
                <a:lnTo>
                  <a:pt x="186" y="128"/>
                </a:lnTo>
                <a:lnTo>
                  <a:pt x="186" y="128"/>
                </a:lnTo>
                <a:lnTo>
                  <a:pt x="191" y="130"/>
                </a:lnTo>
                <a:lnTo>
                  <a:pt x="196" y="133"/>
                </a:lnTo>
                <a:lnTo>
                  <a:pt x="198" y="137"/>
                </a:lnTo>
                <a:lnTo>
                  <a:pt x="201" y="142"/>
                </a:lnTo>
                <a:lnTo>
                  <a:pt x="201" y="142"/>
                </a:lnTo>
                <a:lnTo>
                  <a:pt x="168" y="142"/>
                </a:lnTo>
                <a:lnTo>
                  <a:pt x="168" y="142"/>
                </a:lnTo>
                <a:lnTo>
                  <a:pt x="171" y="153"/>
                </a:lnTo>
                <a:lnTo>
                  <a:pt x="176" y="162"/>
                </a:lnTo>
                <a:lnTo>
                  <a:pt x="181" y="170"/>
                </a:lnTo>
                <a:lnTo>
                  <a:pt x="186" y="182"/>
                </a:lnTo>
                <a:lnTo>
                  <a:pt x="186" y="182"/>
                </a:lnTo>
                <a:lnTo>
                  <a:pt x="177" y="181"/>
                </a:lnTo>
                <a:lnTo>
                  <a:pt x="169" y="177"/>
                </a:lnTo>
                <a:lnTo>
                  <a:pt x="164" y="173"/>
                </a:lnTo>
                <a:lnTo>
                  <a:pt x="161" y="168"/>
                </a:lnTo>
                <a:lnTo>
                  <a:pt x="161" y="168"/>
                </a:lnTo>
                <a:lnTo>
                  <a:pt x="143" y="168"/>
                </a:lnTo>
                <a:lnTo>
                  <a:pt x="143" y="168"/>
                </a:lnTo>
                <a:lnTo>
                  <a:pt x="143" y="168"/>
                </a:lnTo>
                <a:lnTo>
                  <a:pt x="143" y="178"/>
                </a:lnTo>
                <a:lnTo>
                  <a:pt x="144" y="186"/>
                </a:lnTo>
                <a:lnTo>
                  <a:pt x="144" y="193"/>
                </a:lnTo>
                <a:lnTo>
                  <a:pt x="143" y="200"/>
                </a:lnTo>
                <a:lnTo>
                  <a:pt x="143" y="200"/>
                </a:lnTo>
                <a:lnTo>
                  <a:pt x="139" y="201"/>
                </a:lnTo>
                <a:lnTo>
                  <a:pt x="137" y="203"/>
                </a:lnTo>
                <a:lnTo>
                  <a:pt x="131" y="203"/>
                </a:lnTo>
                <a:lnTo>
                  <a:pt x="124" y="200"/>
                </a:lnTo>
                <a:lnTo>
                  <a:pt x="124" y="200"/>
                </a:lnTo>
                <a:lnTo>
                  <a:pt x="121" y="200"/>
                </a:lnTo>
                <a:lnTo>
                  <a:pt x="117" y="201"/>
                </a:lnTo>
                <a:lnTo>
                  <a:pt x="115" y="204"/>
                </a:lnTo>
                <a:lnTo>
                  <a:pt x="113" y="205"/>
                </a:lnTo>
                <a:lnTo>
                  <a:pt x="110" y="211"/>
                </a:lnTo>
                <a:lnTo>
                  <a:pt x="109" y="217"/>
                </a:lnTo>
                <a:lnTo>
                  <a:pt x="107" y="234"/>
                </a:lnTo>
                <a:lnTo>
                  <a:pt x="106" y="242"/>
                </a:lnTo>
                <a:lnTo>
                  <a:pt x="102" y="249"/>
                </a:lnTo>
                <a:lnTo>
                  <a:pt x="102" y="249"/>
                </a:lnTo>
                <a:lnTo>
                  <a:pt x="94" y="241"/>
                </a:lnTo>
                <a:lnTo>
                  <a:pt x="85" y="234"/>
                </a:lnTo>
                <a:lnTo>
                  <a:pt x="77" y="228"/>
                </a:lnTo>
                <a:lnTo>
                  <a:pt x="72" y="227"/>
                </a:lnTo>
                <a:lnTo>
                  <a:pt x="69" y="227"/>
                </a:lnTo>
                <a:lnTo>
                  <a:pt x="69" y="227"/>
                </a:lnTo>
                <a:lnTo>
                  <a:pt x="59" y="227"/>
                </a:lnTo>
                <a:lnTo>
                  <a:pt x="47" y="229"/>
                </a:lnTo>
                <a:lnTo>
                  <a:pt x="36" y="234"/>
                </a:lnTo>
                <a:lnTo>
                  <a:pt x="25" y="238"/>
                </a:lnTo>
                <a:lnTo>
                  <a:pt x="15" y="243"/>
                </a:lnTo>
                <a:lnTo>
                  <a:pt x="7" y="250"/>
                </a:lnTo>
                <a:lnTo>
                  <a:pt x="2" y="257"/>
                </a:lnTo>
                <a:lnTo>
                  <a:pt x="1" y="260"/>
                </a:lnTo>
                <a:lnTo>
                  <a:pt x="0" y="264"/>
                </a:lnTo>
                <a:lnTo>
                  <a:pt x="0" y="264"/>
                </a:lnTo>
                <a:lnTo>
                  <a:pt x="2" y="267"/>
                </a:lnTo>
                <a:lnTo>
                  <a:pt x="7" y="272"/>
                </a:lnTo>
                <a:lnTo>
                  <a:pt x="23" y="283"/>
                </a:lnTo>
                <a:lnTo>
                  <a:pt x="40" y="295"/>
                </a:lnTo>
                <a:lnTo>
                  <a:pt x="51" y="304"/>
                </a:lnTo>
                <a:lnTo>
                  <a:pt x="51" y="304"/>
                </a:lnTo>
                <a:lnTo>
                  <a:pt x="25" y="304"/>
                </a:lnTo>
                <a:lnTo>
                  <a:pt x="25" y="304"/>
                </a:lnTo>
                <a:lnTo>
                  <a:pt x="18" y="303"/>
                </a:lnTo>
                <a:lnTo>
                  <a:pt x="10" y="304"/>
                </a:lnTo>
                <a:lnTo>
                  <a:pt x="7" y="305"/>
                </a:lnTo>
                <a:lnTo>
                  <a:pt x="3" y="308"/>
                </a:lnTo>
                <a:lnTo>
                  <a:pt x="1" y="312"/>
                </a:lnTo>
                <a:lnTo>
                  <a:pt x="0" y="318"/>
                </a:lnTo>
                <a:lnTo>
                  <a:pt x="0" y="318"/>
                </a:lnTo>
                <a:lnTo>
                  <a:pt x="1" y="325"/>
                </a:lnTo>
                <a:lnTo>
                  <a:pt x="3" y="328"/>
                </a:lnTo>
                <a:lnTo>
                  <a:pt x="7" y="330"/>
                </a:lnTo>
                <a:lnTo>
                  <a:pt x="10" y="331"/>
                </a:lnTo>
                <a:lnTo>
                  <a:pt x="20" y="334"/>
                </a:lnTo>
                <a:lnTo>
                  <a:pt x="24" y="335"/>
                </a:lnTo>
                <a:lnTo>
                  <a:pt x="29" y="337"/>
                </a:lnTo>
                <a:lnTo>
                  <a:pt x="29" y="337"/>
                </a:lnTo>
                <a:lnTo>
                  <a:pt x="33" y="339"/>
                </a:lnTo>
                <a:lnTo>
                  <a:pt x="37" y="343"/>
                </a:lnTo>
                <a:lnTo>
                  <a:pt x="39" y="348"/>
                </a:lnTo>
                <a:lnTo>
                  <a:pt x="40" y="352"/>
                </a:lnTo>
                <a:lnTo>
                  <a:pt x="41" y="362"/>
                </a:lnTo>
                <a:lnTo>
                  <a:pt x="44" y="373"/>
                </a:lnTo>
                <a:lnTo>
                  <a:pt x="44" y="373"/>
                </a:lnTo>
                <a:lnTo>
                  <a:pt x="45" y="376"/>
                </a:lnTo>
                <a:lnTo>
                  <a:pt x="46" y="379"/>
                </a:lnTo>
                <a:lnTo>
                  <a:pt x="52" y="383"/>
                </a:lnTo>
                <a:lnTo>
                  <a:pt x="59" y="387"/>
                </a:lnTo>
                <a:lnTo>
                  <a:pt x="67" y="390"/>
                </a:lnTo>
                <a:lnTo>
                  <a:pt x="76" y="392"/>
                </a:lnTo>
                <a:lnTo>
                  <a:pt x="86" y="395"/>
                </a:lnTo>
                <a:lnTo>
                  <a:pt x="102" y="396"/>
                </a:lnTo>
                <a:lnTo>
                  <a:pt x="102" y="396"/>
                </a:lnTo>
                <a:lnTo>
                  <a:pt x="106" y="396"/>
                </a:lnTo>
                <a:lnTo>
                  <a:pt x="109" y="395"/>
                </a:lnTo>
                <a:lnTo>
                  <a:pt x="112" y="392"/>
                </a:lnTo>
                <a:lnTo>
                  <a:pt x="113" y="390"/>
                </a:lnTo>
                <a:lnTo>
                  <a:pt x="115" y="384"/>
                </a:lnTo>
                <a:lnTo>
                  <a:pt x="116" y="376"/>
                </a:lnTo>
                <a:lnTo>
                  <a:pt x="114" y="360"/>
                </a:lnTo>
                <a:lnTo>
                  <a:pt x="113" y="344"/>
                </a:lnTo>
                <a:lnTo>
                  <a:pt x="113" y="344"/>
                </a:lnTo>
                <a:lnTo>
                  <a:pt x="123" y="348"/>
                </a:lnTo>
                <a:lnTo>
                  <a:pt x="131" y="351"/>
                </a:lnTo>
                <a:lnTo>
                  <a:pt x="138" y="354"/>
                </a:lnTo>
                <a:lnTo>
                  <a:pt x="146" y="356"/>
                </a:lnTo>
                <a:lnTo>
                  <a:pt x="146" y="356"/>
                </a:lnTo>
                <a:lnTo>
                  <a:pt x="147" y="349"/>
                </a:lnTo>
                <a:lnTo>
                  <a:pt x="146" y="342"/>
                </a:lnTo>
                <a:lnTo>
                  <a:pt x="143" y="330"/>
                </a:lnTo>
                <a:lnTo>
                  <a:pt x="139" y="320"/>
                </a:lnTo>
                <a:lnTo>
                  <a:pt x="138" y="315"/>
                </a:lnTo>
                <a:lnTo>
                  <a:pt x="139" y="311"/>
                </a:lnTo>
                <a:lnTo>
                  <a:pt x="139" y="311"/>
                </a:lnTo>
                <a:lnTo>
                  <a:pt x="145" y="320"/>
                </a:lnTo>
                <a:lnTo>
                  <a:pt x="151" y="328"/>
                </a:lnTo>
                <a:lnTo>
                  <a:pt x="154" y="331"/>
                </a:lnTo>
                <a:lnTo>
                  <a:pt x="156" y="335"/>
                </a:lnTo>
                <a:lnTo>
                  <a:pt x="161" y="336"/>
                </a:lnTo>
                <a:lnTo>
                  <a:pt x="164" y="337"/>
                </a:lnTo>
                <a:lnTo>
                  <a:pt x="164" y="337"/>
                </a:lnTo>
                <a:lnTo>
                  <a:pt x="169" y="336"/>
                </a:lnTo>
                <a:lnTo>
                  <a:pt x="174" y="335"/>
                </a:lnTo>
                <a:lnTo>
                  <a:pt x="176" y="331"/>
                </a:lnTo>
                <a:lnTo>
                  <a:pt x="177" y="329"/>
                </a:lnTo>
                <a:lnTo>
                  <a:pt x="179" y="321"/>
                </a:lnTo>
                <a:lnTo>
                  <a:pt x="179" y="314"/>
                </a:lnTo>
                <a:lnTo>
                  <a:pt x="179" y="314"/>
                </a:lnTo>
                <a:lnTo>
                  <a:pt x="179" y="308"/>
                </a:lnTo>
                <a:lnTo>
                  <a:pt x="178" y="304"/>
                </a:lnTo>
                <a:lnTo>
                  <a:pt x="175" y="297"/>
                </a:lnTo>
                <a:lnTo>
                  <a:pt x="175" y="295"/>
                </a:lnTo>
                <a:lnTo>
                  <a:pt x="175" y="292"/>
                </a:lnTo>
                <a:lnTo>
                  <a:pt x="176" y="289"/>
                </a:lnTo>
                <a:lnTo>
                  <a:pt x="179" y="285"/>
                </a:lnTo>
                <a:lnTo>
                  <a:pt x="179" y="285"/>
                </a:lnTo>
                <a:lnTo>
                  <a:pt x="183" y="291"/>
                </a:lnTo>
                <a:lnTo>
                  <a:pt x="189" y="297"/>
                </a:lnTo>
                <a:lnTo>
                  <a:pt x="193" y="301"/>
                </a:lnTo>
                <a:lnTo>
                  <a:pt x="198" y="304"/>
                </a:lnTo>
                <a:lnTo>
                  <a:pt x="198" y="304"/>
                </a:lnTo>
                <a:lnTo>
                  <a:pt x="201" y="303"/>
                </a:lnTo>
                <a:lnTo>
                  <a:pt x="205" y="301"/>
                </a:lnTo>
                <a:lnTo>
                  <a:pt x="212" y="296"/>
                </a:lnTo>
                <a:lnTo>
                  <a:pt x="217" y="287"/>
                </a:lnTo>
                <a:lnTo>
                  <a:pt x="224" y="277"/>
                </a:lnTo>
                <a:lnTo>
                  <a:pt x="236" y="257"/>
                </a:lnTo>
                <a:lnTo>
                  <a:pt x="240" y="250"/>
                </a:lnTo>
                <a:lnTo>
                  <a:pt x="245" y="244"/>
                </a:lnTo>
                <a:lnTo>
                  <a:pt x="245" y="244"/>
                </a:lnTo>
                <a:lnTo>
                  <a:pt x="255" y="254"/>
                </a:lnTo>
                <a:lnTo>
                  <a:pt x="260" y="258"/>
                </a:lnTo>
                <a:lnTo>
                  <a:pt x="263" y="259"/>
                </a:lnTo>
                <a:lnTo>
                  <a:pt x="268" y="259"/>
                </a:lnTo>
                <a:lnTo>
                  <a:pt x="268" y="259"/>
                </a:lnTo>
                <a:lnTo>
                  <a:pt x="272" y="259"/>
                </a:lnTo>
                <a:lnTo>
                  <a:pt x="274" y="257"/>
                </a:lnTo>
                <a:lnTo>
                  <a:pt x="277" y="250"/>
                </a:lnTo>
                <a:lnTo>
                  <a:pt x="280" y="244"/>
                </a:lnTo>
                <a:lnTo>
                  <a:pt x="282" y="242"/>
                </a:lnTo>
                <a:lnTo>
                  <a:pt x="285" y="241"/>
                </a:lnTo>
                <a:lnTo>
                  <a:pt x="285" y="241"/>
                </a:lnTo>
                <a:lnTo>
                  <a:pt x="296" y="241"/>
                </a:lnTo>
                <a:lnTo>
                  <a:pt x="311" y="241"/>
                </a:lnTo>
                <a:lnTo>
                  <a:pt x="328" y="238"/>
                </a:lnTo>
                <a:lnTo>
                  <a:pt x="335" y="236"/>
                </a:lnTo>
                <a:lnTo>
                  <a:pt x="341" y="234"/>
                </a:lnTo>
                <a:lnTo>
                  <a:pt x="341" y="234"/>
                </a:lnTo>
                <a:lnTo>
                  <a:pt x="344" y="230"/>
                </a:lnTo>
                <a:lnTo>
                  <a:pt x="346" y="227"/>
                </a:lnTo>
                <a:lnTo>
                  <a:pt x="349" y="217"/>
                </a:lnTo>
                <a:lnTo>
                  <a:pt x="350" y="213"/>
                </a:lnTo>
                <a:lnTo>
                  <a:pt x="352" y="209"/>
                </a:lnTo>
                <a:lnTo>
                  <a:pt x="354" y="206"/>
                </a:lnTo>
                <a:lnTo>
                  <a:pt x="359" y="205"/>
                </a:lnTo>
                <a:lnTo>
                  <a:pt x="359" y="205"/>
                </a:lnTo>
                <a:lnTo>
                  <a:pt x="379" y="196"/>
                </a:lnTo>
                <a:lnTo>
                  <a:pt x="397" y="190"/>
                </a:lnTo>
                <a:lnTo>
                  <a:pt x="414" y="184"/>
                </a:lnTo>
                <a:lnTo>
                  <a:pt x="431" y="181"/>
                </a:lnTo>
                <a:lnTo>
                  <a:pt x="469" y="173"/>
                </a:lnTo>
                <a:lnTo>
                  <a:pt x="518" y="165"/>
                </a:lnTo>
                <a:lnTo>
                  <a:pt x="518" y="165"/>
                </a:lnTo>
                <a:lnTo>
                  <a:pt x="639" y="165"/>
                </a:lnTo>
                <a:lnTo>
                  <a:pt x="639" y="165"/>
                </a:lnTo>
                <a:lnTo>
                  <a:pt x="639" y="165"/>
                </a:lnTo>
                <a:lnTo>
                  <a:pt x="679" y="147"/>
                </a:lnTo>
                <a:lnTo>
                  <a:pt x="700" y="138"/>
                </a:lnTo>
                <a:lnTo>
                  <a:pt x="709" y="133"/>
                </a:lnTo>
                <a:lnTo>
                  <a:pt x="718" y="128"/>
                </a:lnTo>
                <a:lnTo>
                  <a:pt x="727" y="121"/>
                </a:lnTo>
                <a:lnTo>
                  <a:pt x="735" y="114"/>
                </a:lnTo>
                <a:lnTo>
                  <a:pt x="742" y="106"/>
                </a:lnTo>
                <a:lnTo>
                  <a:pt x="748" y="98"/>
                </a:lnTo>
                <a:lnTo>
                  <a:pt x="752" y="87"/>
                </a:lnTo>
                <a:lnTo>
                  <a:pt x="757" y="76"/>
                </a:lnTo>
                <a:lnTo>
                  <a:pt x="759" y="63"/>
                </a:lnTo>
                <a:lnTo>
                  <a:pt x="759" y="49"/>
                </a:lnTo>
                <a:lnTo>
                  <a:pt x="759" y="49"/>
                </a:lnTo>
                <a:lnTo>
                  <a:pt x="759" y="41"/>
                </a:lnTo>
                <a:lnTo>
                  <a:pt x="757" y="33"/>
                </a:lnTo>
                <a:lnTo>
                  <a:pt x="752" y="26"/>
                </a:lnTo>
                <a:lnTo>
                  <a:pt x="748" y="20"/>
                </a:lnTo>
                <a:lnTo>
                  <a:pt x="742" y="15"/>
                </a:lnTo>
                <a:lnTo>
                  <a:pt x="736" y="10"/>
                </a:lnTo>
                <a:lnTo>
                  <a:pt x="729" y="7"/>
                </a:lnTo>
                <a:lnTo>
                  <a:pt x="723" y="5"/>
                </a:lnTo>
                <a:lnTo>
                  <a:pt x="710" y="1"/>
                </a:lnTo>
                <a:lnTo>
                  <a:pt x="697" y="0"/>
                </a:lnTo>
                <a:lnTo>
                  <a:pt x="689" y="0"/>
                </a:lnTo>
                <a:lnTo>
                  <a:pt x="687" y="1"/>
                </a:lnTo>
                <a:lnTo>
                  <a:pt x="686" y="2"/>
                </a:lnTo>
                <a:lnTo>
                  <a:pt x="686" y="2"/>
                </a:lnTo>
                <a:lnTo>
                  <a:pt x="686" y="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8" name="Freeform 53"/>
          <p:cNvSpPr>
            <a:spLocks/>
          </p:cNvSpPr>
          <p:nvPr/>
        </p:nvSpPr>
        <p:spPr bwMode="auto">
          <a:xfrm>
            <a:off x="887413" y="3209925"/>
            <a:ext cx="279400" cy="474663"/>
          </a:xfrm>
          <a:custGeom>
            <a:avLst/>
            <a:gdLst/>
            <a:ahLst/>
            <a:cxnLst>
              <a:cxn ang="0">
                <a:pos x="253" y="0"/>
              </a:cxn>
              <a:cxn ang="0">
                <a:pos x="222" y="37"/>
              </a:cxn>
              <a:cxn ang="0">
                <a:pos x="191" y="67"/>
              </a:cxn>
              <a:cxn ang="0">
                <a:pos x="174" y="102"/>
              </a:cxn>
              <a:cxn ang="0">
                <a:pos x="160" y="116"/>
              </a:cxn>
              <a:cxn ang="0">
                <a:pos x="123" y="116"/>
              </a:cxn>
              <a:cxn ang="0">
                <a:pos x="107" y="123"/>
              </a:cxn>
              <a:cxn ang="0">
                <a:pos x="103" y="140"/>
              </a:cxn>
              <a:cxn ang="0">
                <a:pos x="110" y="179"/>
              </a:cxn>
              <a:cxn ang="0">
                <a:pos x="86" y="191"/>
              </a:cxn>
              <a:cxn ang="0">
                <a:pos x="57" y="208"/>
              </a:cxn>
              <a:cxn ang="0">
                <a:pos x="34" y="270"/>
              </a:cxn>
              <a:cxn ang="0">
                <a:pos x="23" y="298"/>
              </a:cxn>
              <a:cxn ang="0">
                <a:pos x="3" y="318"/>
              </a:cxn>
              <a:cxn ang="0">
                <a:pos x="0" y="337"/>
              </a:cxn>
              <a:cxn ang="0">
                <a:pos x="16" y="367"/>
              </a:cxn>
              <a:cxn ang="0">
                <a:pos x="32" y="392"/>
              </a:cxn>
              <a:cxn ang="0">
                <a:pos x="29" y="408"/>
              </a:cxn>
              <a:cxn ang="0">
                <a:pos x="11" y="426"/>
              </a:cxn>
              <a:cxn ang="0">
                <a:pos x="8" y="438"/>
              </a:cxn>
              <a:cxn ang="0">
                <a:pos x="46" y="460"/>
              </a:cxn>
              <a:cxn ang="0">
                <a:pos x="65" y="477"/>
              </a:cxn>
              <a:cxn ang="0">
                <a:pos x="71" y="515"/>
              </a:cxn>
              <a:cxn ang="0">
                <a:pos x="82" y="534"/>
              </a:cxn>
              <a:cxn ang="0">
                <a:pos x="91" y="535"/>
              </a:cxn>
              <a:cxn ang="0">
                <a:pos x="103" y="526"/>
              </a:cxn>
              <a:cxn ang="0">
                <a:pos x="112" y="528"/>
              </a:cxn>
              <a:cxn ang="0">
                <a:pos x="129" y="543"/>
              </a:cxn>
              <a:cxn ang="0">
                <a:pos x="147" y="537"/>
              </a:cxn>
              <a:cxn ang="0">
                <a:pos x="190" y="502"/>
              </a:cxn>
              <a:cxn ang="0">
                <a:pos x="198" y="484"/>
              </a:cxn>
              <a:cxn ang="0">
                <a:pos x="202" y="434"/>
              </a:cxn>
              <a:cxn ang="0">
                <a:pos x="215" y="404"/>
              </a:cxn>
              <a:cxn ang="0">
                <a:pos x="231" y="404"/>
              </a:cxn>
              <a:cxn ang="0">
                <a:pos x="235" y="366"/>
              </a:cxn>
              <a:cxn ang="0">
                <a:pos x="271" y="327"/>
              </a:cxn>
              <a:cxn ang="0">
                <a:pos x="308" y="285"/>
              </a:cxn>
              <a:cxn ang="0">
                <a:pos x="312" y="267"/>
              </a:cxn>
              <a:cxn ang="0">
                <a:pos x="298" y="238"/>
              </a:cxn>
              <a:cxn ang="0">
                <a:pos x="299" y="211"/>
              </a:cxn>
              <a:cxn ang="0">
                <a:pos x="317" y="190"/>
              </a:cxn>
              <a:cxn ang="0">
                <a:pos x="331" y="181"/>
              </a:cxn>
              <a:cxn ang="0">
                <a:pos x="331" y="146"/>
              </a:cxn>
              <a:cxn ang="0">
                <a:pos x="341" y="107"/>
              </a:cxn>
              <a:cxn ang="0">
                <a:pos x="337" y="77"/>
              </a:cxn>
              <a:cxn ang="0">
                <a:pos x="320" y="49"/>
              </a:cxn>
              <a:cxn ang="0">
                <a:pos x="316" y="9"/>
              </a:cxn>
              <a:cxn ang="0">
                <a:pos x="315" y="0"/>
              </a:cxn>
            </a:cxnLst>
            <a:rect l="0" t="0" r="r" b="b"/>
            <a:pathLst>
              <a:path w="342" h="543">
                <a:moveTo>
                  <a:pt x="315" y="0"/>
                </a:moveTo>
                <a:lnTo>
                  <a:pt x="253" y="0"/>
                </a:lnTo>
                <a:lnTo>
                  <a:pt x="253" y="0"/>
                </a:lnTo>
                <a:lnTo>
                  <a:pt x="253" y="0"/>
                </a:lnTo>
                <a:lnTo>
                  <a:pt x="246" y="13"/>
                </a:lnTo>
                <a:lnTo>
                  <a:pt x="238" y="22"/>
                </a:lnTo>
                <a:lnTo>
                  <a:pt x="230" y="30"/>
                </a:lnTo>
                <a:lnTo>
                  <a:pt x="222" y="37"/>
                </a:lnTo>
                <a:lnTo>
                  <a:pt x="206" y="51"/>
                </a:lnTo>
                <a:lnTo>
                  <a:pt x="198" y="57"/>
                </a:lnTo>
                <a:lnTo>
                  <a:pt x="191" y="67"/>
                </a:lnTo>
                <a:lnTo>
                  <a:pt x="191" y="67"/>
                </a:lnTo>
                <a:lnTo>
                  <a:pt x="187" y="71"/>
                </a:lnTo>
                <a:lnTo>
                  <a:pt x="184" y="78"/>
                </a:lnTo>
                <a:lnTo>
                  <a:pt x="179" y="90"/>
                </a:lnTo>
                <a:lnTo>
                  <a:pt x="174" y="102"/>
                </a:lnTo>
                <a:lnTo>
                  <a:pt x="170" y="108"/>
                </a:lnTo>
                <a:lnTo>
                  <a:pt x="166" y="114"/>
                </a:lnTo>
                <a:lnTo>
                  <a:pt x="166" y="114"/>
                </a:lnTo>
                <a:lnTo>
                  <a:pt x="160" y="116"/>
                </a:lnTo>
                <a:lnTo>
                  <a:pt x="154" y="116"/>
                </a:lnTo>
                <a:lnTo>
                  <a:pt x="139" y="116"/>
                </a:lnTo>
                <a:lnTo>
                  <a:pt x="131" y="116"/>
                </a:lnTo>
                <a:lnTo>
                  <a:pt x="123" y="116"/>
                </a:lnTo>
                <a:lnTo>
                  <a:pt x="116" y="117"/>
                </a:lnTo>
                <a:lnTo>
                  <a:pt x="110" y="121"/>
                </a:lnTo>
                <a:lnTo>
                  <a:pt x="110" y="121"/>
                </a:lnTo>
                <a:lnTo>
                  <a:pt x="107" y="123"/>
                </a:lnTo>
                <a:lnTo>
                  <a:pt x="105" y="127"/>
                </a:lnTo>
                <a:lnTo>
                  <a:pt x="103" y="130"/>
                </a:lnTo>
                <a:lnTo>
                  <a:pt x="102" y="133"/>
                </a:lnTo>
                <a:lnTo>
                  <a:pt x="103" y="140"/>
                </a:lnTo>
                <a:lnTo>
                  <a:pt x="105" y="147"/>
                </a:lnTo>
                <a:lnTo>
                  <a:pt x="109" y="163"/>
                </a:lnTo>
                <a:lnTo>
                  <a:pt x="110" y="171"/>
                </a:lnTo>
                <a:lnTo>
                  <a:pt x="110" y="179"/>
                </a:lnTo>
                <a:lnTo>
                  <a:pt x="110" y="179"/>
                </a:lnTo>
                <a:lnTo>
                  <a:pt x="107" y="182"/>
                </a:lnTo>
                <a:lnTo>
                  <a:pt x="101" y="184"/>
                </a:lnTo>
                <a:lnTo>
                  <a:pt x="86" y="191"/>
                </a:lnTo>
                <a:lnTo>
                  <a:pt x="65" y="198"/>
                </a:lnTo>
                <a:lnTo>
                  <a:pt x="65" y="198"/>
                </a:lnTo>
                <a:lnTo>
                  <a:pt x="61" y="202"/>
                </a:lnTo>
                <a:lnTo>
                  <a:pt x="57" y="208"/>
                </a:lnTo>
                <a:lnTo>
                  <a:pt x="51" y="219"/>
                </a:lnTo>
                <a:lnTo>
                  <a:pt x="46" y="231"/>
                </a:lnTo>
                <a:lnTo>
                  <a:pt x="41" y="244"/>
                </a:lnTo>
                <a:lnTo>
                  <a:pt x="34" y="270"/>
                </a:lnTo>
                <a:lnTo>
                  <a:pt x="31" y="283"/>
                </a:lnTo>
                <a:lnTo>
                  <a:pt x="26" y="293"/>
                </a:lnTo>
                <a:lnTo>
                  <a:pt x="26" y="293"/>
                </a:lnTo>
                <a:lnTo>
                  <a:pt x="23" y="298"/>
                </a:lnTo>
                <a:lnTo>
                  <a:pt x="18" y="303"/>
                </a:lnTo>
                <a:lnTo>
                  <a:pt x="10" y="309"/>
                </a:lnTo>
                <a:lnTo>
                  <a:pt x="6" y="313"/>
                </a:lnTo>
                <a:lnTo>
                  <a:pt x="3" y="318"/>
                </a:lnTo>
                <a:lnTo>
                  <a:pt x="1" y="323"/>
                </a:lnTo>
                <a:lnTo>
                  <a:pt x="0" y="330"/>
                </a:lnTo>
                <a:lnTo>
                  <a:pt x="0" y="330"/>
                </a:lnTo>
                <a:lnTo>
                  <a:pt x="0" y="337"/>
                </a:lnTo>
                <a:lnTo>
                  <a:pt x="1" y="343"/>
                </a:lnTo>
                <a:lnTo>
                  <a:pt x="6" y="353"/>
                </a:lnTo>
                <a:lnTo>
                  <a:pt x="10" y="361"/>
                </a:lnTo>
                <a:lnTo>
                  <a:pt x="16" y="367"/>
                </a:lnTo>
                <a:lnTo>
                  <a:pt x="23" y="374"/>
                </a:lnTo>
                <a:lnTo>
                  <a:pt x="28" y="381"/>
                </a:lnTo>
                <a:lnTo>
                  <a:pt x="31" y="388"/>
                </a:lnTo>
                <a:lnTo>
                  <a:pt x="32" y="392"/>
                </a:lnTo>
                <a:lnTo>
                  <a:pt x="33" y="397"/>
                </a:lnTo>
                <a:lnTo>
                  <a:pt x="33" y="397"/>
                </a:lnTo>
                <a:lnTo>
                  <a:pt x="32" y="403"/>
                </a:lnTo>
                <a:lnTo>
                  <a:pt x="29" y="408"/>
                </a:lnTo>
                <a:lnTo>
                  <a:pt x="25" y="413"/>
                </a:lnTo>
                <a:lnTo>
                  <a:pt x="19" y="416"/>
                </a:lnTo>
                <a:lnTo>
                  <a:pt x="15" y="421"/>
                </a:lnTo>
                <a:lnTo>
                  <a:pt x="11" y="426"/>
                </a:lnTo>
                <a:lnTo>
                  <a:pt x="8" y="431"/>
                </a:lnTo>
                <a:lnTo>
                  <a:pt x="7" y="437"/>
                </a:lnTo>
                <a:lnTo>
                  <a:pt x="7" y="437"/>
                </a:lnTo>
                <a:lnTo>
                  <a:pt x="8" y="438"/>
                </a:lnTo>
                <a:lnTo>
                  <a:pt x="9" y="441"/>
                </a:lnTo>
                <a:lnTo>
                  <a:pt x="16" y="444"/>
                </a:lnTo>
                <a:lnTo>
                  <a:pt x="36" y="454"/>
                </a:lnTo>
                <a:lnTo>
                  <a:pt x="46" y="460"/>
                </a:lnTo>
                <a:lnTo>
                  <a:pt x="55" y="466"/>
                </a:lnTo>
                <a:lnTo>
                  <a:pt x="62" y="472"/>
                </a:lnTo>
                <a:lnTo>
                  <a:pt x="64" y="475"/>
                </a:lnTo>
                <a:lnTo>
                  <a:pt x="65" y="477"/>
                </a:lnTo>
                <a:lnTo>
                  <a:pt x="65" y="477"/>
                </a:lnTo>
                <a:lnTo>
                  <a:pt x="68" y="487"/>
                </a:lnTo>
                <a:lnTo>
                  <a:pt x="69" y="496"/>
                </a:lnTo>
                <a:lnTo>
                  <a:pt x="71" y="515"/>
                </a:lnTo>
                <a:lnTo>
                  <a:pt x="74" y="524"/>
                </a:lnTo>
                <a:lnTo>
                  <a:pt x="76" y="529"/>
                </a:lnTo>
                <a:lnTo>
                  <a:pt x="78" y="533"/>
                </a:lnTo>
                <a:lnTo>
                  <a:pt x="82" y="534"/>
                </a:lnTo>
                <a:lnTo>
                  <a:pt x="84" y="535"/>
                </a:lnTo>
                <a:lnTo>
                  <a:pt x="88" y="536"/>
                </a:lnTo>
                <a:lnTo>
                  <a:pt x="88" y="536"/>
                </a:lnTo>
                <a:lnTo>
                  <a:pt x="91" y="535"/>
                </a:lnTo>
                <a:lnTo>
                  <a:pt x="93" y="534"/>
                </a:lnTo>
                <a:lnTo>
                  <a:pt x="98" y="530"/>
                </a:lnTo>
                <a:lnTo>
                  <a:pt x="101" y="527"/>
                </a:lnTo>
                <a:lnTo>
                  <a:pt x="103" y="526"/>
                </a:lnTo>
                <a:lnTo>
                  <a:pt x="107" y="526"/>
                </a:lnTo>
                <a:lnTo>
                  <a:pt x="107" y="526"/>
                </a:lnTo>
                <a:lnTo>
                  <a:pt x="109" y="526"/>
                </a:lnTo>
                <a:lnTo>
                  <a:pt x="112" y="528"/>
                </a:lnTo>
                <a:lnTo>
                  <a:pt x="116" y="534"/>
                </a:lnTo>
                <a:lnTo>
                  <a:pt x="122" y="541"/>
                </a:lnTo>
                <a:lnTo>
                  <a:pt x="125" y="543"/>
                </a:lnTo>
                <a:lnTo>
                  <a:pt x="129" y="543"/>
                </a:lnTo>
                <a:lnTo>
                  <a:pt x="129" y="543"/>
                </a:lnTo>
                <a:lnTo>
                  <a:pt x="132" y="543"/>
                </a:lnTo>
                <a:lnTo>
                  <a:pt x="137" y="542"/>
                </a:lnTo>
                <a:lnTo>
                  <a:pt x="147" y="537"/>
                </a:lnTo>
                <a:lnTo>
                  <a:pt x="159" y="529"/>
                </a:lnTo>
                <a:lnTo>
                  <a:pt x="170" y="521"/>
                </a:lnTo>
                <a:lnTo>
                  <a:pt x="181" y="511"/>
                </a:lnTo>
                <a:lnTo>
                  <a:pt x="190" y="502"/>
                </a:lnTo>
                <a:lnTo>
                  <a:pt x="196" y="492"/>
                </a:lnTo>
                <a:lnTo>
                  <a:pt x="198" y="488"/>
                </a:lnTo>
                <a:lnTo>
                  <a:pt x="198" y="484"/>
                </a:lnTo>
                <a:lnTo>
                  <a:pt x="198" y="484"/>
                </a:lnTo>
                <a:lnTo>
                  <a:pt x="198" y="459"/>
                </a:lnTo>
                <a:lnTo>
                  <a:pt x="198" y="459"/>
                </a:lnTo>
                <a:lnTo>
                  <a:pt x="199" y="448"/>
                </a:lnTo>
                <a:lnTo>
                  <a:pt x="202" y="434"/>
                </a:lnTo>
                <a:lnTo>
                  <a:pt x="206" y="420"/>
                </a:lnTo>
                <a:lnTo>
                  <a:pt x="209" y="404"/>
                </a:lnTo>
                <a:lnTo>
                  <a:pt x="209" y="404"/>
                </a:lnTo>
                <a:lnTo>
                  <a:pt x="215" y="404"/>
                </a:lnTo>
                <a:lnTo>
                  <a:pt x="221" y="403"/>
                </a:lnTo>
                <a:lnTo>
                  <a:pt x="225" y="403"/>
                </a:lnTo>
                <a:lnTo>
                  <a:pt x="231" y="404"/>
                </a:lnTo>
                <a:lnTo>
                  <a:pt x="231" y="404"/>
                </a:lnTo>
                <a:lnTo>
                  <a:pt x="231" y="379"/>
                </a:lnTo>
                <a:lnTo>
                  <a:pt x="231" y="379"/>
                </a:lnTo>
                <a:lnTo>
                  <a:pt x="232" y="372"/>
                </a:lnTo>
                <a:lnTo>
                  <a:pt x="235" y="366"/>
                </a:lnTo>
                <a:lnTo>
                  <a:pt x="239" y="359"/>
                </a:lnTo>
                <a:lnTo>
                  <a:pt x="244" y="353"/>
                </a:lnTo>
                <a:lnTo>
                  <a:pt x="258" y="339"/>
                </a:lnTo>
                <a:lnTo>
                  <a:pt x="271" y="327"/>
                </a:lnTo>
                <a:lnTo>
                  <a:pt x="286" y="313"/>
                </a:lnTo>
                <a:lnTo>
                  <a:pt x="299" y="299"/>
                </a:lnTo>
                <a:lnTo>
                  <a:pt x="305" y="292"/>
                </a:lnTo>
                <a:lnTo>
                  <a:pt x="308" y="285"/>
                </a:lnTo>
                <a:lnTo>
                  <a:pt x="312" y="278"/>
                </a:lnTo>
                <a:lnTo>
                  <a:pt x="312" y="272"/>
                </a:lnTo>
                <a:lnTo>
                  <a:pt x="312" y="272"/>
                </a:lnTo>
                <a:lnTo>
                  <a:pt x="312" y="267"/>
                </a:lnTo>
                <a:lnTo>
                  <a:pt x="309" y="262"/>
                </a:lnTo>
                <a:lnTo>
                  <a:pt x="305" y="253"/>
                </a:lnTo>
                <a:lnTo>
                  <a:pt x="300" y="243"/>
                </a:lnTo>
                <a:lnTo>
                  <a:pt x="298" y="238"/>
                </a:lnTo>
                <a:lnTo>
                  <a:pt x="298" y="231"/>
                </a:lnTo>
                <a:lnTo>
                  <a:pt x="298" y="231"/>
                </a:lnTo>
                <a:lnTo>
                  <a:pt x="298" y="220"/>
                </a:lnTo>
                <a:lnTo>
                  <a:pt x="299" y="211"/>
                </a:lnTo>
                <a:lnTo>
                  <a:pt x="303" y="202"/>
                </a:lnTo>
                <a:lnTo>
                  <a:pt x="306" y="197"/>
                </a:lnTo>
                <a:lnTo>
                  <a:pt x="312" y="192"/>
                </a:lnTo>
                <a:lnTo>
                  <a:pt x="317" y="190"/>
                </a:lnTo>
                <a:lnTo>
                  <a:pt x="326" y="188"/>
                </a:lnTo>
                <a:lnTo>
                  <a:pt x="334" y="188"/>
                </a:lnTo>
                <a:lnTo>
                  <a:pt x="334" y="188"/>
                </a:lnTo>
                <a:lnTo>
                  <a:pt x="331" y="181"/>
                </a:lnTo>
                <a:lnTo>
                  <a:pt x="331" y="171"/>
                </a:lnTo>
                <a:lnTo>
                  <a:pt x="330" y="154"/>
                </a:lnTo>
                <a:lnTo>
                  <a:pt x="330" y="154"/>
                </a:lnTo>
                <a:lnTo>
                  <a:pt x="331" y="146"/>
                </a:lnTo>
                <a:lnTo>
                  <a:pt x="332" y="139"/>
                </a:lnTo>
                <a:lnTo>
                  <a:pt x="336" y="127"/>
                </a:lnTo>
                <a:lnTo>
                  <a:pt x="339" y="114"/>
                </a:lnTo>
                <a:lnTo>
                  <a:pt x="341" y="107"/>
                </a:lnTo>
                <a:lnTo>
                  <a:pt x="342" y="99"/>
                </a:lnTo>
                <a:lnTo>
                  <a:pt x="342" y="99"/>
                </a:lnTo>
                <a:lnTo>
                  <a:pt x="341" y="87"/>
                </a:lnTo>
                <a:lnTo>
                  <a:pt x="337" y="77"/>
                </a:lnTo>
                <a:lnTo>
                  <a:pt x="334" y="70"/>
                </a:lnTo>
                <a:lnTo>
                  <a:pt x="329" y="63"/>
                </a:lnTo>
                <a:lnTo>
                  <a:pt x="324" y="56"/>
                </a:lnTo>
                <a:lnTo>
                  <a:pt x="320" y="49"/>
                </a:lnTo>
                <a:lnTo>
                  <a:pt x="316" y="39"/>
                </a:lnTo>
                <a:lnTo>
                  <a:pt x="315" y="25"/>
                </a:lnTo>
                <a:lnTo>
                  <a:pt x="315" y="25"/>
                </a:lnTo>
                <a:lnTo>
                  <a:pt x="316" y="9"/>
                </a:lnTo>
                <a:lnTo>
                  <a:pt x="317" y="3"/>
                </a:lnTo>
                <a:lnTo>
                  <a:pt x="319" y="0"/>
                </a:lnTo>
                <a:lnTo>
                  <a:pt x="319" y="0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9" name="Freeform 54"/>
          <p:cNvSpPr>
            <a:spLocks/>
          </p:cNvSpPr>
          <p:nvPr/>
        </p:nvSpPr>
        <p:spPr bwMode="auto">
          <a:xfrm>
            <a:off x="1077913" y="3359150"/>
            <a:ext cx="385762" cy="325438"/>
          </a:xfrm>
          <a:custGeom>
            <a:avLst/>
            <a:gdLst/>
            <a:ahLst/>
            <a:cxnLst>
              <a:cxn ang="0">
                <a:pos x="469" y="354"/>
              </a:cxn>
              <a:cxn ang="0">
                <a:pos x="471" y="306"/>
              </a:cxn>
              <a:cxn ang="0">
                <a:pos x="465" y="295"/>
              </a:cxn>
              <a:cxn ang="0">
                <a:pos x="436" y="286"/>
              </a:cxn>
              <a:cxn ang="0">
                <a:pos x="431" y="279"/>
              </a:cxn>
              <a:cxn ang="0">
                <a:pos x="441" y="247"/>
              </a:cxn>
              <a:cxn ang="0">
                <a:pos x="446" y="220"/>
              </a:cxn>
              <a:cxn ang="0">
                <a:pos x="419" y="199"/>
              </a:cxn>
              <a:cxn ang="0">
                <a:pos x="404" y="169"/>
              </a:cxn>
              <a:cxn ang="0">
                <a:pos x="391" y="113"/>
              </a:cxn>
              <a:cxn ang="0">
                <a:pos x="379" y="100"/>
              </a:cxn>
              <a:cxn ang="0">
                <a:pos x="368" y="95"/>
              </a:cxn>
              <a:cxn ang="0">
                <a:pos x="357" y="99"/>
              </a:cxn>
              <a:cxn ang="0">
                <a:pos x="341" y="93"/>
              </a:cxn>
              <a:cxn ang="0">
                <a:pos x="332" y="64"/>
              </a:cxn>
              <a:cxn ang="0">
                <a:pos x="319" y="35"/>
              </a:cxn>
              <a:cxn ang="0">
                <a:pos x="298" y="29"/>
              </a:cxn>
              <a:cxn ang="0">
                <a:pos x="280" y="39"/>
              </a:cxn>
              <a:cxn ang="0">
                <a:pos x="266" y="40"/>
              </a:cxn>
              <a:cxn ang="0">
                <a:pos x="243" y="26"/>
              </a:cxn>
              <a:cxn ang="0">
                <a:pos x="227" y="19"/>
              </a:cxn>
              <a:cxn ang="0">
                <a:pos x="177" y="20"/>
              </a:cxn>
              <a:cxn ang="0">
                <a:pos x="165" y="13"/>
              </a:cxn>
              <a:cxn ang="0">
                <a:pos x="153" y="1"/>
              </a:cxn>
              <a:cxn ang="0">
                <a:pos x="141" y="3"/>
              </a:cxn>
              <a:cxn ang="0">
                <a:pos x="122" y="20"/>
              </a:cxn>
              <a:cxn ang="0">
                <a:pos x="111" y="19"/>
              </a:cxn>
              <a:cxn ang="0">
                <a:pos x="86" y="17"/>
              </a:cxn>
              <a:cxn ang="0">
                <a:pos x="68" y="38"/>
              </a:cxn>
              <a:cxn ang="0">
                <a:pos x="67" y="65"/>
              </a:cxn>
              <a:cxn ang="0">
                <a:pos x="81" y="94"/>
              </a:cxn>
              <a:cxn ang="0">
                <a:pos x="77" y="112"/>
              </a:cxn>
              <a:cxn ang="0">
                <a:pos x="40" y="154"/>
              </a:cxn>
              <a:cxn ang="0">
                <a:pos x="4" y="193"/>
              </a:cxn>
              <a:cxn ang="0">
                <a:pos x="0" y="227"/>
              </a:cxn>
              <a:cxn ang="0">
                <a:pos x="13" y="234"/>
              </a:cxn>
              <a:cxn ang="0">
                <a:pos x="29" y="262"/>
              </a:cxn>
              <a:cxn ang="0">
                <a:pos x="70" y="272"/>
              </a:cxn>
              <a:cxn ang="0">
                <a:pos x="124" y="277"/>
              </a:cxn>
              <a:cxn ang="0">
                <a:pos x="160" y="290"/>
              </a:cxn>
              <a:cxn ang="0">
                <a:pos x="179" y="309"/>
              </a:cxn>
              <a:cxn ang="0">
                <a:pos x="195" y="311"/>
              </a:cxn>
              <a:cxn ang="0">
                <a:pos x="241" y="293"/>
              </a:cxn>
              <a:cxn ang="0">
                <a:pos x="279" y="276"/>
              </a:cxn>
              <a:cxn ang="0">
                <a:pos x="297" y="278"/>
              </a:cxn>
              <a:cxn ang="0">
                <a:pos x="313" y="293"/>
              </a:cxn>
              <a:cxn ang="0">
                <a:pos x="326" y="325"/>
              </a:cxn>
              <a:cxn ang="0">
                <a:pos x="335" y="330"/>
              </a:cxn>
              <a:cxn ang="0">
                <a:pos x="355" y="321"/>
              </a:cxn>
              <a:cxn ang="0">
                <a:pos x="364" y="329"/>
              </a:cxn>
              <a:cxn ang="0">
                <a:pos x="379" y="344"/>
              </a:cxn>
              <a:cxn ang="0">
                <a:pos x="387" y="342"/>
              </a:cxn>
              <a:cxn ang="0">
                <a:pos x="401" y="333"/>
              </a:cxn>
              <a:cxn ang="0">
                <a:pos x="428" y="348"/>
              </a:cxn>
              <a:cxn ang="0">
                <a:pos x="464" y="363"/>
              </a:cxn>
            </a:cxnLst>
            <a:rect l="0" t="0" r="r" b="b"/>
            <a:pathLst>
              <a:path w="473" h="370">
                <a:moveTo>
                  <a:pt x="467" y="370"/>
                </a:moveTo>
                <a:lnTo>
                  <a:pt x="467" y="370"/>
                </a:lnTo>
                <a:lnTo>
                  <a:pt x="467" y="363"/>
                </a:lnTo>
                <a:lnTo>
                  <a:pt x="469" y="354"/>
                </a:lnTo>
                <a:lnTo>
                  <a:pt x="472" y="336"/>
                </a:lnTo>
                <a:lnTo>
                  <a:pt x="473" y="325"/>
                </a:lnTo>
                <a:lnTo>
                  <a:pt x="473" y="315"/>
                </a:lnTo>
                <a:lnTo>
                  <a:pt x="471" y="306"/>
                </a:lnTo>
                <a:lnTo>
                  <a:pt x="470" y="301"/>
                </a:lnTo>
                <a:lnTo>
                  <a:pt x="467" y="298"/>
                </a:lnTo>
                <a:lnTo>
                  <a:pt x="467" y="298"/>
                </a:lnTo>
                <a:lnTo>
                  <a:pt x="465" y="295"/>
                </a:lnTo>
                <a:lnTo>
                  <a:pt x="462" y="294"/>
                </a:lnTo>
                <a:lnTo>
                  <a:pt x="449" y="291"/>
                </a:lnTo>
                <a:lnTo>
                  <a:pt x="442" y="288"/>
                </a:lnTo>
                <a:lnTo>
                  <a:pt x="436" y="286"/>
                </a:lnTo>
                <a:lnTo>
                  <a:pt x="432" y="283"/>
                </a:lnTo>
                <a:lnTo>
                  <a:pt x="431" y="280"/>
                </a:lnTo>
                <a:lnTo>
                  <a:pt x="431" y="279"/>
                </a:lnTo>
                <a:lnTo>
                  <a:pt x="431" y="279"/>
                </a:lnTo>
                <a:lnTo>
                  <a:pt x="431" y="272"/>
                </a:lnTo>
                <a:lnTo>
                  <a:pt x="433" y="267"/>
                </a:lnTo>
                <a:lnTo>
                  <a:pt x="437" y="254"/>
                </a:lnTo>
                <a:lnTo>
                  <a:pt x="441" y="247"/>
                </a:lnTo>
                <a:lnTo>
                  <a:pt x="443" y="239"/>
                </a:lnTo>
                <a:lnTo>
                  <a:pt x="444" y="230"/>
                </a:lnTo>
                <a:lnTo>
                  <a:pt x="446" y="220"/>
                </a:lnTo>
                <a:lnTo>
                  <a:pt x="446" y="220"/>
                </a:lnTo>
                <a:lnTo>
                  <a:pt x="437" y="216"/>
                </a:lnTo>
                <a:lnTo>
                  <a:pt x="431" y="210"/>
                </a:lnTo>
                <a:lnTo>
                  <a:pt x="425" y="204"/>
                </a:lnTo>
                <a:lnTo>
                  <a:pt x="419" y="199"/>
                </a:lnTo>
                <a:lnTo>
                  <a:pt x="414" y="192"/>
                </a:lnTo>
                <a:lnTo>
                  <a:pt x="411" y="184"/>
                </a:lnTo>
                <a:lnTo>
                  <a:pt x="404" y="169"/>
                </a:lnTo>
                <a:lnTo>
                  <a:pt x="404" y="169"/>
                </a:lnTo>
                <a:lnTo>
                  <a:pt x="401" y="157"/>
                </a:lnTo>
                <a:lnTo>
                  <a:pt x="398" y="145"/>
                </a:lnTo>
                <a:lnTo>
                  <a:pt x="394" y="123"/>
                </a:lnTo>
                <a:lnTo>
                  <a:pt x="391" y="113"/>
                </a:lnTo>
                <a:lnTo>
                  <a:pt x="387" y="105"/>
                </a:lnTo>
                <a:lnTo>
                  <a:pt x="385" y="103"/>
                </a:lnTo>
                <a:lnTo>
                  <a:pt x="382" y="101"/>
                </a:lnTo>
                <a:lnTo>
                  <a:pt x="379" y="100"/>
                </a:lnTo>
                <a:lnTo>
                  <a:pt x="375" y="99"/>
                </a:lnTo>
                <a:lnTo>
                  <a:pt x="375" y="99"/>
                </a:lnTo>
                <a:lnTo>
                  <a:pt x="370" y="96"/>
                </a:lnTo>
                <a:lnTo>
                  <a:pt x="368" y="95"/>
                </a:lnTo>
                <a:lnTo>
                  <a:pt x="367" y="96"/>
                </a:lnTo>
                <a:lnTo>
                  <a:pt x="365" y="97"/>
                </a:lnTo>
                <a:lnTo>
                  <a:pt x="362" y="99"/>
                </a:lnTo>
                <a:lnTo>
                  <a:pt x="357" y="99"/>
                </a:lnTo>
                <a:lnTo>
                  <a:pt x="357" y="99"/>
                </a:lnTo>
                <a:lnTo>
                  <a:pt x="350" y="99"/>
                </a:lnTo>
                <a:lnTo>
                  <a:pt x="345" y="96"/>
                </a:lnTo>
                <a:lnTo>
                  <a:pt x="341" y="93"/>
                </a:lnTo>
                <a:lnTo>
                  <a:pt x="337" y="88"/>
                </a:lnTo>
                <a:lnTo>
                  <a:pt x="336" y="82"/>
                </a:lnTo>
                <a:lnTo>
                  <a:pt x="334" y="77"/>
                </a:lnTo>
                <a:lnTo>
                  <a:pt x="332" y="64"/>
                </a:lnTo>
                <a:lnTo>
                  <a:pt x="328" y="51"/>
                </a:lnTo>
                <a:lnTo>
                  <a:pt x="326" y="46"/>
                </a:lnTo>
                <a:lnTo>
                  <a:pt x="324" y="40"/>
                </a:lnTo>
                <a:lnTo>
                  <a:pt x="319" y="35"/>
                </a:lnTo>
                <a:lnTo>
                  <a:pt x="313" y="32"/>
                </a:lnTo>
                <a:lnTo>
                  <a:pt x="306" y="29"/>
                </a:lnTo>
                <a:lnTo>
                  <a:pt x="298" y="29"/>
                </a:lnTo>
                <a:lnTo>
                  <a:pt x="298" y="29"/>
                </a:lnTo>
                <a:lnTo>
                  <a:pt x="295" y="29"/>
                </a:lnTo>
                <a:lnTo>
                  <a:pt x="292" y="31"/>
                </a:lnTo>
                <a:lnTo>
                  <a:pt x="287" y="34"/>
                </a:lnTo>
                <a:lnTo>
                  <a:pt x="280" y="39"/>
                </a:lnTo>
                <a:lnTo>
                  <a:pt x="276" y="40"/>
                </a:lnTo>
                <a:lnTo>
                  <a:pt x="272" y="40"/>
                </a:lnTo>
                <a:lnTo>
                  <a:pt x="272" y="40"/>
                </a:lnTo>
                <a:lnTo>
                  <a:pt x="266" y="40"/>
                </a:lnTo>
                <a:lnTo>
                  <a:pt x="260" y="38"/>
                </a:lnTo>
                <a:lnTo>
                  <a:pt x="256" y="35"/>
                </a:lnTo>
                <a:lnTo>
                  <a:pt x="251" y="32"/>
                </a:lnTo>
                <a:lnTo>
                  <a:pt x="243" y="26"/>
                </a:lnTo>
                <a:lnTo>
                  <a:pt x="240" y="24"/>
                </a:lnTo>
                <a:lnTo>
                  <a:pt x="235" y="21"/>
                </a:lnTo>
                <a:lnTo>
                  <a:pt x="235" y="21"/>
                </a:lnTo>
                <a:lnTo>
                  <a:pt x="227" y="19"/>
                </a:lnTo>
                <a:lnTo>
                  <a:pt x="219" y="19"/>
                </a:lnTo>
                <a:lnTo>
                  <a:pt x="203" y="20"/>
                </a:lnTo>
                <a:lnTo>
                  <a:pt x="185" y="20"/>
                </a:lnTo>
                <a:lnTo>
                  <a:pt x="177" y="20"/>
                </a:lnTo>
                <a:lnTo>
                  <a:pt x="169" y="18"/>
                </a:lnTo>
                <a:lnTo>
                  <a:pt x="169" y="18"/>
                </a:lnTo>
                <a:lnTo>
                  <a:pt x="167" y="16"/>
                </a:lnTo>
                <a:lnTo>
                  <a:pt x="165" y="13"/>
                </a:lnTo>
                <a:lnTo>
                  <a:pt x="162" y="8"/>
                </a:lnTo>
                <a:lnTo>
                  <a:pt x="160" y="4"/>
                </a:lnTo>
                <a:lnTo>
                  <a:pt x="158" y="2"/>
                </a:lnTo>
                <a:lnTo>
                  <a:pt x="153" y="1"/>
                </a:lnTo>
                <a:lnTo>
                  <a:pt x="147" y="0"/>
                </a:lnTo>
                <a:lnTo>
                  <a:pt x="147" y="0"/>
                </a:lnTo>
                <a:lnTo>
                  <a:pt x="143" y="1"/>
                </a:lnTo>
                <a:lnTo>
                  <a:pt x="141" y="3"/>
                </a:lnTo>
                <a:lnTo>
                  <a:pt x="134" y="10"/>
                </a:lnTo>
                <a:lnTo>
                  <a:pt x="130" y="15"/>
                </a:lnTo>
                <a:lnTo>
                  <a:pt x="127" y="18"/>
                </a:lnTo>
                <a:lnTo>
                  <a:pt x="122" y="20"/>
                </a:lnTo>
                <a:lnTo>
                  <a:pt x="118" y="21"/>
                </a:lnTo>
                <a:lnTo>
                  <a:pt x="118" y="21"/>
                </a:lnTo>
                <a:lnTo>
                  <a:pt x="114" y="20"/>
                </a:lnTo>
                <a:lnTo>
                  <a:pt x="111" y="19"/>
                </a:lnTo>
                <a:lnTo>
                  <a:pt x="103" y="15"/>
                </a:lnTo>
                <a:lnTo>
                  <a:pt x="103" y="15"/>
                </a:lnTo>
                <a:lnTo>
                  <a:pt x="95" y="15"/>
                </a:lnTo>
                <a:lnTo>
                  <a:pt x="86" y="17"/>
                </a:lnTo>
                <a:lnTo>
                  <a:pt x="81" y="19"/>
                </a:lnTo>
                <a:lnTo>
                  <a:pt x="75" y="24"/>
                </a:lnTo>
                <a:lnTo>
                  <a:pt x="72" y="29"/>
                </a:lnTo>
                <a:lnTo>
                  <a:pt x="68" y="38"/>
                </a:lnTo>
                <a:lnTo>
                  <a:pt x="67" y="47"/>
                </a:lnTo>
                <a:lnTo>
                  <a:pt x="67" y="58"/>
                </a:lnTo>
                <a:lnTo>
                  <a:pt x="67" y="58"/>
                </a:lnTo>
                <a:lnTo>
                  <a:pt x="67" y="65"/>
                </a:lnTo>
                <a:lnTo>
                  <a:pt x="69" y="70"/>
                </a:lnTo>
                <a:lnTo>
                  <a:pt x="74" y="80"/>
                </a:lnTo>
                <a:lnTo>
                  <a:pt x="78" y="89"/>
                </a:lnTo>
                <a:lnTo>
                  <a:pt x="81" y="94"/>
                </a:lnTo>
                <a:lnTo>
                  <a:pt x="81" y="99"/>
                </a:lnTo>
                <a:lnTo>
                  <a:pt x="81" y="99"/>
                </a:lnTo>
                <a:lnTo>
                  <a:pt x="81" y="105"/>
                </a:lnTo>
                <a:lnTo>
                  <a:pt x="77" y="112"/>
                </a:lnTo>
                <a:lnTo>
                  <a:pt x="74" y="119"/>
                </a:lnTo>
                <a:lnTo>
                  <a:pt x="68" y="126"/>
                </a:lnTo>
                <a:lnTo>
                  <a:pt x="55" y="140"/>
                </a:lnTo>
                <a:lnTo>
                  <a:pt x="40" y="154"/>
                </a:lnTo>
                <a:lnTo>
                  <a:pt x="27" y="166"/>
                </a:lnTo>
                <a:lnTo>
                  <a:pt x="13" y="180"/>
                </a:lnTo>
                <a:lnTo>
                  <a:pt x="8" y="186"/>
                </a:lnTo>
                <a:lnTo>
                  <a:pt x="4" y="193"/>
                </a:lnTo>
                <a:lnTo>
                  <a:pt x="1" y="199"/>
                </a:lnTo>
                <a:lnTo>
                  <a:pt x="0" y="206"/>
                </a:lnTo>
                <a:lnTo>
                  <a:pt x="0" y="206"/>
                </a:lnTo>
                <a:lnTo>
                  <a:pt x="0" y="227"/>
                </a:lnTo>
                <a:lnTo>
                  <a:pt x="0" y="227"/>
                </a:lnTo>
                <a:lnTo>
                  <a:pt x="5" y="229"/>
                </a:lnTo>
                <a:lnTo>
                  <a:pt x="8" y="230"/>
                </a:lnTo>
                <a:lnTo>
                  <a:pt x="13" y="234"/>
                </a:lnTo>
                <a:lnTo>
                  <a:pt x="16" y="240"/>
                </a:lnTo>
                <a:lnTo>
                  <a:pt x="20" y="246"/>
                </a:lnTo>
                <a:lnTo>
                  <a:pt x="26" y="257"/>
                </a:lnTo>
                <a:lnTo>
                  <a:pt x="29" y="262"/>
                </a:lnTo>
                <a:lnTo>
                  <a:pt x="34" y="264"/>
                </a:lnTo>
                <a:lnTo>
                  <a:pt x="34" y="264"/>
                </a:lnTo>
                <a:lnTo>
                  <a:pt x="53" y="270"/>
                </a:lnTo>
                <a:lnTo>
                  <a:pt x="70" y="272"/>
                </a:lnTo>
                <a:lnTo>
                  <a:pt x="85" y="275"/>
                </a:lnTo>
                <a:lnTo>
                  <a:pt x="98" y="275"/>
                </a:lnTo>
                <a:lnTo>
                  <a:pt x="111" y="276"/>
                </a:lnTo>
                <a:lnTo>
                  <a:pt x="124" y="277"/>
                </a:lnTo>
                <a:lnTo>
                  <a:pt x="138" y="280"/>
                </a:lnTo>
                <a:lnTo>
                  <a:pt x="154" y="286"/>
                </a:lnTo>
                <a:lnTo>
                  <a:pt x="154" y="286"/>
                </a:lnTo>
                <a:lnTo>
                  <a:pt x="160" y="290"/>
                </a:lnTo>
                <a:lnTo>
                  <a:pt x="164" y="293"/>
                </a:lnTo>
                <a:lnTo>
                  <a:pt x="172" y="302"/>
                </a:lnTo>
                <a:lnTo>
                  <a:pt x="175" y="306"/>
                </a:lnTo>
                <a:lnTo>
                  <a:pt x="179" y="309"/>
                </a:lnTo>
                <a:lnTo>
                  <a:pt x="182" y="311"/>
                </a:lnTo>
                <a:lnTo>
                  <a:pt x="188" y="311"/>
                </a:lnTo>
                <a:lnTo>
                  <a:pt x="188" y="311"/>
                </a:lnTo>
                <a:lnTo>
                  <a:pt x="195" y="311"/>
                </a:lnTo>
                <a:lnTo>
                  <a:pt x="203" y="310"/>
                </a:lnTo>
                <a:lnTo>
                  <a:pt x="217" y="306"/>
                </a:lnTo>
                <a:lnTo>
                  <a:pt x="229" y="300"/>
                </a:lnTo>
                <a:lnTo>
                  <a:pt x="241" y="293"/>
                </a:lnTo>
                <a:lnTo>
                  <a:pt x="252" y="287"/>
                </a:lnTo>
                <a:lnTo>
                  <a:pt x="264" y="281"/>
                </a:lnTo>
                <a:lnTo>
                  <a:pt x="274" y="277"/>
                </a:lnTo>
                <a:lnTo>
                  <a:pt x="279" y="276"/>
                </a:lnTo>
                <a:lnTo>
                  <a:pt x="283" y="276"/>
                </a:lnTo>
                <a:lnTo>
                  <a:pt x="283" y="276"/>
                </a:lnTo>
                <a:lnTo>
                  <a:pt x="291" y="276"/>
                </a:lnTo>
                <a:lnTo>
                  <a:pt x="297" y="278"/>
                </a:lnTo>
                <a:lnTo>
                  <a:pt x="303" y="280"/>
                </a:lnTo>
                <a:lnTo>
                  <a:pt x="307" y="284"/>
                </a:lnTo>
                <a:lnTo>
                  <a:pt x="311" y="288"/>
                </a:lnTo>
                <a:lnTo>
                  <a:pt x="313" y="293"/>
                </a:lnTo>
                <a:lnTo>
                  <a:pt x="318" y="302"/>
                </a:lnTo>
                <a:lnTo>
                  <a:pt x="320" y="313"/>
                </a:lnTo>
                <a:lnTo>
                  <a:pt x="324" y="322"/>
                </a:lnTo>
                <a:lnTo>
                  <a:pt x="326" y="325"/>
                </a:lnTo>
                <a:lnTo>
                  <a:pt x="328" y="327"/>
                </a:lnTo>
                <a:lnTo>
                  <a:pt x="330" y="330"/>
                </a:lnTo>
                <a:lnTo>
                  <a:pt x="335" y="330"/>
                </a:lnTo>
                <a:lnTo>
                  <a:pt x="335" y="330"/>
                </a:lnTo>
                <a:lnTo>
                  <a:pt x="337" y="330"/>
                </a:lnTo>
                <a:lnTo>
                  <a:pt x="341" y="329"/>
                </a:lnTo>
                <a:lnTo>
                  <a:pt x="348" y="324"/>
                </a:lnTo>
                <a:lnTo>
                  <a:pt x="355" y="321"/>
                </a:lnTo>
                <a:lnTo>
                  <a:pt x="357" y="319"/>
                </a:lnTo>
                <a:lnTo>
                  <a:pt x="360" y="318"/>
                </a:lnTo>
                <a:lnTo>
                  <a:pt x="360" y="318"/>
                </a:lnTo>
                <a:lnTo>
                  <a:pt x="364" y="329"/>
                </a:lnTo>
                <a:lnTo>
                  <a:pt x="368" y="337"/>
                </a:lnTo>
                <a:lnTo>
                  <a:pt x="372" y="340"/>
                </a:lnTo>
                <a:lnTo>
                  <a:pt x="375" y="342"/>
                </a:lnTo>
                <a:lnTo>
                  <a:pt x="379" y="344"/>
                </a:lnTo>
                <a:lnTo>
                  <a:pt x="382" y="345"/>
                </a:lnTo>
                <a:lnTo>
                  <a:pt x="382" y="345"/>
                </a:lnTo>
                <a:lnTo>
                  <a:pt x="385" y="344"/>
                </a:lnTo>
                <a:lnTo>
                  <a:pt x="387" y="342"/>
                </a:lnTo>
                <a:lnTo>
                  <a:pt x="391" y="339"/>
                </a:lnTo>
                <a:lnTo>
                  <a:pt x="396" y="336"/>
                </a:lnTo>
                <a:lnTo>
                  <a:pt x="398" y="334"/>
                </a:lnTo>
                <a:lnTo>
                  <a:pt x="401" y="333"/>
                </a:lnTo>
                <a:lnTo>
                  <a:pt x="401" y="333"/>
                </a:lnTo>
                <a:lnTo>
                  <a:pt x="408" y="334"/>
                </a:lnTo>
                <a:lnTo>
                  <a:pt x="414" y="338"/>
                </a:lnTo>
                <a:lnTo>
                  <a:pt x="428" y="348"/>
                </a:lnTo>
                <a:lnTo>
                  <a:pt x="435" y="354"/>
                </a:lnTo>
                <a:lnTo>
                  <a:pt x="444" y="359"/>
                </a:lnTo>
                <a:lnTo>
                  <a:pt x="454" y="362"/>
                </a:lnTo>
                <a:lnTo>
                  <a:pt x="464" y="363"/>
                </a:lnTo>
                <a:lnTo>
                  <a:pt x="464" y="363"/>
                </a:lnTo>
                <a:lnTo>
                  <a:pt x="467" y="370"/>
                </a:lnTo>
                <a:lnTo>
                  <a:pt x="467" y="370"/>
                </a:lnTo>
                <a:close/>
              </a:path>
            </a:pathLst>
          </a:custGeom>
          <a:noFill/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0" name="Freeform 55"/>
          <p:cNvSpPr>
            <a:spLocks/>
          </p:cNvSpPr>
          <p:nvPr/>
        </p:nvSpPr>
        <p:spPr bwMode="auto">
          <a:xfrm>
            <a:off x="5889625" y="4660900"/>
            <a:ext cx="849313" cy="1392238"/>
          </a:xfrm>
          <a:custGeom>
            <a:avLst/>
            <a:gdLst/>
            <a:ahLst/>
            <a:cxnLst>
              <a:cxn ang="0">
                <a:pos x="568" y="72"/>
              </a:cxn>
              <a:cxn ang="0">
                <a:pos x="672" y="166"/>
              </a:cxn>
              <a:cxn ang="0">
                <a:pos x="675" y="213"/>
              </a:cxn>
              <a:cxn ang="0">
                <a:pos x="719" y="231"/>
              </a:cxn>
              <a:cxn ang="0">
                <a:pos x="734" y="266"/>
              </a:cxn>
              <a:cxn ang="0">
                <a:pos x="748" y="298"/>
              </a:cxn>
              <a:cxn ang="0">
                <a:pos x="802" y="265"/>
              </a:cxn>
              <a:cxn ang="0">
                <a:pos x="848" y="296"/>
              </a:cxn>
              <a:cxn ang="0">
                <a:pos x="888" y="291"/>
              </a:cxn>
              <a:cxn ang="0">
                <a:pos x="934" y="352"/>
              </a:cxn>
              <a:cxn ang="0">
                <a:pos x="936" y="396"/>
              </a:cxn>
              <a:cxn ang="0">
                <a:pos x="980" y="442"/>
              </a:cxn>
              <a:cxn ang="0">
                <a:pos x="957" y="473"/>
              </a:cxn>
              <a:cxn ang="0">
                <a:pos x="1007" y="526"/>
              </a:cxn>
              <a:cxn ang="0">
                <a:pos x="996" y="597"/>
              </a:cxn>
              <a:cxn ang="0">
                <a:pos x="926" y="720"/>
              </a:cxn>
              <a:cxn ang="0">
                <a:pos x="939" y="763"/>
              </a:cxn>
              <a:cxn ang="0">
                <a:pos x="1015" y="759"/>
              </a:cxn>
              <a:cxn ang="0">
                <a:pos x="1017" y="846"/>
              </a:cxn>
              <a:cxn ang="0">
                <a:pos x="999" y="1057"/>
              </a:cxn>
              <a:cxn ang="0">
                <a:pos x="1039" y="1138"/>
              </a:cxn>
              <a:cxn ang="0">
                <a:pos x="984" y="1213"/>
              </a:cxn>
              <a:cxn ang="0">
                <a:pos x="878" y="1278"/>
              </a:cxn>
              <a:cxn ang="0">
                <a:pos x="772" y="1252"/>
              </a:cxn>
              <a:cxn ang="0">
                <a:pos x="703" y="1291"/>
              </a:cxn>
              <a:cxn ang="0">
                <a:pos x="595" y="1277"/>
              </a:cxn>
              <a:cxn ang="0">
                <a:pos x="538" y="1329"/>
              </a:cxn>
              <a:cxn ang="0">
                <a:pos x="354" y="1529"/>
              </a:cxn>
              <a:cxn ang="0">
                <a:pos x="190" y="1594"/>
              </a:cxn>
              <a:cxn ang="0">
                <a:pos x="44" y="1575"/>
              </a:cxn>
              <a:cxn ang="0">
                <a:pos x="2" y="1516"/>
              </a:cxn>
              <a:cxn ang="0">
                <a:pos x="59" y="1439"/>
              </a:cxn>
              <a:cxn ang="0">
                <a:pos x="11" y="1407"/>
              </a:cxn>
              <a:cxn ang="0">
                <a:pos x="27" y="1350"/>
              </a:cxn>
              <a:cxn ang="0">
                <a:pos x="15" y="1304"/>
              </a:cxn>
              <a:cxn ang="0">
                <a:pos x="84" y="1278"/>
              </a:cxn>
              <a:cxn ang="0">
                <a:pos x="129" y="1240"/>
              </a:cxn>
              <a:cxn ang="0">
                <a:pos x="200" y="1230"/>
              </a:cxn>
              <a:cxn ang="0">
                <a:pos x="220" y="1193"/>
              </a:cxn>
              <a:cxn ang="0">
                <a:pos x="292" y="1093"/>
              </a:cxn>
              <a:cxn ang="0">
                <a:pos x="366" y="1039"/>
              </a:cxn>
              <a:cxn ang="0">
                <a:pos x="444" y="947"/>
              </a:cxn>
              <a:cxn ang="0">
                <a:pos x="412" y="882"/>
              </a:cxn>
              <a:cxn ang="0">
                <a:pos x="378" y="833"/>
              </a:cxn>
              <a:cxn ang="0">
                <a:pos x="422" y="794"/>
              </a:cxn>
              <a:cxn ang="0">
                <a:pos x="503" y="644"/>
              </a:cxn>
              <a:cxn ang="0">
                <a:pos x="559" y="598"/>
              </a:cxn>
              <a:cxn ang="0">
                <a:pos x="542" y="541"/>
              </a:cxn>
              <a:cxn ang="0">
                <a:pos x="456" y="511"/>
              </a:cxn>
              <a:cxn ang="0">
                <a:pos x="372" y="363"/>
              </a:cxn>
              <a:cxn ang="0">
                <a:pos x="352" y="322"/>
              </a:cxn>
              <a:cxn ang="0">
                <a:pos x="388" y="305"/>
              </a:cxn>
              <a:cxn ang="0">
                <a:pos x="436" y="305"/>
              </a:cxn>
              <a:cxn ang="0">
                <a:pos x="482" y="233"/>
              </a:cxn>
              <a:cxn ang="0">
                <a:pos x="489" y="191"/>
              </a:cxn>
              <a:cxn ang="0">
                <a:pos x="415" y="156"/>
              </a:cxn>
              <a:cxn ang="0">
                <a:pos x="435" y="37"/>
              </a:cxn>
              <a:cxn ang="0">
                <a:pos x="525" y="18"/>
              </a:cxn>
            </a:cxnLst>
            <a:rect l="0" t="0" r="r" b="b"/>
            <a:pathLst>
              <a:path w="1039" h="1597">
                <a:moveTo>
                  <a:pt x="521" y="0"/>
                </a:moveTo>
                <a:lnTo>
                  <a:pt x="521" y="0"/>
                </a:lnTo>
                <a:lnTo>
                  <a:pt x="521" y="0"/>
                </a:lnTo>
                <a:lnTo>
                  <a:pt x="521" y="0"/>
                </a:lnTo>
                <a:lnTo>
                  <a:pt x="531" y="10"/>
                </a:lnTo>
                <a:lnTo>
                  <a:pt x="540" y="22"/>
                </a:lnTo>
                <a:lnTo>
                  <a:pt x="548" y="33"/>
                </a:lnTo>
                <a:lnTo>
                  <a:pt x="554" y="46"/>
                </a:lnTo>
                <a:lnTo>
                  <a:pt x="568" y="72"/>
                </a:lnTo>
                <a:lnTo>
                  <a:pt x="582" y="98"/>
                </a:lnTo>
                <a:lnTo>
                  <a:pt x="589" y="110"/>
                </a:lnTo>
                <a:lnTo>
                  <a:pt x="597" y="122"/>
                </a:lnTo>
                <a:lnTo>
                  <a:pt x="606" y="132"/>
                </a:lnTo>
                <a:lnTo>
                  <a:pt x="617" y="143"/>
                </a:lnTo>
                <a:lnTo>
                  <a:pt x="627" y="151"/>
                </a:lnTo>
                <a:lnTo>
                  <a:pt x="641" y="158"/>
                </a:lnTo>
                <a:lnTo>
                  <a:pt x="656" y="162"/>
                </a:lnTo>
                <a:lnTo>
                  <a:pt x="672" y="166"/>
                </a:lnTo>
                <a:lnTo>
                  <a:pt x="672" y="166"/>
                </a:lnTo>
                <a:lnTo>
                  <a:pt x="670" y="171"/>
                </a:lnTo>
                <a:lnTo>
                  <a:pt x="667" y="177"/>
                </a:lnTo>
                <a:lnTo>
                  <a:pt x="665" y="184"/>
                </a:lnTo>
                <a:lnTo>
                  <a:pt x="664" y="192"/>
                </a:lnTo>
                <a:lnTo>
                  <a:pt x="666" y="201"/>
                </a:lnTo>
                <a:lnTo>
                  <a:pt x="668" y="205"/>
                </a:lnTo>
                <a:lnTo>
                  <a:pt x="671" y="209"/>
                </a:lnTo>
                <a:lnTo>
                  <a:pt x="675" y="213"/>
                </a:lnTo>
                <a:lnTo>
                  <a:pt x="680" y="216"/>
                </a:lnTo>
                <a:lnTo>
                  <a:pt x="680" y="216"/>
                </a:lnTo>
                <a:lnTo>
                  <a:pt x="690" y="221"/>
                </a:lnTo>
                <a:lnTo>
                  <a:pt x="697" y="223"/>
                </a:lnTo>
                <a:lnTo>
                  <a:pt x="704" y="224"/>
                </a:lnTo>
                <a:lnTo>
                  <a:pt x="706" y="224"/>
                </a:lnTo>
                <a:lnTo>
                  <a:pt x="709" y="225"/>
                </a:lnTo>
                <a:lnTo>
                  <a:pt x="719" y="231"/>
                </a:lnTo>
                <a:lnTo>
                  <a:pt x="719" y="231"/>
                </a:lnTo>
                <a:lnTo>
                  <a:pt x="728" y="236"/>
                </a:lnTo>
                <a:lnTo>
                  <a:pt x="735" y="238"/>
                </a:lnTo>
                <a:lnTo>
                  <a:pt x="745" y="242"/>
                </a:lnTo>
                <a:lnTo>
                  <a:pt x="748" y="244"/>
                </a:lnTo>
                <a:lnTo>
                  <a:pt x="748" y="247"/>
                </a:lnTo>
                <a:lnTo>
                  <a:pt x="744" y="253"/>
                </a:lnTo>
                <a:lnTo>
                  <a:pt x="737" y="261"/>
                </a:lnTo>
                <a:lnTo>
                  <a:pt x="737" y="261"/>
                </a:lnTo>
                <a:lnTo>
                  <a:pt x="734" y="266"/>
                </a:lnTo>
                <a:lnTo>
                  <a:pt x="732" y="271"/>
                </a:lnTo>
                <a:lnTo>
                  <a:pt x="731" y="276"/>
                </a:lnTo>
                <a:lnTo>
                  <a:pt x="731" y="282"/>
                </a:lnTo>
                <a:lnTo>
                  <a:pt x="732" y="285"/>
                </a:lnTo>
                <a:lnTo>
                  <a:pt x="734" y="290"/>
                </a:lnTo>
                <a:lnTo>
                  <a:pt x="736" y="292"/>
                </a:lnTo>
                <a:lnTo>
                  <a:pt x="740" y="296"/>
                </a:lnTo>
                <a:lnTo>
                  <a:pt x="743" y="297"/>
                </a:lnTo>
                <a:lnTo>
                  <a:pt x="748" y="298"/>
                </a:lnTo>
                <a:lnTo>
                  <a:pt x="752" y="298"/>
                </a:lnTo>
                <a:lnTo>
                  <a:pt x="758" y="298"/>
                </a:lnTo>
                <a:lnTo>
                  <a:pt x="764" y="296"/>
                </a:lnTo>
                <a:lnTo>
                  <a:pt x="770" y="293"/>
                </a:lnTo>
                <a:lnTo>
                  <a:pt x="775" y="289"/>
                </a:lnTo>
                <a:lnTo>
                  <a:pt x="782" y="283"/>
                </a:lnTo>
                <a:lnTo>
                  <a:pt x="782" y="283"/>
                </a:lnTo>
                <a:lnTo>
                  <a:pt x="793" y="273"/>
                </a:lnTo>
                <a:lnTo>
                  <a:pt x="802" y="265"/>
                </a:lnTo>
                <a:lnTo>
                  <a:pt x="809" y="260"/>
                </a:lnTo>
                <a:lnTo>
                  <a:pt x="817" y="259"/>
                </a:lnTo>
                <a:lnTo>
                  <a:pt x="819" y="259"/>
                </a:lnTo>
                <a:lnTo>
                  <a:pt x="823" y="260"/>
                </a:lnTo>
                <a:lnTo>
                  <a:pt x="828" y="265"/>
                </a:lnTo>
                <a:lnTo>
                  <a:pt x="833" y="270"/>
                </a:lnTo>
                <a:lnTo>
                  <a:pt x="838" y="278"/>
                </a:lnTo>
                <a:lnTo>
                  <a:pt x="838" y="278"/>
                </a:lnTo>
                <a:lnTo>
                  <a:pt x="848" y="296"/>
                </a:lnTo>
                <a:lnTo>
                  <a:pt x="852" y="301"/>
                </a:lnTo>
                <a:lnTo>
                  <a:pt x="857" y="305"/>
                </a:lnTo>
                <a:lnTo>
                  <a:pt x="863" y="307"/>
                </a:lnTo>
                <a:lnTo>
                  <a:pt x="867" y="306"/>
                </a:lnTo>
                <a:lnTo>
                  <a:pt x="872" y="304"/>
                </a:lnTo>
                <a:lnTo>
                  <a:pt x="878" y="298"/>
                </a:lnTo>
                <a:lnTo>
                  <a:pt x="878" y="298"/>
                </a:lnTo>
                <a:lnTo>
                  <a:pt x="884" y="293"/>
                </a:lnTo>
                <a:lnTo>
                  <a:pt x="888" y="291"/>
                </a:lnTo>
                <a:lnTo>
                  <a:pt x="893" y="291"/>
                </a:lnTo>
                <a:lnTo>
                  <a:pt x="899" y="292"/>
                </a:lnTo>
                <a:lnTo>
                  <a:pt x="903" y="297"/>
                </a:lnTo>
                <a:lnTo>
                  <a:pt x="908" y="304"/>
                </a:lnTo>
                <a:lnTo>
                  <a:pt x="913" y="312"/>
                </a:lnTo>
                <a:lnTo>
                  <a:pt x="918" y="323"/>
                </a:lnTo>
                <a:lnTo>
                  <a:pt x="918" y="323"/>
                </a:lnTo>
                <a:lnTo>
                  <a:pt x="930" y="343"/>
                </a:lnTo>
                <a:lnTo>
                  <a:pt x="934" y="352"/>
                </a:lnTo>
                <a:lnTo>
                  <a:pt x="936" y="360"/>
                </a:lnTo>
                <a:lnTo>
                  <a:pt x="939" y="367"/>
                </a:lnTo>
                <a:lnTo>
                  <a:pt x="939" y="374"/>
                </a:lnTo>
                <a:lnTo>
                  <a:pt x="939" y="381"/>
                </a:lnTo>
                <a:lnTo>
                  <a:pt x="936" y="386"/>
                </a:lnTo>
                <a:lnTo>
                  <a:pt x="936" y="386"/>
                </a:lnTo>
                <a:lnTo>
                  <a:pt x="934" y="390"/>
                </a:lnTo>
                <a:lnTo>
                  <a:pt x="934" y="393"/>
                </a:lnTo>
                <a:lnTo>
                  <a:pt x="936" y="396"/>
                </a:lnTo>
                <a:lnTo>
                  <a:pt x="940" y="399"/>
                </a:lnTo>
                <a:lnTo>
                  <a:pt x="949" y="406"/>
                </a:lnTo>
                <a:lnTo>
                  <a:pt x="963" y="415"/>
                </a:lnTo>
                <a:lnTo>
                  <a:pt x="963" y="415"/>
                </a:lnTo>
                <a:lnTo>
                  <a:pt x="974" y="426"/>
                </a:lnTo>
                <a:lnTo>
                  <a:pt x="979" y="430"/>
                </a:lnTo>
                <a:lnTo>
                  <a:pt x="981" y="435"/>
                </a:lnTo>
                <a:lnTo>
                  <a:pt x="981" y="438"/>
                </a:lnTo>
                <a:lnTo>
                  <a:pt x="980" y="442"/>
                </a:lnTo>
                <a:lnTo>
                  <a:pt x="977" y="445"/>
                </a:lnTo>
                <a:lnTo>
                  <a:pt x="970" y="449"/>
                </a:lnTo>
                <a:lnTo>
                  <a:pt x="970" y="449"/>
                </a:lnTo>
                <a:lnTo>
                  <a:pt x="962" y="451"/>
                </a:lnTo>
                <a:lnTo>
                  <a:pt x="957" y="454"/>
                </a:lnTo>
                <a:lnTo>
                  <a:pt x="954" y="458"/>
                </a:lnTo>
                <a:lnTo>
                  <a:pt x="954" y="462"/>
                </a:lnTo>
                <a:lnTo>
                  <a:pt x="954" y="467"/>
                </a:lnTo>
                <a:lnTo>
                  <a:pt x="957" y="473"/>
                </a:lnTo>
                <a:lnTo>
                  <a:pt x="962" y="479"/>
                </a:lnTo>
                <a:lnTo>
                  <a:pt x="970" y="484"/>
                </a:lnTo>
                <a:lnTo>
                  <a:pt x="970" y="484"/>
                </a:lnTo>
                <a:lnTo>
                  <a:pt x="980" y="497"/>
                </a:lnTo>
                <a:lnTo>
                  <a:pt x="988" y="507"/>
                </a:lnTo>
                <a:lnTo>
                  <a:pt x="995" y="517"/>
                </a:lnTo>
                <a:lnTo>
                  <a:pt x="1000" y="521"/>
                </a:lnTo>
                <a:lnTo>
                  <a:pt x="1007" y="526"/>
                </a:lnTo>
                <a:lnTo>
                  <a:pt x="1007" y="526"/>
                </a:lnTo>
                <a:lnTo>
                  <a:pt x="1014" y="530"/>
                </a:lnTo>
                <a:lnTo>
                  <a:pt x="1019" y="536"/>
                </a:lnTo>
                <a:lnTo>
                  <a:pt x="1024" y="542"/>
                </a:lnTo>
                <a:lnTo>
                  <a:pt x="1029" y="548"/>
                </a:lnTo>
                <a:lnTo>
                  <a:pt x="1034" y="558"/>
                </a:lnTo>
                <a:lnTo>
                  <a:pt x="1035" y="563"/>
                </a:lnTo>
                <a:lnTo>
                  <a:pt x="1035" y="563"/>
                </a:lnTo>
                <a:lnTo>
                  <a:pt x="1016" y="579"/>
                </a:lnTo>
                <a:lnTo>
                  <a:pt x="996" y="597"/>
                </a:lnTo>
                <a:lnTo>
                  <a:pt x="978" y="618"/>
                </a:lnTo>
                <a:lnTo>
                  <a:pt x="969" y="629"/>
                </a:lnTo>
                <a:lnTo>
                  <a:pt x="961" y="641"/>
                </a:lnTo>
                <a:lnTo>
                  <a:pt x="954" y="652"/>
                </a:lnTo>
                <a:lnTo>
                  <a:pt x="947" y="665"/>
                </a:lnTo>
                <a:lnTo>
                  <a:pt x="940" y="679"/>
                </a:lnTo>
                <a:lnTo>
                  <a:pt x="935" y="691"/>
                </a:lnTo>
                <a:lnTo>
                  <a:pt x="931" y="705"/>
                </a:lnTo>
                <a:lnTo>
                  <a:pt x="926" y="720"/>
                </a:lnTo>
                <a:lnTo>
                  <a:pt x="924" y="734"/>
                </a:lnTo>
                <a:lnTo>
                  <a:pt x="922" y="749"/>
                </a:lnTo>
                <a:lnTo>
                  <a:pt x="922" y="749"/>
                </a:lnTo>
                <a:lnTo>
                  <a:pt x="923" y="754"/>
                </a:lnTo>
                <a:lnTo>
                  <a:pt x="925" y="757"/>
                </a:lnTo>
                <a:lnTo>
                  <a:pt x="927" y="759"/>
                </a:lnTo>
                <a:lnTo>
                  <a:pt x="931" y="762"/>
                </a:lnTo>
                <a:lnTo>
                  <a:pt x="934" y="763"/>
                </a:lnTo>
                <a:lnTo>
                  <a:pt x="939" y="763"/>
                </a:lnTo>
                <a:lnTo>
                  <a:pt x="947" y="763"/>
                </a:lnTo>
                <a:lnTo>
                  <a:pt x="957" y="762"/>
                </a:lnTo>
                <a:lnTo>
                  <a:pt x="968" y="758"/>
                </a:lnTo>
                <a:lnTo>
                  <a:pt x="978" y="756"/>
                </a:lnTo>
                <a:lnTo>
                  <a:pt x="989" y="755"/>
                </a:lnTo>
                <a:lnTo>
                  <a:pt x="999" y="754"/>
                </a:lnTo>
                <a:lnTo>
                  <a:pt x="1008" y="756"/>
                </a:lnTo>
                <a:lnTo>
                  <a:pt x="1011" y="757"/>
                </a:lnTo>
                <a:lnTo>
                  <a:pt x="1015" y="759"/>
                </a:lnTo>
                <a:lnTo>
                  <a:pt x="1018" y="763"/>
                </a:lnTo>
                <a:lnTo>
                  <a:pt x="1020" y="767"/>
                </a:lnTo>
                <a:lnTo>
                  <a:pt x="1023" y="773"/>
                </a:lnTo>
                <a:lnTo>
                  <a:pt x="1024" y="779"/>
                </a:lnTo>
                <a:lnTo>
                  <a:pt x="1025" y="787"/>
                </a:lnTo>
                <a:lnTo>
                  <a:pt x="1025" y="795"/>
                </a:lnTo>
                <a:lnTo>
                  <a:pt x="1023" y="817"/>
                </a:lnTo>
                <a:lnTo>
                  <a:pt x="1017" y="846"/>
                </a:lnTo>
                <a:lnTo>
                  <a:pt x="1017" y="846"/>
                </a:lnTo>
                <a:lnTo>
                  <a:pt x="1004" y="900"/>
                </a:lnTo>
                <a:lnTo>
                  <a:pt x="1001" y="920"/>
                </a:lnTo>
                <a:lnTo>
                  <a:pt x="999" y="940"/>
                </a:lnTo>
                <a:lnTo>
                  <a:pt x="996" y="960"/>
                </a:lnTo>
                <a:lnTo>
                  <a:pt x="995" y="980"/>
                </a:lnTo>
                <a:lnTo>
                  <a:pt x="995" y="1032"/>
                </a:lnTo>
                <a:lnTo>
                  <a:pt x="995" y="1032"/>
                </a:lnTo>
                <a:lnTo>
                  <a:pt x="996" y="1045"/>
                </a:lnTo>
                <a:lnTo>
                  <a:pt x="999" y="1057"/>
                </a:lnTo>
                <a:lnTo>
                  <a:pt x="1001" y="1069"/>
                </a:lnTo>
                <a:lnTo>
                  <a:pt x="1006" y="1078"/>
                </a:lnTo>
                <a:lnTo>
                  <a:pt x="1010" y="1087"/>
                </a:lnTo>
                <a:lnTo>
                  <a:pt x="1015" y="1096"/>
                </a:lnTo>
                <a:lnTo>
                  <a:pt x="1025" y="1111"/>
                </a:lnTo>
                <a:lnTo>
                  <a:pt x="1033" y="1123"/>
                </a:lnTo>
                <a:lnTo>
                  <a:pt x="1037" y="1129"/>
                </a:lnTo>
                <a:lnTo>
                  <a:pt x="1039" y="1133"/>
                </a:lnTo>
                <a:lnTo>
                  <a:pt x="1039" y="1138"/>
                </a:lnTo>
                <a:lnTo>
                  <a:pt x="1039" y="1141"/>
                </a:lnTo>
                <a:lnTo>
                  <a:pt x="1037" y="1146"/>
                </a:lnTo>
                <a:lnTo>
                  <a:pt x="1032" y="1149"/>
                </a:lnTo>
                <a:lnTo>
                  <a:pt x="1032" y="1149"/>
                </a:lnTo>
                <a:lnTo>
                  <a:pt x="1022" y="1157"/>
                </a:lnTo>
                <a:lnTo>
                  <a:pt x="1012" y="1167"/>
                </a:lnTo>
                <a:lnTo>
                  <a:pt x="1004" y="1177"/>
                </a:lnTo>
                <a:lnTo>
                  <a:pt x="996" y="1189"/>
                </a:lnTo>
                <a:lnTo>
                  <a:pt x="984" y="1213"/>
                </a:lnTo>
                <a:lnTo>
                  <a:pt x="970" y="1236"/>
                </a:lnTo>
                <a:lnTo>
                  <a:pt x="963" y="1246"/>
                </a:lnTo>
                <a:lnTo>
                  <a:pt x="955" y="1255"/>
                </a:lnTo>
                <a:lnTo>
                  <a:pt x="946" y="1264"/>
                </a:lnTo>
                <a:lnTo>
                  <a:pt x="935" y="1271"/>
                </a:lnTo>
                <a:lnTo>
                  <a:pt x="924" y="1276"/>
                </a:lnTo>
                <a:lnTo>
                  <a:pt x="910" y="1279"/>
                </a:lnTo>
                <a:lnTo>
                  <a:pt x="895" y="1279"/>
                </a:lnTo>
                <a:lnTo>
                  <a:pt x="878" y="1278"/>
                </a:lnTo>
                <a:lnTo>
                  <a:pt x="878" y="1278"/>
                </a:lnTo>
                <a:lnTo>
                  <a:pt x="859" y="1275"/>
                </a:lnTo>
                <a:lnTo>
                  <a:pt x="844" y="1270"/>
                </a:lnTo>
                <a:lnTo>
                  <a:pt x="820" y="1262"/>
                </a:lnTo>
                <a:lnTo>
                  <a:pt x="809" y="1258"/>
                </a:lnTo>
                <a:lnTo>
                  <a:pt x="797" y="1255"/>
                </a:lnTo>
                <a:lnTo>
                  <a:pt x="786" y="1253"/>
                </a:lnTo>
                <a:lnTo>
                  <a:pt x="772" y="1252"/>
                </a:lnTo>
                <a:lnTo>
                  <a:pt x="772" y="1252"/>
                </a:lnTo>
                <a:lnTo>
                  <a:pt x="767" y="1252"/>
                </a:lnTo>
                <a:lnTo>
                  <a:pt x="763" y="1253"/>
                </a:lnTo>
                <a:lnTo>
                  <a:pt x="754" y="1258"/>
                </a:lnTo>
                <a:lnTo>
                  <a:pt x="745" y="1263"/>
                </a:lnTo>
                <a:lnTo>
                  <a:pt x="736" y="1271"/>
                </a:lnTo>
                <a:lnTo>
                  <a:pt x="727" y="1278"/>
                </a:lnTo>
                <a:lnTo>
                  <a:pt x="717" y="1285"/>
                </a:lnTo>
                <a:lnTo>
                  <a:pt x="708" y="1290"/>
                </a:lnTo>
                <a:lnTo>
                  <a:pt x="703" y="1291"/>
                </a:lnTo>
                <a:lnTo>
                  <a:pt x="698" y="1292"/>
                </a:lnTo>
                <a:lnTo>
                  <a:pt x="698" y="1292"/>
                </a:lnTo>
                <a:lnTo>
                  <a:pt x="689" y="1294"/>
                </a:lnTo>
                <a:lnTo>
                  <a:pt x="679" y="1294"/>
                </a:lnTo>
                <a:lnTo>
                  <a:pt x="668" y="1293"/>
                </a:lnTo>
                <a:lnTo>
                  <a:pt x="658" y="1292"/>
                </a:lnTo>
                <a:lnTo>
                  <a:pt x="636" y="1286"/>
                </a:lnTo>
                <a:lnTo>
                  <a:pt x="615" y="1282"/>
                </a:lnTo>
                <a:lnTo>
                  <a:pt x="595" y="1277"/>
                </a:lnTo>
                <a:lnTo>
                  <a:pt x="587" y="1277"/>
                </a:lnTo>
                <a:lnTo>
                  <a:pt x="577" y="1277"/>
                </a:lnTo>
                <a:lnTo>
                  <a:pt x="571" y="1278"/>
                </a:lnTo>
                <a:lnTo>
                  <a:pt x="564" y="1282"/>
                </a:lnTo>
                <a:lnTo>
                  <a:pt x="558" y="1286"/>
                </a:lnTo>
                <a:lnTo>
                  <a:pt x="554" y="1292"/>
                </a:lnTo>
                <a:lnTo>
                  <a:pt x="554" y="1292"/>
                </a:lnTo>
                <a:lnTo>
                  <a:pt x="548" y="1309"/>
                </a:lnTo>
                <a:lnTo>
                  <a:pt x="538" y="1329"/>
                </a:lnTo>
                <a:lnTo>
                  <a:pt x="526" y="1350"/>
                </a:lnTo>
                <a:lnTo>
                  <a:pt x="511" y="1373"/>
                </a:lnTo>
                <a:lnTo>
                  <a:pt x="493" y="1398"/>
                </a:lnTo>
                <a:lnTo>
                  <a:pt x="474" y="1422"/>
                </a:lnTo>
                <a:lnTo>
                  <a:pt x="451" y="1447"/>
                </a:lnTo>
                <a:lnTo>
                  <a:pt x="427" y="1473"/>
                </a:lnTo>
                <a:lnTo>
                  <a:pt x="399" y="1496"/>
                </a:lnTo>
                <a:lnTo>
                  <a:pt x="369" y="1519"/>
                </a:lnTo>
                <a:lnTo>
                  <a:pt x="354" y="1529"/>
                </a:lnTo>
                <a:lnTo>
                  <a:pt x="338" y="1540"/>
                </a:lnTo>
                <a:lnTo>
                  <a:pt x="321" y="1549"/>
                </a:lnTo>
                <a:lnTo>
                  <a:pt x="304" y="1558"/>
                </a:lnTo>
                <a:lnTo>
                  <a:pt x="286" y="1566"/>
                </a:lnTo>
                <a:lnTo>
                  <a:pt x="268" y="1573"/>
                </a:lnTo>
                <a:lnTo>
                  <a:pt x="250" y="1580"/>
                </a:lnTo>
                <a:lnTo>
                  <a:pt x="230" y="1586"/>
                </a:lnTo>
                <a:lnTo>
                  <a:pt x="209" y="1590"/>
                </a:lnTo>
                <a:lnTo>
                  <a:pt x="190" y="1594"/>
                </a:lnTo>
                <a:lnTo>
                  <a:pt x="168" y="1596"/>
                </a:lnTo>
                <a:lnTo>
                  <a:pt x="147" y="1597"/>
                </a:lnTo>
                <a:lnTo>
                  <a:pt x="147" y="1597"/>
                </a:lnTo>
                <a:lnTo>
                  <a:pt x="124" y="1597"/>
                </a:lnTo>
                <a:lnTo>
                  <a:pt x="103" y="1595"/>
                </a:lnTo>
                <a:lnTo>
                  <a:pt x="86" y="1591"/>
                </a:lnTo>
                <a:lnTo>
                  <a:pt x="70" y="1588"/>
                </a:lnTo>
                <a:lnTo>
                  <a:pt x="56" y="1582"/>
                </a:lnTo>
                <a:lnTo>
                  <a:pt x="44" y="1575"/>
                </a:lnTo>
                <a:lnTo>
                  <a:pt x="33" y="1569"/>
                </a:lnTo>
                <a:lnTo>
                  <a:pt x="25" y="1561"/>
                </a:lnTo>
                <a:lnTo>
                  <a:pt x="18" y="1554"/>
                </a:lnTo>
                <a:lnTo>
                  <a:pt x="12" y="1548"/>
                </a:lnTo>
                <a:lnTo>
                  <a:pt x="4" y="1536"/>
                </a:lnTo>
                <a:lnTo>
                  <a:pt x="1" y="1527"/>
                </a:lnTo>
                <a:lnTo>
                  <a:pt x="0" y="1523"/>
                </a:lnTo>
                <a:lnTo>
                  <a:pt x="0" y="1523"/>
                </a:lnTo>
                <a:lnTo>
                  <a:pt x="2" y="1516"/>
                </a:lnTo>
                <a:lnTo>
                  <a:pt x="4" y="1510"/>
                </a:lnTo>
                <a:lnTo>
                  <a:pt x="8" y="1503"/>
                </a:lnTo>
                <a:lnTo>
                  <a:pt x="12" y="1497"/>
                </a:lnTo>
                <a:lnTo>
                  <a:pt x="22" y="1485"/>
                </a:lnTo>
                <a:lnTo>
                  <a:pt x="32" y="1474"/>
                </a:lnTo>
                <a:lnTo>
                  <a:pt x="42" y="1464"/>
                </a:lnTo>
                <a:lnTo>
                  <a:pt x="52" y="1452"/>
                </a:lnTo>
                <a:lnTo>
                  <a:pt x="56" y="1445"/>
                </a:lnTo>
                <a:lnTo>
                  <a:pt x="59" y="1439"/>
                </a:lnTo>
                <a:lnTo>
                  <a:pt x="61" y="1432"/>
                </a:lnTo>
                <a:lnTo>
                  <a:pt x="62" y="1424"/>
                </a:lnTo>
                <a:lnTo>
                  <a:pt x="62" y="1424"/>
                </a:lnTo>
                <a:lnTo>
                  <a:pt x="49" y="1422"/>
                </a:lnTo>
                <a:lnTo>
                  <a:pt x="40" y="1421"/>
                </a:lnTo>
                <a:lnTo>
                  <a:pt x="31" y="1419"/>
                </a:lnTo>
                <a:lnTo>
                  <a:pt x="22" y="1415"/>
                </a:lnTo>
                <a:lnTo>
                  <a:pt x="14" y="1411"/>
                </a:lnTo>
                <a:lnTo>
                  <a:pt x="11" y="1407"/>
                </a:lnTo>
                <a:lnTo>
                  <a:pt x="9" y="1404"/>
                </a:lnTo>
                <a:lnTo>
                  <a:pt x="8" y="1400"/>
                </a:lnTo>
                <a:lnTo>
                  <a:pt x="7" y="1396"/>
                </a:lnTo>
                <a:lnTo>
                  <a:pt x="7" y="1396"/>
                </a:lnTo>
                <a:lnTo>
                  <a:pt x="8" y="1386"/>
                </a:lnTo>
                <a:lnTo>
                  <a:pt x="10" y="1378"/>
                </a:lnTo>
                <a:lnTo>
                  <a:pt x="14" y="1370"/>
                </a:lnTo>
                <a:lnTo>
                  <a:pt x="17" y="1363"/>
                </a:lnTo>
                <a:lnTo>
                  <a:pt x="27" y="1350"/>
                </a:lnTo>
                <a:lnTo>
                  <a:pt x="37" y="1337"/>
                </a:lnTo>
                <a:lnTo>
                  <a:pt x="37" y="1337"/>
                </a:lnTo>
                <a:lnTo>
                  <a:pt x="30" y="1331"/>
                </a:lnTo>
                <a:lnTo>
                  <a:pt x="23" y="1324"/>
                </a:lnTo>
                <a:lnTo>
                  <a:pt x="19" y="1320"/>
                </a:lnTo>
                <a:lnTo>
                  <a:pt x="17" y="1315"/>
                </a:lnTo>
                <a:lnTo>
                  <a:pt x="15" y="1311"/>
                </a:lnTo>
                <a:lnTo>
                  <a:pt x="15" y="1304"/>
                </a:lnTo>
                <a:lnTo>
                  <a:pt x="15" y="1304"/>
                </a:lnTo>
                <a:lnTo>
                  <a:pt x="15" y="1300"/>
                </a:lnTo>
                <a:lnTo>
                  <a:pt x="16" y="1297"/>
                </a:lnTo>
                <a:lnTo>
                  <a:pt x="18" y="1293"/>
                </a:lnTo>
                <a:lnTo>
                  <a:pt x="22" y="1290"/>
                </a:lnTo>
                <a:lnTo>
                  <a:pt x="29" y="1285"/>
                </a:lnTo>
                <a:lnTo>
                  <a:pt x="38" y="1283"/>
                </a:lnTo>
                <a:lnTo>
                  <a:pt x="49" y="1281"/>
                </a:lnTo>
                <a:lnTo>
                  <a:pt x="61" y="1278"/>
                </a:lnTo>
                <a:lnTo>
                  <a:pt x="84" y="1278"/>
                </a:lnTo>
                <a:lnTo>
                  <a:pt x="84" y="1278"/>
                </a:lnTo>
                <a:lnTo>
                  <a:pt x="90" y="1277"/>
                </a:lnTo>
                <a:lnTo>
                  <a:pt x="95" y="1276"/>
                </a:lnTo>
                <a:lnTo>
                  <a:pt x="100" y="1274"/>
                </a:lnTo>
                <a:lnTo>
                  <a:pt x="103" y="1271"/>
                </a:lnTo>
                <a:lnTo>
                  <a:pt x="110" y="1263"/>
                </a:lnTo>
                <a:lnTo>
                  <a:pt x="116" y="1255"/>
                </a:lnTo>
                <a:lnTo>
                  <a:pt x="122" y="1247"/>
                </a:lnTo>
                <a:lnTo>
                  <a:pt x="129" y="1240"/>
                </a:lnTo>
                <a:lnTo>
                  <a:pt x="133" y="1238"/>
                </a:lnTo>
                <a:lnTo>
                  <a:pt x="138" y="1236"/>
                </a:lnTo>
                <a:lnTo>
                  <a:pt x="144" y="1235"/>
                </a:lnTo>
                <a:lnTo>
                  <a:pt x="151" y="1233"/>
                </a:lnTo>
                <a:lnTo>
                  <a:pt x="151" y="1233"/>
                </a:lnTo>
                <a:lnTo>
                  <a:pt x="168" y="1235"/>
                </a:lnTo>
                <a:lnTo>
                  <a:pt x="184" y="1233"/>
                </a:lnTo>
                <a:lnTo>
                  <a:pt x="192" y="1232"/>
                </a:lnTo>
                <a:lnTo>
                  <a:pt x="200" y="1230"/>
                </a:lnTo>
                <a:lnTo>
                  <a:pt x="207" y="1228"/>
                </a:lnTo>
                <a:lnTo>
                  <a:pt x="213" y="1223"/>
                </a:lnTo>
                <a:lnTo>
                  <a:pt x="213" y="1223"/>
                </a:lnTo>
                <a:lnTo>
                  <a:pt x="216" y="1218"/>
                </a:lnTo>
                <a:lnTo>
                  <a:pt x="217" y="1214"/>
                </a:lnTo>
                <a:lnTo>
                  <a:pt x="218" y="1208"/>
                </a:lnTo>
                <a:lnTo>
                  <a:pt x="218" y="1203"/>
                </a:lnTo>
                <a:lnTo>
                  <a:pt x="218" y="1198"/>
                </a:lnTo>
                <a:lnTo>
                  <a:pt x="220" y="1193"/>
                </a:lnTo>
                <a:lnTo>
                  <a:pt x="221" y="1187"/>
                </a:lnTo>
                <a:lnTo>
                  <a:pt x="224" y="1182"/>
                </a:lnTo>
                <a:lnTo>
                  <a:pt x="224" y="1182"/>
                </a:lnTo>
                <a:lnTo>
                  <a:pt x="248" y="1159"/>
                </a:lnTo>
                <a:lnTo>
                  <a:pt x="260" y="1147"/>
                </a:lnTo>
                <a:lnTo>
                  <a:pt x="269" y="1137"/>
                </a:lnTo>
                <a:lnTo>
                  <a:pt x="277" y="1124"/>
                </a:lnTo>
                <a:lnTo>
                  <a:pt x="285" y="1110"/>
                </a:lnTo>
                <a:lnTo>
                  <a:pt x="292" y="1093"/>
                </a:lnTo>
                <a:lnTo>
                  <a:pt x="298" y="1072"/>
                </a:lnTo>
                <a:lnTo>
                  <a:pt x="298" y="1072"/>
                </a:lnTo>
                <a:lnTo>
                  <a:pt x="305" y="1071"/>
                </a:lnTo>
                <a:lnTo>
                  <a:pt x="313" y="1070"/>
                </a:lnTo>
                <a:lnTo>
                  <a:pt x="320" y="1068"/>
                </a:lnTo>
                <a:lnTo>
                  <a:pt x="327" y="1065"/>
                </a:lnTo>
                <a:lnTo>
                  <a:pt x="340" y="1059"/>
                </a:lnTo>
                <a:lnTo>
                  <a:pt x="353" y="1049"/>
                </a:lnTo>
                <a:lnTo>
                  <a:pt x="366" y="1039"/>
                </a:lnTo>
                <a:lnTo>
                  <a:pt x="377" y="1027"/>
                </a:lnTo>
                <a:lnTo>
                  <a:pt x="396" y="1007"/>
                </a:lnTo>
                <a:lnTo>
                  <a:pt x="396" y="1007"/>
                </a:lnTo>
                <a:lnTo>
                  <a:pt x="414" y="992"/>
                </a:lnTo>
                <a:lnTo>
                  <a:pt x="423" y="985"/>
                </a:lnTo>
                <a:lnTo>
                  <a:pt x="430" y="977"/>
                </a:lnTo>
                <a:lnTo>
                  <a:pt x="436" y="969"/>
                </a:lnTo>
                <a:lnTo>
                  <a:pt x="441" y="958"/>
                </a:lnTo>
                <a:lnTo>
                  <a:pt x="444" y="947"/>
                </a:lnTo>
                <a:lnTo>
                  <a:pt x="444" y="933"/>
                </a:lnTo>
                <a:lnTo>
                  <a:pt x="444" y="933"/>
                </a:lnTo>
                <a:lnTo>
                  <a:pt x="444" y="924"/>
                </a:lnTo>
                <a:lnTo>
                  <a:pt x="442" y="916"/>
                </a:lnTo>
                <a:lnTo>
                  <a:pt x="438" y="909"/>
                </a:lnTo>
                <a:lnTo>
                  <a:pt x="434" y="903"/>
                </a:lnTo>
                <a:lnTo>
                  <a:pt x="429" y="897"/>
                </a:lnTo>
                <a:lnTo>
                  <a:pt x="423" y="892"/>
                </a:lnTo>
                <a:lnTo>
                  <a:pt x="412" y="882"/>
                </a:lnTo>
                <a:lnTo>
                  <a:pt x="399" y="873"/>
                </a:lnTo>
                <a:lnTo>
                  <a:pt x="393" y="869"/>
                </a:lnTo>
                <a:lnTo>
                  <a:pt x="389" y="864"/>
                </a:lnTo>
                <a:lnTo>
                  <a:pt x="384" y="858"/>
                </a:lnTo>
                <a:lnTo>
                  <a:pt x="381" y="853"/>
                </a:lnTo>
                <a:lnTo>
                  <a:pt x="378" y="846"/>
                </a:lnTo>
                <a:lnTo>
                  <a:pt x="378" y="838"/>
                </a:lnTo>
                <a:lnTo>
                  <a:pt x="378" y="838"/>
                </a:lnTo>
                <a:lnTo>
                  <a:pt x="378" y="833"/>
                </a:lnTo>
                <a:lnTo>
                  <a:pt x="380" y="828"/>
                </a:lnTo>
                <a:lnTo>
                  <a:pt x="381" y="825"/>
                </a:lnTo>
                <a:lnTo>
                  <a:pt x="383" y="823"/>
                </a:lnTo>
                <a:lnTo>
                  <a:pt x="389" y="817"/>
                </a:lnTo>
                <a:lnTo>
                  <a:pt x="396" y="812"/>
                </a:lnTo>
                <a:lnTo>
                  <a:pt x="411" y="804"/>
                </a:lnTo>
                <a:lnTo>
                  <a:pt x="418" y="800"/>
                </a:lnTo>
                <a:lnTo>
                  <a:pt x="422" y="794"/>
                </a:lnTo>
                <a:lnTo>
                  <a:pt x="422" y="794"/>
                </a:lnTo>
                <a:lnTo>
                  <a:pt x="430" y="774"/>
                </a:lnTo>
                <a:lnTo>
                  <a:pt x="439" y="752"/>
                </a:lnTo>
                <a:lnTo>
                  <a:pt x="449" y="731"/>
                </a:lnTo>
                <a:lnTo>
                  <a:pt x="458" y="708"/>
                </a:lnTo>
                <a:lnTo>
                  <a:pt x="469" y="687"/>
                </a:lnTo>
                <a:lnTo>
                  <a:pt x="481" y="667"/>
                </a:lnTo>
                <a:lnTo>
                  <a:pt x="488" y="659"/>
                </a:lnTo>
                <a:lnTo>
                  <a:pt x="495" y="651"/>
                </a:lnTo>
                <a:lnTo>
                  <a:pt x="503" y="644"/>
                </a:lnTo>
                <a:lnTo>
                  <a:pt x="511" y="640"/>
                </a:lnTo>
                <a:lnTo>
                  <a:pt x="511" y="640"/>
                </a:lnTo>
                <a:lnTo>
                  <a:pt x="519" y="634"/>
                </a:lnTo>
                <a:lnTo>
                  <a:pt x="528" y="629"/>
                </a:lnTo>
                <a:lnTo>
                  <a:pt x="536" y="625"/>
                </a:lnTo>
                <a:lnTo>
                  <a:pt x="544" y="619"/>
                </a:lnTo>
                <a:lnTo>
                  <a:pt x="552" y="612"/>
                </a:lnTo>
                <a:lnTo>
                  <a:pt x="557" y="603"/>
                </a:lnTo>
                <a:lnTo>
                  <a:pt x="559" y="598"/>
                </a:lnTo>
                <a:lnTo>
                  <a:pt x="560" y="591"/>
                </a:lnTo>
                <a:lnTo>
                  <a:pt x="561" y="584"/>
                </a:lnTo>
                <a:lnTo>
                  <a:pt x="563" y="578"/>
                </a:lnTo>
                <a:lnTo>
                  <a:pt x="563" y="578"/>
                </a:lnTo>
                <a:lnTo>
                  <a:pt x="561" y="567"/>
                </a:lnTo>
                <a:lnTo>
                  <a:pt x="558" y="559"/>
                </a:lnTo>
                <a:lnTo>
                  <a:pt x="553" y="552"/>
                </a:lnTo>
                <a:lnTo>
                  <a:pt x="549" y="545"/>
                </a:lnTo>
                <a:lnTo>
                  <a:pt x="542" y="541"/>
                </a:lnTo>
                <a:lnTo>
                  <a:pt x="534" y="535"/>
                </a:lnTo>
                <a:lnTo>
                  <a:pt x="518" y="526"/>
                </a:lnTo>
                <a:lnTo>
                  <a:pt x="518" y="526"/>
                </a:lnTo>
                <a:lnTo>
                  <a:pt x="508" y="519"/>
                </a:lnTo>
                <a:lnTo>
                  <a:pt x="500" y="515"/>
                </a:lnTo>
                <a:lnTo>
                  <a:pt x="492" y="513"/>
                </a:lnTo>
                <a:lnTo>
                  <a:pt x="484" y="512"/>
                </a:lnTo>
                <a:lnTo>
                  <a:pt x="466" y="512"/>
                </a:lnTo>
                <a:lnTo>
                  <a:pt x="456" y="511"/>
                </a:lnTo>
                <a:lnTo>
                  <a:pt x="444" y="507"/>
                </a:lnTo>
                <a:lnTo>
                  <a:pt x="444" y="507"/>
                </a:lnTo>
                <a:lnTo>
                  <a:pt x="431" y="479"/>
                </a:lnTo>
                <a:lnTo>
                  <a:pt x="421" y="456"/>
                </a:lnTo>
                <a:lnTo>
                  <a:pt x="415" y="441"/>
                </a:lnTo>
                <a:lnTo>
                  <a:pt x="415" y="441"/>
                </a:lnTo>
                <a:lnTo>
                  <a:pt x="406" y="420"/>
                </a:lnTo>
                <a:lnTo>
                  <a:pt x="396" y="403"/>
                </a:lnTo>
                <a:lnTo>
                  <a:pt x="372" y="363"/>
                </a:lnTo>
                <a:lnTo>
                  <a:pt x="372" y="363"/>
                </a:lnTo>
                <a:lnTo>
                  <a:pt x="366" y="359"/>
                </a:lnTo>
                <a:lnTo>
                  <a:pt x="360" y="353"/>
                </a:lnTo>
                <a:lnTo>
                  <a:pt x="357" y="350"/>
                </a:lnTo>
                <a:lnTo>
                  <a:pt x="354" y="345"/>
                </a:lnTo>
                <a:lnTo>
                  <a:pt x="353" y="340"/>
                </a:lnTo>
                <a:lnTo>
                  <a:pt x="352" y="335"/>
                </a:lnTo>
                <a:lnTo>
                  <a:pt x="352" y="335"/>
                </a:lnTo>
                <a:lnTo>
                  <a:pt x="352" y="322"/>
                </a:lnTo>
                <a:lnTo>
                  <a:pt x="353" y="311"/>
                </a:lnTo>
                <a:lnTo>
                  <a:pt x="354" y="306"/>
                </a:lnTo>
                <a:lnTo>
                  <a:pt x="357" y="301"/>
                </a:lnTo>
                <a:lnTo>
                  <a:pt x="361" y="299"/>
                </a:lnTo>
                <a:lnTo>
                  <a:pt x="367" y="298"/>
                </a:lnTo>
                <a:lnTo>
                  <a:pt x="367" y="298"/>
                </a:lnTo>
                <a:lnTo>
                  <a:pt x="373" y="298"/>
                </a:lnTo>
                <a:lnTo>
                  <a:pt x="378" y="300"/>
                </a:lnTo>
                <a:lnTo>
                  <a:pt x="388" y="305"/>
                </a:lnTo>
                <a:lnTo>
                  <a:pt x="392" y="308"/>
                </a:lnTo>
                <a:lnTo>
                  <a:pt x="398" y="311"/>
                </a:lnTo>
                <a:lnTo>
                  <a:pt x="404" y="312"/>
                </a:lnTo>
                <a:lnTo>
                  <a:pt x="411" y="313"/>
                </a:lnTo>
                <a:lnTo>
                  <a:pt x="411" y="313"/>
                </a:lnTo>
                <a:lnTo>
                  <a:pt x="419" y="312"/>
                </a:lnTo>
                <a:lnTo>
                  <a:pt x="424" y="311"/>
                </a:lnTo>
                <a:lnTo>
                  <a:pt x="431" y="307"/>
                </a:lnTo>
                <a:lnTo>
                  <a:pt x="436" y="305"/>
                </a:lnTo>
                <a:lnTo>
                  <a:pt x="446" y="296"/>
                </a:lnTo>
                <a:lnTo>
                  <a:pt x="456" y="285"/>
                </a:lnTo>
                <a:lnTo>
                  <a:pt x="464" y="275"/>
                </a:lnTo>
                <a:lnTo>
                  <a:pt x="472" y="266"/>
                </a:lnTo>
                <a:lnTo>
                  <a:pt x="480" y="259"/>
                </a:lnTo>
                <a:lnTo>
                  <a:pt x="484" y="255"/>
                </a:lnTo>
                <a:lnTo>
                  <a:pt x="489" y="254"/>
                </a:lnTo>
                <a:lnTo>
                  <a:pt x="489" y="254"/>
                </a:lnTo>
                <a:lnTo>
                  <a:pt x="482" y="233"/>
                </a:lnTo>
                <a:lnTo>
                  <a:pt x="479" y="224"/>
                </a:lnTo>
                <a:lnTo>
                  <a:pt x="477" y="216"/>
                </a:lnTo>
                <a:lnTo>
                  <a:pt x="477" y="216"/>
                </a:lnTo>
                <a:lnTo>
                  <a:pt x="477" y="212"/>
                </a:lnTo>
                <a:lnTo>
                  <a:pt x="479" y="208"/>
                </a:lnTo>
                <a:lnTo>
                  <a:pt x="482" y="202"/>
                </a:lnTo>
                <a:lnTo>
                  <a:pt x="485" y="198"/>
                </a:lnTo>
                <a:lnTo>
                  <a:pt x="489" y="191"/>
                </a:lnTo>
                <a:lnTo>
                  <a:pt x="489" y="191"/>
                </a:lnTo>
                <a:lnTo>
                  <a:pt x="462" y="185"/>
                </a:lnTo>
                <a:lnTo>
                  <a:pt x="451" y="183"/>
                </a:lnTo>
                <a:lnTo>
                  <a:pt x="439" y="179"/>
                </a:lnTo>
                <a:lnTo>
                  <a:pt x="429" y="175"/>
                </a:lnTo>
                <a:lnTo>
                  <a:pt x="426" y="171"/>
                </a:lnTo>
                <a:lnTo>
                  <a:pt x="422" y="168"/>
                </a:lnTo>
                <a:lnTo>
                  <a:pt x="419" y="164"/>
                </a:lnTo>
                <a:lnTo>
                  <a:pt x="416" y="161"/>
                </a:lnTo>
                <a:lnTo>
                  <a:pt x="415" y="156"/>
                </a:lnTo>
                <a:lnTo>
                  <a:pt x="415" y="151"/>
                </a:lnTo>
                <a:lnTo>
                  <a:pt x="415" y="151"/>
                </a:lnTo>
                <a:lnTo>
                  <a:pt x="415" y="52"/>
                </a:lnTo>
                <a:lnTo>
                  <a:pt x="415" y="52"/>
                </a:lnTo>
                <a:lnTo>
                  <a:pt x="416" y="47"/>
                </a:lnTo>
                <a:lnTo>
                  <a:pt x="419" y="42"/>
                </a:lnTo>
                <a:lnTo>
                  <a:pt x="422" y="40"/>
                </a:lnTo>
                <a:lnTo>
                  <a:pt x="427" y="39"/>
                </a:lnTo>
                <a:lnTo>
                  <a:pt x="435" y="37"/>
                </a:lnTo>
                <a:lnTo>
                  <a:pt x="441" y="37"/>
                </a:lnTo>
                <a:lnTo>
                  <a:pt x="441" y="37"/>
                </a:lnTo>
                <a:lnTo>
                  <a:pt x="484" y="37"/>
                </a:lnTo>
                <a:lnTo>
                  <a:pt x="484" y="37"/>
                </a:lnTo>
                <a:lnTo>
                  <a:pt x="493" y="36"/>
                </a:lnTo>
                <a:lnTo>
                  <a:pt x="500" y="34"/>
                </a:lnTo>
                <a:lnTo>
                  <a:pt x="507" y="31"/>
                </a:lnTo>
                <a:lnTo>
                  <a:pt x="513" y="27"/>
                </a:lnTo>
                <a:lnTo>
                  <a:pt x="525" y="18"/>
                </a:lnTo>
                <a:lnTo>
                  <a:pt x="536" y="7"/>
                </a:lnTo>
                <a:lnTo>
                  <a:pt x="536" y="7"/>
                </a:lnTo>
                <a:lnTo>
                  <a:pt x="521" y="0"/>
                </a:lnTo>
                <a:lnTo>
                  <a:pt x="521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1" name="Freeform 56"/>
          <p:cNvSpPr>
            <a:spLocks/>
          </p:cNvSpPr>
          <p:nvPr/>
        </p:nvSpPr>
        <p:spPr bwMode="auto">
          <a:xfrm>
            <a:off x="3213100" y="4872038"/>
            <a:ext cx="417513" cy="687387"/>
          </a:xfrm>
          <a:custGeom>
            <a:avLst/>
            <a:gdLst/>
            <a:ahLst/>
            <a:cxnLst>
              <a:cxn ang="0">
                <a:pos x="484" y="65"/>
              </a:cxn>
              <a:cxn ang="0">
                <a:pos x="472" y="106"/>
              </a:cxn>
              <a:cxn ang="0">
                <a:pos x="459" y="140"/>
              </a:cxn>
              <a:cxn ang="0">
                <a:pos x="488" y="194"/>
              </a:cxn>
              <a:cxn ang="0">
                <a:pos x="505" y="286"/>
              </a:cxn>
              <a:cxn ang="0">
                <a:pos x="509" y="322"/>
              </a:cxn>
              <a:cxn ang="0">
                <a:pos x="479" y="386"/>
              </a:cxn>
              <a:cxn ang="0">
                <a:pos x="482" y="406"/>
              </a:cxn>
              <a:cxn ang="0">
                <a:pos x="486" y="430"/>
              </a:cxn>
              <a:cxn ang="0">
                <a:pos x="442" y="443"/>
              </a:cxn>
              <a:cxn ang="0">
                <a:pos x="415" y="454"/>
              </a:cxn>
              <a:cxn ang="0">
                <a:pos x="396" y="514"/>
              </a:cxn>
              <a:cxn ang="0">
                <a:pos x="374" y="560"/>
              </a:cxn>
              <a:cxn ang="0">
                <a:pos x="383" y="611"/>
              </a:cxn>
              <a:cxn ang="0">
                <a:pos x="404" y="665"/>
              </a:cxn>
              <a:cxn ang="0">
                <a:pos x="390" y="681"/>
              </a:cxn>
              <a:cxn ang="0">
                <a:pos x="357" y="740"/>
              </a:cxn>
              <a:cxn ang="0">
                <a:pos x="283" y="769"/>
              </a:cxn>
              <a:cxn ang="0">
                <a:pos x="238" y="789"/>
              </a:cxn>
              <a:cxn ang="0">
                <a:pos x="204" y="772"/>
              </a:cxn>
              <a:cxn ang="0">
                <a:pos x="173" y="769"/>
              </a:cxn>
              <a:cxn ang="0">
                <a:pos x="165" y="751"/>
              </a:cxn>
              <a:cxn ang="0">
                <a:pos x="190" y="732"/>
              </a:cxn>
              <a:cxn ang="0">
                <a:pos x="202" y="715"/>
              </a:cxn>
              <a:cxn ang="0">
                <a:pos x="168" y="708"/>
              </a:cxn>
              <a:cxn ang="0">
                <a:pos x="139" y="676"/>
              </a:cxn>
              <a:cxn ang="0">
                <a:pos x="113" y="690"/>
              </a:cxn>
              <a:cxn ang="0">
                <a:pos x="97" y="652"/>
              </a:cxn>
              <a:cxn ang="0">
                <a:pos x="77" y="635"/>
              </a:cxn>
              <a:cxn ang="0">
                <a:pos x="41" y="650"/>
              </a:cxn>
              <a:cxn ang="0">
                <a:pos x="7" y="639"/>
              </a:cxn>
              <a:cxn ang="0">
                <a:pos x="8" y="612"/>
              </a:cxn>
              <a:cxn ang="0">
                <a:pos x="32" y="566"/>
              </a:cxn>
              <a:cxn ang="0">
                <a:pos x="3" y="462"/>
              </a:cxn>
              <a:cxn ang="0">
                <a:pos x="15" y="423"/>
              </a:cxn>
              <a:cxn ang="0">
                <a:pos x="27" y="362"/>
              </a:cxn>
              <a:cxn ang="0">
                <a:pos x="54" y="351"/>
              </a:cxn>
              <a:cxn ang="0">
                <a:pos x="62" y="297"/>
              </a:cxn>
              <a:cxn ang="0">
                <a:pos x="104" y="274"/>
              </a:cxn>
              <a:cxn ang="0">
                <a:pos x="150" y="248"/>
              </a:cxn>
              <a:cxn ang="0">
                <a:pos x="130" y="191"/>
              </a:cxn>
              <a:cxn ang="0">
                <a:pos x="106" y="168"/>
              </a:cxn>
              <a:cxn ang="0">
                <a:pos x="91" y="180"/>
              </a:cxn>
              <a:cxn ang="0">
                <a:pos x="76" y="177"/>
              </a:cxn>
              <a:cxn ang="0">
                <a:pos x="72" y="149"/>
              </a:cxn>
              <a:cxn ang="0">
                <a:pos x="95" y="107"/>
              </a:cxn>
              <a:cxn ang="0">
                <a:pos x="99" y="59"/>
              </a:cxn>
              <a:cxn ang="0">
                <a:pos x="150" y="2"/>
              </a:cxn>
              <a:cxn ang="0">
                <a:pos x="171" y="4"/>
              </a:cxn>
              <a:cxn ang="0">
                <a:pos x="174" y="34"/>
              </a:cxn>
              <a:cxn ang="0">
                <a:pos x="161" y="50"/>
              </a:cxn>
              <a:cxn ang="0">
                <a:pos x="237" y="92"/>
              </a:cxn>
              <a:cxn ang="0">
                <a:pos x="296" y="104"/>
              </a:cxn>
              <a:cxn ang="0">
                <a:pos x="339" y="96"/>
              </a:cxn>
              <a:cxn ang="0">
                <a:pos x="396" y="115"/>
              </a:cxn>
              <a:cxn ang="0">
                <a:pos x="447" y="95"/>
              </a:cxn>
              <a:cxn ang="0">
                <a:pos x="473" y="55"/>
              </a:cxn>
            </a:cxnLst>
            <a:rect l="0" t="0" r="r" b="b"/>
            <a:pathLst>
              <a:path w="510" h="789">
                <a:moveTo>
                  <a:pt x="473" y="55"/>
                </a:moveTo>
                <a:lnTo>
                  <a:pt x="473" y="55"/>
                </a:lnTo>
                <a:lnTo>
                  <a:pt x="478" y="56"/>
                </a:lnTo>
                <a:lnTo>
                  <a:pt x="480" y="58"/>
                </a:lnTo>
                <a:lnTo>
                  <a:pt x="482" y="62"/>
                </a:lnTo>
                <a:lnTo>
                  <a:pt x="484" y="65"/>
                </a:lnTo>
                <a:lnTo>
                  <a:pt x="485" y="77"/>
                </a:lnTo>
                <a:lnTo>
                  <a:pt x="485" y="87"/>
                </a:lnTo>
                <a:lnTo>
                  <a:pt x="485" y="87"/>
                </a:lnTo>
                <a:lnTo>
                  <a:pt x="484" y="93"/>
                </a:lnTo>
                <a:lnTo>
                  <a:pt x="481" y="97"/>
                </a:lnTo>
                <a:lnTo>
                  <a:pt x="472" y="106"/>
                </a:lnTo>
                <a:lnTo>
                  <a:pt x="467" y="110"/>
                </a:lnTo>
                <a:lnTo>
                  <a:pt x="463" y="116"/>
                </a:lnTo>
                <a:lnTo>
                  <a:pt x="461" y="123"/>
                </a:lnTo>
                <a:lnTo>
                  <a:pt x="459" y="132"/>
                </a:lnTo>
                <a:lnTo>
                  <a:pt x="459" y="132"/>
                </a:lnTo>
                <a:lnTo>
                  <a:pt x="459" y="140"/>
                </a:lnTo>
                <a:lnTo>
                  <a:pt x="463" y="148"/>
                </a:lnTo>
                <a:lnTo>
                  <a:pt x="466" y="157"/>
                </a:lnTo>
                <a:lnTo>
                  <a:pt x="471" y="165"/>
                </a:lnTo>
                <a:lnTo>
                  <a:pt x="480" y="181"/>
                </a:lnTo>
                <a:lnTo>
                  <a:pt x="488" y="194"/>
                </a:lnTo>
                <a:lnTo>
                  <a:pt x="488" y="194"/>
                </a:lnTo>
                <a:lnTo>
                  <a:pt x="488" y="256"/>
                </a:lnTo>
                <a:lnTo>
                  <a:pt x="488" y="256"/>
                </a:lnTo>
                <a:lnTo>
                  <a:pt x="488" y="256"/>
                </a:lnTo>
                <a:lnTo>
                  <a:pt x="496" y="268"/>
                </a:lnTo>
                <a:lnTo>
                  <a:pt x="503" y="279"/>
                </a:lnTo>
                <a:lnTo>
                  <a:pt x="505" y="286"/>
                </a:lnTo>
                <a:lnTo>
                  <a:pt x="508" y="293"/>
                </a:lnTo>
                <a:lnTo>
                  <a:pt x="510" y="300"/>
                </a:lnTo>
                <a:lnTo>
                  <a:pt x="510" y="308"/>
                </a:lnTo>
                <a:lnTo>
                  <a:pt x="510" y="308"/>
                </a:lnTo>
                <a:lnTo>
                  <a:pt x="510" y="315"/>
                </a:lnTo>
                <a:lnTo>
                  <a:pt x="509" y="322"/>
                </a:lnTo>
                <a:lnTo>
                  <a:pt x="505" y="335"/>
                </a:lnTo>
                <a:lnTo>
                  <a:pt x="500" y="346"/>
                </a:lnTo>
                <a:lnTo>
                  <a:pt x="494" y="356"/>
                </a:lnTo>
                <a:lnTo>
                  <a:pt x="487" y="366"/>
                </a:lnTo>
                <a:lnTo>
                  <a:pt x="482" y="376"/>
                </a:lnTo>
                <a:lnTo>
                  <a:pt x="479" y="386"/>
                </a:lnTo>
                <a:lnTo>
                  <a:pt x="478" y="391"/>
                </a:lnTo>
                <a:lnTo>
                  <a:pt x="477" y="397"/>
                </a:lnTo>
                <a:lnTo>
                  <a:pt x="477" y="397"/>
                </a:lnTo>
                <a:lnTo>
                  <a:pt x="478" y="399"/>
                </a:lnTo>
                <a:lnTo>
                  <a:pt x="479" y="401"/>
                </a:lnTo>
                <a:lnTo>
                  <a:pt x="482" y="406"/>
                </a:lnTo>
                <a:lnTo>
                  <a:pt x="487" y="410"/>
                </a:lnTo>
                <a:lnTo>
                  <a:pt x="488" y="414"/>
                </a:lnTo>
                <a:lnTo>
                  <a:pt x="488" y="419"/>
                </a:lnTo>
                <a:lnTo>
                  <a:pt x="488" y="419"/>
                </a:lnTo>
                <a:lnTo>
                  <a:pt x="488" y="425"/>
                </a:lnTo>
                <a:lnTo>
                  <a:pt x="486" y="430"/>
                </a:lnTo>
                <a:lnTo>
                  <a:pt x="484" y="435"/>
                </a:lnTo>
                <a:lnTo>
                  <a:pt x="481" y="438"/>
                </a:lnTo>
                <a:lnTo>
                  <a:pt x="478" y="440"/>
                </a:lnTo>
                <a:lnTo>
                  <a:pt x="473" y="442"/>
                </a:lnTo>
                <a:lnTo>
                  <a:pt x="464" y="443"/>
                </a:lnTo>
                <a:lnTo>
                  <a:pt x="442" y="443"/>
                </a:lnTo>
                <a:lnTo>
                  <a:pt x="431" y="444"/>
                </a:lnTo>
                <a:lnTo>
                  <a:pt x="426" y="445"/>
                </a:lnTo>
                <a:lnTo>
                  <a:pt x="421" y="447"/>
                </a:lnTo>
                <a:lnTo>
                  <a:pt x="421" y="447"/>
                </a:lnTo>
                <a:lnTo>
                  <a:pt x="418" y="451"/>
                </a:lnTo>
                <a:lnTo>
                  <a:pt x="415" y="454"/>
                </a:lnTo>
                <a:lnTo>
                  <a:pt x="409" y="462"/>
                </a:lnTo>
                <a:lnTo>
                  <a:pt x="406" y="470"/>
                </a:lnTo>
                <a:lnTo>
                  <a:pt x="405" y="480"/>
                </a:lnTo>
                <a:lnTo>
                  <a:pt x="403" y="497"/>
                </a:lnTo>
                <a:lnTo>
                  <a:pt x="401" y="506"/>
                </a:lnTo>
                <a:lnTo>
                  <a:pt x="396" y="514"/>
                </a:lnTo>
                <a:lnTo>
                  <a:pt x="396" y="514"/>
                </a:lnTo>
                <a:lnTo>
                  <a:pt x="388" y="526"/>
                </a:lnTo>
                <a:lnTo>
                  <a:pt x="381" y="538"/>
                </a:lnTo>
                <a:lnTo>
                  <a:pt x="379" y="545"/>
                </a:lnTo>
                <a:lnTo>
                  <a:pt x="377" y="553"/>
                </a:lnTo>
                <a:lnTo>
                  <a:pt x="374" y="560"/>
                </a:lnTo>
                <a:lnTo>
                  <a:pt x="374" y="568"/>
                </a:lnTo>
                <a:lnTo>
                  <a:pt x="374" y="568"/>
                </a:lnTo>
                <a:lnTo>
                  <a:pt x="374" y="577"/>
                </a:lnTo>
                <a:lnTo>
                  <a:pt x="375" y="585"/>
                </a:lnTo>
                <a:lnTo>
                  <a:pt x="379" y="599"/>
                </a:lnTo>
                <a:lnTo>
                  <a:pt x="383" y="611"/>
                </a:lnTo>
                <a:lnTo>
                  <a:pt x="389" y="621"/>
                </a:lnTo>
                <a:lnTo>
                  <a:pt x="394" y="630"/>
                </a:lnTo>
                <a:lnTo>
                  <a:pt x="400" y="641"/>
                </a:lnTo>
                <a:lnTo>
                  <a:pt x="402" y="652"/>
                </a:lnTo>
                <a:lnTo>
                  <a:pt x="404" y="665"/>
                </a:lnTo>
                <a:lnTo>
                  <a:pt x="404" y="665"/>
                </a:lnTo>
                <a:lnTo>
                  <a:pt x="403" y="669"/>
                </a:lnTo>
                <a:lnTo>
                  <a:pt x="402" y="673"/>
                </a:lnTo>
                <a:lnTo>
                  <a:pt x="400" y="675"/>
                </a:lnTo>
                <a:lnTo>
                  <a:pt x="397" y="676"/>
                </a:lnTo>
                <a:lnTo>
                  <a:pt x="393" y="679"/>
                </a:lnTo>
                <a:lnTo>
                  <a:pt x="390" y="681"/>
                </a:lnTo>
                <a:lnTo>
                  <a:pt x="389" y="683"/>
                </a:lnTo>
                <a:lnTo>
                  <a:pt x="389" y="683"/>
                </a:lnTo>
                <a:lnTo>
                  <a:pt x="380" y="704"/>
                </a:lnTo>
                <a:lnTo>
                  <a:pt x="372" y="720"/>
                </a:lnTo>
                <a:lnTo>
                  <a:pt x="365" y="732"/>
                </a:lnTo>
                <a:lnTo>
                  <a:pt x="357" y="740"/>
                </a:lnTo>
                <a:lnTo>
                  <a:pt x="348" y="746"/>
                </a:lnTo>
                <a:lnTo>
                  <a:pt x="335" y="751"/>
                </a:lnTo>
                <a:lnTo>
                  <a:pt x="301" y="764"/>
                </a:lnTo>
                <a:lnTo>
                  <a:pt x="301" y="764"/>
                </a:lnTo>
                <a:lnTo>
                  <a:pt x="291" y="766"/>
                </a:lnTo>
                <a:lnTo>
                  <a:pt x="283" y="769"/>
                </a:lnTo>
                <a:lnTo>
                  <a:pt x="270" y="778"/>
                </a:lnTo>
                <a:lnTo>
                  <a:pt x="263" y="782"/>
                </a:lnTo>
                <a:lnTo>
                  <a:pt x="256" y="786"/>
                </a:lnTo>
                <a:lnTo>
                  <a:pt x="248" y="788"/>
                </a:lnTo>
                <a:lnTo>
                  <a:pt x="238" y="789"/>
                </a:lnTo>
                <a:lnTo>
                  <a:pt x="238" y="789"/>
                </a:lnTo>
                <a:lnTo>
                  <a:pt x="233" y="788"/>
                </a:lnTo>
                <a:lnTo>
                  <a:pt x="228" y="787"/>
                </a:lnTo>
                <a:lnTo>
                  <a:pt x="219" y="780"/>
                </a:lnTo>
                <a:lnTo>
                  <a:pt x="214" y="776"/>
                </a:lnTo>
                <a:lnTo>
                  <a:pt x="210" y="774"/>
                </a:lnTo>
                <a:lnTo>
                  <a:pt x="204" y="772"/>
                </a:lnTo>
                <a:lnTo>
                  <a:pt x="198" y="771"/>
                </a:lnTo>
                <a:lnTo>
                  <a:pt x="198" y="771"/>
                </a:lnTo>
                <a:lnTo>
                  <a:pt x="183" y="771"/>
                </a:lnTo>
                <a:lnTo>
                  <a:pt x="183" y="771"/>
                </a:lnTo>
                <a:lnTo>
                  <a:pt x="179" y="771"/>
                </a:lnTo>
                <a:lnTo>
                  <a:pt x="173" y="769"/>
                </a:lnTo>
                <a:lnTo>
                  <a:pt x="169" y="767"/>
                </a:lnTo>
                <a:lnTo>
                  <a:pt x="167" y="765"/>
                </a:lnTo>
                <a:lnTo>
                  <a:pt x="166" y="761"/>
                </a:lnTo>
                <a:lnTo>
                  <a:pt x="165" y="756"/>
                </a:lnTo>
                <a:lnTo>
                  <a:pt x="165" y="756"/>
                </a:lnTo>
                <a:lnTo>
                  <a:pt x="165" y="751"/>
                </a:lnTo>
                <a:lnTo>
                  <a:pt x="166" y="748"/>
                </a:lnTo>
                <a:lnTo>
                  <a:pt x="168" y="744"/>
                </a:lnTo>
                <a:lnTo>
                  <a:pt x="171" y="741"/>
                </a:lnTo>
                <a:lnTo>
                  <a:pt x="176" y="737"/>
                </a:lnTo>
                <a:lnTo>
                  <a:pt x="183" y="735"/>
                </a:lnTo>
                <a:lnTo>
                  <a:pt x="190" y="732"/>
                </a:lnTo>
                <a:lnTo>
                  <a:pt x="196" y="729"/>
                </a:lnTo>
                <a:lnTo>
                  <a:pt x="198" y="727"/>
                </a:lnTo>
                <a:lnTo>
                  <a:pt x="199" y="723"/>
                </a:lnTo>
                <a:lnTo>
                  <a:pt x="200" y="720"/>
                </a:lnTo>
                <a:lnTo>
                  <a:pt x="202" y="715"/>
                </a:lnTo>
                <a:lnTo>
                  <a:pt x="202" y="715"/>
                </a:lnTo>
                <a:lnTo>
                  <a:pt x="200" y="712"/>
                </a:lnTo>
                <a:lnTo>
                  <a:pt x="197" y="710"/>
                </a:lnTo>
                <a:lnTo>
                  <a:pt x="192" y="708"/>
                </a:lnTo>
                <a:lnTo>
                  <a:pt x="188" y="708"/>
                </a:lnTo>
                <a:lnTo>
                  <a:pt x="176" y="708"/>
                </a:lnTo>
                <a:lnTo>
                  <a:pt x="168" y="708"/>
                </a:lnTo>
                <a:lnTo>
                  <a:pt x="168" y="708"/>
                </a:lnTo>
                <a:lnTo>
                  <a:pt x="166" y="707"/>
                </a:lnTo>
                <a:lnTo>
                  <a:pt x="163" y="704"/>
                </a:lnTo>
                <a:lnTo>
                  <a:pt x="152" y="692"/>
                </a:lnTo>
                <a:lnTo>
                  <a:pt x="139" y="676"/>
                </a:lnTo>
                <a:lnTo>
                  <a:pt x="139" y="676"/>
                </a:lnTo>
                <a:lnTo>
                  <a:pt x="134" y="682"/>
                </a:lnTo>
                <a:lnTo>
                  <a:pt x="129" y="687"/>
                </a:lnTo>
                <a:lnTo>
                  <a:pt x="125" y="690"/>
                </a:lnTo>
                <a:lnTo>
                  <a:pt x="118" y="690"/>
                </a:lnTo>
                <a:lnTo>
                  <a:pt x="118" y="690"/>
                </a:lnTo>
                <a:lnTo>
                  <a:pt x="113" y="690"/>
                </a:lnTo>
                <a:lnTo>
                  <a:pt x="111" y="688"/>
                </a:lnTo>
                <a:lnTo>
                  <a:pt x="107" y="685"/>
                </a:lnTo>
                <a:lnTo>
                  <a:pt x="106" y="682"/>
                </a:lnTo>
                <a:lnTo>
                  <a:pt x="103" y="673"/>
                </a:lnTo>
                <a:lnTo>
                  <a:pt x="99" y="662"/>
                </a:lnTo>
                <a:lnTo>
                  <a:pt x="97" y="652"/>
                </a:lnTo>
                <a:lnTo>
                  <a:pt x="92" y="644"/>
                </a:lnTo>
                <a:lnTo>
                  <a:pt x="90" y="641"/>
                </a:lnTo>
                <a:lnTo>
                  <a:pt x="87" y="637"/>
                </a:lnTo>
                <a:lnTo>
                  <a:pt x="82" y="636"/>
                </a:lnTo>
                <a:lnTo>
                  <a:pt x="77" y="635"/>
                </a:lnTo>
                <a:lnTo>
                  <a:pt x="77" y="635"/>
                </a:lnTo>
                <a:lnTo>
                  <a:pt x="73" y="636"/>
                </a:lnTo>
                <a:lnTo>
                  <a:pt x="67" y="637"/>
                </a:lnTo>
                <a:lnTo>
                  <a:pt x="59" y="643"/>
                </a:lnTo>
                <a:lnTo>
                  <a:pt x="51" y="648"/>
                </a:lnTo>
                <a:lnTo>
                  <a:pt x="46" y="649"/>
                </a:lnTo>
                <a:lnTo>
                  <a:pt x="41" y="650"/>
                </a:lnTo>
                <a:lnTo>
                  <a:pt x="41" y="650"/>
                </a:lnTo>
                <a:lnTo>
                  <a:pt x="37" y="650"/>
                </a:lnTo>
                <a:lnTo>
                  <a:pt x="32" y="648"/>
                </a:lnTo>
                <a:lnTo>
                  <a:pt x="23" y="644"/>
                </a:lnTo>
                <a:lnTo>
                  <a:pt x="13" y="641"/>
                </a:lnTo>
                <a:lnTo>
                  <a:pt x="7" y="639"/>
                </a:lnTo>
                <a:lnTo>
                  <a:pt x="0" y="638"/>
                </a:lnTo>
                <a:lnTo>
                  <a:pt x="0" y="638"/>
                </a:lnTo>
                <a:lnTo>
                  <a:pt x="0" y="616"/>
                </a:lnTo>
                <a:lnTo>
                  <a:pt x="0" y="616"/>
                </a:lnTo>
                <a:lnTo>
                  <a:pt x="0" y="616"/>
                </a:lnTo>
                <a:lnTo>
                  <a:pt x="8" y="612"/>
                </a:lnTo>
                <a:lnTo>
                  <a:pt x="15" y="606"/>
                </a:lnTo>
                <a:lnTo>
                  <a:pt x="20" y="599"/>
                </a:lnTo>
                <a:lnTo>
                  <a:pt x="24" y="592"/>
                </a:lnTo>
                <a:lnTo>
                  <a:pt x="29" y="584"/>
                </a:lnTo>
                <a:lnTo>
                  <a:pt x="31" y="576"/>
                </a:lnTo>
                <a:lnTo>
                  <a:pt x="32" y="566"/>
                </a:lnTo>
                <a:lnTo>
                  <a:pt x="34" y="554"/>
                </a:lnTo>
                <a:lnTo>
                  <a:pt x="34" y="554"/>
                </a:lnTo>
                <a:lnTo>
                  <a:pt x="29" y="536"/>
                </a:lnTo>
                <a:lnTo>
                  <a:pt x="19" y="504"/>
                </a:lnTo>
                <a:lnTo>
                  <a:pt x="7" y="473"/>
                </a:lnTo>
                <a:lnTo>
                  <a:pt x="3" y="462"/>
                </a:lnTo>
                <a:lnTo>
                  <a:pt x="0" y="459"/>
                </a:lnTo>
                <a:lnTo>
                  <a:pt x="0" y="459"/>
                </a:lnTo>
                <a:lnTo>
                  <a:pt x="5" y="451"/>
                </a:lnTo>
                <a:lnTo>
                  <a:pt x="9" y="443"/>
                </a:lnTo>
                <a:lnTo>
                  <a:pt x="13" y="433"/>
                </a:lnTo>
                <a:lnTo>
                  <a:pt x="15" y="423"/>
                </a:lnTo>
                <a:lnTo>
                  <a:pt x="18" y="401"/>
                </a:lnTo>
                <a:lnTo>
                  <a:pt x="19" y="382"/>
                </a:lnTo>
                <a:lnTo>
                  <a:pt x="19" y="382"/>
                </a:lnTo>
                <a:lnTo>
                  <a:pt x="20" y="372"/>
                </a:lnTo>
                <a:lnTo>
                  <a:pt x="22" y="367"/>
                </a:lnTo>
                <a:lnTo>
                  <a:pt x="27" y="362"/>
                </a:lnTo>
                <a:lnTo>
                  <a:pt x="31" y="360"/>
                </a:lnTo>
                <a:lnTo>
                  <a:pt x="42" y="359"/>
                </a:lnTo>
                <a:lnTo>
                  <a:pt x="47" y="358"/>
                </a:lnTo>
                <a:lnTo>
                  <a:pt x="52" y="355"/>
                </a:lnTo>
                <a:lnTo>
                  <a:pt x="52" y="355"/>
                </a:lnTo>
                <a:lnTo>
                  <a:pt x="54" y="351"/>
                </a:lnTo>
                <a:lnTo>
                  <a:pt x="57" y="344"/>
                </a:lnTo>
                <a:lnTo>
                  <a:pt x="58" y="336"/>
                </a:lnTo>
                <a:lnTo>
                  <a:pt x="59" y="326"/>
                </a:lnTo>
                <a:lnTo>
                  <a:pt x="59" y="309"/>
                </a:lnTo>
                <a:lnTo>
                  <a:pt x="60" y="302"/>
                </a:lnTo>
                <a:lnTo>
                  <a:pt x="62" y="297"/>
                </a:lnTo>
                <a:lnTo>
                  <a:pt x="62" y="297"/>
                </a:lnTo>
                <a:lnTo>
                  <a:pt x="67" y="291"/>
                </a:lnTo>
                <a:lnTo>
                  <a:pt x="73" y="286"/>
                </a:lnTo>
                <a:lnTo>
                  <a:pt x="80" y="283"/>
                </a:lnTo>
                <a:lnTo>
                  <a:pt x="88" y="279"/>
                </a:lnTo>
                <a:lnTo>
                  <a:pt x="104" y="274"/>
                </a:lnTo>
                <a:lnTo>
                  <a:pt x="121" y="269"/>
                </a:lnTo>
                <a:lnTo>
                  <a:pt x="135" y="263"/>
                </a:lnTo>
                <a:lnTo>
                  <a:pt x="141" y="261"/>
                </a:lnTo>
                <a:lnTo>
                  <a:pt x="145" y="257"/>
                </a:lnTo>
                <a:lnTo>
                  <a:pt x="149" y="253"/>
                </a:lnTo>
                <a:lnTo>
                  <a:pt x="150" y="248"/>
                </a:lnTo>
                <a:lnTo>
                  <a:pt x="150" y="241"/>
                </a:lnTo>
                <a:lnTo>
                  <a:pt x="146" y="234"/>
                </a:lnTo>
                <a:lnTo>
                  <a:pt x="146" y="234"/>
                </a:lnTo>
                <a:lnTo>
                  <a:pt x="142" y="223"/>
                </a:lnTo>
                <a:lnTo>
                  <a:pt x="138" y="211"/>
                </a:lnTo>
                <a:lnTo>
                  <a:pt x="130" y="191"/>
                </a:lnTo>
                <a:lnTo>
                  <a:pt x="127" y="181"/>
                </a:lnTo>
                <a:lnTo>
                  <a:pt x="121" y="175"/>
                </a:lnTo>
                <a:lnTo>
                  <a:pt x="119" y="172"/>
                </a:lnTo>
                <a:lnTo>
                  <a:pt x="114" y="170"/>
                </a:lnTo>
                <a:lnTo>
                  <a:pt x="111" y="169"/>
                </a:lnTo>
                <a:lnTo>
                  <a:pt x="106" y="168"/>
                </a:lnTo>
                <a:lnTo>
                  <a:pt x="106" y="168"/>
                </a:lnTo>
                <a:lnTo>
                  <a:pt x="102" y="169"/>
                </a:lnTo>
                <a:lnTo>
                  <a:pt x="98" y="170"/>
                </a:lnTo>
                <a:lnTo>
                  <a:pt x="96" y="172"/>
                </a:lnTo>
                <a:lnTo>
                  <a:pt x="95" y="176"/>
                </a:lnTo>
                <a:lnTo>
                  <a:pt x="91" y="180"/>
                </a:lnTo>
                <a:lnTo>
                  <a:pt x="90" y="183"/>
                </a:lnTo>
                <a:lnTo>
                  <a:pt x="88" y="183"/>
                </a:lnTo>
                <a:lnTo>
                  <a:pt x="88" y="183"/>
                </a:lnTo>
                <a:lnTo>
                  <a:pt x="83" y="183"/>
                </a:lnTo>
                <a:lnTo>
                  <a:pt x="80" y="180"/>
                </a:lnTo>
                <a:lnTo>
                  <a:pt x="76" y="177"/>
                </a:lnTo>
                <a:lnTo>
                  <a:pt x="74" y="173"/>
                </a:lnTo>
                <a:lnTo>
                  <a:pt x="70" y="164"/>
                </a:lnTo>
                <a:lnTo>
                  <a:pt x="69" y="157"/>
                </a:lnTo>
                <a:lnTo>
                  <a:pt x="69" y="157"/>
                </a:lnTo>
                <a:lnTo>
                  <a:pt x="70" y="153"/>
                </a:lnTo>
                <a:lnTo>
                  <a:pt x="72" y="149"/>
                </a:lnTo>
                <a:lnTo>
                  <a:pt x="75" y="142"/>
                </a:lnTo>
                <a:lnTo>
                  <a:pt x="87" y="129"/>
                </a:lnTo>
                <a:lnTo>
                  <a:pt x="91" y="122"/>
                </a:lnTo>
                <a:lnTo>
                  <a:pt x="93" y="117"/>
                </a:lnTo>
                <a:lnTo>
                  <a:pt x="95" y="112"/>
                </a:lnTo>
                <a:lnTo>
                  <a:pt x="95" y="107"/>
                </a:lnTo>
                <a:lnTo>
                  <a:pt x="93" y="100"/>
                </a:lnTo>
                <a:lnTo>
                  <a:pt x="91" y="93"/>
                </a:lnTo>
                <a:lnTo>
                  <a:pt x="88" y="84"/>
                </a:lnTo>
                <a:lnTo>
                  <a:pt x="88" y="84"/>
                </a:lnTo>
                <a:lnTo>
                  <a:pt x="92" y="73"/>
                </a:lnTo>
                <a:lnTo>
                  <a:pt x="99" y="59"/>
                </a:lnTo>
                <a:lnTo>
                  <a:pt x="108" y="46"/>
                </a:lnTo>
                <a:lnTo>
                  <a:pt x="118" y="32"/>
                </a:lnTo>
                <a:lnTo>
                  <a:pt x="128" y="19"/>
                </a:lnTo>
                <a:lnTo>
                  <a:pt x="139" y="9"/>
                </a:lnTo>
                <a:lnTo>
                  <a:pt x="144" y="5"/>
                </a:lnTo>
                <a:lnTo>
                  <a:pt x="150" y="2"/>
                </a:lnTo>
                <a:lnTo>
                  <a:pt x="156" y="0"/>
                </a:lnTo>
                <a:lnTo>
                  <a:pt x="161" y="0"/>
                </a:lnTo>
                <a:lnTo>
                  <a:pt x="161" y="0"/>
                </a:lnTo>
                <a:lnTo>
                  <a:pt x="165" y="0"/>
                </a:lnTo>
                <a:lnTo>
                  <a:pt x="168" y="2"/>
                </a:lnTo>
                <a:lnTo>
                  <a:pt x="171" y="4"/>
                </a:lnTo>
                <a:lnTo>
                  <a:pt x="173" y="8"/>
                </a:lnTo>
                <a:lnTo>
                  <a:pt x="175" y="17"/>
                </a:lnTo>
                <a:lnTo>
                  <a:pt x="176" y="25"/>
                </a:lnTo>
                <a:lnTo>
                  <a:pt x="176" y="25"/>
                </a:lnTo>
                <a:lnTo>
                  <a:pt x="175" y="31"/>
                </a:lnTo>
                <a:lnTo>
                  <a:pt x="174" y="34"/>
                </a:lnTo>
                <a:lnTo>
                  <a:pt x="172" y="38"/>
                </a:lnTo>
                <a:lnTo>
                  <a:pt x="168" y="41"/>
                </a:lnTo>
                <a:lnTo>
                  <a:pt x="164" y="46"/>
                </a:lnTo>
                <a:lnTo>
                  <a:pt x="163" y="48"/>
                </a:lnTo>
                <a:lnTo>
                  <a:pt x="161" y="50"/>
                </a:lnTo>
                <a:lnTo>
                  <a:pt x="161" y="50"/>
                </a:lnTo>
                <a:lnTo>
                  <a:pt x="163" y="54"/>
                </a:lnTo>
                <a:lnTo>
                  <a:pt x="166" y="57"/>
                </a:lnTo>
                <a:lnTo>
                  <a:pt x="177" y="65"/>
                </a:lnTo>
                <a:lnTo>
                  <a:pt x="195" y="74"/>
                </a:lnTo>
                <a:lnTo>
                  <a:pt x="215" y="84"/>
                </a:lnTo>
                <a:lnTo>
                  <a:pt x="237" y="92"/>
                </a:lnTo>
                <a:lnTo>
                  <a:pt x="257" y="100"/>
                </a:lnTo>
                <a:lnTo>
                  <a:pt x="274" y="104"/>
                </a:lnTo>
                <a:lnTo>
                  <a:pt x="286" y="106"/>
                </a:lnTo>
                <a:lnTo>
                  <a:pt x="286" y="106"/>
                </a:lnTo>
                <a:lnTo>
                  <a:pt x="291" y="106"/>
                </a:lnTo>
                <a:lnTo>
                  <a:pt x="296" y="104"/>
                </a:lnTo>
                <a:lnTo>
                  <a:pt x="306" y="100"/>
                </a:lnTo>
                <a:lnTo>
                  <a:pt x="317" y="96"/>
                </a:lnTo>
                <a:lnTo>
                  <a:pt x="321" y="95"/>
                </a:lnTo>
                <a:lnTo>
                  <a:pt x="327" y="95"/>
                </a:lnTo>
                <a:lnTo>
                  <a:pt x="327" y="95"/>
                </a:lnTo>
                <a:lnTo>
                  <a:pt x="339" y="96"/>
                </a:lnTo>
                <a:lnTo>
                  <a:pt x="349" y="99"/>
                </a:lnTo>
                <a:lnTo>
                  <a:pt x="359" y="102"/>
                </a:lnTo>
                <a:lnTo>
                  <a:pt x="368" y="107"/>
                </a:lnTo>
                <a:lnTo>
                  <a:pt x="378" y="110"/>
                </a:lnTo>
                <a:lnTo>
                  <a:pt x="387" y="114"/>
                </a:lnTo>
                <a:lnTo>
                  <a:pt x="396" y="115"/>
                </a:lnTo>
                <a:lnTo>
                  <a:pt x="408" y="114"/>
                </a:lnTo>
                <a:lnTo>
                  <a:pt x="408" y="114"/>
                </a:lnTo>
                <a:lnTo>
                  <a:pt x="428" y="107"/>
                </a:lnTo>
                <a:lnTo>
                  <a:pt x="435" y="103"/>
                </a:lnTo>
                <a:lnTo>
                  <a:pt x="441" y="100"/>
                </a:lnTo>
                <a:lnTo>
                  <a:pt x="447" y="95"/>
                </a:lnTo>
                <a:lnTo>
                  <a:pt x="451" y="91"/>
                </a:lnTo>
                <a:lnTo>
                  <a:pt x="455" y="84"/>
                </a:lnTo>
                <a:lnTo>
                  <a:pt x="459" y="77"/>
                </a:lnTo>
                <a:lnTo>
                  <a:pt x="459" y="77"/>
                </a:lnTo>
                <a:lnTo>
                  <a:pt x="473" y="55"/>
                </a:lnTo>
                <a:lnTo>
                  <a:pt x="473" y="5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2" name="Freeform 57"/>
          <p:cNvSpPr>
            <a:spLocks/>
          </p:cNvSpPr>
          <p:nvPr/>
        </p:nvSpPr>
        <p:spPr bwMode="auto">
          <a:xfrm>
            <a:off x="2632075" y="4919663"/>
            <a:ext cx="455613" cy="346075"/>
          </a:xfrm>
          <a:custGeom>
            <a:avLst/>
            <a:gdLst/>
            <a:ahLst/>
            <a:cxnLst>
              <a:cxn ang="0">
                <a:pos x="542" y="361"/>
              </a:cxn>
              <a:cxn ang="0">
                <a:pos x="518" y="366"/>
              </a:cxn>
              <a:cxn ang="0">
                <a:pos x="503" y="364"/>
              </a:cxn>
              <a:cxn ang="0">
                <a:pos x="495" y="380"/>
              </a:cxn>
              <a:cxn ang="0">
                <a:pos x="483" y="385"/>
              </a:cxn>
              <a:cxn ang="0">
                <a:pos x="339" y="385"/>
              </a:cxn>
              <a:cxn ang="0">
                <a:pos x="321" y="390"/>
              </a:cxn>
              <a:cxn ang="0">
                <a:pos x="312" y="396"/>
              </a:cxn>
              <a:cxn ang="0">
                <a:pos x="295" y="374"/>
              </a:cxn>
              <a:cxn ang="0">
                <a:pos x="277" y="367"/>
              </a:cxn>
              <a:cxn ang="0">
                <a:pos x="263" y="370"/>
              </a:cxn>
              <a:cxn ang="0">
                <a:pos x="247" y="382"/>
              </a:cxn>
              <a:cxn ang="0">
                <a:pos x="228" y="389"/>
              </a:cxn>
              <a:cxn ang="0">
                <a:pos x="223" y="387"/>
              </a:cxn>
              <a:cxn ang="0">
                <a:pos x="220" y="381"/>
              </a:cxn>
              <a:cxn ang="0">
                <a:pos x="191" y="381"/>
              </a:cxn>
              <a:cxn ang="0">
                <a:pos x="167" y="384"/>
              </a:cxn>
              <a:cxn ang="0">
                <a:pos x="130" y="376"/>
              </a:cxn>
              <a:cxn ang="0">
                <a:pos x="87" y="361"/>
              </a:cxn>
              <a:cxn ang="0">
                <a:pos x="71" y="360"/>
              </a:cxn>
              <a:cxn ang="0">
                <a:pos x="66" y="334"/>
              </a:cxn>
              <a:cxn ang="0">
                <a:pos x="81" y="290"/>
              </a:cxn>
              <a:cxn ang="0">
                <a:pos x="81" y="271"/>
              </a:cxn>
              <a:cxn ang="0">
                <a:pos x="48" y="269"/>
              </a:cxn>
              <a:cxn ang="0">
                <a:pos x="34" y="255"/>
              </a:cxn>
              <a:cxn ang="0">
                <a:pos x="26" y="247"/>
              </a:cxn>
              <a:cxn ang="0">
                <a:pos x="0" y="245"/>
              </a:cxn>
              <a:cxn ang="0">
                <a:pos x="7" y="225"/>
              </a:cxn>
              <a:cxn ang="0">
                <a:pos x="33" y="191"/>
              </a:cxn>
              <a:cxn ang="0">
                <a:pos x="71" y="151"/>
              </a:cxn>
              <a:cxn ang="0">
                <a:pos x="86" y="122"/>
              </a:cxn>
              <a:cxn ang="0">
                <a:pos x="89" y="99"/>
              </a:cxn>
              <a:cxn ang="0">
                <a:pos x="83" y="40"/>
              </a:cxn>
              <a:cxn ang="0">
                <a:pos x="89" y="25"/>
              </a:cxn>
              <a:cxn ang="0">
                <a:pos x="112" y="17"/>
              </a:cxn>
              <a:cxn ang="0">
                <a:pos x="127" y="3"/>
              </a:cxn>
              <a:cxn ang="0">
                <a:pos x="140" y="0"/>
              </a:cxn>
              <a:cxn ang="0">
                <a:pos x="164" y="6"/>
              </a:cxn>
              <a:cxn ang="0">
                <a:pos x="208" y="29"/>
              </a:cxn>
              <a:cxn ang="0">
                <a:pos x="254" y="56"/>
              </a:cxn>
              <a:cxn ang="0">
                <a:pos x="265" y="59"/>
              </a:cxn>
              <a:cxn ang="0">
                <a:pos x="282" y="51"/>
              </a:cxn>
              <a:cxn ang="0">
                <a:pos x="297" y="37"/>
              </a:cxn>
              <a:cxn ang="0">
                <a:pos x="309" y="32"/>
              </a:cxn>
              <a:cxn ang="0">
                <a:pos x="339" y="40"/>
              </a:cxn>
              <a:cxn ang="0">
                <a:pos x="339" y="88"/>
              </a:cxn>
              <a:cxn ang="0">
                <a:pos x="343" y="109"/>
              </a:cxn>
              <a:cxn ang="0">
                <a:pos x="362" y="130"/>
              </a:cxn>
              <a:cxn ang="0">
                <a:pos x="370" y="145"/>
              </a:cxn>
              <a:cxn ang="0">
                <a:pos x="368" y="168"/>
              </a:cxn>
              <a:cxn ang="0">
                <a:pos x="374" y="179"/>
              </a:cxn>
              <a:cxn ang="0">
                <a:pos x="393" y="189"/>
              </a:cxn>
              <a:cxn ang="0">
                <a:pos x="428" y="190"/>
              </a:cxn>
              <a:cxn ang="0">
                <a:pos x="448" y="194"/>
              </a:cxn>
              <a:cxn ang="0">
                <a:pos x="471" y="214"/>
              </a:cxn>
              <a:cxn ang="0">
                <a:pos x="491" y="252"/>
              </a:cxn>
              <a:cxn ang="0">
                <a:pos x="501" y="265"/>
              </a:cxn>
              <a:cxn ang="0">
                <a:pos x="529" y="280"/>
              </a:cxn>
              <a:cxn ang="0">
                <a:pos x="537" y="286"/>
              </a:cxn>
              <a:cxn ang="0">
                <a:pos x="541" y="320"/>
              </a:cxn>
              <a:cxn ang="0">
                <a:pos x="549" y="343"/>
              </a:cxn>
              <a:cxn ang="0">
                <a:pos x="555" y="349"/>
              </a:cxn>
            </a:cxnLst>
            <a:rect l="0" t="0" r="r" b="b"/>
            <a:pathLst>
              <a:path w="555" h="396">
                <a:moveTo>
                  <a:pt x="555" y="357"/>
                </a:moveTo>
                <a:lnTo>
                  <a:pt x="555" y="357"/>
                </a:lnTo>
                <a:lnTo>
                  <a:pt x="542" y="361"/>
                </a:lnTo>
                <a:lnTo>
                  <a:pt x="531" y="365"/>
                </a:lnTo>
                <a:lnTo>
                  <a:pt x="524" y="366"/>
                </a:lnTo>
                <a:lnTo>
                  <a:pt x="518" y="366"/>
                </a:lnTo>
                <a:lnTo>
                  <a:pt x="511" y="366"/>
                </a:lnTo>
                <a:lnTo>
                  <a:pt x="503" y="364"/>
                </a:lnTo>
                <a:lnTo>
                  <a:pt x="503" y="364"/>
                </a:lnTo>
                <a:lnTo>
                  <a:pt x="500" y="373"/>
                </a:lnTo>
                <a:lnTo>
                  <a:pt x="498" y="376"/>
                </a:lnTo>
                <a:lnTo>
                  <a:pt x="495" y="380"/>
                </a:lnTo>
                <a:lnTo>
                  <a:pt x="492" y="382"/>
                </a:lnTo>
                <a:lnTo>
                  <a:pt x="487" y="384"/>
                </a:lnTo>
                <a:lnTo>
                  <a:pt x="483" y="385"/>
                </a:lnTo>
                <a:lnTo>
                  <a:pt x="478" y="385"/>
                </a:lnTo>
                <a:lnTo>
                  <a:pt x="478" y="385"/>
                </a:lnTo>
                <a:lnTo>
                  <a:pt x="339" y="385"/>
                </a:lnTo>
                <a:lnTo>
                  <a:pt x="339" y="385"/>
                </a:lnTo>
                <a:lnTo>
                  <a:pt x="328" y="387"/>
                </a:lnTo>
                <a:lnTo>
                  <a:pt x="321" y="390"/>
                </a:lnTo>
                <a:lnTo>
                  <a:pt x="316" y="393"/>
                </a:lnTo>
                <a:lnTo>
                  <a:pt x="312" y="396"/>
                </a:lnTo>
                <a:lnTo>
                  <a:pt x="312" y="396"/>
                </a:lnTo>
                <a:lnTo>
                  <a:pt x="307" y="389"/>
                </a:lnTo>
                <a:lnTo>
                  <a:pt x="300" y="378"/>
                </a:lnTo>
                <a:lnTo>
                  <a:pt x="295" y="374"/>
                </a:lnTo>
                <a:lnTo>
                  <a:pt x="290" y="370"/>
                </a:lnTo>
                <a:lnTo>
                  <a:pt x="284" y="368"/>
                </a:lnTo>
                <a:lnTo>
                  <a:pt x="277" y="367"/>
                </a:lnTo>
                <a:lnTo>
                  <a:pt x="277" y="367"/>
                </a:lnTo>
                <a:lnTo>
                  <a:pt x="270" y="368"/>
                </a:lnTo>
                <a:lnTo>
                  <a:pt x="263" y="370"/>
                </a:lnTo>
                <a:lnTo>
                  <a:pt x="257" y="374"/>
                </a:lnTo>
                <a:lnTo>
                  <a:pt x="252" y="377"/>
                </a:lnTo>
                <a:lnTo>
                  <a:pt x="247" y="382"/>
                </a:lnTo>
                <a:lnTo>
                  <a:pt x="241" y="385"/>
                </a:lnTo>
                <a:lnTo>
                  <a:pt x="234" y="388"/>
                </a:lnTo>
                <a:lnTo>
                  <a:pt x="228" y="389"/>
                </a:lnTo>
                <a:lnTo>
                  <a:pt x="228" y="389"/>
                </a:lnTo>
                <a:lnTo>
                  <a:pt x="225" y="389"/>
                </a:lnTo>
                <a:lnTo>
                  <a:pt x="223" y="387"/>
                </a:lnTo>
                <a:lnTo>
                  <a:pt x="221" y="384"/>
                </a:lnTo>
                <a:lnTo>
                  <a:pt x="220" y="381"/>
                </a:lnTo>
                <a:lnTo>
                  <a:pt x="220" y="381"/>
                </a:lnTo>
                <a:lnTo>
                  <a:pt x="191" y="381"/>
                </a:lnTo>
                <a:lnTo>
                  <a:pt x="191" y="381"/>
                </a:lnTo>
                <a:lnTo>
                  <a:pt x="191" y="381"/>
                </a:lnTo>
                <a:lnTo>
                  <a:pt x="183" y="383"/>
                </a:lnTo>
                <a:lnTo>
                  <a:pt x="175" y="384"/>
                </a:lnTo>
                <a:lnTo>
                  <a:pt x="167" y="384"/>
                </a:lnTo>
                <a:lnTo>
                  <a:pt x="160" y="384"/>
                </a:lnTo>
                <a:lnTo>
                  <a:pt x="145" y="381"/>
                </a:lnTo>
                <a:lnTo>
                  <a:pt x="130" y="376"/>
                </a:lnTo>
                <a:lnTo>
                  <a:pt x="117" y="370"/>
                </a:lnTo>
                <a:lnTo>
                  <a:pt x="102" y="365"/>
                </a:lnTo>
                <a:lnTo>
                  <a:pt x="87" y="361"/>
                </a:lnTo>
                <a:lnTo>
                  <a:pt x="79" y="360"/>
                </a:lnTo>
                <a:lnTo>
                  <a:pt x="71" y="360"/>
                </a:lnTo>
                <a:lnTo>
                  <a:pt x="71" y="360"/>
                </a:lnTo>
                <a:lnTo>
                  <a:pt x="66" y="334"/>
                </a:lnTo>
                <a:lnTo>
                  <a:pt x="66" y="334"/>
                </a:lnTo>
                <a:lnTo>
                  <a:pt x="66" y="334"/>
                </a:lnTo>
                <a:lnTo>
                  <a:pt x="76" y="312"/>
                </a:lnTo>
                <a:lnTo>
                  <a:pt x="80" y="301"/>
                </a:lnTo>
                <a:lnTo>
                  <a:pt x="81" y="290"/>
                </a:lnTo>
                <a:lnTo>
                  <a:pt x="81" y="290"/>
                </a:lnTo>
                <a:lnTo>
                  <a:pt x="81" y="271"/>
                </a:lnTo>
                <a:lnTo>
                  <a:pt x="81" y="271"/>
                </a:lnTo>
                <a:lnTo>
                  <a:pt x="63" y="271"/>
                </a:lnTo>
                <a:lnTo>
                  <a:pt x="55" y="271"/>
                </a:lnTo>
                <a:lnTo>
                  <a:pt x="48" y="269"/>
                </a:lnTo>
                <a:lnTo>
                  <a:pt x="42" y="267"/>
                </a:lnTo>
                <a:lnTo>
                  <a:pt x="37" y="262"/>
                </a:lnTo>
                <a:lnTo>
                  <a:pt x="34" y="255"/>
                </a:lnTo>
                <a:lnTo>
                  <a:pt x="33" y="245"/>
                </a:lnTo>
                <a:lnTo>
                  <a:pt x="33" y="245"/>
                </a:lnTo>
                <a:lnTo>
                  <a:pt x="26" y="247"/>
                </a:lnTo>
                <a:lnTo>
                  <a:pt x="18" y="248"/>
                </a:lnTo>
                <a:lnTo>
                  <a:pt x="10" y="247"/>
                </a:lnTo>
                <a:lnTo>
                  <a:pt x="0" y="245"/>
                </a:lnTo>
                <a:lnTo>
                  <a:pt x="0" y="245"/>
                </a:lnTo>
                <a:lnTo>
                  <a:pt x="3" y="235"/>
                </a:lnTo>
                <a:lnTo>
                  <a:pt x="7" y="225"/>
                </a:lnTo>
                <a:lnTo>
                  <a:pt x="13" y="216"/>
                </a:lnTo>
                <a:lnTo>
                  <a:pt x="19" y="207"/>
                </a:lnTo>
                <a:lnTo>
                  <a:pt x="33" y="191"/>
                </a:lnTo>
                <a:lnTo>
                  <a:pt x="49" y="175"/>
                </a:lnTo>
                <a:lnTo>
                  <a:pt x="64" y="159"/>
                </a:lnTo>
                <a:lnTo>
                  <a:pt x="71" y="151"/>
                </a:lnTo>
                <a:lnTo>
                  <a:pt x="76" y="141"/>
                </a:lnTo>
                <a:lnTo>
                  <a:pt x="81" y="132"/>
                </a:lnTo>
                <a:lnTo>
                  <a:pt x="86" y="122"/>
                </a:lnTo>
                <a:lnTo>
                  <a:pt x="88" y="110"/>
                </a:lnTo>
                <a:lnTo>
                  <a:pt x="89" y="99"/>
                </a:lnTo>
                <a:lnTo>
                  <a:pt x="89" y="99"/>
                </a:lnTo>
                <a:lnTo>
                  <a:pt x="88" y="80"/>
                </a:lnTo>
                <a:lnTo>
                  <a:pt x="87" y="60"/>
                </a:lnTo>
                <a:lnTo>
                  <a:pt x="83" y="40"/>
                </a:lnTo>
                <a:lnTo>
                  <a:pt x="81" y="22"/>
                </a:lnTo>
                <a:lnTo>
                  <a:pt x="89" y="25"/>
                </a:lnTo>
                <a:lnTo>
                  <a:pt x="89" y="25"/>
                </a:lnTo>
                <a:lnTo>
                  <a:pt x="98" y="24"/>
                </a:lnTo>
                <a:lnTo>
                  <a:pt x="106" y="21"/>
                </a:lnTo>
                <a:lnTo>
                  <a:pt x="112" y="17"/>
                </a:lnTo>
                <a:lnTo>
                  <a:pt x="117" y="13"/>
                </a:lnTo>
                <a:lnTo>
                  <a:pt x="121" y="8"/>
                </a:lnTo>
                <a:lnTo>
                  <a:pt x="127" y="3"/>
                </a:lnTo>
                <a:lnTo>
                  <a:pt x="133" y="1"/>
                </a:lnTo>
                <a:lnTo>
                  <a:pt x="140" y="0"/>
                </a:lnTo>
                <a:lnTo>
                  <a:pt x="140" y="0"/>
                </a:lnTo>
                <a:lnTo>
                  <a:pt x="148" y="0"/>
                </a:lnTo>
                <a:lnTo>
                  <a:pt x="156" y="2"/>
                </a:lnTo>
                <a:lnTo>
                  <a:pt x="164" y="6"/>
                </a:lnTo>
                <a:lnTo>
                  <a:pt x="173" y="9"/>
                </a:lnTo>
                <a:lnTo>
                  <a:pt x="190" y="18"/>
                </a:lnTo>
                <a:lnTo>
                  <a:pt x="208" y="29"/>
                </a:lnTo>
                <a:lnTo>
                  <a:pt x="225" y="40"/>
                </a:lnTo>
                <a:lnTo>
                  <a:pt x="240" y="49"/>
                </a:lnTo>
                <a:lnTo>
                  <a:pt x="254" y="56"/>
                </a:lnTo>
                <a:lnTo>
                  <a:pt x="259" y="57"/>
                </a:lnTo>
                <a:lnTo>
                  <a:pt x="265" y="59"/>
                </a:lnTo>
                <a:lnTo>
                  <a:pt x="265" y="59"/>
                </a:lnTo>
                <a:lnTo>
                  <a:pt x="271" y="57"/>
                </a:lnTo>
                <a:lnTo>
                  <a:pt x="277" y="54"/>
                </a:lnTo>
                <a:lnTo>
                  <a:pt x="282" y="51"/>
                </a:lnTo>
                <a:lnTo>
                  <a:pt x="287" y="46"/>
                </a:lnTo>
                <a:lnTo>
                  <a:pt x="292" y="41"/>
                </a:lnTo>
                <a:lnTo>
                  <a:pt x="297" y="37"/>
                </a:lnTo>
                <a:lnTo>
                  <a:pt x="303" y="33"/>
                </a:lnTo>
                <a:lnTo>
                  <a:pt x="309" y="32"/>
                </a:lnTo>
                <a:lnTo>
                  <a:pt x="309" y="32"/>
                </a:lnTo>
                <a:lnTo>
                  <a:pt x="317" y="33"/>
                </a:lnTo>
                <a:lnTo>
                  <a:pt x="324" y="34"/>
                </a:lnTo>
                <a:lnTo>
                  <a:pt x="339" y="40"/>
                </a:lnTo>
                <a:lnTo>
                  <a:pt x="339" y="40"/>
                </a:lnTo>
                <a:lnTo>
                  <a:pt x="339" y="88"/>
                </a:lnTo>
                <a:lnTo>
                  <a:pt x="339" y="88"/>
                </a:lnTo>
                <a:lnTo>
                  <a:pt x="339" y="98"/>
                </a:lnTo>
                <a:lnTo>
                  <a:pt x="341" y="105"/>
                </a:lnTo>
                <a:lnTo>
                  <a:pt x="343" y="109"/>
                </a:lnTo>
                <a:lnTo>
                  <a:pt x="348" y="114"/>
                </a:lnTo>
                <a:lnTo>
                  <a:pt x="357" y="123"/>
                </a:lnTo>
                <a:lnTo>
                  <a:pt x="362" y="130"/>
                </a:lnTo>
                <a:lnTo>
                  <a:pt x="368" y="139"/>
                </a:lnTo>
                <a:lnTo>
                  <a:pt x="368" y="139"/>
                </a:lnTo>
                <a:lnTo>
                  <a:pt x="370" y="145"/>
                </a:lnTo>
                <a:lnTo>
                  <a:pt x="370" y="151"/>
                </a:lnTo>
                <a:lnTo>
                  <a:pt x="369" y="162"/>
                </a:lnTo>
                <a:lnTo>
                  <a:pt x="368" y="168"/>
                </a:lnTo>
                <a:lnTo>
                  <a:pt x="369" y="172"/>
                </a:lnTo>
                <a:lnTo>
                  <a:pt x="371" y="176"/>
                </a:lnTo>
                <a:lnTo>
                  <a:pt x="374" y="179"/>
                </a:lnTo>
                <a:lnTo>
                  <a:pt x="374" y="179"/>
                </a:lnTo>
                <a:lnTo>
                  <a:pt x="384" y="185"/>
                </a:lnTo>
                <a:lnTo>
                  <a:pt x="393" y="189"/>
                </a:lnTo>
                <a:lnTo>
                  <a:pt x="402" y="190"/>
                </a:lnTo>
                <a:lnTo>
                  <a:pt x="410" y="190"/>
                </a:lnTo>
                <a:lnTo>
                  <a:pt x="428" y="190"/>
                </a:lnTo>
                <a:lnTo>
                  <a:pt x="438" y="191"/>
                </a:lnTo>
                <a:lnTo>
                  <a:pt x="448" y="194"/>
                </a:lnTo>
                <a:lnTo>
                  <a:pt x="448" y="194"/>
                </a:lnTo>
                <a:lnTo>
                  <a:pt x="457" y="200"/>
                </a:lnTo>
                <a:lnTo>
                  <a:pt x="464" y="206"/>
                </a:lnTo>
                <a:lnTo>
                  <a:pt x="471" y="214"/>
                </a:lnTo>
                <a:lnTo>
                  <a:pt x="477" y="223"/>
                </a:lnTo>
                <a:lnTo>
                  <a:pt x="486" y="243"/>
                </a:lnTo>
                <a:lnTo>
                  <a:pt x="491" y="252"/>
                </a:lnTo>
                <a:lnTo>
                  <a:pt x="496" y="260"/>
                </a:lnTo>
                <a:lnTo>
                  <a:pt x="496" y="260"/>
                </a:lnTo>
                <a:lnTo>
                  <a:pt x="501" y="265"/>
                </a:lnTo>
                <a:lnTo>
                  <a:pt x="506" y="269"/>
                </a:lnTo>
                <a:lnTo>
                  <a:pt x="518" y="275"/>
                </a:lnTo>
                <a:lnTo>
                  <a:pt x="529" y="280"/>
                </a:lnTo>
                <a:lnTo>
                  <a:pt x="533" y="282"/>
                </a:lnTo>
                <a:lnTo>
                  <a:pt x="537" y="286"/>
                </a:lnTo>
                <a:lnTo>
                  <a:pt x="537" y="286"/>
                </a:lnTo>
                <a:lnTo>
                  <a:pt x="539" y="293"/>
                </a:lnTo>
                <a:lnTo>
                  <a:pt x="540" y="301"/>
                </a:lnTo>
                <a:lnTo>
                  <a:pt x="541" y="320"/>
                </a:lnTo>
                <a:lnTo>
                  <a:pt x="542" y="329"/>
                </a:lnTo>
                <a:lnTo>
                  <a:pt x="545" y="337"/>
                </a:lnTo>
                <a:lnTo>
                  <a:pt x="549" y="343"/>
                </a:lnTo>
                <a:lnTo>
                  <a:pt x="552" y="346"/>
                </a:lnTo>
                <a:lnTo>
                  <a:pt x="555" y="349"/>
                </a:lnTo>
                <a:lnTo>
                  <a:pt x="555" y="349"/>
                </a:lnTo>
                <a:lnTo>
                  <a:pt x="555" y="357"/>
                </a:lnTo>
                <a:lnTo>
                  <a:pt x="555" y="35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3" name="Freeform 58"/>
          <p:cNvSpPr>
            <a:spLocks/>
          </p:cNvSpPr>
          <p:nvPr/>
        </p:nvSpPr>
        <p:spPr bwMode="auto">
          <a:xfrm>
            <a:off x="1428750" y="3411538"/>
            <a:ext cx="714375" cy="627062"/>
          </a:xfrm>
          <a:custGeom>
            <a:avLst/>
            <a:gdLst/>
            <a:ahLst/>
            <a:cxnLst>
              <a:cxn ang="0">
                <a:pos x="828" y="480"/>
              </a:cxn>
              <a:cxn ang="0">
                <a:pos x="823" y="463"/>
              </a:cxn>
              <a:cxn ang="0">
                <a:pos x="794" y="458"/>
              </a:cxn>
              <a:cxn ang="0">
                <a:pos x="764" y="477"/>
              </a:cxn>
              <a:cxn ang="0">
                <a:pos x="747" y="461"/>
              </a:cxn>
              <a:cxn ang="0">
                <a:pos x="638" y="411"/>
              </a:cxn>
              <a:cxn ang="0">
                <a:pos x="628" y="371"/>
              </a:cxn>
              <a:cxn ang="0">
                <a:pos x="576" y="340"/>
              </a:cxn>
              <a:cxn ang="0">
                <a:pos x="521" y="326"/>
              </a:cxn>
              <a:cxn ang="0">
                <a:pos x="507" y="313"/>
              </a:cxn>
              <a:cxn ang="0">
                <a:pos x="492" y="279"/>
              </a:cxn>
              <a:cxn ang="0">
                <a:pos x="452" y="273"/>
              </a:cxn>
              <a:cxn ang="0">
                <a:pos x="447" y="251"/>
              </a:cxn>
              <a:cxn ang="0">
                <a:pos x="416" y="218"/>
              </a:cxn>
              <a:cxn ang="0">
                <a:pos x="386" y="179"/>
              </a:cxn>
              <a:cxn ang="0">
                <a:pos x="397" y="109"/>
              </a:cxn>
              <a:cxn ang="0">
                <a:pos x="413" y="54"/>
              </a:cxn>
              <a:cxn ang="0">
                <a:pos x="380" y="6"/>
              </a:cxn>
              <a:cxn ang="0">
                <a:pos x="317" y="13"/>
              </a:cxn>
              <a:cxn ang="0">
                <a:pos x="286" y="33"/>
              </a:cxn>
              <a:cxn ang="0">
                <a:pos x="232" y="19"/>
              </a:cxn>
              <a:cxn ang="0">
                <a:pos x="202" y="27"/>
              </a:cxn>
              <a:cxn ang="0">
                <a:pos x="123" y="87"/>
              </a:cxn>
              <a:cxn ang="0">
                <a:pos x="124" y="138"/>
              </a:cxn>
              <a:cxn ang="0">
                <a:pos x="70" y="171"/>
              </a:cxn>
              <a:cxn ang="0">
                <a:pos x="26" y="167"/>
              </a:cxn>
              <a:cxn ang="0">
                <a:pos x="10" y="188"/>
              </a:cxn>
              <a:cxn ang="0">
                <a:pos x="0" y="221"/>
              </a:cxn>
              <a:cxn ang="0">
                <a:pos x="34" y="236"/>
              </a:cxn>
              <a:cxn ang="0">
                <a:pos x="42" y="266"/>
              </a:cxn>
              <a:cxn ang="0">
                <a:pos x="36" y="319"/>
              </a:cxn>
              <a:cxn ang="0">
                <a:pos x="54" y="329"/>
              </a:cxn>
              <a:cxn ang="0">
                <a:pos x="87" y="311"/>
              </a:cxn>
              <a:cxn ang="0">
                <a:pos x="103" y="325"/>
              </a:cxn>
              <a:cxn ang="0">
                <a:pos x="107" y="377"/>
              </a:cxn>
              <a:cxn ang="0">
                <a:pos x="139" y="385"/>
              </a:cxn>
              <a:cxn ang="0">
                <a:pos x="164" y="397"/>
              </a:cxn>
              <a:cxn ang="0">
                <a:pos x="196" y="425"/>
              </a:cxn>
              <a:cxn ang="0">
                <a:pos x="211" y="413"/>
              </a:cxn>
              <a:cxn ang="0">
                <a:pos x="231" y="415"/>
              </a:cxn>
              <a:cxn ang="0">
                <a:pos x="262" y="480"/>
              </a:cxn>
              <a:cxn ang="0">
                <a:pos x="291" y="545"/>
              </a:cxn>
              <a:cxn ang="0">
                <a:pos x="322" y="549"/>
              </a:cxn>
              <a:cxn ang="0">
                <a:pos x="362" y="530"/>
              </a:cxn>
              <a:cxn ang="0">
                <a:pos x="408" y="544"/>
              </a:cxn>
              <a:cxn ang="0">
                <a:pos x="433" y="539"/>
              </a:cxn>
              <a:cxn ang="0">
                <a:pos x="452" y="523"/>
              </a:cxn>
              <a:cxn ang="0">
                <a:pos x="466" y="562"/>
              </a:cxn>
              <a:cxn ang="0">
                <a:pos x="553" y="634"/>
              </a:cxn>
              <a:cxn ang="0">
                <a:pos x="596" y="679"/>
              </a:cxn>
              <a:cxn ang="0">
                <a:pos x="666" y="716"/>
              </a:cxn>
              <a:cxn ang="0">
                <a:pos x="714" y="712"/>
              </a:cxn>
              <a:cxn ang="0">
                <a:pos x="795" y="642"/>
              </a:cxn>
              <a:cxn ang="0">
                <a:pos x="872" y="547"/>
              </a:cxn>
              <a:cxn ang="0">
                <a:pos x="830" y="518"/>
              </a:cxn>
            </a:cxnLst>
            <a:rect l="0" t="0" r="r" b="b"/>
            <a:pathLst>
              <a:path w="874" h="717">
                <a:moveTo>
                  <a:pt x="822" y="502"/>
                </a:moveTo>
                <a:lnTo>
                  <a:pt x="822" y="502"/>
                </a:lnTo>
                <a:lnTo>
                  <a:pt x="822" y="497"/>
                </a:lnTo>
                <a:lnTo>
                  <a:pt x="823" y="493"/>
                </a:lnTo>
                <a:lnTo>
                  <a:pt x="827" y="484"/>
                </a:lnTo>
                <a:lnTo>
                  <a:pt x="828" y="480"/>
                </a:lnTo>
                <a:lnTo>
                  <a:pt x="828" y="476"/>
                </a:lnTo>
                <a:lnTo>
                  <a:pt x="828" y="471"/>
                </a:lnTo>
                <a:lnTo>
                  <a:pt x="826" y="465"/>
                </a:lnTo>
                <a:lnTo>
                  <a:pt x="826" y="465"/>
                </a:lnTo>
                <a:lnTo>
                  <a:pt x="825" y="464"/>
                </a:lnTo>
                <a:lnTo>
                  <a:pt x="823" y="463"/>
                </a:lnTo>
                <a:lnTo>
                  <a:pt x="818" y="460"/>
                </a:lnTo>
                <a:lnTo>
                  <a:pt x="810" y="456"/>
                </a:lnTo>
                <a:lnTo>
                  <a:pt x="804" y="455"/>
                </a:lnTo>
                <a:lnTo>
                  <a:pt x="804" y="455"/>
                </a:lnTo>
                <a:lnTo>
                  <a:pt x="798" y="456"/>
                </a:lnTo>
                <a:lnTo>
                  <a:pt x="794" y="458"/>
                </a:lnTo>
                <a:lnTo>
                  <a:pt x="790" y="462"/>
                </a:lnTo>
                <a:lnTo>
                  <a:pt x="787" y="466"/>
                </a:lnTo>
                <a:lnTo>
                  <a:pt x="783" y="470"/>
                </a:lnTo>
                <a:lnTo>
                  <a:pt x="777" y="473"/>
                </a:lnTo>
                <a:lnTo>
                  <a:pt x="772" y="476"/>
                </a:lnTo>
                <a:lnTo>
                  <a:pt x="764" y="477"/>
                </a:lnTo>
                <a:lnTo>
                  <a:pt x="764" y="477"/>
                </a:lnTo>
                <a:lnTo>
                  <a:pt x="758" y="477"/>
                </a:lnTo>
                <a:lnTo>
                  <a:pt x="754" y="474"/>
                </a:lnTo>
                <a:lnTo>
                  <a:pt x="752" y="472"/>
                </a:lnTo>
                <a:lnTo>
                  <a:pt x="750" y="470"/>
                </a:lnTo>
                <a:lnTo>
                  <a:pt x="747" y="461"/>
                </a:lnTo>
                <a:lnTo>
                  <a:pt x="745" y="450"/>
                </a:lnTo>
                <a:lnTo>
                  <a:pt x="745" y="450"/>
                </a:lnTo>
                <a:lnTo>
                  <a:pt x="726" y="431"/>
                </a:lnTo>
                <a:lnTo>
                  <a:pt x="715" y="422"/>
                </a:lnTo>
                <a:lnTo>
                  <a:pt x="700" y="411"/>
                </a:lnTo>
                <a:lnTo>
                  <a:pt x="638" y="411"/>
                </a:lnTo>
                <a:lnTo>
                  <a:pt x="638" y="411"/>
                </a:lnTo>
                <a:lnTo>
                  <a:pt x="634" y="403"/>
                </a:lnTo>
                <a:lnTo>
                  <a:pt x="630" y="395"/>
                </a:lnTo>
                <a:lnTo>
                  <a:pt x="628" y="385"/>
                </a:lnTo>
                <a:lnTo>
                  <a:pt x="628" y="371"/>
                </a:lnTo>
                <a:lnTo>
                  <a:pt x="628" y="371"/>
                </a:lnTo>
                <a:lnTo>
                  <a:pt x="621" y="370"/>
                </a:lnTo>
                <a:lnTo>
                  <a:pt x="614" y="367"/>
                </a:lnTo>
                <a:lnTo>
                  <a:pt x="604" y="362"/>
                </a:lnTo>
                <a:lnTo>
                  <a:pt x="593" y="355"/>
                </a:lnTo>
                <a:lnTo>
                  <a:pt x="584" y="347"/>
                </a:lnTo>
                <a:lnTo>
                  <a:pt x="576" y="340"/>
                </a:lnTo>
                <a:lnTo>
                  <a:pt x="568" y="333"/>
                </a:lnTo>
                <a:lnTo>
                  <a:pt x="560" y="328"/>
                </a:lnTo>
                <a:lnTo>
                  <a:pt x="555" y="327"/>
                </a:lnTo>
                <a:lnTo>
                  <a:pt x="551" y="326"/>
                </a:lnTo>
                <a:lnTo>
                  <a:pt x="551" y="326"/>
                </a:lnTo>
                <a:lnTo>
                  <a:pt x="521" y="326"/>
                </a:lnTo>
                <a:lnTo>
                  <a:pt x="521" y="326"/>
                </a:lnTo>
                <a:lnTo>
                  <a:pt x="517" y="326"/>
                </a:lnTo>
                <a:lnTo>
                  <a:pt x="514" y="325"/>
                </a:lnTo>
                <a:lnTo>
                  <a:pt x="512" y="323"/>
                </a:lnTo>
                <a:lnTo>
                  <a:pt x="509" y="320"/>
                </a:lnTo>
                <a:lnTo>
                  <a:pt x="507" y="313"/>
                </a:lnTo>
                <a:lnTo>
                  <a:pt x="505" y="305"/>
                </a:lnTo>
                <a:lnTo>
                  <a:pt x="502" y="297"/>
                </a:lnTo>
                <a:lnTo>
                  <a:pt x="501" y="289"/>
                </a:lnTo>
                <a:lnTo>
                  <a:pt x="497" y="282"/>
                </a:lnTo>
                <a:lnTo>
                  <a:pt x="494" y="280"/>
                </a:lnTo>
                <a:lnTo>
                  <a:pt x="492" y="279"/>
                </a:lnTo>
                <a:lnTo>
                  <a:pt x="492" y="279"/>
                </a:lnTo>
                <a:lnTo>
                  <a:pt x="485" y="277"/>
                </a:lnTo>
                <a:lnTo>
                  <a:pt x="478" y="277"/>
                </a:lnTo>
                <a:lnTo>
                  <a:pt x="464" y="277"/>
                </a:lnTo>
                <a:lnTo>
                  <a:pt x="458" y="275"/>
                </a:lnTo>
                <a:lnTo>
                  <a:pt x="452" y="273"/>
                </a:lnTo>
                <a:lnTo>
                  <a:pt x="451" y="271"/>
                </a:lnTo>
                <a:lnTo>
                  <a:pt x="448" y="267"/>
                </a:lnTo>
                <a:lnTo>
                  <a:pt x="448" y="264"/>
                </a:lnTo>
                <a:lnTo>
                  <a:pt x="447" y="259"/>
                </a:lnTo>
                <a:lnTo>
                  <a:pt x="447" y="259"/>
                </a:lnTo>
                <a:lnTo>
                  <a:pt x="447" y="251"/>
                </a:lnTo>
                <a:lnTo>
                  <a:pt x="445" y="243"/>
                </a:lnTo>
                <a:lnTo>
                  <a:pt x="441" y="237"/>
                </a:lnTo>
                <a:lnTo>
                  <a:pt x="438" y="233"/>
                </a:lnTo>
                <a:lnTo>
                  <a:pt x="433" y="228"/>
                </a:lnTo>
                <a:lnTo>
                  <a:pt x="428" y="225"/>
                </a:lnTo>
                <a:lnTo>
                  <a:pt x="416" y="218"/>
                </a:lnTo>
                <a:lnTo>
                  <a:pt x="405" y="211"/>
                </a:lnTo>
                <a:lnTo>
                  <a:pt x="400" y="206"/>
                </a:lnTo>
                <a:lnTo>
                  <a:pt x="395" y="202"/>
                </a:lnTo>
                <a:lnTo>
                  <a:pt x="391" y="196"/>
                </a:lnTo>
                <a:lnTo>
                  <a:pt x="387" y="188"/>
                </a:lnTo>
                <a:lnTo>
                  <a:pt x="386" y="179"/>
                </a:lnTo>
                <a:lnTo>
                  <a:pt x="385" y="168"/>
                </a:lnTo>
                <a:lnTo>
                  <a:pt x="385" y="168"/>
                </a:lnTo>
                <a:lnTo>
                  <a:pt x="386" y="151"/>
                </a:lnTo>
                <a:lnTo>
                  <a:pt x="388" y="135"/>
                </a:lnTo>
                <a:lnTo>
                  <a:pt x="392" y="121"/>
                </a:lnTo>
                <a:lnTo>
                  <a:pt x="397" y="109"/>
                </a:lnTo>
                <a:lnTo>
                  <a:pt x="402" y="96"/>
                </a:lnTo>
                <a:lnTo>
                  <a:pt x="408" y="84"/>
                </a:lnTo>
                <a:lnTo>
                  <a:pt x="422" y="61"/>
                </a:lnTo>
                <a:lnTo>
                  <a:pt x="418" y="58"/>
                </a:lnTo>
                <a:lnTo>
                  <a:pt x="418" y="58"/>
                </a:lnTo>
                <a:lnTo>
                  <a:pt x="413" y="54"/>
                </a:lnTo>
                <a:lnTo>
                  <a:pt x="408" y="48"/>
                </a:lnTo>
                <a:lnTo>
                  <a:pt x="398" y="33"/>
                </a:lnTo>
                <a:lnTo>
                  <a:pt x="390" y="16"/>
                </a:lnTo>
                <a:lnTo>
                  <a:pt x="385" y="11"/>
                </a:lnTo>
                <a:lnTo>
                  <a:pt x="380" y="6"/>
                </a:lnTo>
                <a:lnTo>
                  <a:pt x="380" y="6"/>
                </a:lnTo>
                <a:lnTo>
                  <a:pt x="374" y="4"/>
                </a:lnTo>
                <a:lnTo>
                  <a:pt x="365" y="2"/>
                </a:lnTo>
                <a:lnTo>
                  <a:pt x="351" y="0"/>
                </a:lnTo>
                <a:lnTo>
                  <a:pt x="321" y="0"/>
                </a:lnTo>
                <a:lnTo>
                  <a:pt x="321" y="0"/>
                </a:lnTo>
                <a:lnTo>
                  <a:pt x="317" y="13"/>
                </a:lnTo>
                <a:lnTo>
                  <a:pt x="314" y="18"/>
                </a:lnTo>
                <a:lnTo>
                  <a:pt x="310" y="22"/>
                </a:lnTo>
                <a:lnTo>
                  <a:pt x="306" y="27"/>
                </a:lnTo>
                <a:lnTo>
                  <a:pt x="300" y="29"/>
                </a:lnTo>
                <a:lnTo>
                  <a:pt x="293" y="31"/>
                </a:lnTo>
                <a:lnTo>
                  <a:pt x="286" y="33"/>
                </a:lnTo>
                <a:lnTo>
                  <a:pt x="286" y="33"/>
                </a:lnTo>
                <a:lnTo>
                  <a:pt x="272" y="31"/>
                </a:lnTo>
                <a:lnTo>
                  <a:pt x="254" y="29"/>
                </a:lnTo>
                <a:lnTo>
                  <a:pt x="245" y="26"/>
                </a:lnTo>
                <a:lnTo>
                  <a:pt x="238" y="23"/>
                </a:lnTo>
                <a:lnTo>
                  <a:pt x="232" y="19"/>
                </a:lnTo>
                <a:lnTo>
                  <a:pt x="231" y="16"/>
                </a:lnTo>
                <a:lnTo>
                  <a:pt x="231" y="14"/>
                </a:lnTo>
                <a:lnTo>
                  <a:pt x="231" y="14"/>
                </a:lnTo>
                <a:lnTo>
                  <a:pt x="231" y="11"/>
                </a:lnTo>
                <a:lnTo>
                  <a:pt x="231" y="11"/>
                </a:lnTo>
                <a:lnTo>
                  <a:pt x="202" y="27"/>
                </a:lnTo>
                <a:lnTo>
                  <a:pt x="173" y="44"/>
                </a:lnTo>
                <a:lnTo>
                  <a:pt x="148" y="63"/>
                </a:lnTo>
                <a:lnTo>
                  <a:pt x="136" y="72"/>
                </a:lnTo>
                <a:lnTo>
                  <a:pt x="127" y="80"/>
                </a:lnTo>
                <a:lnTo>
                  <a:pt x="127" y="80"/>
                </a:lnTo>
                <a:lnTo>
                  <a:pt x="123" y="87"/>
                </a:lnTo>
                <a:lnTo>
                  <a:pt x="120" y="94"/>
                </a:lnTo>
                <a:lnTo>
                  <a:pt x="120" y="100"/>
                </a:lnTo>
                <a:lnTo>
                  <a:pt x="122" y="107"/>
                </a:lnTo>
                <a:lnTo>
                  <a:pt x="125" y="121"/>
                </a:lnTo>
                <a:lnTo>
                  <a:pt x="125" y="129"/>
                </a:lnTo>
                <a:lnTo>
                  <a:pt x="124" y="138"/>
                </a:lnTo>
                <a:lnTo>
                  <a:pt x="124" y="138"/>
                </a:lnTo>
                <a:lnTo>
                  <a:pt x="120" y="142"/>
                </a:lnTo>
                <a:lnTo>
                  <a:pt x="115" y="148"/>
                </a:lnTo>
                <a:lnTo>
                  <a:pt x="96" y="158"/>
                </a:lnTo>
                <a:lnTo>
                  <a:pt x="77" y="168"/>
                </a:lnTo>
                <a:lnTo>
                  <a:pt x="70" y="171"/>
                </a:lnTo>
                <a:lnTo>
                  <a:pt x="65" y="172"/>
                </a:lnTo>
                <a:lnTo>
                  <a:pt x="65" y="172"/>
                </a:lnTo>
                <a:lnTo>
                  <a:pt x="51" y="172"/>
                </a:lnTo>
                <a:lnTo>
                  <a:pt x="39" y="171"/>
                </a:lnTo>
                <a:lnTo>
                  <a:pt x="32" y="170"/>
                </a:lnTo>
                <a:lnTo>
                  <a:pt x="26" y="167"/>
                </a:lnTo>
                <a:lnTo>
                  <a:pt x="20" y="165"/>
                </a:lnTo>
                <a:lnTo>
                  <a:pt x="15" y="161"/>
                </a:lnTo>
                <a:lnTo>
                  <a:pt x="15" y="161"/>
                </a:lnTo>
                <a:lnTo>
                  <a:pt x="13" y="171"/>
                </a:lnTo>
                <a:lnTo>
                  <a:pt x="12" y="180"/>
                </a:lnTo>
                <a:lnTo>
                  <a:pt x="10" y="188"/>
                </a:lnTo>
                <a:lnTo>
                  <a:pt x="6" y="195"/>
                </a:lnTo>
                <a:lnTo>
                  <a:pt x="2" y="208"/>
                </a:lnTo>
                <a:lnTo>
                  <a:pt x="0" y="213"/>
                </a:lnTo>
                <a:lnTo>
                  <a:pt x="0" y="220"/>
                </a:lnTo>
                <a:lnTo>
                  <a:pt x="0" y="220"/>
                </a:lnTo>
                <a:lnTo>
                  <a:pt x="0" y="221"/>
                </a:lnTo>
                <a:lnTo>
                  <a:pt x="1" y="224"/>
                </a:lnTo>
                <a:lnTo>
                  <a:pt x="5" y="227"/>
                </a:lnTo>
                <a:lnTo>
                  <a:pt x="11" y="229"/>
                </a:lnTo>
                <a:lnTo>
                  <a:pt x="18" y="232"/>
                </a:lnTo>
                <a:lnTo>
                  <a:pt x="31" y="235"/>
                </a:lnTo>
                <a:lnTo>
                  <a:pt x="34" y="236"/>
                </a:lnTo>
                <a:lnTo>
                  <a:pt x="36" y="239"/>
                </a:lnTo>
                <a:lnTo>
                  <a:pt x="36" y="239"/>
                </a:lnTo>
                <a:lnTo>
                  <a:pt x="39" y="242"/>
                </a:lnTo>
                <a:lnTo>
                  <a:pt x="40" y="247"/>
                </a:lnTo>
                <a:lnTo>
                  <a:pt x="42" y="256"/>
                </a:lnTo>
                <a:lnTo>
                  <a:pt x="42" y="266"/>
                </a:lnTo>
                <a:lnTo>
                  <a:pt x="41" y="277"/>
                </a:lnTo>
                <a:lnTo>
                  <a:pt x="38" y="295"/>
                </a:lnTo>
                <a:lnTo>
                  <a:pt x="36" y="304"/>
                </a:lnTo>
                <a:lnTo>
                  <a:pt x="36" y="311"/>
                </a:lnTo>
                <a:lnTo>
                  <a:pt x="36" y="311"/>
                </a:lnTo>
                <a:lnTo>
                  <a:pt x="36" y="319"/>
                </a:lnTo>
                <a:lnTo>
                  <a:pt x="39" y="325"/>
                </a:lnTo>
                <a:lnTo>
                  <a:pt x="42" y="328"/>
                </a:lnTo>
                <a:lnTo>
                  <a:pt x="44" y="329"/>
                </a:lnTo>
                <a:lnTo>
                  <a:pt x="47" y="329"/>
                </a:lnTo>
                <a:lnTo>
                  <a:pt x="47" y="329"/>
                </a:lnTo>
                <a:lnTo>
                  <a:pt x="54" y="329"/>
                </a:lnTo>
                <a:lnTo>
                  <a:pt x="59" y="327"/>
                </a:lnTo>
                <a:lnTo>
                  <a:pt x="64" y="324"/>
                </a:lnTo>
                <a:lnTo>
                  <a:pt x="69" y="320"/>
                </a:lnTo>
                <a:lnTo>
                  <a:pt x="77" y="315"/>
                </a:lnTo>
                <a:lnTo>
                  <a:pt x="81" y="312"/>
                </a:lnTo>
                <a:lnTo>
                  <a:pt x="87" y="311"/>
                </a:lnTo>
                <a:lnTo>
                  <a:pt x="87" y="311"/>
                </a:lnTo>
                <a:lnTo>
                  <a:pt x="92" y="312"/>
                </a:lnTo>
                <a:lnTo>
                  <a:pt x="95" y="313"/>
                </a:lnTo>
                <a:lnTo>
                  <a:pt x="99" y="316"/>
                </a:lnTo>
                <a:lnTo>
                  <a:pt x="101" y="318"/>
                </a:lnTo>
                <a:lnTo>
                  <a:pt x="103" y="325"/>
                </a:lnTo>
                <a:lnTo>
                  <a:pt x="104" y="334"/>
                </a:lnTo>
                <a:lnTo>
                  <a:pt x="104" y="354"/>
                </a:lnTo>
                <a:lnTo>
                  <a:pt x="105" y="363"/>
                </a:lnTo>
                <a:lnTo>
                  <a:pt x="105" y="371"/>
                </a:lnTo>
                <a:lnTo>
                  <a:pt x="105" y="371"/>
                </a:lnTo>
                <a:lnTo>
                  <a:pt x="107" y="377"/>
                </a:lnTo>
                <a:lnTo>
                  <a:pt x="109" y="381"/>
                </a:lnTo>
                <a:lnTo>
                  <a:pt x="111" y="385"/>
                </a:lnTo>
                <a:lnTo>
                  <a:pt x="116" y="386"/>
                </a:lnTo>
                <a:lnTo>
                  <a:pt x="120" y="386"/>
                </a:lnTo>
                <a:lnTo>
                  <a:pt x="126" y="386"/>
                </a:lnTo>
                <a:lnTo>
                  <a:pt x="139" y="385"/>
                </a:lnTo>
                <a:lnTo>
                  <a:pt x="139" y="385"/>
                </a:lnTo>
                <a:lnTo>
                  <a:pt x="145" y="386"/>
                </a:lnTo>
                <a:lnTo>
                  <a:pt x="149" y="387"/>
                </a:lnTo>
                <a:lnTo>
                  <a:pt x="153" y="389"/>
                </a:lnTo>
                <a:lnTo>
                  <a:pt x="157" y="392"/>
                </a:lnTo>
                <a:lnTo>
                  <a:pt x="164" y="397"/>
                </a:lnTo>
                <a:lnTo>
                  <a:pt x="170" y="405"/>
                </a:lnTo>
                <a:lnTo>
                  <a:pt x="177" y="412"/>
                </a:lnTo>
                <a:lnTo>
                  <a:pt x="183" y="419"/>
                </a:lnTo>
                <a:lnTo>
                  <a:pt x="187" y="422"/>
                </a:lnTo>
                <a:lnTo>
                  <a:pt x="192" y="424"/>
                </a:lnTo>
                <a:lnTo>
                  <a:pt x="196" y="425"/>
                </a:lnTo>
                <a:lnTo>
                  <a:pt x="201" y="426"/>
                </a:lnTo>
                <a:lnTo>
                  <a:pt x="201" y="426"/>
                </a:lnTo>
                <a:lnTo>
                  <a:pt x="202" y="425"/>
                </a:lnTo>
                <a:lnTo>
                  <a:pt x="204" y="424"/>
                </a:lnTo>
                <a:lnTo>
                  <a:pt x="207" y="418"/>
                </a:lnTo>
                <a:lnTo>
                  <a:pt x="211" y="413"/>
                </a:lnTo>
                <a:lnTo>
                  <a:pt x="214" y="411"/>
                </a:lnTo>
                <a:lnTo>
                  <a:pt x="216" y="411"/>
                </a:lnTo>
                <a:lnTo>
                  <a:pt x="216" y="411"/>
                </a:lnTo>
                <a:lnTo>
                  <a:pt x="222" y="411"/>
                </a:lnTo>
                <a:lnTo>
                  <a:pt x="226" y="412"/>
                </a:lnTo>
                <a:lnTo>
                  <a:pt x="231" y="415"/>
                </a:lnTo>
                <a:lnTo>
                  <a:pt x="235" y="417"/>
                </a:lnTo>
                <a:lnTo>
                  <a:pt x="242" y="424"/>
                </a:lnTo>
                <a:lnTo>
                  <a:pt x="248" y="433"/>
                </a:lnTo>
                <a:lnTo>
                  <a:pt x="253" y="443"/>
                </a:lnTo>
                <a:lnTo>
                  <a:pt x="256" y="455"/>
                </a:lnTo>
                <a:lnTo>
                  <a:pt x="262" y="480"/>
                </a:lnTo>
                <a:lnTo>
                  <a:pt x="269" y="507"/>
                </a:lnTo>
                <a:lnTo>
                  <a:pt x="272" y="518"/>
                </a:lnTo>
                <a:lnTo>
                  <a:pt x="277" y="529"/>
                </a:lnTo>
                <a:lnTo>
                  <a:pt x="284" y="538"/>
                </a:lnTo>
                <a:lnTo>
                  <a:pt x="287" y="541"/>
                </a:lnTo>
                <a:lnTo>
                  <a:pt x="291" y="545"/>
                </a:lnTo>
                <a:lnTo>
                  <a:pt x="295" y="547"/>
                </a:lnTo>
                <a:lnTo>
                  <a:pt x="300" y="548"/>
                </a:lnTo>
                <a:lnTo>
                  <a:pt x="306" y="550"/>
                </a:lnTo>
                <a:lnTo>
                  <a:pt x="311" y="550"/>
                </a:lnTo>
                <a:lnTo>
                  <a:pt x="311" y="550"/>
                </a:lnTo>
                <a:lnTo>
                  <a:pt x="322" y="549"/>
                </a:lnTo>
                <a:lnTo>
                  <a:pt x="330" y="547"/>
                </a:lnTo>
                <a:lnTo>
                  <a:pt x="337" y="544"/>
                </a:lnTo>
                <a:lnTo>
                  <a:pt x="342" y="539"/>
                </a:lnTo>
                <a:lnTo>
                  <a:pt x="348" y="535"/>
                </a:lnTo>
                <a:lnTo>
                  <a:pt x="354" y="532"/>
                </a:lnTo>
                <a:lnTo>
                  <a:pt x="362" y="530"/>
                </a:lnTo>
                <a:lnTo>
                  <a:pt x="370" y="529"/>
                </a:lnTo>
                <a:lnTo>
                  <a:pt x="370" y="529"/>
                </a:lnTo>
                <a:lnTo>
                  <a:pt x="377" y="530"/>
                </a:lnTo>
                <a:lnTo>
                  <a:pt x="384" y="531"/>
                </a:lnTo>
                <a:lnTo>
                  <a:pt x="397" y="538"/>
                </a:lnTo>
                <a:lnTo>
                  <a:pt x="408" y="544"/>
                </a:lnTo>
                <a:lnTo>
                  <a:pt x="415" y="546"/>
                </a:lnTo>
                <a:lnTo>
                  <a:pt x="422" y="547"/>
                </a:lnTo>
                <a:lnTo>
                  <a:pt x="422" y="547"/>
                </a:lnTo>
                <a:lnTo>
                  <a:pt x="426" y="546"/>
                </a:lnTo>
                <a:lnTo>
                  <a:pt x="430" y="544"/>
                </a:lnTo>
                <a:lnTo>
                  <a:pt x="433" y="539"/>
                </a:lnTo>
                <a:lnTo>
                  <a:pt x="436" y="534"/>
                </a:lnTo>
                <a:lnTo>
                  <a:pt x="440" y="525"/>
                </a:lnTo>
                <a:lnTo>
                  <a:pt x="444" y="521"/>
                </a:lnTo>
                <a:lnTo>
                  <a:pt x="447" y="517"/>
                </a:lnTo>
                <a:lnTo>
                  <a:pt x="447" y="517"/>
                </a:lnTo>
                <a:lnTo>
                  <a:pt x="452" y="523"/>
                </a:lnTo>
                <a:lnTo>
                  <a:pt x="455" y="529"/>
                </a:lnTo>
                <a:lnTo>
                  <a:pt x="456" y="534"/>
                </a:lnTo>
                <a:lnTo>
                  <a:pt x="458" y="539"/>
                </a:lnTo>
                <a:lnTo>
                  <a:pt x="460" y="550"/>
                </a:lnTo>
                <a:lnTo>
                  <a:pt x="462" y="556"/>
                </a:lnTo>
                <a:lnTo>
                  <a:pt x="466" y="562"/>
                </a:lnTo>
                <a:lnTo>
                  <a:pt x="466" y="562"/>
                </a:lnTo>
                <a:lnTo>
                  <a:pt x="479" y="578"/>
                </a:lnTo>
                <a:lnTo>
                  <a:pt x="493" y="592"/>
                </a:lnTo>
                <a:lnTo>
                  <a:pt x="508" y="603"/>
                </a:lnTo>
                <a:lnTo>
                  <a:pt x="523" y="614"/>
                </a:lnTo>
                <a:lnTo>
                  <a:pt x="553" y="634"/>
                </a:lnTo>
                <a:lnTo>
                  <a:pt x="568" y="647"/>
                </a:lnTo>
                <a:lnTo>
                  <a:pt x="583" y="661"/>
                </a:lnTo>
                <a:lnTo>
                  <a:pt x="583" y="661"/>
                </a:lnTo>
                <a:lnTo>
                  <a:pt x="586" y="667"/>
                </a:lnTo>
                <a:lnTo>
                  <a:pt x="591" y="674"/>
                </a:lnTo>
                <a:lnTo>
                  <a:pt x="596" y="679"/>
                </a:lnTo>
                <a:lnTo>
                  <a:pt x="601" y="685"/>
                </a:lnTo>
                <a:lnTo>
                  <a:pt x="615" y="695"/>
                </a:lnTo>
                <a:lnTo>
                  <a:pt x="631" y="705"/>
                </a:lnTo>
                <a:lnTo>
                  <a:pt x="649" y="712"/>
                </a:lnTo>
                <a:lnTo>
                  <a:pt x="657" y="714"/>
                </a:lnTo>
                <a:lnTo>
                  <a:pt x="666" y="716"/>
                </a:lnTo>
                <a:lnTo>
                  <a:pt x="675" y="717"/>
                </a:lnTo>
                <a:lnTo>
                  <a:pt x="684" y="717"/>
                </a:lnTo>
                <a:lnTo>
                  <a:pt x="692" y="717"/>
                </a:lnTo>
                <a:lnTo>
                  <a:pt x="700" y="715"/>
                </a:lnTo>
                <a:lnTo>
                  <a:pt x="700" y="715"/>
                </a:lnTo>
                <a:lnTo>
                  <a:pt x="714" y="712"/>
                </a:lnTo>
                <a:lnTo>
                  <a:pt x="727" y="705"/>
                </a:lnTo>
                <a:lnTo>
                  <a:pt x="739" y="698"/>
                </a:lnTo>
                <a:lnTo>
                  <a:pt x="751" y="689"/>
                </a:lnTo>
                <a:lnTo>
                  <a:pt x="762" y="678"/>
                </a:lnTo>
                <a:lnTo>
                  <a:pt x="773" y="667"/>
                </a:lnTo>
                <a:lnTo>
                  <a:pt x="795" y="642"/>
                </a:lnTo>
                <a:lnTo>
                  <a:pt x="834" y="592"/>
                </a:lnTo>
                <a:lnTo>
                  <a:pt x="853" y="569"/>
                </a:lnTo>
                <a:lnTo>
                  <a:pt x="864" y="560"/>
                </a:lnTo>
                <a:lnTo>
                  <a:pt x="874" y="550"/>
                </a:lnTo>
                <a:lnTo>
                  <a:pt x="874" y="550"/>
                </a:lnTo>
                <a:lnTo>
                  <a:pt x="872" y="547"/>
                </a:lnTo>
                <a:lnTo>
                  <a:pt x="868" y="544"/>
                </a:lnTo>
                <a:lnTo>
                  <a:pt x="861" y="538"/>
                </a:lnTo>
                <a:lnTo>
                  <a:pt x="853" y="532"/>
                </a:lnTo>
                <a:lnTo>
                  <a:pt x="845" y="529"/>
                </a:lnTo>
                <a:lnTo>
                  <a:pt x="837" y="523"/>
                </a:lnTo>
                <a:lnTo>
                  <a:pt x="830" y="518"/>
                </a:lnTo>
                <a:lnTo>
                  <a:pt x="827" y="515"/>
                </a:lnTo>
                <a:lnTo>
                  <a:pt x="825" y="511"/>
                </a:lnTo>
                <a:lnTo>
                  <a:pt x="823" y="507"/>
                </a:lnTo>
                <a:lnTo>
                  <a:pt x="822" y="502"/>
                </a:lnTo>
                <a:lnTo>
                  <a:pt x="822" y="50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4" name="Freeform 59"/>
          <p:cNvSpPr>
            <a:spLocks/>
          </p:cNvSpPr>
          <p:nvPr/>
        </p:nvSpPr>
        <p:spPr bwMode="auto">
          <a:xfrm>
            <a:off x="3495675" y="5119688"/>
            <a:ext cx="690563" cy="561975"/>
          </a:xfrm>
          <a:custGeom>
            <a:avLst/>
            <a:gdLst/>
            <a:ahLst/>
            <a:cxnLst>
              <a:cxn ang="0">
                <a:pos x="162" y="25"/>
              </a:cxn>
              <a:cxn ang="0">
                <a:pos x="139" y="83"/>
              </a:cxn>
              <a:cxn ang="0">
                <a:pos x="130" y="116"/>
              </a:cxn>
              <a:cxn ang="0">
                <a:pos x="140" y="136"/>
              </a:cxn>
              <a:cxn ang="0">
                <a:pos x="125" y="159"/>
              </a:cxn>
              <a:cxn ang="0">
                <a:pos x="73" y="164"/>
              </a:cxn>
              <a:cxn ang="0">
                <a:pos x="55" y="214"/>
              </a:cxn>
              <a:cxn ang="0">
                <a:pos x="31" y="262"/>
              </a:cxn>
              <a:cxn ang="0">
                <a:pos x="27" y="302"/>
              </a:cxn>
              <a:cxn ang="0">
                <a:pos x="54" y="369"/>
              </a:cxn>
              <a:cxn ang="0">
                <a:pos x="49" y="393"/>
              </a:cxn>
              <a:cxn ang="0">
                <a:pos x="32" y="422"/>
              </a:cxn>
              <a:cxn ang="0">
                <a:pos x="0" y="459"/>
              </a:cxn>
              <a:cxn ang="0">
                <a:pos x="71" y="439"/>
              </a:cxn>
              <a:cxn ang="0">
                <a:pos x="140" y="432"/>
              </a:cxn>
              <a:cxn ang="0">
                <a:pos x="118" y="465"/>
              </a:cxn>
              <a:cxn ang="0">
                <a:pos x="103" y="491"/>
              </a:cxn>
              <a:cxn ang="0">
                <a:pos x="183" y="588"/>
              </a:cxn>
              <a:cxn ang="0">
                <a:pos x="199" y="602"/>
              </a:cxn>
              <a:cxn ang="0">
                <a:pos x="222" y="580"/>
              </a:cxn>
              <a:cxn ang="0">
                <a:pos x="252" y="592"/>
              </a:cxn>
              <a:cxn ang="0">
                <a:pos x="279" y="583"/>
              </a:cxn>
              <a:cxn ang="0">
                <a:pos x="361" y="579"/>
              </a:cxn>
              <a:cxn ang="0">
                <a:pos x="434" y="530"/>
              </a:cxn>
              <a:cxn ang="0">
                <a:pos x="489" y="514"/>
              </a:cxn>
              <a:cxn ang="0">
                <a:pos x="514" y="528"/>
              </a:cxn>
              <a:cxn ang="0">
                <a:pos x="547" y="565"/>
              </a:cxn>
              <a:cxn ang="0">
                <a:pos x="554" y="605"/>
              </a:cxn>
              <a:cxn ang="0">
                <a:pos x="604" y="645"/>
              </a:cxn>
              <a:cxn ang="0">
                <a:pos x="628" y="634"/>
              </a:cxn>
              <a:cxn ang="0">
                <a:pos x="661" y="572"/>
              </a:cxn>
              <a:cxn ang="0">
                <a:pos x="713" y="559"/>
              </a:cxn>
              <a:cxn ang="0">
                <a:pos x="749" y="553"/>
              </a:cxn>
              <a:cxn ang="0">
                <a:pos x="798" y="557"/>
              </a:cxn>
              <a:cxn ang="0">
                <a:pos x="824" y="524"/>
              </a:cxn>
              <a:cxn ang="0">
                <a:pos x="832" y="489"/>
              </a:cxn>
              <a:cxn ang="0">
                <a:pos x="840" y="463"/>
              </a:cxn>
              <a:cxn ang="0">
                <a:pos x="831" y="412"/>
              </a:cxn>
              <a:cxn ang="0">
                <a:pos x="820" y="355"/>
              </a:cxn>
              <a:cxn ang="0">
                <a:pos x="809" y="268"/>
              </a:cxn>
              <a:cxn ang="0">
                <a:pos x="767" y="282"/>
              </a:cxn>
              <a:cxn ang="0">
                <a:pos x="734" y="314"/>
              </a:cxn>
              <a:cxn ang="0">
                <a:pos x="710" y="327"/>
              </a:cxn>
              <a:cxn ang="0">
                <a:pos x="717" y="279"/>
              </a:cxn>
              <a:cxn ang="0">
                <a:pos x="698" y="249"/>
              </a:cxn>
              <a:cxn ang="0">
                <a:pos x="709" y="221"/>
              </a:cxn>
              <a:cxn ang="0">
                <a:pos x="704" y="198"/>
              </a:cxn>
              <a:cxn ang="0">
                <a:pos x="674" y="197"/>
              </a:cxn>
              <a:cxn ang="0">
                <a:pos x="617" y="211"/>
              </a:cxn>
              <a:cxn ang="0">
                <a:pos x="541" y="175"/>
              </a:cxn>
              <a:cxn ang="0">
                <a:pos x="469" y="170"/>
              </a:cxn>
              <a:cxn ang="0">
                <a:pos x="449" y="139"/>
              </a:cxn>
              <a:cxn ang="0">
                <a:pos x="428" y="94"/>
              </a:cxn>
              <a:cxn ang="0">
                <a:pos x="337" y="48"/>
              </a:cxn>
              <a:cxn ang="0">
                <a:pos x="226" y="25"/>
              </a:cxn>
              <a:cxn ang="0">
                <a:pos x="159" y="0"/>
              </a:cxn>
            </a:cxnLst>
            <a:rect l="0" t="0" r="r" b="b"/>
            <a:pathLst>
              <a:path w="842" h="645">
                <a:moveTo>
                  <a:pt x="159" y="0"/>
                </a:moveTo>
                <a:lnTo>
                  <a:pt x="159" y="0"/>
                </a:lnTo>
                <a:lnTo>
                  <a:pt x="161" y="5"/>
                </a:lnTo>
                <a:lnTo>
                  <a:pt x="162" y="11"/>
                </a:lnTo>
                <a:lnTo>
                  <a:pt x="162" y="25"/>
                </a:lnTo>
                <a:lnTo>
                  <a:pt x="162" y="25"/>
                </a:lnTo>
                <a:lnTo>
                  <a:pt x="162" y="32"/>
                </a:lnTo>
                <a:lnTo>
                  <a:pt x="161" y="39"/>
                </a:lnTo>
                <a:lnTo>
                  <a:pt x="157" y="52"/>
                </a:lnTo>
                <a:lnTo>
                  <a:pt x="152" y="63"/>
                </a:lnTo>
                <a:lnTo>
                  <a:pt x="146" y="73"/>
                </a:lnTo>
                <a:lnTo>
                  <a:pt x="139" y="83"/>
                </a:lnTo>
                <a:lnTo>
                  <a:pt x="134" y="93"/>
                </a:lnTo>
                <a:lnTo>
                  <a:pt x="131" y="103"/>
                </a:lnTo>
                <a:lnTo>
                  <a:pt x="130" y="108"/>
                </a:lnTo>
                <a:lnTo>
                  <a:pt x="129" y="114"/>
                </a:lnTo>
                <a:lnTo>
                  <a:pt x="129" y="114"/>
                </a:lnTo>
                <a:lnTo>
                  <a:pt x="130" y="116"/>
                </a:lnTo>
                <a:lnTo>
                  <a:pt x="131" y="118"/>
                </a:lnTo>
                <a:lnTo>
                  <a:pt x="134" y="123"/>
                </a:lnTo>
                <a:lnTo>
                  <a:pt x="139" y="127"/>
                </a:lnTo>
                <a:lnTo>
                  <a:pt x="140" y="131"/>
                </a:lnTo>
                <a:lnTo>
                  <a:pt x="140" y="136"/>
                </a:lnTo>
                <a:lnTo>
                  <a:pt x="140" y="136"/>
                </a:lnTo>
                <a:lnTo>
                  <a:pt x="140" y="142"/>
                </a:lnTo>
                <a:lnTo>
                  <a:pt x="138" y="147"/>
                </a:lnTo>
                <a:lnTo>
                  <a:pt x="136" y="152"/>
                </a:lnTo>
                <a:lnTo>
                  <a:pt x="133" y="155"/>
                </a:lnTo>
                <a:lnTo>
                  <a:pt x="130" y="157"/>
                </a:lnTo>
                <a:lnTo>
                  <a:pt x="125" y="159"/>
                </a:lnTo>
                <a:lnTo>
                  <a:pt x="116" y="160"/>
                </a:lnTo>
                <a:lnTo>
                  <a:pt x="94" y="160"/>
                </a:lnTo>
                <a:lnTo>
                  <a:pt x="83" y="161"/>
                </a:lnTo>
                <a:lnTo>
                  <a:pt x="78" y="162"/>
                </a:lnTo>
                <a:lnTo>
                  <a:pt x="73" y="164"/>
                </a:lnTo>
                <a:lnTo>
                  <a:pt x="73" y="164"/>
                </a:lnTo>
                <a:lnTo>
                  <a:pt x="70" y="168"/>
                </a:lnTo>
                <a:lnTo>
                  <a:pt x="67" y="171"/>
                </a:lnTo>
                <a:lnTo>
                  <a:pt x="61" y="179"/>
                </a:lnTo>
                <a:lnTo>
                  <a:pt x="58" y="187"/>
                </a:lnTo>
                <a:lnTo>
                  <a:pt x="57" y="197"/>
                </a:lnTo>
                <a:lnTo>
                  <a:pt x="55" y="214"/>
                </a:lnTo>
                <a:lnTo>
                  <a:pt x="53" y="223"/>
                </a:lnTo>
                <a:lnTo>
                  <a:pt x="48" y="231"/>
                </a:lnTo>
                <a:lnTo>
                  <a:pt x="48" y="231"/>
                </a:lnTo>
                <a:lnTo>
                  <a:pt x="40" y="243"/>
                </a:lnTo>
                <a:lnTo>
                  <a:pt x="33" y="255"/>
                </a:lnTo>
                <a:lnTo>
                  <a:pt x="31" y="262"/>
                </a:lnTo>
                <a:lnTo>
                  <a:pt x="29" y="270"/>
                </a:lnTo>
                <a:lnTo>
                  <a:pt x="26" y="277"/>
                </a:lnTo>
                <a:lnTo>
                  <a:pt x="26" y="285"/>
                </a:lnTo>
                <a:lnTo>
                  <a:pt x="26" y="285"/>
                </a:lnTo>
                <a:lnTo>
                  <a:pt x="26" y="294"/>
                </a:lnTo>
                <a:lnTo>
                  <a:pt x="27" y="302"/>
                </a:lnTo>
                <a:lnTo>
                  <a:pt x="31" y="316"/>
                </a:lnTo>
                <a:lnTo>
                  <a:pt x="35" y="328"/>
                </a:lnTo>
                <a:lnTo>
                  <a:pt x="41" y="338"/>
                </a:lnTo>
                <a:lnTo>
                  <a:pt x="46" y="347"/>
                </a:lnTo>
                <a:lnTo>
                  <a:pt x="52" y="358"/>
                </a:lnTo>
                <a:lnTo>
                  <a:pt x="54" y="369"/>
                </a:lnTo>
                <a:lnTo>
                  <a:pt x="56" y="382"/>
                </a:lnTo>
                <a:lnTo>
                  <a:pt x="56" y="382"/>
                </a:lnTo>
                <a:lnTo>
                  <a:pt x="55" y="386"/>
                </a:lnTo>
                <a:lnTo>
                  <a:pt x="54" y="390"/>
                </a:lnTo>
                <a:lnTo>
                  <a:pt x="52" y="392"/>
                </a:lnTo>
                <a:lnTo>
                  <a:pt x="49" y="393"/>
                </a:lnTo>
                <a:lnTo>
                  <a:pt x="45" y="396"/>
                </a:lnTo>
                <a:lnTo>
                  <a:pt x="42" y="398"/>
                </a:lnTo>
                <a:lnTo>
                  <a:pt x="41" y="400"/>
                </a:lnTo>
                <a:lnTo>
                  <a:pt x="41" y="400"/>
                </a:lnTo>
                <a:lnTo>
                  <a:pt x="37" y="412"/>
                </a:lnTo>
                <a:lnTo>
                  <a:pt x="32" y="422"/>
                </a:lnTo>
                <a:lnTo>
                  <a:pt x="27" y="431"/>
                </a:lnTo>
                <a:lnTo>
                  <a:pt x="22" y="439"/>
                </a:lnTo>
                <a:lnTo>
                  <a:pt x="17" y="445"/>
                </a:lnTo>
                <a:lnTo>
                  <a:pt x="11" y="451"/>
                </a:lnTo>
                <a:lnTo>
                  <a:pt x="6" y="455"/>
                </a:lnTo>
                <a:lnTo>
                  <a:pt x="0" y="459"/>
                </a:lnTo>
                <a:lnTo>
                  <a:pt x="0" y="459"/>
                </a:lnTo>
                <a:lnTo>
                  <a:pt x="17" y="457"/>
                </a:lnTo>
                <a:lnTo>
                  <a:pt x="32" y="453"/>
                </a:lnTo>
                <a:lnTo>
                  <a:pt x="46" y="449"/>
                </a:lnTo>
                <a:lnTo>
                  <a:pt x="58" y="444"/>
                </a:lnTo>
                <a:lnTo>
                  <a:pt x="71" y="439"/>
                </a:lnTo>
                <a:lnTo>
                  <a:pt x="85" y="436"/>
                </a:lnTo>
                <a:lnTo>
                  <a:pt x="99" y="434"/>
                </a:lnTo>
                <a:lnTo>
                  <a:pt x="115" y="432"/>
                </a:lnTo>
                <a:lnTo>
                  <a:pt x="115" y="432"/>
                </a:lnTo>
                <a:lnTo>
                  <a:pt x="140" y="432"/>
                </a:lnTo>
                <a:lnTo>
                  <a:pt x="140" y="432"/>
                </a:lnTo>
                <a:lnTo>
                  <a:pt x="140" y="442"/>
                </a:lnTo>
                <a:lnTo>
                  <a:pt x="138" y="449"/>
                </a:lnTo>
                <a:lnTo>
                  <a:pt x="134" y="454"/>
                </a:lnTo>
                <a:lnTo>
                  <a:pt x="130" y="459"/>
                </a:lnTo>
                <a:lnTo>
                  <a:pt x="125" y="462"/>
                </a:lnTo>
                <a:lnTo>
                  <a:pt x="118" y="465"/>
                </a:lnTo>
                <a:lnTo>
                  <a:pt x="111" y="466"/>
                </a:lnTo>
                <a:lnTo>
                  <a:pt x="103" y="466"/>
                </a:lnTo>
                <a:lnTo>
                  <a:pt x="103" y="466"/>
                </a:lnTo>
                <a:lnTo>
                  <a:pt x="103" y="491"/>
                </a:lnTo>
                <a:lnTo>
                  <a:pt x="103" y="491"/>
                </a:lnTo>
                <a:lnTo>
                  <a:pt x="103" y="491"/>
                </a:lnTo>
                <a:lnTo>
                  <a:pt x="115" y="506"/>
                </a:lnTo>
                <a:lnTo>
                  <a:pt x="126" y="520"/>
                </a:lnTo>
                <a:lnTo>
                  <a:pt x="151" y="545"/>
                </a:lnTo>
                <a:lnTo>
                  <a:pt x="162" y="559"/>
                </a:lnTo>
                <a:lnTo>
                  <a:pt x="172" y="573"/>
                </a:lnTo>
                <a:lnTo>
                  <a:pt x="183" y="588"/>
                </a:lnTo>
                <a:lnTo>
                  <a:pt x="192" y="605"/>
                </a:lnTo>
                <a:lnTo>
                  <a:pt x="192" y="605"/>
                </a:lnTo>
                <a:lnTo>
                  <a:pt x="192" y="605"/>
                </a:lnTo>
                <a:lnTo>
                  <a:pt x="192" y="605"/>
                </a:lnTo>
                <a:lnTo>
                  <a:pt x="192" y="605"/>
                </a:lnTo>
                <a:lnTo>
                  <a:pt x="199" y="602"/>
                </a:lnTo>
                <a:lnTo>
                  <a:pt x="203" y="597"/>
                </a:lnTo>
                <a:lnTo>
                  <a:pt x="208" y="593"/>
                </a:lnTo>
                <a:lnTo>
                  <a:pt x="211" y="589"/>
                </a:lnTo>
                <a:lnTo>
                  <a:pt x="214" y="585"/>
                </a:lnTo>
                <a:lnTo>
                  <a:pt x="218" y="582"/>
                </a:lnTo>
                <a:lnTo>
                  <a:pt x="222" y="580"/>
                </a:lnTo>
                <a:lnTo>
                  <a:pt x="229" y="579"/>
                </a:lnTo>
                <a:lnTo>
                  <a:pt x="229" y="579"/>
                </a:lnTo>
                <a:lnTo>
                  <a:pt x="232" y="580"/>
                </a:lnTo>
                <a:lnTo>
                  <a:pt x="237" y="581"/>
                </a:lnTo>
                <a:lnTo>
                  <a:pt x="244" y="587"/>
                </a:lnTo>
                <a:lnTo>
                  <a:pt x="252" y="592"/>
                </a:lnTo>
                <a:lnTo>
                  <a:pt x="258" y="597"/>
                </a:lnTo>
                <a:lnTo>
                  <a:pt x="258" y="597"/>
                </a:lnTo>
                <a:lnTo>
                  <a:pt x="263" y="592"/>
                </a:lnTo>
                <a:lnTo>
                  <a:pt x="268" y="588"/>
                </a:lnTo>
                <a:lnTo>
                  <a:pt x="274" y="585"/>
                </a:lnTo>
                <a:lnTo>
                  <a:pt x="279" y="583"/>
                </a:lnTo>
                <a:lnTo>
                  <a:pt x="292" y="581"/>
                </a:lnTo>
                <a:lnTo>
                  <a:pt x="305" y="580"/>
                </a:lnTo>
                <a:lnTo>
                  <a:pt x="332" y="581"/>
                </a:lnTo>
                <a:lnTo>
                  <a:pt x="347" y="581"/>
                </a:lnTo>
                <a:lnTo>
                  <a:pt x="361" y="579"/>
                </a:lnTo>
                <a:lnTo>
                  <a:pt x="361" y="579"/>
                </a:lnTo>
                <a:lnTo>
                  <a:pt x="369" y="576"/>
                </a:lnTo>
                <a:lnTo>
                  <a:pt x="377" y="572"/>
                </a:lnTo>
                <a:lnTo>
                  <a:pt x="392" y="562"/>
                </a:lnTo>
                <a:lnTo>
                  <a:pt x="406" y="552"/>
                </a:lnTo>
                <a:lnTo>
                  <a:pt x="420" y="541"/>
                </a:lnTo>
                <a:lnTo>
                  <a:pt x="434" y="530"/>
                </a:lnTo>
                <a:lnTo>
                  <a:pt x="442" y="526"/>
                </a:lnTo>
                <a:lnTo>
                  <a:pt x="450" y="522"/>
                </a:lnTo>
                <a:lnTo>
                  <a:pt x="458" y="519"/>
                </a:lnTo>
                <a:lnTo>
                  <a:pt x="467" y="516"/>
                </a:lnTo>
                <a:lnTo>
                  <a:pt x="477" y="514"/>
                </a:lnTo>
                <a:lnTo>
                  <a:pt x="489" y="514"/>
                </a:lnTo>
                <a:lnTo>
                  <a:pt x="489" y="514"/>
                </a:lnTo>
                <a:lnTo>
                  <a:pt x="495" y="514"/>
                </a:lnTo>
                <a:lnTo>
                  <a:pt x="499" y="515"/>
                </a:lnTo>
                <a:lnTo>
                  <a:pt x="503" y="518"/>
                </a:lnTo>
                <a:lnTo>
                  <a:pt x="507" y="521"/>
                </a:lnTo>
                <a:lnTo>
                  <a:pt x="514" y="528"/>
                </a:lnTo>
                <a:lnTo>
                  <a:pt x="520" y="536"/>
                </a:lnTo>
                <a:lnTo>
                  <a:pt x="526" y="545"/>
                </a:lnTo>
                <a:lnTo>
                  <a:pt x="533" y="553"/>
                </a:lnTo>
                <a:lnTo>
                  <a:pt x="539" y="560"/>
                </a:lnTo>
                <a:lnTo>
                  <a:pt x="543" y="562"/>
                </a:lnTo>
                <a:lnTo>
                  <a:pt x="547" y="565"/>
                </a:lnTo>
                <a:lnTo>
                  <a:pt x="547" y="565"/>
                </a:lnTo>
                <a:lnTo>
                  <a:pt x="547" y="590"/>
                </a:lnTo>
                <a:lnTo>
                  <a:pt x="547" y="590"/>
                </a:lnTo>
                <a:lnTo>
                  <a:pt x="549" y="593"/>
                </a:lnTo>
                <a:lnTo>
                  <a:pt x="550" y="597"/>
                </a:lnTo>
                <a:lnTo>
                  <a:pt x="554" y="605"/>
                </a:lnTo>
                <a:lnTo>
                  <a:pt x="562" y="614"/>
                </a:lnTo>
                <a:lnTo>
                  <a:pt x="572" y="623"/>
                </a:lnTo>
                <a:lnTo>
                  <a:pt x="582" y="631"/>
                </a:lnTo>
                <a:lnTo>
                  <a:pt x="591" y="638"/>
                </a:lnTo>
                <a:lnTo>
                  <a:pt x="599" y="644"/>
                </a:lnTo>
                <a:lnTo>
                  <a:pt x="604" y="645"/>
                </a:lnTo>
                <a:lnTo>
                  <a:pt x="606" y="645"/>
                </a:lnTo>
                <a:lnTo>
                  <a:pt x="606" y="645"/>
                </a:lnTo>
                <a:lnTo>
                  <a:pt x="612" y="644"/>
                </a:lnTo>
                <a:lnTo>
                  <a:pt x="618" y="642"/>
                </a:lnTo>
                <a:lnTo>
                  <a:pt x="622" y="638"/>
                </a:lnTo>
                <a:lnTo>
                  <a:pt x="628" y="634"/>
                </a:lnTo>
                <a:lnTo>
                  <a:pt x="637" y="622"/>
                </a:lnTo>
                <a:lnTo>
                  <a:pt x="645" y="608"/>
                </a:lnTo>
                <a:lnTo>
                  <a:pt x="652" y="595"/>
                </a:lnTo>
                <a:lnTo>
                  <a:pt x="657" y="583"/>
                </a:lnTo>
                <a:lnTo>
                  <a:pt x="661" y="572"/>
                </a:lnTo>
                <a:lnTo>
                  <a:pt x="661" y="572"/>
                </a:lnTo>
                <a:lnTo>
                  <a:pt x="698" y="572"/>
                </a:lnTo>
                <a:lnTo>
                  <a:pt x="698" y="572"/>
                </a:lnTo>
                <a:lnTo>
                  <a:pt x="701" y="572"/>
                </a:lnTo>
                <a:lnTo>
                  <a:pt x="704" y="569"/>
                </a:lnTo>
                <a:lnTo>
                  <a:pt x="709" y="565"/>
                </a:lnTo>
                <a:lnTo>
                  <a:pt x="713" y="559"/>
                </a:lnTo>
                <a:lnTo>
                  <a:pt x="716" y="558"/>
                </a:lnTo>
                <a:lnTo>
                  <a:pt x="717" y="557"/>
                </a:lnTo>
                <a:lnTo>
                  <a:pt x="717" y="557"/>
                </a:lnTo>
                <a:lnTo>
                  <a:pt x="728" y="554"/>
                </a:lnTo>
                <a:lnTo>
                  <a:pt x="739" y="553"/>
                </a:lnTo>
                <a:lnTo>
                  <a:pt x="749" y="553"/>
                </a:lnTo>
                <a:lnTo>
                  <a:pt x="758" y="554"/>
                </a:lnTo>
                <a:lnTo>
                  <a:pt x="776" y="557"/>
                </a:lnTo>
                <a:lnTo>
                  <a:pt x="786" y="558"/>
                </a:lnTo>
                <a:lnTo>
                  <a:pt x="794" y="557"/>
                </a:lnTo>
                <a:lnTo>
                  <a:pt x="794" y="557"/>
                </a:lnTo>
                <a:lnTo>
                  <a:pt x="798" y="557"/>
                </a:lnTo>
                <a:lnTo>
                  <a:pt x="803" y="554"/>
                </a:lnTo>
                <a:lnTo>
                  <a:pt x="809" y="550"/>
                </a:lnTo>
                <a:lnTo>
                  <a:pt x="812" y="544"/>
                </a:lnTo>
                <a:lnTo>
                  <a:pt x="816" y="538"/>
                </a:lnTo>
                <a:lnTo>
                  <a:pt x="820" y="531"/>
                </a:lnTo>
                <a:lnTo>
                  <a:pt x="824" y="524"/>
                </a:lnTo>
                <a:lnTo>
                  <a:pt x="829" y="519"/>
                </a:lnTo>
                <a:lnTo>
                  <a:pt x="834" y="516"/>
                </a:lnTo>
                <a:lnTo>
                  <a:pt x="839" y="514"/>
                </a:lnTo>
                <a:lnTo>
                  <a:pt x="839" y="514"/>
                </a:lnTo>
                <a:lnTo>
                  <a:pt x="833" y="497"/>
                </a:lnTo>
                <a:lnTo>
                  <a:pt x="832" y="489"/>
                </a:lnTo>
                <a:lnTo>
                  <a:pt x="831" y="481"/>
                </a:lnTo>
                <a:lnTo>
                  <a:pt x="831" y="481"/>
                </a:lnTo>
                <a:lnTo>
                  <a:pt x="831" y="477"/>
                </a:lnTo>
                <a:lnTo>
                  <a:pt x="832" y="474"/>
                </a:lnTo>
                <a:lnTo>
                  <a:pt x="836" y="469"/>
                </a:lnTo>
                <a:lnTo>
                  <a:pt x="840" y="463"/>
                </a:lnTo>
                <a:lnTo>
                  <a:pt x="841" y="460"/>
                </a:lnTo>
                <a:lnTo>
                  <a:pt x="842" y="455"/>
                </a:lnTo>
                <a:lnTo>
                  <a:pt x="842" y="455"/>
                </a:lnTo>
                <a:lnTo>
                  <a:pt x="841" y="445"/>
                </a:lnTo>
                <a:lnTo>
                  <a:pt x="839" y="434"/>
                </a:lnTo>
                <a:lnTo>
                  <a:pt x="831" y="412"/>
                </a:lnTo>
                <a:lnTo>
                  <a:pt x="824" y="391"/>
                </a:lnTo>
                <a:lnTo>
                  <a:pt x="821" y="382"/>
                </a:lnTo>
                <a:lnTo>
                  <a:pt x="820" y="374"/>
                </a:lnTo>
                <a:lnTo>
                  <a:pt x="820" y="374"/>
                </a:lnTo>
                <a:lnTo>
                  <a:pt x="820" y="355"/>
                </a:lnTo>
                <a:lnTo>
                  <a:pt x="820" y="355"/>
                </a:lnTo>
                <a:lnTo>
                  <a:pt x="819" y="341"/>
                </a:lnTo>
                <a:lnTo>
                  <a:pt x="817" y="329"/>
                </a:lnTo>
                <a:lnTo>
                  <a:pt x="813" y="318"/>
                </a:lnTo>
                <a:lnTo>
                  <a:pt x="809" y="308"/>
                </a:lnTo>
                <a:lnTo>
                  <a:pt x="809" y="308"/>
                </a:lnTo>
                <a:lnTo>
                  <a:pt x="809" y="268"/>
                </a:lnTo>
                <a:lnTo>
                  <a:pt x="809" y="275"/>
                </a:lnTo>
                <a:lnTo>
                  <a:pt x="809" y="275"/>
                </a:lnTo>
                <a:lnTo>
                  <a:pt x="809" y="275"/>
                </a:lnTo>
                <a:lnTo>
                  <a:pt x="794" y="276"/>
                </a:lnTo>
                <a:lnTo>
                  <a:pt x="780" y="278"/>
                </a:lnTo>
                <a:lnTo>
                  <a:pt x="767" y="282"/>
                </a:lnTo>
                <a:lnTo>
                  <a:pt x="757" y="287"/>
                </a:lnTo>
                <a:lnTo>
                  <a:pt x="747" y="294"/>
                </a:lnTo>
                <a:lnTo>
                  <a:pt x="743" y="298"/>
                </a:lnTo>
                <a:lnTo>
                  <a:pt x="740" y="302"/>
                </a:lnTo>
                <a:lnTo>
                  <a:pt x="736" y="308"/>
                </a:lnTo>
                <a:lnTo>
                  <a:pt x="734" y="314"/>
                </a:lnTo>
                <a:lnTo>
                  <a:pt x="733" y="320"/>
                </a:lnTo>
                <a:lnTo>
                  <a:pt x="732" y="327"/>
                </a:lnTo>
                <a:lnTo>
                  <a:pt x="732" y="327"/>
                </a:lnTo>
                <a:lnTo>
                  <a:pt x="710" y="327"/>
                </a:lnTo>
                <a:lnTo>
                  <a:pt x="710" y="327"/>
                </a:lnTo>
                <a:lnTo>
                  <a:pt x="710" y="327"/>
                </a:lnTo>
                <a:lnTo>
                  <a:pt x="711" y="316"/>
                </a:lnTo>
                <a:lnTo>
                  <a:pt x="713" y="306"/>
                </a:lnTo>
                <a:lnTo>
                  <a:pt x="716" y="297"/>
                </a:lnTo>
                <a:lnTo>
                  <a:pt x="717" y="285"/>
                </a:lnTo>
                <a:lnTo>
                  <a:pt x="717" y="285"/>
                </a:lnTo>
                <a:lnTo>
                  <a:pt x="717" y="279"/>
                </a:lnTo>
                <a:lnTo>
                  <a:pt x="714" y="275"/>
                </a:lnTo>
                <a:lnTo>
                  <a:pt x="711" y="270"/>
                </a:lnTo>
                <a:lnTo>
                  <a:pt x="707" y="266"/>
                </a:lnTo>
                <a:lnTo>
                  <a:pt x="702" y="259"/>
                </a:lnTo>
                <a:lnTo>
                  <a:pt x="699" y="254"/>
                </a:lnTo>
                <a:lnTo>
                  <a:pt x="698" y="249"/>
                </a:lnTo>
                <a:lnTo>
                  <a:pt x="698" y="249"/>
                </a:lnTo>
                <a:lnTo>
                  <a:pt x="698" y="244"/>
                </a:lnTo>
                <a:lnTo>
                  <a:pt x="701" y="239"/>
                </a:lnTo>
                <a:lnTo>
                  <a:pt x="704" y="231"/>
                </a:lnTo>
                <a:lnTo>
                  <a:pt x="707" y="224"/>
                </a:lnTo>
                <a:lnTo>
                  <a:pt x="709" y="221"/>
                </a:lnTo>
                <a:lnTo>
                  <a:pt x="710" y="216"/>
                </a:lnTo>
                <a:lnTo>
                  <a:pt x="710" y="216"/>
                </a:lnTo>
                <a:lnTo>
                  <a:pt x="709" y="208"/>
                </a:lnTo>
                <a:lnTo>
                  <a:pt x="707" y="205"/>
                </a:lnTo>
                <a:lnTo>
                  <a:pt x="706" y="201"/>
                </a:lnTo>
                <a:lnTo>
                  <a:pt x="704" y="198"/>
                </a:lnTo>
                <a:lnTo>
                  <a:pt x="701" y="195"/>
                </a:lnTo>
                <a:lnTo>
                  <a:pt x="696" y="194"/>
                </a:lnTo>
                <a:lnTo>
                  <a:pt x="691" y="194"/>
                </a:lnTo>
                <a:lnTo>
                  <a:pt x="691" y="194"/>
                </a:lnTo>
                <a:lnTo>
                  <a:pt x="682" y="194"/>
                </a:lnTo>
                <a:lnTo>
                  <a:pt x="674" y="197"/>
                </a:lnTo>
                <a:lnTo>
                  <a:pt x="658" y="203"/>
                </a:lnTo>
                <a:lnTo>
                  <a:pt x="642" y="209"/>
                </a:lnTo>
                <a:lnTo>
                  <a:pt x="634" y="211"/>
                </a:lnTo>
                <a:lnTo>
                  <a:pt x="625" y="213"/>
                </a:lnTo>
                <a:lnTo>
                  <a:pt x="625" y="213"/>
                </a:lnTo>
                <a:lnTo>
                  <a:pt x="617" y="211"/>
                </a:lnTo>
                <a:lnTo>
                  <a:pt x="610" y="210"/>
                </a:lnTo>
                <a:lnTo>
                  <a:pt x="596" y="207"/>
                </a:lnTo>
                <a:lnTo>
                  <a:pt x="583" y="200"/>
                </a:lnTo>
                <a:lnTo>
                  <a:pt x="572" y="193"/>
                </a:lnTo>
                <a:lnTo>
                  <a:pt x="551" y="180"/>
                </a:lnTo>
                <a:lnTo>
                  <a:pt x="541" y="175"/>
                </a:lnTo>
                <a:lnTo>
                  <a:pt x="535" y="173"/>
                </a:lnTo>
                <a:lnTo>
                  <a:pt x="529" y="172"/>
                </a:lnTo>
                <a:lnTo>
                  <a:pt x="529" y="172"/>
                </a:lnTo>
                <a:lnTo>
                  <a:pt x="493" y="173"/>
                </a:lnTo>
                <a:lnTo>
                  <a:pt x="476" y="172"/>
                </a:lnTo>
                <a:lnTo>
                  <a:pt x="469" y="170"/>
                </a:lnTo>
                <a:lnTo>
                  <a:pt x="463" y="168"/>
                </a:lnTo>
                <a:lnTo>
                  <a:pt x="463" y="168"/>
                </a:lnTo>
                <a:lnTo>
                  <a:pt x="460" y="164"/>
                </a:lnTo>
                <a:lnTo>
                  <a:pt x="457" y="160"/>
                </a:lnTo>
                <a:lnTo>
                  <a:pt x="452" y="149"/>
                </a:lnTo>
                <a:lnTo>
                  <a:pt x="449" y="139"/>
                </a:lnTo>
                <a:lnTo>
                  <a:pt x="446" y="129"/>
                </a:lnTo>
                <a:lnTo>
                  <a:pt x="443" y="117"/>
                </a:lnTo>
                <a:lnTo>
                  <a:pt x="438" y="108"/>
                </a:lnTo>
                <a:lnTo>
                  <a:pt x="436" y="103"/>
                </a:lnTo>
                <a:lnTo>
                  <a:pt x="432" y="99"/>
                </a:lnTo>
                <a:lnTo>
                  <a:pt x="428" y="94"/>
                </a:lnTo>
                <a:lnTo>
                  <a:pt x="423" y="91"/>
                </a:lnTo>
                <a:lnTo>
                  <a:pt x="423" y="91"/>
                </a:lnTo>
                <a:lnTo>
                  <a:pt x="397" y="77"/>
                </a:lnTo>
                <a:lnTo>
                  <a:pt x="368" y="61"/>
                </a:lnTo>
                <a:lnTo>
                  <a:pt x="353" y="54"/>
                </a:lnTo>
                <a:lnTo>
                  <a:pt x="337" y="48"/>
                </a:lnTo>
                <a:lnTo>
                  <a:pt x="320" y="43"/>
                </a:lnTo>
                <a:lnTo>
                  <a:pt x="302" y="40"/>
                </a:lnTo>
                <a:lnTo>
                  <a:pt x="302" y="40"/>
                </a:lnTo>
                <a:lnTo>
                  <a:pt x="279" y="35"/>
                </a:lnTo>
                <a:lnTo>
                  <a:pt x="245" y="30"/>
                </a:lnTo>
                <a:lnTo>
                  <a:pt x="226" y="25"/>
                </a:lnTo>
                <a:lnTo>
                  <a:pt x="211" y="20"/>
                </a:lnTo>
                <a:lnTo>
                  <a:pt x="200" y="16"/>
                </a:lnTo>
                <a:lnTo>
                  <a:pt x="197" y="14"/>
                </a:lnTo>
                <a:lnTo>
                  <a:pt x="195" y="10"/>
                </a:lnTo>
                <a:lnTo>
                  <a:pt x="195" y="10"/>
                </a:lnTo>
                <a:lnTo>
                  <a:pt x="159" y="0"/>
                </a:lnTo>
                <a:lnTo>
                  <a:pt x="159" y="0"/>
                </a:lnTo>
                <a:lnTo>
                  <a:pt x="159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5" name="Freeform 60"/>
          <p:cNvSpPr>
            <a:spLocks/>
          </p:cNvSpPr>
          <p:nvPr/>
        </p:nvSpPr>
        <p:spPr bwMode="auto">
          <a:xfrm>
            <a:off x="4159250" y="5272088"/>
            <a:ext cx="333375" cy="604837"/>
          </a:xfrm>
          <a:custGeom>
            <a:avLst/>
            <a:gdLst/>
            <a:ahLst/>
            <a:cxnLst>
              <a:cxn ang="0">
                <a:pos x="361" y="663"/>
              </a:cxn>
              <a:cxn ang="0">
                <a:pos x="382" y="623"/>
              </a:cxn>
              <a:cxn ang="0">
                <a:pos x="369" y="569"/>
              </a:cxn>
              <a:cxn ang="0">
                <a:pos x="356" y="516"/>
              </a:cxn>
              <a:cxn ang="0">
                <a:pos x="373" y="474"/>
              </a:cxn>
              <a:cxn ang="0">
                <a:pos x="405" y="428"/>
              </a:cxn>
              <a:cxn ang="0">
                <a:pos x="404" y="396"/>
              </a:cxn>
              <a:cxn ang="0">
                <a:pos x="366" y="381"/>
              </a:cxn>
              <a:cxn ang="0">
                <a:pos x="332" y="382"/>
              </a:cxn>
              <a:cxn ang="0">
                <a:pos x="328" y="361"/>
              </a:cxn>
              <a:cxn ang="0">
                <a:pos x="347" y="301"/>
              </a:cxn>
              <a:cxn ang="0">
                <a:pos x="341" y="268"/>
              </a:cxn>
              <a:cxn ang="0">
                <a:pos x="327" y="231"/>
              </a:cxn>
              <a:cxn ang="0">
                <a:pos x="337" y="217"/>
              </a:cxn>
              <a:cxn ang="0">
                <a:pos x="356" y="203"/>
              </a:cxn>
              <a:cxn ang="0">
                <a:pos x="378" y="183"/>
              </a:cxn>
              <a:cxn ang="0">
                <a:pos x="398" y="163"/>
              </a:cxn>
              <a:cxn ang="0">
                <a:pos x="398" y="130"/>
              </a:cxn>
              <a:cxn ang="0">
                <a:pos x="375" y="86"/>
              </a:cxn>
              <a:cxn ang="0">
                <a:pos x="350" y="46"/>
              </a:cxn>
              <a:cxn ang="0">
                <a:pos x="345" y="0"/>
              </a:cxn>
              <a:cxn ang="0">
                <a:pos x="320" y="6"/>
              </a:cxn>
              <a:cxn ang="0">
                <a:pos x="290" y="33"/>
              </a:cxn>
              <a:cxn ang="0">
                <a:pos x="270" y="35"/>
              </a:cxn>
              <a:cxn ang="0">
                <a:pos x="249" y="22"/>
              </a:cxn>
              <a:cxn ang="0">
                <a:pos x="206" y="37"/>
              </a:cxn>
              <a:cxn ang="0">
                <a:pos x="187" y="21"/>
              </a:cxn>
              <a:cxn ang="0">
                <a:pos x="165" y="19"/>
              </a:cxn>
              <a:cxn ang="0">
                <a:pos x="132" y="29"/>
              </a:cxn>
              <a:cxn ang="0">
                <a:pos x="107" y="45"/>
              </a:cxn>
              <a:cxn ang="0">
                <a:pos x="71" y="75"/>
              </a:cxn>
              <a:cxn ang="0">
                <a:pos x="43" y="78"/>
              </a:cxn>
              <a:cxn ang="0">
                <a:pos x="0" y="132"/>
              </a:cxn>
              <a:cxn ang="0">
                <a:pos x="10" y="165"/>
              </a:cxn>
              <a:cxn ang="0">
                <a:pos x="12" y="206"/>
              </a:cxn>
              <a:cxn ang="0">
                <a:pos x="33" y="279"/>
              </a:cxn>
              <a:cxn ang="0">
                <a:pos x="23" y="298"/>
              </a:cxn>
              <a:cxn ang="0">
                <a:pos x="24" y="325"/>
              </a:cxn>
              <a:cxn ang="0">
                <a:pos x="46" y="365"/>
              </a:cxn>
              <a:cxn ang="0">
                <a:pos x="107" y="411"/>
              </a:cxn>
              <a:cxn ang="0">
                <a:pos x="137" y="465"/>
              </a:cxn>
              <a:cxn ang="0">
                <a:pos x="167" y="499"/>
              </a:cxn>
              <a:cxn ang="0">
                <a:pos x="180" y="512"/>
              </a:cxn>
              <a:cxn ang="0">
                <a:pos x="165" y="535"/>
              </a:cxn>
              <a:cxn ang="0">
                <a:pos x="183" y="560"/>
              </a:cxn>
              <a:cxn ang="0">
                <a:pos x="191" y="581"/>
              </a:cxn>
              <a:cxn ang="0">
                <a:pos x="183" y="602"/>
              </a:cxn>
              <a:cxn ang="0">
                <a:pos x="190" y="623"/>
              </a:cxn>
              <a:cxn ang="0">
                <a:pos x="228" y="643"/>
              </a:cxn>
              <a:cxn ang="0">
                <a:pos x="306" y="663"/>
              </a:cxn>
              <a:cxn ang="0">
                <a:pos x="313" y="683"/>
              </a:cxn>
            </a:cxnLst>
            <a:rect l="0" t="0" r="r" b="b"/>
            <a:pathLst>
              <a:path w="407" h="694">
                <a:moveTo>
                  <a:pt x="315" y="694"/>
                </a:moveTo>
                <a:lnTo>
                  <a:pt x="315" y="694"/>
                </a:lnTo>
                <a:lnTo>
                  <a:pt x="340" y="680"/>
                </a:lnTo>
                <a:lnTo>
                  <a:pt x="351" y="672"/>
                </a:lnTo>
                <a:lnTo>
                  <a:pt x="361" y="663"/>
                </a:lnTo>
                <a:lnTo>
                  <a:pt x="370" y="653"/>
                </a:lnTo>
                <a:lnTo>
                  <a:pt x="376" y="643"/>
                </a:lnTo>
                <a:lnTo>
                  <a:pt x="378" y="637"/>
                </a:lnTo>
                <a:lnTo>
                  <a:pt x="381" y="630"/>
                </a:lnTo>
                <a:lnTo>
                  <a:pt x="382" y="623"/>
                </a:lnTo>
                <a:lnTo>
                  <a:pt x="382" y="617"/>
                </a:lnTo>
                <a:lnTo>
                  <a:pt x="382" y="617"/>
                </a:lnTo>
                <a:lnTo>
                  <a:pt x="381" y="605"/>
                </a:lnTo>
                <a:lnTo>
                  <a:pt x="378" y="594"/>
                </a:lnTo>
                <a:lnTo>
                  <a:pt x="369" y="569"/>
                </a:lnTo>
                <a:lnTo>
                  <a:pt x="364" y="557"/>
                </a:lnTo>
                <a:lnTo>
                  <a:pt x="360" y="544"/>
                </a:lnTo>
                <a:lnTo>
                  <a:pt x="358" y="530"/>
                </a:lnTo>
                <a:lnTo>
                  <a:pt x="356" y="516"/>
                </a:lnTo>
                <a:lnTo>
                  <a:pt x="356" y="516"/>
                </a:lnTo>
                <a:lnTo>
                  <a:pt x="356" y="508"/>
                </a:lnTo>
                <a:lnTo>
                  <a:pt x="359" y="500"/>
                </a:lnTo>
                <a:lnTo>
                  <a:pt x="361" y="493"/>
                </a:lnTo>
                <a:lnTo>
                  <a:pt x="364" y="487"/>
                </a:lnTo>
                <a:lnTo>
                  <a:pt x="373" y="474"/>
                </a:lnTo>
                <a:lnTo>
                  <a:pt x="382" y="462"/>
                </a:lnTo>
                <a:lnTo>
                  <a:pt x="391" y="452"/>
                </a:lnTo>
                <a:lnTo>
                  <a:pt x="399" y="441"/>
                </a:lnTo>
                <a:lnTo>
                  <a:pt x="402" y="435"/>
                </a:lnTo>
                <a:lnTo>
                  <a:pt x="405" y="428"/>
                </a:lnTo>
                <a:lnTo>
                  <a:pt x="407" y="421"/>
                </a:lnTo>
                <a:lnTo>
                  <a:pt x="407" y="414"/>
                </a:lnTo>
                <a:lnTo>
                  <a:pt x="407" y="414"/>
                </a:lnTo>
                <a:lnTo>
                  <a:pt x="406" y="404"/>
                </a:lnTo>
                <a:lnTo>
                  <a:pt x="404" y="396"/>
                </a:lnTo>
                <a:lnTo>
                  <a:pt x="399" y="390"/>
                </a:lnTo>
                <a:lnTo>
                  <a:pt x="393" y="385"/>
                </a:lnTo>
                <a:lnTo>
                  <a:pt x="386" y="382"/>
                </a:lnTo>
                <a:lnTo>
                  <a:pt x="376" y="381"/>
                </a:lnTo>
                <a:lnTo>
                  <a:pt x="366" y="381"/>
                </a:lnTo>
                <a:lnTo>
                  <a:pt x="353" y="381"/>
                </a:lnTo>
                <a:lnTo>
                  <a:pt x="353" y="381"/>
                </a:lnTo>
                <a:lnTo>
                  <a:pt x="344" y="382"/>
                </a:lnTo>
                <a:lnTo>
                  <a:pt x="336" y="383"/>
                </a:lnTo>
                <a:lnTo>
                  <a:pt x="332" y="382"/>
                </a:lnTo>
                <a:lnTo>
                  <a:pt x="329" y="380"/>
                </a:lnTo>
                <a:lnTo>
                  <a:pt x="328" y="376"/>
                </a:lnTo>
                <a:lnTo>
                  <a:pt x="327" y="370"/>
                </a:lnTo>
                <a:lnTo>
                  <a:pt x="327" y="370"/>
                </a:lnTo>
                <a:lnTo>
                  <a:pt x="328" y="361"/>
                </a:lnTo>
                <a:lnTo>
                  <a:pt x="330" y="351"/>
                </a:lnTo>
                <a:lnTo>
                  <a:pt x="338" y="331"/>
                </a:lnTo>
                <a:lnTo>
                  <a:pt x="341" y="322"/>
                </a:lnTo>
                <a:lnTo>
                  <a:pt x="345" y="312"/>
                </a:lnTo>
                <a:lnTo>
                  <a:pt x="347" y="301"/>
                </a:lnTo>
                <a:lnTo>
                  <a:pt x="348" y="290"/>
                </a:lnTo>
                <a:lnTo>
                  <a:pt x="348" y="290"/>
                </a:lnTo>
                <a:lnTo>
                  <a:pt x="347" y="282"/>
                </a:lnTo>
                <a:lnTo>
                  <a:pt x="345" y="275"/>
                </a:lnTo>
                <a:lnTo>
                  <a:pt x="341" y="268"/>
                </a:lnTo>
                <a:lnTo>
                  <a:pt x="338" y="262"/>
                </a:lnTo>
                <a:lnTo>
                  <a:pt x="333" y="255"/>
                </a:lnTo>
                <a:lnTo>
                  <a:pt x="330" y="248"/>
                </a:lnTo>
                <a:lnTo>
                  <a:pt x="328" y="240"/>
                </a:lnTo>
                <a:lnTo>
                  <a:pt x="327" y="231"/>
                </a:lnTo>
                <a:lnTo>
                  <a:pt x="327" y="231"/>
                </a:lnTo>
                <a:lnTo>
                  <a:pt x="328" y="226"/>
                </a:lnTo>
                <a:lnTo>
                  <a:pt x="330" y="223"/>
                </a:lnTo>
                <a:lnTo>
                  <a:pt x="333" y="220"/>
                </a:lnTo>
                <a:lnTo>
                  <a:pt x="337" y="217"/>
                </a:lnTo>
                <a:lnTo>
                  <a:pt x="347" y="214"/>
                </a:lnTo>
                <a:lnTo>
                  <a:pt x="352" y="212"/>
                </a:lnTo>
                <a:lnTo>
                  <a:pt x="356" y="209"/>
                </a:lnTo>
                <a:lnTo>
                  <a:pt x="356" y="209"/>
                </a:lnTo>
                <a:lnTo>
                  <a:pt x="356" y="203"/>
                </a:lnTo>
                <a:lnTo>
                  <a:pt x="358" y="199"/>
                </a:lnTo>
                <a:lnTo>
                  <a:pt x="360" y="195"/>
                </a:lnTo>
                <a:lnTo>
                  <a:pt x="363" y="192"/>
                </a:lnTo>
                <a:lnTo>
                  <a:pt x="370" y="186"/>
                </a:lnTo>
                <a:lnTo>
                  <a:pt x="378" y="183"/>
                </a:lnTo>
                <a:lnTo>
                  <a:pt x="386" y="178"/>
                </a:lnTo>
                <a:lnTo>
                  <a:pt x="390" y="175"/>
                </a:lnTo>
                <a:lnTo>
                  <a:pt x="393" y="172"/>
                </a:lnTo>
                <a:lnTo>
                  <a:pt x="397" y="168"/>
                </a:lnTo>
                <a:lnTo>
                  <a:pt x="398" y="163"/>
                </a:lnTo>
                <a:lnTo>
                  <a:pt x="400" y="157"/>
                </a:lnTo>
                <a:lnTo>
                  <a:pt x="400" y="151"/>
                </a:lnTo>
                <a:lnTo>
                  <a:pt x="400" y="151"/>
                </a:lnTo>
                <a:lnTo>
                  <a:pt x="400" y="140"/>
                </a:lnTo>
                <a:lnTo>
                  <a:pt x="398" y="130"/>
                </a:lnTo>
                <a:lnTo>
                  <a:pt x="396" y="121"/>
                </a:lnTo>
                <a:lnTo>
                  <a:pt x="392" y="113"/>
                </a:lnTo>
                <a:lnTo>
                  <a:pt x="389" y="106"/>
                </a:lnTo>
                <a:lnTo>
                  <a:pt x="384" y="99"/>
                </a:lnTo>
                <a:lnTo>
                  <a:pt x="375" y="86"/>
                </a:lnTo>
                <a:lnTo>
                  <a:pt x="364" y="75"/>
                </a:lnTo>
                <a:lnTo>
                  <a:pt x="356" y="63"/>
                </a:lnTo>
                <a:lnTo>
                  <a:pt x="353" y="57"/>
                </a:lnTo>
                <a:lnTo>
                  <a:pt x="351" y="52"/>
                </a:lnTo>
                <a:lnTo>
                  <a:pt x="350" y="46"/>
                </a:lnTo>
                <a:lnTo>
                  <a:pt x="348" y="40"/>
                </a:lnTo>
                <a:lnTo>
                  <a:pt x="348" y="40"/>
                </a:lnTo>
                <a:lnTo>
                  <a:pt x="347" y="23"/>
                </a:lnTo>
                <a:lnTo>
                  <a:pt x="345" y="11"/>
                </a:lnTo>
                <a:lnTo>
                  <a:pt x="345" y="0"/>
                </a:lnTo>
                <a:lnTo>
                  <a:pt x="345" y="0"/>
                </a:lnTo>
                <a:lnTo>
                  <a:pt x="337" y="0"/>
                </a:lnTo>
                <a:lnTo>
                  <a:pt x="331" y="1"/>
                </a:lnTo>
                <a:lnTo>
                  <a:pt x="325" y="3"/>
                </a:lnTo>
                <a:lnTo>
                  <a:pt x="320" y="6"/>
                </a:lnTo>
                <a:lnTo>
                  <a:pt x="313" y="11"/>
                </a:lnTo>
                <a:lnTo>
                  <a:pt x="306" y="18"/>
                </a:lnTo>
                <a:lnTo>
                  <a:pt x="300" y="25"/>
                </a:lnTo>
                <a:lnTo>
                  <a:pt x="294" y="31"/>
                </a:lnTo>
                <a:lnTo>
                  <a:pt x="290" y="33"/>
                </a:lnTo>
                <a:lnTo>
                  <a:pt x="286" y="34"/>
                </a:lnTo>
                <a:lnTo>
                  <a:pt x="280" y="35"/>
                </a:lnTo>
                <a:lnTo>
                  <a:pt x="275" y="37"/>
                </a:lnTo>
                <a:lnTo>
                  <a:pt x="275" y="37"/>
                </a:lnTo>
                <a:lnTo>
                  <a:pt x="270" y="35"/>
                </a:lnTo>
                <a:lnTo>
                  <a:pt x="266" y="34"/>
                </a:lnTo>
                <a:lnTo>
                  <a:pt x="262" y="32"/>
                </a:lnTo>
                <a:lnTo>
                  <a:pt x="260" y="31"/>
                </a:lnTo>
                <a:lnTo>
                  <a:pt x="254" y="25"/>
                </a:lnTo>
                <a:lnTo>
                  <a:pt x="249" y="22"/>
                </a:lnTo>
                <a:lnTo>
                  <a:pt x="249" y="22"/>
                </a:lnTo>
                <a:lnTo>
                  <a:pt x="224" y="22"/>
                </a:lnTo>
                <a:lnTo>
                  <a:pt x="224" y="37"/>
                </a:lnTo>
                <a:lnTo>
                  <a:pt x="206" y="37"/>
                </a:lnTo>
                <a:lnTo>
                  <a:pt x="206" y="37"/>
                </a:lnTo>
                <a:lnTo>
                  <a:pt x="206" y="37"/>
                </a:lnTo>
                <a:lnTo>
                  <a:pt x="202" y="34"/>
                </a:lnTo>
                <a:lnTo>
                  <a:pt x="200" y="32"/>
                </a:lnTo>
                <a:lnTo>
                  <a:pt x="194" y="26"/>
                </a:lnTo>
                <a:lnTo>
                  <a:pt x="187" y="21"/>
                </a:lnTo>
                <a:lnTo>
                  <a:pt x="184" y="18"/>
                </a:lnTo>
                <a:lnTo>
                  <a:pt x="179" y="18"/>
                </a:lnTo>
                <a:lnTo>
                  <a:pt x="179" y="18"/>
                </a:lnTo>
                <a:lnTo>
                  <a:pt x="172" y="18"/>
                </a:lnTo>
                <a:lnTo>
                  <a:pt x="165" y="19"/>
                </a:lnTo>
                <a:lnTo>
                  <a:pt x="155" y="24"/>
                </a:lnTo>
                <a:lnTo>
                  <a:pt x="145" y="27"/>
                </a:lnTo>
                <a:lnTo>
                  <a:pt x="139" y="29"/>
                </a:lnTo>
                <a:lnTo>
                  <a:pt x="132" y="29"/>
                </a:lnTo>
                <a:lnTo>
                  <a:pt x="132" y="29"/>
                </a:lnTo>
                <a:lnTo>
                  <a:pt x="127" y="30"/>
                </a:lnTo>
                <a:lnTo>
                  <a:pt x="123" y="31"/>
                </a:lnTo>
                <a:lnTo>
                  <a:pt x="119" y="33"/>
                </a:lnTo>
                <a:lnTo>
                  <a:pt x="115" y="37"/>
                </a:lnTo>
                <a:lnTo>
                  <a:pt x="107" y="45"/>
                </a:lnTo>
                <a:lnTo>
                  <a:pt x="100" y="53"/>
                </a:lnTo>
                <a:lnTo>
                  <a:pt x="91" y="62"/>
                </a:lnTo>
                <a:lnTo>
                  <a:pt x="81" y="69"/>
                </a:lnTo>
                <a:lnTo>
                  <a:pt x="77" y="72"/>
                </a:lnTo>
                <a:lnTo>
                  <a:pt x="71" y="75"/>
                </a:lnTo>
                <a:lnTo>
                  <a:pt x="65" y="76"/>
                </a:lnTo>
                <a:lnTo>
                  <a:pt x="58" y="77"/>
                </a:lnTo>
                <a:lnTo>
                  <a:pt x="58" y="77"/>
                </a:lnTo>
                <a:lnTo>
                  <a:pt x="50" y="77"/>
                </a:lnTo>
                <a:lnTo>
                  <a:pt x="43" y="78"/>
                </a:lnTo>
                <a:lnTo>
                  <a:pt x="28" y="83"/>
                </a:lnTo>
                <a:lnTo>
                  <a:pt x="15" y="87"/>
                </a:lnTo>
                <a:lnTo>
                  <a:pt x="0" y="92"/>
                </a:lnTo>
                <a:lnTo>
                  <a:pt x="0" y="9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4" y="142"/>
                </a:lnTo>
                <a:lnTo>
                  <a:pt x="8" y="153"/>
                </a:lnTo>
                <a:lnTo>
                  <a:pt x="10" y="165"/>
                </a:lnTo>
                <a:lnTo>
                  <a:pt x="11" y="179"/>
                </a:lnTo>
                <a:lnTo>
                  <a:pt x="11" y="179"/>
                </a:lnTo>
                <a:lnTo>
                  <a:pt x="11" y="198"/>
                </a:lnTo>
                <a:lnTo>
                  <a:pt x="11" y="198"/>
                </a:lnTo>
                <a:lnTo>
                  <a:pt x="12" y="206"/>
                </a:lnTo>
                <a:lnTo>
                  <a:pt x="15" y="215"/>
                </a:lnTo>
                <a:lnTo>
                  <a:pt x="22" y="236"/>
                </a:lnTo>
                <a:lnTo>
                  <a:pt x="30" y="258"/>
                </a:lnTo>
                <a:lnTo>
                  <a:pt x="32" y="269"/>
                </a:lnTo>
                <a:lnTo>
                  <a:pt x="33" y="279"/>
                </a:lnTo>
                <a:lnTo>
                  <a:pt x="33" y="279"/>
                </a:lnTo>
                <a:lnTo>
                  <a:pt x="32" y="284"/>
                </a:lnTo>
                <a:lnTo>
                  <a:pt x="31" y="287"/>
                </a:lnTo>
                <a:lnTo>
                  <a:pt x="27" y="293"/>
                </a:lnTo>
                <a:lnTo>
                  <a:pt x="23" y="298"/>
                </a:lnTo>
                <a:lnTo>
                  <a:pt x="22" y="301"/>
                </a:lnTo>
                <a:lnTo>
                  <a:pt x="22" y="305"/>
                </a:lnTo>
                <a:lnTo>
                  <a:pt x="22" y="305"/>
                </a:lnTo>
                <a:lnTo>
                  <a:pt x="22" y="315"/>
                </a:lnTo>
                <a:lnTo>
                  <a:pt x="24" y="325"/>
                </a:lnTo>
                <a:lnTo>
                  <a:pt x="26" y="333"/>
                </a:lnTo>
                <a:lnTo>
                  <a:pt x="30" y="343"/>
                </a:lnTo>
                <a:lnTo>
                  <a:pt x="34" y="351"/>
                </a:lnTo>
                <a:lnTo>
                  <a:pt x="40" y="358"/>
                </a:lnTo>
                <a:lnTo>
                  <a:pt x="46" y="365"/>
                </a:lnTo>
                <a:lnTo>
                  <a:pt x="51" y="370"/>
                </a:lnTo>
                <a:lnTo>
                  <a:pt x="65" y="383"/>
                </a:lnTo>
                <a:lnTo>
                  <a:pt x="79" y="392"/>
                </a:lnTo>
                <a:lnTo>
                  <a:pt x="107" y="411"/>
                </a:lnTo>
                <a:lnTo>
                  <a:pt x="107" y="411"/>
                </a:lnTo>
                <a:lnTo>
                  <a:pt x="111" y="415"/>
                </a:lnTo>
                <a:lnTo>
                  <a:pt x="116" y="421"/>
                </a:lnTo>
                <a:lnTo>
                  <a:pt x="119" y="427"/>
                </a:lnTo>
                <a:lnTo>
                  <a:pt x="124" y="434"/>
                </a:lnTo>
                <a:lnTo>
                  <a:pt x="137" y="465"/>
                </a:lnTo>
                <a:lnTo>
                  <a:pt x="145" y="478"/>
                </a:lnTo>
                <a:lnTo>
                  <a:pt x="148" y="485"/>
                </a:lnTo>
                <a:lnTo>
                  <a:pt x="154" y="491"/>
                </a:lnTo>
                <a:lnTo>
                  <a:pt x="160" y="496"/>
                </a:lnTo>
                <a:lnTo>
                  <a:pt x="167" y="499"/>
                </a:lnTo>
                <a:lnTo>
                  <a:pt x="175" y="501"/>
                </a:lnTo>
                <a:lnTo>
                  <a:pt x="183" y="503"/>
                </a:lnTo>
                <a:lnTo>
                  <a:pt x="183" y="503"/>
                </a:lnTo>
                <a:lnTo>
                  <a:pt x="183" y="507"/>
                </a:lnTo>
                <a:lnTo>
                  <a:pt x="180" y="512"/>
                </a:lnTo>
                <a:lnTo>
                  <a:pt x="175" y="520"/>
                </a:lnTo>
                <a:lnTo>
                  <a:pt x="168" y="528"/>
                </a:lnTo>
                <a:lnTo>
                  <a:pt x="165" y="531"/>
                </a:lnTo>
                <a:lnTo>
                  <a:pt x="165" y="535"/>
                </a:lnTo>
                <a:lnTo>
                  <a:pt x="165" y="535"/>
                </a:lnTo>
                <a:lnTo>
                  <a:pt x="167" y="542"/>
                </a:lnTo>
                <a:lnTo>
                  <a:pt x="169" y="546"/>
                </a:lnTo>
                <a:lnTo>
                  <a:pt x="173" y="551"/>
                </a:lnTo>
                <a:lnTo>
                  <a:pt x="178" y="556"/>
                </a:lnTo>
                <a:lnTo>
                  <a:pt x="183" y="560"/>
                </a:lnTo>
                <a:lnTo>
                  <a:pt x="187" y="565"/>
                </a:lnTo>
                <a:lnTo>
                  <a:pt x="190" y="569"/>
                </a:lnTo>
                <a:lnTo>
                  <a:pt x="191" y="576"/>
                </a:lnTo>
                <a:lnTo>
                  <a:pt x="191" y="576"/>
                </a:lnTo>
                <a:lnTo>
                  <a:pt x="191" y="581"/>
                </a:lnTo>
                <a:lnTo>
                  <a:pt x="190" y="584"/>
                </a:lnTo>
                <a:lnTo>
                  <a:pt x="187" y="589"/>
                </a:lnTo>
                <a:lnTo>
                  <a:pt x="185" y="594"/>
                </a:lnTo>
                <a:lnTo>
                  <a:pt x="184" y="597"/>
                </a:lnTo>
                <a:lnTo>
                  <a:pt x="183" y="602"/>
                </a:lnTo>
                <a:lnTo>
                  <a:pt x="183" y="602"/>
                </a:lnTo>
                <a:lnTo>
                  <a:pt x="184" y="609"/>
                </a:lnTo>
                <a:lnTo>
                  <a:pt x="185" y="614"/>
                </a:lnTo>
                <a:lnTo>
                  <a:pt x="187" y="619"/>
                </a:lnTo>
                <a:lnTo>
                  <a:pt x="190" y="623"/>
                </a:lnTo>
                <a:lnTo>
                  <a:pt x="193" y="628"/>
                </a:lnTo>
                <a:lnTo>
                  <a:pt x="196" y="632"/>
                </a:lnTo>
                <a:lnTo>
                  <a:pt x="206" y="636"/>
                </a:lnTo>
                <a:lnTo>
                  <a:pt x="216" y="641"/>
                </a:lnTo>
                <a:lnTo>
                  <a:pt x="228" y="643"/>
                </a:lnTo>
                <a:lnTo>
                  <a:pt x="253" y="648"/>
                </a:lnTo>
                <a:lnTo>
                  <a:pt x="278" y="651"/>
                </a:lnTo>
                <a:lnTo>
                  <a:pt x="289" y="653"/>
                </a:lnTo>
                <a:lnTo>
                  <a:pt x="298" y="657"/>
                </a:lnTo>
                <a:lnTo>
                  <a:pt x="306" y="663"/>
                </a:lnTo>
                <a:lnTo>
                  <a:pt x="308" y="665"/>
                </a:lnTo>
                <a:lnTo>
                  <a:pt x="310" y="669"/>
                </a:lnTo>
                <a:lnTo>
                  <a:pt x="313" y="673"/>
                </a:lnTo>
                <a:lnTo>
                  <a:pt x="313" y="679"/>
                </a:lnTo>
                <a:lnTo>
                  <a:pt x="313" y="683"/>
                </a:lnTo>
                <a:lnTo>
                  <a:pt x="312" y="690"/>
                </a:lnTo>
                <a:lnTo>
                  <a:pt x="312" y="690"/>
                </a:lnTo>
                <a:lnTo>
                  <a:pt x="315" y="694"/>
                </a:lnTo>
                <a:lnTo>
                  <a:pt x="315" y="694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14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6" name="Freeform 61"/>
          <p:cNvSpPr>
            <a:spLocks/>
          </p:cNvSpPr>
          <p:nvPr/>
        </p:nvSpPr>
        <p:spPr bwMode="auto">
          <a:xfrm>
            <a:off x="2316163" y="4851400"/>
            <a:ext cx="390525" cy="546100"/>
          </a:xfrm>
          <a:custGeom>
            <a:avLst/>
            <a:gdLst/>
            <a:ahLst/>
            <a:cxnLst>
              <a:cxn ang="0">
                <a:pos x="79" y="612"/>
              </a:cxn>
              <a:cxn ang="0">
                <a:pos x="150" y="621"/>
              </a:cxn>
              <a:cxn ang="0">
                <a:pos x="170" y="547"/>
              </a:cxn>
              <a:cxn ang="0">
                <a:pos x="198" y="526"/>
              </a:cxn>
              <a:cxn ang="0">
                <a:pos x="242" y="543"/>
              </a:cxn>
              <a:cxn ang="0">
                <a:pos x="286" y="559"/>
              </a:cxn>
              <a:cxn ang="0">
                <a:pos x="301" y="540"/>
              </a:cxn>
              <a:cxn ang="0">
                <a:pos x="277" y="515"/>
              </a:cxn>
              <a:cxn ang="0">
                <a:pos x="246" y="470"/>
              </a:cxn>
              <a:cxn ang="0">
                <a:pos x="279" y="463"/>
              </a:cxn>
              <a:cxn ang="0">
                <a:pos x="247" y="439"/>
              </a:cxn>
              <a:cxn ang="0">
                <a:pos x="258" y="407"/>
              </a:cxn>
              <a:cxn ang="0">
                <a:pos x="293" y="395"/>
              </a:cxn>
              <a:cxn ang="0">
                <a:pos x="371" y="438"/>
              </a:cxn>
              <a:cxn ang="0">
                <a:pos x="465" y="390"/>
              </a:cxn>
              <a:cxn ang="0">
                <a:pos x="452" y="349"/>
              </a:cxn>
              <a:cxn ang="0">
                <a:pos x="422" y="323"/>
              </a:cxn>
              <a:cxn ang="0">
                <a:pos x="389" y="323"/>
              </a:cxn>
              <a:cxn ang="0">
                <a:pos x="438" y="253"/>
              </a:cxn>
              <a:cxn ang="0">
                <a:pos x="477" y="188"/>
              </a:cxn>
              <a:cxn ang="0">
                <a:pos x="467" y="100"/>
              </a:cxn>
              <a:cxn ang="0">
                <a:pos x="439" y="72"/>
              </a:cxn>
              <a:cxn ang="0">
                <a:pos x="383" y="65"/>
              </a:cxn>
              <a:cxn ang="0">
                <a:pos x="330" y="30"/>
              </a:cxn>
              <a:cxn ang="0">
                <a:pos x="269" y="0"/>
              </a:cxn>
              <a:cxn ang="0">
                <a:pos x="257" y="25"/>
              </a:cxn>
              <a:cxn ang="0">
                <a:pos x="242" y="78"/>
              </a:cxn>
              <a:cxn ang="0">
                <a:pos x="254" y="118"/>
              </a:cxn>
              <a:cxn ang="0">
                <a:pos x="190" y="130"/>
              </a:cxn>
              <a:cxn ang="0">
                <a:pos x="163" y="154"/>
              </a:cxn>
              <a:cxn ang="0">
                <a:pos x="140" y="155"/>
              </a:cxn>
              <a:cxn ang="0">
                <a:pos x="116" y="130"/>
              </a:cxn>
              <a:cxn ang="0">
                <a:pos x="91" y="129"/>
              </a:cxn>
              <a:cxn ang="0">
                <a:pos x="113" y="99"/>
              </a:cxn>
              <a:cxn ang="0">
                <a:pos x="101" y="76"/>
              </a:cxn>
              <a:cxn ang="0">
                <a:pos x="56" y="77"/>
              </a:cxn>
              <a:cxn ang="0">
                <a:pos x="29" y="122"/>
              </a:cxn>
              <a:cxn ang="0">
                <a:pos x="42" y="188"/>
              </a:cxn>
              <a:cxn ang="0">
                <a:pos x="73" y="209"/>
              </a:cxn>
              <a:cxn ang="0">
                <a:pos x="114" y="217"/>
              </a:cxn>
              <a:cxn ang="0">
                <a:pos x="183" y="221"/>
              </a:cxn>
              <a:cxn ang="0">
                <a:pos x="227" y="210"/>
              </a:cxn>
              <a:cxn ang="0">
                <a:pos x="181" y="309"/>
              </a:cxn>
              <a:cxn ang="0">
                <a:pos x="159" y="307"/>
              </a:cxn>
              <a:cxn ang="0">
                <a:pos x="127" y="308"/>
              </a:cxn>
              <a:cxn ang="0">
                <a:pos x="78" y="346"/>
              </a:cxn>
              <a:cxn ang="0">
                <a:pos x="58" y="408"/>
              </a:cxn>
              <a:cxn ang="0">
                <a:pos x="15" y="466"/>
              </a:cxn>
              <a:cxn ang="0">
                <a:pos x="0" y="508"/>
              </a:cxn>
              <a:cxn ang="0">
                <a:pos x="18" y="526"/>
              </a:cxn>
              <a:cxn ang="0">
                <a:pos x="61" y="529"/>
              </a:cxn>
              <a:cxn ang="0">
                <a:pos x="101" y="558"/>
              </a:cxn>
              <a:cxn ang="0">
                <a:pos x="89" y="581"/>
              </a:cxn>
            </a:cxnLst>
            <a:rect l="0" t="0" r="r" b="b"/>
            <a:pathLst>
              <a:path w="478" h="626">
                <a:moveTo>
                  <a:pt x="66" y="626"/>
                </a:moveTo>
                <a:lnTo>
                  <a:pt x="66" y="626"/>
                </a:lnTo>
                <a:lnTo>
                  <a:pt x="67" y="620"/>
                </a:lnTo>
                <a:lnTo>
                  <a:pt x="70" y="616"/>
                </a:lnTo>
                <a:lnTo>
                  <a:pt x="74" y="614"/>
                </a:lnTo>
                <a:lnTo>
                  <a:pt x="79" y="612"/>
                </a:lnTo>
                <a:lnTo>
                  <a:pt x="86" y="611"/>
                </a:lnTo>
                <a:lnTo>
                  <a:pt x="93" y="611"/>
                </a:lnTo>
                <a:lnTo>
                  <a:pt x="109" y="612"/>
                </a:lnTo>
                <a:lnTo>
                  <a:pt x="124" y="614"/>
                </a:lnTo>
                <a:lnTo>
                  <a:pt x="137" y="618"/>
                </a:lnTo>
                <a:lnTo>
                  <a:pt x="150" y="621"/>
                </a:lnTo>
                <a:lnTo>
                  <a:pt x="150" y="621"/>
                </a:lnTo>
                <a:lnTo>
                  <a:pt x="155" y="607"/>
                </a:lnTo>
                <a:lnTo>
                  <a:pt x="158" y="592"/>
                </a:lnTo>
                <a:lnTo>
                  <a:pt x="162" y="576"/>
                </a:lnTo>
                <a:lnTo>
                  <a:pt x="165" y="561"/>
                </a:lnTo>
                <a:lnTo>
                  <a:pt x="170" y="547"/>
                </a:lnTo>
                <a:lnTo>
                  <a:pt x="172" y="542"/>
                </a:lnTo>
                <a:lnTo>
                  <a:pt x="175" y="536"/>
                </a:lnTo>
                <a:lnTo>
                  <a:pt x="180" y="531"/>
                </a:lnTo>
                <a:lnTo>
                  <a:pt x="185" y="529"/>
                </a:lnTo>
                <a:lnTo>
                  <a:pt x="192" y="527"/>
                </a:lnTo>
                <a:lnTo>
                  <a:pt x="198" y="526"/>
                </a:lnTo>
                <a:lnTo>
                  <a:pt x="198" y="526"/>
                </a:lnTo>
                <a:lnTo>
                  <a:pt x="205" y="527"/>
                </a:lnTo>
                <a:lnTo>
                  <a:pt x="211" y="527"/>
                </a:lnTo>
                <a:lnTo>
                  <a:pt x="223" y="531"/>
                </a:lnTo>
                <a:lnTo>
                  <a:pt x="233" y="536"/>
                </a:lnTo>
                <a:lnTo>
                  <a:pt x="242" y="543"/>
                </a:lnTo>
                <a:lnTo>
                  <a:pt x="253" y="549"/>
                </a:lnTo>
                <a:lnTo>
                  <a:pt x="263" y="553"/>
                </a:lnTo>
                <a:lnTo>
                  <a:pt x="273" y="558"/>
                </a:lnTo>
                <a:lnTo>
                  <a:pt x="280" y="559"/>
                </a:lnTo>
                <a:lnTo>
                  <a:pt x="286" y="559"/>
                </a:lnTo>
                <a:lnTo>
                  <a:pt x="286" y="559"/>
                </a:lnTo>
                <a:lnTo>
                  <a:pt x="290" y="559"/>
                </a:lnTo>
                <a:lnTo>
                  <a:pt x="294" y="558"/>
                </a:lnTo>
                <a:lnTo>
                  <a:pt x="296" y="555"/>
                </a:lnTo>
                <a:lnTo>
                  <a:pt x="297" y="554"/>
                </a:lnTo>
                <a:lnTo>
                  <a:pt x="301" y="549"/>
                </a:lnTo>
                <a:lnTo>
                  <a:pt x="301" y="540"/>
                </a:lnTo>
                <a:lnTo>
                  <a:pt x="301" y="540"/>
                </a:lnTo>
                <a:lnTo>
                  <a:pt x="301" y="538"/>
                </a:lnTo>
                <a:lnTo>
                  <a:pt x="299" y="535"/>
                </a:lnTo>
                <a:lnTo>
                  <a:pt x="294" y="528"/>
                </a:lnTo>
                <a:lnTo>
                  <a:pt x="286" y="522"/>
                </a:lnTo>
                <a:lnTo>
                  <a:pt x="277" y="515"/>
                </a:lnTo>
                <a:lnTo>
                  <a:pt x="257" y="501"/>
                </a:lnTo>
                <a:lnTo>
                  <a:pt x="250" y="494"/>
                </a:lnTo>
                <a:lnTo>
                  <a:pt x="246" y="489"/>
                </a:lnTo>
                <a:lnTo>
                  <a:pt x="246" y="489"/>
                </a:lnTo>
                <a:lnTo>
                  <a:pt x="246" y="470"/>
                </a:lnTo>
                <a:lnTo>
                  <a:pt x="246" y="470"/>
                </a:lnTo>
                <a:lnTo>
                  <a:pt x="246" y="470"/>
                </a:lnTo>
                <a:lnTo>
                  <a:pt x="258" y="470"/>
                </a:lnTo>
                <a:lnTo>
                  <a:pt x="266" y="469"/>
                </a:lnTo>
                <a:lnTo>
                  <a:pt x="273" y="468"/>
                </a:lnTo>
                <a:lnTo>
                  <a:pt x="279" y="463"/>
                </a:lnTo>
                <a:lnTo>
                  <a:pt x="279" y="463"/>
                </a:lnTo>
                <a:lnTo>
                  <a:pt x="276" y="460"/>
                </a:lnTo>
                <a:lnTo>
                  <a:pt x="271" y="456"/>
                </a:lnTo>
                <a:lnTo>
                  <a:pt x="259" y="450"/>
                </a:lnTo>
                <a:lnTo>
                  <a:pt x="255" y="447"/>
                </a:lnTo>
                <a:lnTo>
                  <a:pt x="250" y="444"/>
                </a:lnTo>
                <a:lnTo>
                  <a:pt x="247" y="439"/>
                </a:lnTo>
                <a:lnTo>
                  <a:pt x="246" y="435"/>
                </a:lnTo>
                <a:lnTo>
                  <a:pt x="246" y="435"/>
                </a:lnTo>
                <a:lnTo>
                  <a:pt x="247" y="427"/>
                </a:lnTo>
                <a:lnTo>
                  <a:pt x="249" y="420"/>
                </a:lnTo>
                <a:lnTo>
                  <a:pt x="253" y="413"/>
                </a:lnTo>
                <a:lnTo>
                  <a:pt x="258" y="407"/>
                </a:lnTo>
                <a:lnTo>
                  <a:pt x="264" y="401"/>
                </a:lnTo>
                <a:lnTo>
                  <a:pt x="271" y="397"/>
                </a:lnTo>
                <a:lnTo>
                  <a:pt x="279" y="394"/>
                </a:lnTo>
                <a:lnTo>
                  <a:pt x="286" y="393"/>
                </a:lnTo>
                <a:lnTo>
                  <a:pt x="286" y="393"/>
                </a:lnTo>
                <a:lnTo>
                  <a:pt x="293" y="395"/>
                </a:lnTo>
                <a:lnTo>
                  <a:pt x="303" y="399"/>
                </a:lnTo>
                <a:lnTo>
                  <a:pt x="328" y="412"/>
                </a:lnTo>
                <a:lnTo>
                  <a:pt x="355" y="425"/>
                </a:lnTo>
                <a:lnTo>
                  <a:pt x="365" y="432"/>
                </a:lnTo>
                <a:lnTo>
                  <a:pt x="371" y="438"/>
                </a:lnTo>
                <a:lnTo>
                  <a:pt x="371" y="438"/>
                </a:lnTo>
                <a:lnTo>
                  <a:pt x="460" y="438"/>
                </a:lnTo>
                <a:lnTo>
                  <a:pt x="460" y="438"/>
                </a:lnTo>
                <a:lnTo>
                  <a:pt x="455" y="412"/>
                </a:lnTo>
                <a:lnTo>
                  <a:pt x="455" y="412"/>
                </a:lnTo>
                <a:lnTo>
                  <a:pt x="455" y="412"/>
                </a:lnTo>
                <a:lnTo>
                  <a:pt x="465" y="390"/>
                </a:lnTo>
                <a:lnTo>
                  <a:pt x="469" y="379"/>
                </a:lnTo>
                <a:lnTo>
                  <a:pt x="470" y="368"/>
                </a:lnTo>
                <a:lnTo>
                  <a:pt x="470" y="368"/>
                </a:lnTo>
                <a:lnTo>
                  <a:pt x="470" y="349"/>
                </a:lnTo>
                <a:lnTo>
                  <a:pt x="470" y="349"/>
                </a:lnTo>
                <a:lnTo>
                  <a:pt x="452" y="349"/>
                </a:lnTo>
                <a:lnTo>
                  <a:pt x="444" y="349"/>
                </a:lnTo>
                <a:lnTo>
                  <a:pt x="437" y="347"/>
                </a:lnTo>
                <a:lnTo>
                  <a:pt x="431" y="345"/>
                </a:lnTo>
                <a:lnTo>
                  <a:pt x="426" y="340"/>
                </a:lnTo>
                <a:lnTo>
                  <a:pt x="423" y="333"/>
                </a:lnTo>
                <a:lnTo>
                  <a:pt x="422" y="323"/>
                </a:lnTo>
                <a:lnTo>
                  <a:pt x="422" y="323"/>
                </a:lnTo>
                <a:lnTo>
                  <a:pt x="415" y="325"/>
                </a:lnTo>
                <a:lnTo>
                  <a:pt x="407" y="326"/>
                </a:lnTo>
                <a:lnTo>
                  <a:pt x="399" y="325"/>
                </a:lnTo>
                <a:lnTo>
                  <a:pt x="389" y="323"/>
                </a:lnTo>
                <a:lnTo>
                  <a:pt x="389" y="323"/>
                </a:lnTo>
                <a:lnTo>
                  <a:pt x="392" y="313"/>
                </a:lnTo>
                <a:lnTo>
                  <a:pt x="396" y="303"/>
                </a:lnTo>
                <a:lnTo>
                  <a:pt x="402" y="294"/>
                </a:lnTo>
                <a:lnTo>
                  <a:pt x="408" y="285"/>
                </a:lnTo>
                <a:lnTo>
                  <a:pt x="422" y="269"/>
                </a:lnTo>
                <a:lnTo>
                  <a:pt x="438" y="253"/>
                </a:lnTo>
                <a:lnTo>
                  <a:pt x="453" y="237"/>
                </a:lnTo>
                <a:lnTo>
                  <a:pt x="460" y="229"/>
                </a:lnTo>
                <a:lnTo>
                  <a:pt x="465" y="219"/>
                </a:lnTo>
                <a:lnTo>
                  <a:pt x="470" y="210"/>
                </a:lnTo>
                <a:lnTo>
                  <a:pt x="475" y="200"/>
                </a:lnTo>
                <a:lnTo>
                  <a:pt x="477" y="188"/>
                </a:lnTo>
                <a:lnTo>
                  <a:pt x="478" y="177"/>
                </a:lnTo>
                <a:lnTo>
                  <a:pt x="478" y="177"/>
                </a:lnTo>
                <a:lnTo>
                  <a:pt x="477" y="158"/>
                </a:lnTo>
                <a:lnTo>
                  <a:pt x="475" y="138"/>
                </a:lnTo>
                <a:lnTo>
                  <a:pt x="471" y="118"/>
                </a:lnTo>
                <a:lnTo>
                  <a:pt x="467" y="100"/>
                </a:lnTo>
                <a:lnTo>
                  <a:pt x="467" y="100"/>
                </a:lnTo>
                <a:lnTo>
                  <a:pt x="461" y="96"/>
                </a:lnTo>
                <a:lnTo>
                  <a:pt x="457" y="93"/>
                </a:lnTo>
                <a:lnTo>
                  <a:pt x="449" y="84"/>
                </a:lnTo>
                <a:lnTo>
                  <a:pt x="442" y="76"/>
                </a:lnTo>
                <a:lnTo>
                  <a:pt x="439" y="72"/>
                </a:lnTo>
                <a:lnTo>
                  <a:pt x="433" y="70"/>
                </a:lnTo>
                <a:lnTo>
                  <a:pt x="433" y="70"/>
                </a:lnTo>
                <a:lnTo>
                  <a:pt x="423" y="68"/>
                </a:lnTo>
                <a:lnTo>
                  <a:pt x="412" y="65"/>
                </a:lnTo>
                <a:lnTo>
                  <a:pt x="392" y="65"/>
                </a:lnTo>
                <a:lnTo>
                  <a:pt x="383" y="65"/>
                </a:lnTo>
                <a:lnTo>
                  <a:pt x="373" y="64"/>
                </a:lnTo>
                <a:lnTo>
                  <a:pt x="365" y="61"/>
                </a:lnTo>
                <a:lnTo>
                  <a:pt x="356" y="55"/>
                </a:lnTo>
                <a:lnTo>
                  <a:pt x="356" y="55"/>
                </a:lnTo>
                <a:lnTo>
                  <a:pt x="340" y="39"/>
                </a:lnTo>
                <a:lnTo>
                  <a:pt x="330" y="30"/>
                </a:lnTo>
                <a:lnTo>
                  <a:pt x="319" y="20"/>
                </a:lnTo>
                <a:lnTo>
                  <a:pt x="307" y="12"/>
                </a:lnTo>
                <a:lnTo>
                  <a:pt x="295" y="7"/>
                </a:lnTo>
                <a:lnTo>
                  <a:pt x="281" y="2"/>
                </a:lnTo>
                <a:lnTo>
                  <a:pt x="276" y="1"/>
                </a:lnTo>
                <a:lnTo>
                  <a:pt x="269" y="0"/>
                </a:lnTo>
                <a:lnTo>
                  <a:pt x="269" y="0"/>
                </a:lnTo>
                <a:lnTo>
                  <a:pt x="265" y="1"/>
                </a:lnTo>
                <a:lnTo>
                  <a:pt x="261" y="4"/>
                </a:lnTo>
                <a:lnTo>
                  <a:pt x="261" y="4"/>
                </a:lnTo>
                <a:lnTo>
                  <a:pt x="259" y="16"/>
                </a:lnTo>
                <a:lnTo>
                  <a:pt x="257" y="25"/>
                </a:lnTo>
                <a:lnTo>
                  <a:pt x="255" y="33"/>
                </a:lnTo>
                <a:lnTo>
                  <a:pt x="251" y="41"/>
                </a:lnTo>
                <a:lnTo>
                  <a:pt x="248" y="48"/>
                </a:lnTo>
                <a:lnTo>
                  <a:pt x="246" y="57"/>
                </a:lnTo>
                <a:lnTo>
                  <a:pt x="243" y="66"/>
                </a:lnTo>
                <a:lnTo>
                  <a:pt x="242" y="78"/>
                </a:lnTo>
                <a:lnTo>
                  <a:pt x="242" y="78"/>
                </a:lnTo>
                <a:lnTo>
                  <a:pt x="243" y="92"/>
                </a:lnTo>
                <a:lnTo>
                  <a:pt x="244" y="102"/>
                </a:lnTo>
                <a:lnTo>
                  <a:pt x="249" y="110"/>
                </a:lnTo>
                <a:lnTo>
                  <a:pt x="254" y="118"/>
                </a:lnTo>
                <a:lnTo>
                  <a:pt x="254" y="118"/>
                </a:lnTo>
                <a:lnTo>
                  <a:pt x="250" y="120"/>
                </a:lnTo>
                <a:lnTo>
                  <a:pt x="247" y="124"/>
                </a:lnTo>
                <a:lnTo>
                  <a:pt x="238" y="127"/>
                </a:lnTo>
                <a:lnTo>
                  <a:pt x="226" y="130"/>
                </a:lnTo>
                <a:lnTo>
                  <a:pt x="215" y="131"/>
                </a:lnTo>
                <a:lnTo>
                  <a:pt x="190" y="130"/>
                </a:lnTo>
                <a:lnTo>
                  <a:pt x="172" y="129"/>
                </a:lnTo>
                <a:lnTo>
                  <a:pt x="172" y="129"/>
                </a:lnTo>
                <a:lnTo>
                  <a:pt x="170" y="141"/>
                </a:lnTo>
                <a:lnTo>
                  <a:pt x="167" y="146"/>
                </a:lnTo>
                <a:lnTo>
                  <a:pt x="166" y="150"/>
                </a:lnTo>
                <a:lnTo>
                  <a:pt x="163" y="154"/>
                </a:lnTo>
                <a:lnTo>
                  <a:pt x="159" y="156"/>
                </a:lnTo>
                <a:lnTo>
                  <a:pt x="156" y="157"/>
                </a:lnTo>
                <a:lnTo>
                  <a:pt x="150" y="158"/>
                </a:lnTo>
                <a:lnTo>
                  <a:pt x="150" y="158"/>
                </a:lnTo>
                <a:lnTo>
                  <a:pt x="144" y="157"/>
                </a:lnTo>
                <a:lnTo>
                  <a:pt x="140" y="155"/>
                </a:lnTo>
                <a:lnTo>
                  <a:pt x="135" y="152"/>
                </a:lnTo>
                <a:lnTo>
                  <a:pt x="132" y="147"/>
                </a:lnTo>
                <a:lnTo>
                  <a:pt x="127" y="137"/>
                </a:lnTo>
                <a:lnTo>
                  <a:pt x="125" y="129"/>
                </a:lnTo>
                <a:lnTo>
                  <a:pt x="125" y="129"/>
                </a:lnTo>
                <a:lnTo>
                  <a:pt x="116" y="130"/>
                </a:lnTo>
                <a:lnTo>
                  <a:pt x="109" y="132"/>
                </a:lnTo>
                <a:lnTo>
                  <a:pt x="105" y="132"/>
                </a:lnTo>
                <a:lnTo>
                  <a:pt x="101" y="132"/>
                </a:lnTo>
                <a:lnTo>
                  <a:pt x="97" y="131"/>
                </a:lnTo>
                <a:lnTo>
                  <a:pt x="91" y="129"/>
                </a:lnTo>
                <a:lnTo>
                  <a:pt x="91" y="129"/>
                </a:lnTo>
                <a:lnTo>
                  <a:pt x="95" y="123"/>
                </a:lnTo>
                <a:lnTo>
                  <a:pt x="98" y="118"/>
                </a:lnTo>
                <a:lnTo>
                  <a:pt x="105" y="110"/>
                </a:lnTo>
                <a:lnTo>
                  <a:pt x="109" y="107"/>
                </a:lnTo>
                <a:lnTo>
                  <a:pt x="111" y="103"/>
                </a:lnTo>
                <a:lnTo>
                  <a:pt x="113" y="99"/>
                </a:lnTo>
                <a:lnTo>
                  <a:pt x="113" y="93"/>
                </a:lnTo>
                <a:lnTo>
                  <a:pt x="113" y="93"/>
                </a:lnTo>
                <a:lnTo>
                  <a:pt x="112" y="86"/>
                </a:lnTo>
                <a:lnTo>
                  <a:pt x="110" y="81"/>
                </a:lnTo>
                <a:lnTo>
                  <a:pt x="106" y="78"/>
                </a:lnTo>
                <a:lnTo>
                  <a:pt x="101" y="76"/>
                </a:lnTo>
                <a:lnTo>
                  <a:pt x="95" y="74"/>
                </a:lnTo>
                <a:lnTo>
                  <a:pt x="89" y="74"/>
                </a:lnTo>
                <a:lnTo>
                  <a:pt x="78" y="73"/>
                </a:lnTo>
                <a:lnTo>
                  <a:pt x="78" y="73"/>
                </a:lnTo>
                <a:lnTo>
                  <a:pt x="66" y="74"/>
                </a:lnTo>
                <a:lnTo>
                  <a:pt x="56" y="77"/>
                </a:lnTo>
                <a:lnTo>
                  <a:pt x="48" y="80"/>
                </a:lnTo>
                <a:lnTo>
                  <a:pt x="41" y="85"/>
                </a:lnTo>
                <a:lnTo>
                  <a:pt x="36" y="92"/>
                </a:lnTo>
                <a:lnTo>
                  <a:pt x="33" y="100"/>
                </a:lnTo>
                <a:lnTo>
                  <a:pt x="30" y="110"/>
                </a:lnTo>
                <a:lnTo>
                  <a:pt x="29" y="122"/>
                </a:lnTo>
                <a:lnTo>
                  <a:pt x="29" y="122"/>
                </a:lnTo>
                <a:lnTo>
                  <a:pt x="30" y="142"/>
                </a:lnTo>
                <a:lnTo>
                  <a:pt x="33" y="161"/>
                </a:lnTo>
                <a:lnTo>
                  <a:pt x="36" y="176"/>
                </a:lnTo>
                <a:lnTo>
                  <a:pt x="40" y="183"/>
                </a:lnTo>
                <a:lnTo>
                  <a:pt x="42" y="188"/>
                </a:lnTo>
                <a:lnTo>
                  <a:pt x="47" y="193"/>
                </a:lnTo>
                <a:lnTo>
                  <a:pt x="50" y="198"/>
                </a:lnTo>
                <a:lnTo>
                  <a:pt x="55" y="201"/>
                </a:lnTo>
                <a:lnTo>
                  <a:pt x="60" y="204"/>
                </a:lnTo>
                <a:lnTo>
                  <a:pt x="66" y="207"/>
                </a:lnTo>
                <a:lnTo>
                  <a:pt x="73" y="209"/>
                </a:lnTo>
                <a:lnTo>
                  <a:pt x="80" y="210"/>
                </a:lnTo>
                <a:lnTo>
                  <a:pt x="88" y="210"/>
                </a:lnTo>
                <a:lnTo>
                  <a:pt x="88" y="210"/>
                </a:lnTo>
                <a:lnTo>
                  <a:pt x="96" y="210"/>
                </a:lnTo>
                <a:lnTo>
                  <a:pt x="103" y="213"/>
                </a:lnTo>
                <a:lnTo>
                  <a:pt x="114" y="217"/>
                </a:lnTo>
                <a:lnTo>
                  <a:pt x="127" y="223"/>
                </a:lnTo>
                <a:lnTo>
                  <a:pt x="134" y="224"/>
                </a:lnTo>
                <a:lnTo>
                  <a:pt x="143" y="225"/>
                </a:lnTo>
                <a:lnTo>
                  <a:pt x="143" y="225"/>
                </a:lnTo>
                <a:lnTo>
                  <a:pt x="164" y="224"/>
                </a:lnTo>
                <a:lnTo>
                  <a:pt x="183" y="221"/>
                </a:lnTo>
                <a:lnTo>
                  <a:pt x="198" y="215"/>
                </a:lnTo>
                <a:lnTo>
                  <a:pt x="210" y="210"/>
                </a:lnTo>
                <a:lnTo>
                  <a:pt x="210" y="210"/>
                </a:lnTo>
                <a:lnTo>
                  <a:pt x="227" y="210"/>
                </a:lnTo>
                <a:lnTo>
                  <a:pt x="227" y="210"/>
                </a:lnTo>
                <a:lnTo>
                  <a:pt x="227" y="210"/>
                </a:lnTo>
                <a:lnTo>
                  <a:pt x="226" y="217"/>
                </a:lnTo>
                <a:lnTo>
                  <a:pt x="221" y="231"/>
                </a:lnTo>
                <a:lnTo>
                  <a:pt x="206" y="265"/>
                </a:lnTo>
                <a:lnTo>
                  <a:pt x="197" y="283"/>
                </a:lnTo>
                <a:lnTo>
                  <a:pt x="189" y="299"/>
                </a:lnTo>
                <a:lnTo>
                  <a:pt x="181" y="309"/>
                </a:lnTo>
                <a:lnTo>
                  <a:pt x="179" y="311"/>
                </a:lnTo>
                <a:lnTo>
                  <a:pt x="177" y="313"/>
                </a:lnTo>
                <a:lnTo>
                  <a:pt x="177" y="313"/>
                </a:lnTo>
                <a:lnTo>
                  <a:pt x="172" y="313"/>
                </a:lnTo>
                <a:lnTo>
                  <a:pt x="168" y="311"/>
                </a:lnTo>
                <a:lnTo>
                  <a:pt x="159" y="307"/>
                </a:lnTo>
                <a:lnTo>
                  <a:pt x="151" y="303"/>
                </a:lnTo>
                <a:lnTo>
                  <a:pt x="147" y="302"/>
                </a:lnTo>
                <a:lnTo>
                  <a:pt x="143" y="302"/>
                </a:lnTo>
                <a:lnTo>
                  <a:pt x="143" y="302"/>
                </a:lnTo>
                <a:lnTo>
                  <a:pt x="136" y="303"/>
                </a:lnTo>
                <a:lnTo>
                  <a:pt x="127" y="308"/>
                </a:lnTo>
                <a:lnTo>
                  <a:pt x="117" y="314"/>
                </a:lnTo>
                <a:lnTo>
                  <a:pt x="105" y="321"/>
                </a:lnTo>
                <a:lnTo>
                  <a:pt x="87" y="336"/>
                </a:lnTo>
                <a:lnTo>
                  <a:pt x="80" y="341"/>
                </a:lnTo>
                <a:lnTo>
                  <a:pt x="78" y="346"/>
                </a:lnTo>
                <a:lnTo>
                  <a:pt x="78" y="346"/>
                </a:lnTo>
                <a:lnTo>
                  <a:pt x="68" y="359"/>
                </a:lnTo>
                <a:lnTo>
                  <a:pt x="64" y="369"/>
                </a:lnTo>
                <a:lnTo>
                  <a:pt x="61" y="379"/>
                </a:lnTo>
                <a:lnTo>
                  <a:pt x="60" y="389"/>
                </a:lnTo>
                <a:lnTo>
                  <a:pt x="59" y="398"/>
                </a:lnTo>
                <a:lnTo>
                  <a:pt x="58" y="408"/>
                </a:lnTo>
                <a:lnTo>
                  <a:pt x="52" y="420"/>
                </a:lnTo>
                <a:lnTo>
                  <a:pt x="44" y="435"/>
                </a:lnTo>
                <a:lnTo>
                  <a:pt x="44" y="435"/>
                </a:lnTo>
                <a:lnTo>
                  <a:pt x="37" y="443"/>
                </a:lnTo>
                <a:lnTo>
                  <a:pt x="29" y="451"/>
                </a:lnTo>
                <a:lnTo>
                  <a:pt x="15" y="466"/>
                </a:lnTo>
                <a:lnTo>
                  <a:pt x="9" y="474"/>
                </a:lnTo>
                <a:lnTo>
                  <a:pt x="4" y="482"/>
                </a:lnTo>
                <a:lnTo>
                  <a:pt x="2" y="492"/>
                </a:lnTo>
                <a:lnTo>
                  <a:pt x="0" y="504"/>
                </a:lnTo>
                <a:lnTo>
                  <a:pt x="0" y="504"/>
                </a:lnTo>
                <a:lnTo>
                  <a:pt x="0" y="508"/>
                </a:lnTo>
                <a:lnTo>
                  <a:pt x="2" y="513"/>
                </a:lnTo>
                <a:lnTo>
                  <a:pt x="4" y="517"/>
                </a:lnTo>
                <a:lnTo>
                  <a:pt x="6" y="520"/>
                </a:lnTo>
                <a:lnTo>
                  <a:pt x="10" y="522"/>
                </a:lnTo>
                <a:lnTo>
                  <a:pt x="13" y="524"/>
                </a:lnTo>
                <a:lnTo>
                  <a:pt x="18" y="526"/>
                </a:lnTo>
                <a:lnTo>
                  <a:pt x="21" y="526"/>
                </a:lnTo>
                <a:lnTo>
                  <a:pt x="21" y="526"/>
                </a:lnTo>
                <a:lnTo>
                  <a:pt x="48" y="526"/>
                </a:lnTo>
                <a:lnTo>
                  <a:pt x="48" y="526"/>
                </a:lnTo>
                <a:lnTo>
                  <a:pt x="53" y="527"/>
                </a:lnTo>
                <a:lnTo>
                  <a:pt x="61" y="529"/>
                </a:lnTo>
                <a:lnTo>
                  <a:pt x="70" y="531"/>
                </a:lnTo>
                <a:lnTo>
                  <a:pt x="80" y="536"/>
                </a:lnTo>
                <a:lnTo>
                  <a:pt x="88" y="542"/>
                </a:lnTo>
                <a:lnTo>
                  <a:pt x="96" y="550"/>
                </a:lnTo>
                <a:lnTo>
                  <a:pt x="98" y="553"/>
                </a:lnTo>
                <a:lnTo>
                  <a:pt x="101" y="558"/>
                </a:lnTo>
                <a:lnTo>
                  <a:pt x="103" y="561"/>
                </a:lnTo>
                <a:lnTo>
                  <a:pt x="103" y="567"/>
                </a:lnTo>
                <a:lnTo>
                  <a:pt x="103" y="567"/>
                </a:lnTo>
                <a:lnTo>
                  <a:pt x="102" y="568"/>
                </a:lnTo>
                <a:lnTo>
                  <a:pt x="98" y="572"/>
                </a:lnTo>
                <a:lnTo>
                  <a:pt x="89" y="581"/>
                </a:lnTo>
                <a:lnTo>
                  <a:pt x="70" y="599"/>
                </a:lnTo>
                <a:lnTo>
                  <a:pt x="70" y="599"/>
                </a:lnTo>
                <a:lnTo>
                  <a:pt x="70" y="614"/>
                </a:lnTo>
                <a:lnTo>
                  <a:pt x="66" y="626"/>
                </a:lnTo>
                <a:lnTo>
                  <a:pt x="66" y="62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7" name="Freeform 62"/>
          <p:cNvSpPr>
            <a:spLocks/>
          </p:cNvSpPr>
          <p:nvPr/>
        </p:nvSpPr>
        <p:spPr bwMode="auto">
          <a:xfrm>
            <a:off x="1739900" y="4837113"/>
            <a:ext cx="704850" cy="750887"/>
          </a:xfrm>
          <a:custGeom>
            <a:avLst/>
            <a:gdLst/>
            <a:ahLst/>
            <a:cxnLst>
              <a:cxn ang="0">
                <a:pos x="28" y="301"/>
              </a:cxn>
              <a:cxn ang="0">
                <a:pos x="66" y="338"/>
              </a:cxn>
              <a:cxn ang="0">
                <a:pos x="119" y="338"/>
              </a:cxn>
              <a:cxn ang="0">
                <a:pos x="126" y="387"/>
              </a:cxn>
              <a:cxn ang="0">
                <a:pos x="150" y="408"/>
              </a:cxn>
              <a:cxn ang="0">
                <a:pos x="191" y="434"/>
              </a:cxn>
              <a:cxn ang="0">
                <a:pos x="212" y="525"/>
              </a:cxn>
              <a:cxn ang="0">
                <a:pos x="249" y="564"/>
              </a:cxn>
              <a:cxn ang="0">
                <a:pos x="273" y="599"/>
              </a:cxn>
              <a:cxn ang="0">
                <a:pos x="321" y="649"/>
              </a:cxn>
              <a:cxn ang="0">
                <a:pos x="393" y="632"/>
              </a:cxn>
              <a:cxn ang="0">
                <a:pos x="445" y="637"/>
              </a:cxn>
              <a:cxn ang="0">
                <a:pos x="479" y="684"/>
              </a:cxn>
              <a:cxn ang="0">
                <a:pos x="559" y="698"/>
              </a:cxn>
              <a:cxn ang="0">
                <a:pos x="598" y="790"/>
              </a:cxn>
              <a:cxn ang="0">
                <a:pos x="648" y="823"/>
              </a:cxn>
              <a:cxn ang="0">
                <a:pos x="689" y="808"/>
              </a:cxn>
              <a:cxn ang="0">
                <a:pos x="729" y="845"/>
              </a:cxn>
              <a:cxn ang="0">
                <a:pos x="779" y="861"/>
              </a:cxn>
              <a:cxn ang="0">
                <a:pos x="838" y="837"/>
              </a:cxn>
              <a:cxn ang="0">
                <a:pos x="858" y="779"/>
              </a:cxn>
              <a:cxn ang="0">
                <a:pos x="819" y="753"/>
              </a:cxn>
              <a:cxn ang="0">
                <a:pos x="815" y="726"/>
              </a:cxn>
              <a:cxn ang="0">
                <a:pos x="782" y="706"/>
              </a:cxn>
              <a:cxn ang="0">
                <a:pos x="791" y="683"/>
              </a:cxn>
              <a:cxn ang="0">
                <a:pos x="776" y="657"/>
              </a:cxn>
              <a:cxn ang="0">
                <a:pos x="773" y="617"/>
              </a:cxn>
              <a:cxn ang="0">
                <a:pos x="804" y="576"/>
              </a:cxn>
              <a:cxn ang="0">
                <a:pos x="756" y="545"/>
              </a:cxn>
              <a:cxn ang="0">
                <a:pos x="709" y="544"/>
              </a:cxn>
              <a:cxn ang="0">
                <a:pos x="669" y="573"/>
              </a:cxn>
              <a:cxn ang="0">
                <a:pos x="624" y="599"/>
              </a:cxn>
              <a:cxn ang="0">
                <a:pos x="584" y="568"/>
              </a:cxn>
              <a:cxn ang="0">
                <a:pos x="557" y="564"/>
              </a:cxn>
              <a:cxn ang="0">
                <a:pos x="522" y="569"/>
              </a:cxn>
              <a:cxn ang="0">
                <a:pos x="485" y="530"/>
              </a:cxn>
              <a:cxn ang="0">
                <a:pos x="501" y="500"/>
              </a:cxn>
              <a:cxn ang="0">
                <a:pos x="479" y="460"/>
              </a:cxn>
              <a:cxn ang="0">
                <a:pos x="507" y="439"/>
              </a:cxn>
              <a:cxn ang="0">
                <a:pos x="518" y="417"/>
              </a:cxn>
              <a:cxn ang="0">
                <a:pos x="489" y="386"/>
              </a:cxn>
              <a:cxn ang="0">
                <a:pos x="461" y="401"/>
              </a:cxn>
              <a:cxn ang="0">
                <a:pos x="449" y="371"/>
              </a:cxn>
              <a:cxn ang="0">
                <a:pos x="440" y="280"/>
              </a:cxn>
              <a:cxn ang="0">
                <a:pos x="396" y="178"/>
              </a:cxn>
              <a:cxn ang="0">
                <a:pos x="385" y="100"/>
              </a:cxn>
              <a:cxn ang="0">
                <a:pos x="361" y="67"/>
              </a:cxn>
              <a:cxn ang="0">
                <a:pos x="371" y="31"/>
              </a:cxn>
              <a:cxn ang="0">
                <a:pos x="349" y="6"/>
              </a:cxn>
              <a:cxn ang="0">
                <a:pos x="319" y="4"/>
              </a:cxn>
              <a:cxn ang="0">
                <a:pos x="308" y="52"/>
              </a:cxn>
              <a:cxn ang="0">
                <a:pos x="274" y="77"/>
              </a:cxn>
              <a:cxn ang="0">
                <a:pos x="237" y="124"/>
              </a:cxn>
              <a:cxn ang="0">
                <a:pos x="193" y="161"/>
              </a:cxn>
              <a:cxn ang="0">
                <a:pos x="148" y="179"/>
              </a:cxn>
              <a:cxn ang="0">
                <a:pos x="91" y="235"/>
              </a:cxn>
              <a:cxn ang="0">
                <a:pos x="13" y="260"/>
              </a:cxn>
            </a:cxnLst>
            <a:rect l="0" t="0" r="r" b="b"/>
            <a:pathLst>
              <a:path w="861" h="862">
                <a:moveTo>
                  <a:pt x="0" y="279"/>
                </a:moveTo>
                <a:lnTo>
                  <a:pt x="0" y="279"/>
                </a:lnTo>
                <a:lnTo>
                  <a:pt x="7" y="281"/>
                </a:lnTo>
                <a:lnTo>
                  <a:pt x="13" y="283"/>
                </a:lnTo>
                <a:lnTo>
                  <a:pt x="18" y="287"/>
                </a:lnTo>
                <a:lnTo>
                  <a:pt x="21" y="292"/>
                </a:lnTo>
                <a:lnTo>
                  <a:pt x="28" y="301"/>
                </a:lnTo>
                <a:lnTo>
                  <a:pt x="34" y="311"/>
                </a:lnTo>
                <a:lnTo>
                  <a:pt x="40" y="321"/>
                </a:lnTo>
                <a:lnTo>
                  <a:pt x="44" y="326"/>
                </a:lnTo>
                <a:lnTo>
                  <a:pt x="48" y="329"/>
                </a:lnTo>
                <a:lnTo>
                  <a:pt x="53" y="333"/>
                </a:lnTo>
                <a:lnTo>
                  <a:pt x="59" y="335"/>
                </a:lnTo>
                <a:lnTo>
                  <a:pt x="66" y="338"/>
                </a:lnTo>
                <a:lnTo>
                  <a:pt x="74" y="338"/>
                </a:lnTo>
                <a:lnTo>
                  <a:pt x="74" y="338"/>
                </a:lnTo>
                <a:lnTo>
                  <a:pt x="87" y="338"/>
                </a:lnTo>
                <a:lnTo>
                  <a:pt x="98" y="335"/>
                </a:lnTo>
                <a:lnTo>
                  <a:pt x="109" y="335"/>
                </a:lnTo>
                <a:lnTo>
                  <a:pt x="113" y="336"/>
                </a:lnTo>
                <a:lnTo>
                  <a:pt x="119" y="338"/>
                </a:lnTo>
                <a:lnTo>
                  <a:pt x="119" y="338"/>
                </a:lnTo>
                <a:lnTo>
                  <a:pt x="122" y="343"/>
                </a:lnTo>
                <a:lnTo>
                  <a:pt x="126" y="349"/>
                </a:lnTo>
                <a:lnTo>
                  <a:pt x="126" y="357"/>
                </a:lnTo>
                <a:lnTo>
                  <a:pt x="126" y="364"/>
                </a:lnTo>
                <a:lnTo>
                  <a:pt x="126" y="380"/>
                </a:lnTo>
                <a:lnTo>
                  <a:pt x="126" y="387"/>
                </a:lnTo>
                <a:lnTo>
                  <a:pt x="126" y="393"/>
                </a:lnTo>
                <a:lnTo>
                  <a:pt x="126" y="393"/>
                </a:lnTo>
                <a:lnTo>
                  <a:pt x="128" y="397"/>
                </a:lnTo>
                <a:lnTo>
                  <a:pt x="132" y="400"/>
                </a:lnTo>
                <a:lnTo>
                  <a:pt x="135" y="403"/>
                </a:lnTo>
                <a:lnTo>
                  <a:pt x="140" y="404"/>
                </a:lnTo>
                <a:lnTo>
                  <a:pt x="150" y="408"/>
                </a:lnTo>
                <a:lnTo>
                  <a:pt x="162" y="411"/>
                </a:lnTo>
                <a:lnTo>
                  <a:pt x="173" y="416"/>
                </a:lnTo>
                <a:lnTo>
                  <a:pt x="179" y="418"/>
                </a:lnTo>
                <a:lnTo>
                  <a:pt x="182" y="420"/>
                </a:lnTo>
                <a:lnTo>
                  <a:pt x="187" y="425"/>
                </a:lnTo>
                <a:lnTo>
                  <a:pt x="189" y="430"/>
                </a:lnTo>
                <a:lnTo>
                  <a:pt x="191" y="434"/>
                </a:lnTo>
                <a:lnTo>
                  <a:pt x="193" y="441"/>
                </a:lnTo>
                <a:lnTo>
                  <a:pt x="193" y="441"/>
                </a:lnTo>
                <a:lnTo>
                  <a:pt x="193" y="454"/>
                </a:lnTo>
                <a:lnTo>
                  <a:pt x="195" y="470"/>
                </a:lnTo>
                <a:lnTo>
                  <a:pt x="199" y="488"/>
                </a:lnTo>
                <a:lnTo>
                  <a:pt x="205" y="507"/>
                </a:lnTo>
                <a:lnTo>
                  <a:pt x="212" y="525"/>
                </a:lnTo>
                <a:lnTo>
                  <a:pt x="220" y="541"/>
                </a:lnTo>
                <a:lnTo>
                  <a:pt x="225" y="548"/>
                </a:lnTo>
                <a:lnTo>
                  <a:pt x="229" y="554"/>
                </a:lnTo>
                <a:lnTo>
                  <a:pt x="234" y="558"/>
                </a:lnTo>
                <a:lnTo>
                  <a:pt x="240" y="562"/>
                </a:lnTo>
                <a:lnTo>
                  <a:pt x="240" y="562"/>
                </a:lnTo>
                <a:lnTo>
                  <a:pt x="249" y="564"/>
                </a:lnTo>
                <a:lnTo>
                  <a:pt x="257" y="567"/>
                </a:lnTo>
                <a:lnTo>
                  <a:pt x="262" y="570"/>
                </a:lnTo>
                <a:lnTo>
                  <a:pt x="266" y="575"/>
                </a:lnTo>
                <a:lnTo>
                  <a:pt x="269" y="580"/>
                </a:lnTo>
                <a:lnTo>
                  <a:pt x="271" y="586"/>
                </a:lnTo>
                <a:lnTo>
                  <a:pt x="273" y="599"/>
                </a:lnTo>
                <a:lnTo>
                  <a:pt x="273" y="599"/>
                </a:lnTo>
                <a:lnTo>
                  <a:pt x="275" y="610"/>
                </a:lnTo>
                <a:lnTo>
                  <a:pt x="280" y="619"/>
                </a:lnTo>
                <a:lnTo>
                  <a:pt x="286" y="629"/>
                </a:lnTo>
                <a:lnTo>
                  <a:pt x="293" y="636"/>
                </a:lnTo>
                <a:lnTo>
                  <a:pt x="302" y="641"/>
                </a:lnTo>
                <a:lnTo>
                  <a:pt x="311" y="646"/>
                </a:lnTo>
                <a:lnTo>
                  <a:pt x="321" y="649"/>
                </a:lnTo>
                <a:lnTo>
                  <a:pt x="332" y="651"/>
                </a:lnTo>
                <a:lnTo>
                  <a:pt x="332" y="651"/>
                </a:lnTo>
                <a:lnTo>
                  <a:pt x="343" y="649"/>
                </a:lnTo>
                <a:lnTo>
                  <a:pt x="353" y="647"/>
                </a:lnTo>
                <a:lnTo>
                  <a:pt x="373" y="639"/>
                </a:lnTo>
                <a:lnTo>
                  <a:pt x="382" y="636"/>
                </a:lnTo>
                <a:lnTo>
                  <a:pt x="393" y="632"/>
                </a:lnTo>
                <a:lnTo>
                  <a:pt x="404" y="630"/>
                </a:lnTo>
                <a:lnTo>
                  <a:pt x="416" y="629"/>
                </a:lnTo>
                <a:lnTo>
                  <a:pt x="416" y="629"/>
                </a:lnTo>
                <a:lnTo>
                  <a:pt x="425" y="629"/>
                </a:lnTo>
                <a:lnTo>
                  <a:pt x="433" y="631"/>
                </a:lnTo>
                <a:lnTo>
                  <a:pt x="439" y="633"/>
                </a:lnTo>
                <a:lnTo>
                  <a:pt x="445" y="637"/>
                </a:lnTo>
                <a:lnTo>
                  <a:pt x="449" y="640"/>
                </a:lnTo>
                <a:lnTo>
                  <a:pt x="454" y="645"/>
                </a:lnTo>
                <a:lnTo>
                  <a:pt x="460" y="654"/>
                </a:lnTo>
                <a:lnTo>
                  <a:pt x="465" y="664"/>
                </a:lnTo>
                <a:lnTo>
                  <a:pt x="471" y="675"/>
                </a:lnTo>
                <a:lnTo>
                  <a:pt x="475" y="679"/>
                </a:lnTo>
                <a:lnTo>
                  <a:pt x="479" y="684"/>
                </a:lnTo>
                <a:lnTo>
                  <a:pt x="484" y="687"/>
                </a:lnTo>
                <a:lnTo>
                  <a:pt x="489" y="691"/>
                </a:lnTo>
                <a:lnTo>
                  <a:pt x="489" y="691"/>
                </a:lnTo>
                <a:lnTo>
                  <a:pt x="552" y="691"/>
                </a:lnTo>
                <a:lnTo>
                  <a:pt x="552" y="691"/>
                </a:lnTo>
                <a:lnTo>
                  <a:pt x="552" y="691"/>
                </a:lnTo>
                <a:lnTo>
                  <a:pt x="559" y="698"/>
                </a:lnTo>
                <a:lnTo>
                  <a:pt x="564" y="706"/>
                </a:lnTo>
                <a:lnTo>
                  <a:pt x="570" y="715"/>
                </a:lnTo>
                <a:lnTo>
                  <a:pt x="575" y="725"/>
                </a:lnTo>
                <a:lnTo>
                  <a:pt x="582" y="747"/>
                </a:lnTo>
                <a:lnTo>
                  <a:pt x="588" y="769"/>
                </a:lnTo>
                <a:lnTo>
                  <a:pt x="593" y="779"/>
                </a:lnTo>
                <a:lnTo>
                  <a:pt x="598" y="790"/>
                </a:lnTo>
                <a:lnTo>
                  <a:pt x="602" y="799"/>
                </a:lnTo>
                <a:lnTo>
                  <a:pt x="609" y="807"/>
                </a:lnTo>
                <a:lnTo>
                  <a:pt x="616" y="814"/>
                </a:lnTo>
                <a:lnTo>
                  <a:pt x="625" y="819"/>
                </a:lnTo>
                <a:lnTo>
                  <a:pt x="636" y="822"/>
                </a:lnTo>
                <a:lnTo>
                  <a:pt x="648" y="823"/>
                </a:lnTo>
                <a:lnTo>
                  <a:pt x="648" y="823"/>
                </a:lnTo>
                <a:lnTo>
                  <a:pt x="653" y="822"/>
                </a:lnTo>
                <a:lnTo>
                  <a:pt x="657" y="821"/>
                </a:lnTo>
                <a:lnTo>
                  <a:pt x="667" y="816"/>
                </a:lnTo>
                <a:lnTo>
                  <a:pt x="676" y="810"/>
                </a:lnTo>
                <a:lnTo>
                  <a:pt x="682" y="809"/>
                </a:lnTo>
                <a:lnTo>
                  <a:pt x="689" y="808"/>
                </a:lnTo>
                <a:lnTo>
                  <a:pt x="689" y="808"/>
                </a:lnTo>
                <a:lnTo>
                  <a:pt x="694" y="809"/>
                </a:lnTo>
                <a:lnTo>
                  <a:pt x="699" y="810"/>
                </a:lnTo>
                <a:lnTo>
                  <a:pt x="703" y="814"/>
                </a:lnTo>
                <a:lnTo>
                  <a:pt x="708" y="817"/>
                </a:lnTo>
                <a:lnTo>
                  <a:pt x="715" y="825"/>
                </a:lnTo>
                <a:lnTo>
                  <a:pt x="722" y="836"/>
                </a:lnTo>
                <a:lnTo>
                  <a:pt x="729" y="845"/>
                </a:lnTo>
                <a:lnTo>
                  <a:pt x="736" y="854"/>
                </a:lnTo>
                <a:lnTo>
                  <a:pt x="740" y="858"/>
                </a:lnTo>
                <a:lnTo>
                  <a:pt x="746" y="860"/>
                </a:lnTo>
                <a:lnTo>
                  <a:pt x="752" y="862"/>
                </a:lnTo>
                <a:lnTo>
                  <a:pt x="758" y="862"/>
                </a:lnTo>
                <a:lnTo>
                  <a:pt x="758" y="862"/>
                </a:lnTo>
                <a:lnTo>
                  <a:pt x="779" y="861"/>
                </a:lnTo>
                <a:lnTo>
                  <a:pt x="798" y="859"/>
                </a:lnTo>
                <a:lnTo>
                  <a:pt x="807" y="857"/>
                </a:lnTo>
                <a:lnTo>
                  <a:pt x="814" y="853"/>
                </a:lnTo>
                <a:lnTo>
                  <a:pt x="821" y="850"/>
                </a:lnTo>
                <a:lnTo>
                  <a:pt x="828" y="846"/>
                </a:lnTo>
                <a:lnTo>
                  <a:pt x="834" y="842"/>
                </a:lnTo>
                <a:lnTo>
                  <a:pt x="838" y="837"/>
                </a:lnTo>
                <a:lnTo>
                  <a:pt x="847" y="825"/>
                </a:lnTo>
                <a:lnTo>
                  <a:pt x="854" y="813"/>
                </a:lnTo>
                <a:lnTo>
                  <a:pt x="861" y="797"/>
                </a:lnTo>
                <a:lnTo>
                  <a:pt x="861" y="797"/>
                </a:lnTo>
                <a:lnTo>
                  <a:pt x="860" y="790"/>
                </a:lnTo>
                <a:lnTo>
                  <a:pt x="859" y="784"/>
                </a:lnTo>
                <a:lnTo>
                  <a:pt x="858" y="779"/>
                </a:lnTo>
                <a:lnTo>
                  <a:pt x="855" y="775"/>
                </a:lnTo>
                <a:lnTo>
                  <a:pt x="853" y="771"/>
                </a:lnTo>
                <a:lnTo>
                  <a:pt x="850" y="769"/>
                </a:lnTo>
                <a:lnTo>
                  <a:pt x="843" y="764"/>
                </a:lnTo>
                <a:lnTo>
                  <a:pt x="828" y="759"/>
                </a:lnTo>
                <a:lnTo>
                  <a:pt x="822" y="755"/>
                </a:lnTo>
                <a:lnTo>
                  <a:pt x="819" y="753"/>
                </a:lnTo>
                <a:lnTo>
                  <a:pt x="816" y="749"/>
                </a:lnTo>
                <a:lnTo>
                  <a:pt x="816" y="749"/>
                </a:lnTo>
                <a:lnTo>
                  <a:pt x="815" y="746"/>
                </a:lnTo>
                <a:lnTo>
                  <a:pt x="815" y="744"/>
                </a:lnTo>
                <a:lnTo>
                  <a:pt x="816" y="737"/>
                </a:lnTo>
                <a:lnTo>
                  <a:pt x="816" y="730"/>
                </a:lnTo>
                <a:lnTo>
                  <a:pt x="815" y="726"/>
                </a:lnTo>
                <a:lnTo>
                  <a:pt x="813" y="724"/>
                </a:lnTo>
                <a:lnTo>
                  <a:pt x="813" y="724"/>
                </a:lnTo>
                <a:lnTo>
                  <a:pt x="811" y="720"/>
                </a:lnTo>
                <a:lnTo>
                  <a:pt x="806" y="717"/>
                </a:lnTo>
                <a:lnTo>
                  <a:pt x="796" y="713"/>
                </a:lnTo>
                <a:lnTo>
                  <a:pt x="785" y="708"/>
                </a:lnTo>
                <a:lnTo>
                  <a:pt x="782" y="706"/>
                </a:lnTo>
                <a:lnTo>
                  <a:pt x="781" y="702"/>
                </a:lnTo>
                <a:lnTo>
                  <a:pt x="781" y="702"/>
                </a:lnTo>
                <a:lnTo>
                  <a:pt x="781" y="699"/>
                </a:lnTo>
                <a:lnTo>
                  <a:pt x="782" y="697"/>
                </a:lnTo>
                <a:lnTo>
                  <a:pt x="785" y="691"/>
                </a:lnTo>
                <a:lnTo>
                  <a:pt x="790" y="685"/>
                </a:lnTo>
                <a:lnTo>
                  <a:pt x="791" y="683"/>
                </a:lnTo>
                <a:lnTo>
                  <a:pt x="791" y="679"/>
                </a:lnTo>
                <a:lnTo>
                  <a:pt x="791" y="679"/>
                </a:lnTo>
                <a:lnTo>
                  <a:pt x="790" y="672"/>
                </a:lnTo>
                <a:lnTo>
                  <a:pt x="787" y="668"/>
                </a:lnTo>
                <a:lnTo>
                  <a:pt x="784" y="663"/>
                </a:lnTo>
                <a:lnTo>
                  <a:pt x="781" y="660"/>
                </a:lnTo>
                <a:lnTo>
                  <a:pt x="776" y="657"/>
                </a:lnTo>
                <a:lnTo>
                  <a:pt x="773" y="654"/>
                </a:lnTo>
                <a:lnTo>
                  <a:pt x="770" y="649"/>
                </a:lnTo>
                <a:lnTo>
                  <a:pt x="769" y="644"/>
                </a:lnTo>
                <a:lnTo>
                  <a:pt x="769" y="644"/>
                </a:lnTo>
                <a:lnTo>
                  <a:pt x="773" y="617"/>
                </a:lnTo>
                <a:lnTo>
                  <a:pt x="773" y="617"/>
                </a:lnTo>
                <a:lnTo>
                  <a:pt x="773" y="617"/>
                </a:lnTo>
                <a:lnTo>
                  <a:pt x="792" y="599"/>
                </a:lnTo>
                <a:lnTo>
                  <a:pt x="801" y="590"/>
                </a:lnTo>
                <a:lnTo>
                  <a:pt x="805" y="586"/>
                </a:lnTo>
                <a:lnTo>
                  <a:pt x="806" y="585"/>
                </a:lnTo>
                <a:lnTo>
                  <a:pt x="806" y="585"/>
                </a:lnTo>
                <a:lnTo>
                  <a:pt x="806" y="579"/>
                </a:lnTo>
                <a:lnTo>
                  <a:pt x="804" y="576"/>
                </a:lnTo>
                <a:lnTo>
                  <a:pt x="801" y="571"/>
                </a:lnTo>
                <a:lnTo>
                  <a:pt x="799" y="568"/>
                </a:lnTo>
                <a:lnTo>
                  <a:pt x="791" y="560"/>
                </a:lnTo>
                <a:lnTo>
                  <a:pt x="783" y="554"/>
                </a:lnTo>
                <a:lnTo>
                  <a:pt x="773" y="549"/>
                </a:lnTo>
                <a:lnTo>
                  <a:pt x="764" y="547"/>
                </a:lnTo>
                <a:lnTo>
                  <a:pt x="756" y="545"/>
                </a:lnTo>
                <a:lnTo>
                  <a:pt x="751" y="544"/>
                </a:lnTo>
                <a:lnTo>
                  <a:pt x="751" y="544"/>
                </a:lnTo>
                <a:lnTo>
                  <a:pt x="724" y="544"/>
                </a:lnTo>
                <a:lnTo>
                  <a:pt x="724" y="544"/>
                </a:lnTo>
                <a:lnTo>
                  <a:pt x="717" y="545"/>
                </a:lnTo>
                <a:lnTo>
                  <a:pt x="712" y="545"/>
                </a:lnTo>
                <a:lnTo>
                  <a:pt x="709" y="544"/>
                </a:lnTo>
                <a:lnTo>
                  <a:pt x="708" y="542"/>
                </a:lnTo>
                <a:lnTo>
                  <a:pt x="707" y="540"/>
                </a:lnTo>
                <a:lnTo>
                  <a:pt x="707" y="537"/>
                </a:lnTo>
                <a:lnTo>
                  <a:pt x="707" y="537"/>
                </a:lnTo>
                <a:lnTo>
                  <a:pt x="698" y="544"/>
                </a:lnTo>
                <a:lnTo>
                  <a:pt x="689" y="552"/>
                </a:lnTo>
                <a:lnTo>
                  <a:pt x="669" y="573"/>
                </a:lnTo>
                <a:lnTo>
                  <a:pt x="659" y="583"/>
                </a:lnTo>
                <a:lnTo>
                  <a:pt x="649" y="592"/>
                </a:lnTo>
                <a:lnTo>
                  <a:pt x="639" y="596"/>
                </a:lnTo>
                <a:lnTo>
                  <a:pt x="634" y="599"/>
                </a:lnTo>
                <a:lnTo>
                  <a:pt x="630" y="599"/>
                </a:lnTo>
                <a:lnTo>
                  <a:pt x="630" y="599"/>
                </a:lnTo>
                <a:lnTo>
                  <a:pt x="624" y="599"/>
                </a:lnTo>
                <a:lnTo>
                  <a:pt x="618" y="598"/>
                </a:lnTo>
                <a:lnTo>
                  <a:pt x="614" y="595"/>
                </a:lnTo>
                <a:lnTo>
                  <a:pt x="609" y="593"/>
                </a:lnTo>
                <a:lnTo>
                  <a:pt x="602" y="587"/>
                </a:lnTo>
                <a:lnTo>
                  <a:pt x="596" y="580"/>
                </a:lnTo>
                <a:lnTo>
                  <a:pt x="591" y="573"/>
                </a:lnTo>
                <a:lnTo>
                  <a:pt x="584" y="568"/>
                </a:lnTo>
                <a:lnTo>
                  <a:pt x="580" y="565"/>
                </a:lnTo>
                <a:lnTo>
                  <a:pt x="576" y="563"/>
                </a:lnTo>
                <a:lnTo>
                  <a:pt x="572" y="562"/>
                </a:lnTo>
                <a:lnTo>
                  <a:pt x="567" y="562"/>
                </a:lnTo>
                <a:lnTo>
                  <a:pt x="567" y="562"/>
                </a:lnTo>
                <a:lnTo>
                  <a:pt x="562" y="562"/>
                </a:lnTo>
                <a:lnTo>
                  <a:pt x="557" y="564"/>
                </a:lnTo>
                <a:lnTo>
                  <a:pt x="550" y="568"/>
                </a:lnTo>
                <a:lnTo>
                  <a:pt x="542" y="571"/>
                </a:lnTo>
                <a:lnTo>
                  <a:pt x="539" y="572"/>
                </a:lnTo>
                <a:lnTo>
                  <a:pt x="533" y="573"/>
                </a:lnTo>
                <a:lnTo>
                  <a:pt x="533" y="573"/>
                </a:lnTo>
                <a:lnTo>
                  <a:pt x="529" y="572"/>
                </a:lnTo>
                <a:lnTo>
                  <a:pt x="522" y="569"/>
                </a:lnTo>
                <a:lnTo>
                  <a:pt x="504" y="560"/>
                </a:lnTo>
                <a:lnTo>
                  <a:pt x="489" y="550"/>
                </a:lnTo>
                <a:lnTo>
                  <a:pt x="485" y="546"/>
                </a:lnTo>
                <a:lnTo>
                  <a:pt x="483" y="544"/>
                </a:lnTo>
                <a:lnTo>
                  <a:pt x="483" y="544"/>
                </a:lnTo>
                <a:lnTo>
                  <a:pt x="484" y="535"/>
                </a:lnTo>
                <a:lnTo>
                  <a:pt x="485" y="530"/>
                </a:lnTo>
                <a:lnTo>
                  <a:pt x="488" y="525"/>
                </a:lnTo>
                <a:lnTo>
                  <a:pt x="492" y="522"/>
                </a:lnTo>
                <a:lnTo>
                  <a:pt x="495" y="518"/>
                </a:lnTo>
                <a:lnTo>
                  <a:pt x="498" y="514"/>
                </a:lnTo>
                <a:lnTo>
                  <a:pt x="500" y="508"/>
                </a:lnTo>
                <a:lnTo>
                  <a:pt x="501" y="500"/>
                </a:lnTo>
                <a:lnTo>
                  <a:pt x="501" y="500"/>
                </a:lnTo>
                <a:lnTo>
                  <a:pt x="500" y="492"/>
                </a:lnTo>
                <a:lnTo>
                  <a:pt x="498" y="486"/>
                </a:lnTo>
                <a:lnTo>
                  <a:pt x="494" y="481"/>
                </a:lnTo>
                <a:lnTo>
                  <a:pt x="489" y="477"/>
                </a:lnTo>
                <a:lnTo>
                  <a:pt x="483" y="469"/>
                </a:lnTo>
                <a:lnTo>
                  <a:pt x="480" y="464"/>
                </a:lnTo>
                <a:lnTo>
                  <a:pt x="479" y="460"/>
                </a:lnTo>
                <a:lnTo>
                  <a:pt x="479" y="460"/>
                </a:lnTo>
                <a:lnTo>
                  <a:pt x="479" y="456"/>
                </a:lnTo>
                <a:lnTo>
                  <a:pt x="480" y="454"/>
                </a:lnTo>
                <a:lnTo>
                  <a:pt x="485" y="449"/>
                </a:lnTo>
                <a:lnTo>
                  <a:pt x="492" y="446"/>
                </a:lnTo>
                <a:lnTo>
                  <a:pt x="499" y="442"/>
                </a:lnTo>
                <a:lnTo>
                  <a:pt x="507" y="439"/>
                </a:lnTo>
                <a:lnTo>
                  <a:pt x="512" y="435"/>
                </a:lnTo>
                <a:lnTo>
                  <a:pt x="515" y="433"/>
                </a:lnTo>
                <a:lnTo>
                  <a:pt x="517" y="430"/>
                </a:lnTo>
                <a:lnTo>
                  <a:pt x="518" y="426"/>
                </a:lnTo>
                <a:lnTo>
                  <a:pt x="519" y="423"/>
                </a:lnTo>
                <a:lnTo>
                  <a:pt x="519" y="423"/>
                </a:lnTo>
                <a:lnTo>
                  <a:pt x="518" y="417"/>
                </a:lnTo>
                <a:lnTo>
                  <a:pt x="516" y="411"/>
                </a:lnTo>
                <a:lnTo>
                  <a:pt x="511" y="404"/>
                </a:lnTo>
                <a:lnTo>
                  <a:pt x="507" y="399"/>
                </a:lnTo>
                <a:lnTo>
                  <a:pt x="502" y="394"/>
                </a:lnTo>
                <a:lnTo>
                  <a:pt x="498" y="389"/>
                </a:lnTo>
                <a:lnTo>
                  <a:pt x="493" y="387"/>
                </a:lnTo>
                <a:lnTo>
                  <a:pt x="489" y="386"/>
                </a:lnTo>
                <a:lnTo>
                  <a:pt x="489" y="386"/>
                </a:lnTo>
                <a:lnTo>
                  <a:pt x="486" y="386"/>
                </a:lnTo>
                <a:lnTo>
                  <a:pt x="483" y="388"/>
                </a:lnTo>
                <a:lnTo>
                  <a:pt x="477" y="393"/>
                </a:lnTo>
                <a:lnTo>
                  <a:pt x="470" y="399"/>
                </a:lnTo>
                <a:lnTo>
                  <a:pt x="465" y="400"/>
                </a:lnTo>
                <a:lnTo>
                  <a:pt x="461" y="401"/>
                </a:lnTo>
                <a:lnTo>
                  <a:pt x="461" y="401"/>
                </a:lnTo>
                <a:lnTo>
                  <a:pt x="457" y="400"/>
                </a:lnTo>
                <a:lnTo>
                  <a:pt x="454" y="397"/>
                </a:lnTo>
                <a:lnTo>
                  <a:pt x="453" y="395"/>
                </a:lnTo>
                <a:lnTo>
                  <a:pt x="451" y="392"/>
                </a:lnTo>
                <a:lnTo>
                  <a:pt x="450" y="381"/>
                </a:lnTo>
                <a:lnTo>
                  <a:pt x="449" y="371"/>
                </a:lnTo>
                <a:lnTo>
                  <a:pt x="449" y="371"/>
                </a:lnTo>
                <a:lnTo>
                  <a:pt x="449" y="338"/>
                </a:lnTo>
                <a:lnTo>
                  <a:pt x="449" y="338"/>
                </a:lnTo>
                <a:lnTo>
                  <a:pt x="449" y="321"/>
                </a:lnTo>
                <a:lnTo>
                  <a:pt x="447" y="306"/>
                </a:lnTo>
                <a:lnTo>
                  <a:pt x="445" y="293"/>
                </a:lnTo>
                <a:lnTo>
                  <a:pt x="440" y="280"/>
                </a:lnTo>
                <a:lnTo>
                  <a:pt x="437" y="268"/>
                </a:lnTo>
                <a:lnTo>
                  <a:pt x="431" y="258"/>
                </a:lnTo>
                <a:lnTo>
                  <a:pt x="420" y="236"/>
                </a:lnTo>
                <a:lnTo>
                  <a:pt x="409" y="214"/>
                </a:lnTo>
                <a:lnTo>
                  <a:pt x="404" y="203"/>
                </a:lnTo>
                <a:lnTo>
                  <a:pt x="400" y="190"/>
                </a:lnTo>
                <a:lnTo>
                  <a:pt x="396" y="178"/>
                </a:lnTo>
                <a:lnTo>
                  <a:pt x="394" y="163"/>
                </a:lnTo>
                <a:lnTo>
                  <a:pt x="392" y="147"/>
                </a:lnTo>
                <a:lnTo>
                  <a:pt x="391" y="128"/>
                </a:lnTo>
                <a:lnTo>
                  <a:pt x="391" y="128"/>
                </a:lnTo>
                <a:lnTo>
                  <a:pt x="389" y="120"/>
                </a:lnTo>
                <a:lnTo>
                  <a:pt x="387" y="110"/>
                </a:lnTo>
                <a:lnTo>
                  <a:pt x="385" y="100"/>
                </a:lnTo>
                <a:lnTo>
                  <a:pt x="384" y="91"/>
                </a:lnTo>
                <a:lnTo>
                  <a:pt x="384" y="91"/>
                </a:lnTo>
                <a:lnTo>
                  <a:pt x="380" y="88"/>
                </a:lnTo>
                <a:lnTo>
                  <a:pt x="377" y="84"/>
                </a:lnTo>
                <a:lnTo>
                  <a:pt x="367" y="76"/>
                </a:lnTo>
                <a:lnTo>
                  <a:pt x="364" y="72"/>
                </a:lnTo>
                <a:lnTo>
                  <a:pt x="361" y="67"/>
                </a:lnTo>
                <a:lnTo>
                  <a:pt x="358" y="61"/>
                </a:lnTo>
                <a:lnTo>
                  <a:pt x="357" y="56"/>
                </a:lnTo>
                <a:lnTo>
                  <a:pt x="357" y="56"/>
                </a:lnTo>
                <a:lnTo>
                  <a:pt x="358" y="50"/>
                </a:lnTo>
                <a:lnTo>
                  <a:pt x="359" y="46"/>
                </a:lnTo>
                <a:lnTo>
                  <a:pt x="365" y="38"/>
                </a:lnTo>
                <a:lnTo>
                  <a:pt x="371" y="31"/>
                </a:lnTo>
                <a:lnTo>
                  <a:pt x="374" y="27"/>
                </a:lnTo>
                <a:lnTo>
                  <a:pt x="377" y="22"/>
                </a:lnTo>
                <a:lnTo>
                  <a:pt x="377" y="22"/>
                </a:lnTo>
                <a:lnTo>
                  <a:pt x="370" y="20"/>
                </a:lnTo>
                <a:lnTo>
                  <a:pt x="364" y="16"/>
                </a:lnTo>
                <a:lnTo>
                  <a:pt x="354" y="10"/>
                </a:lnTo>
                <a:lnTo>
                  <a:pt x="349" y="6"/>
                </a:lnTo>
                <a:lnTo>
                  <a:pt x="344" y="3"/>
                </a:lnTo>
                <a:lnTo>
                  <a:pt x="339" y="0"/>
                </a:lnTo>
                <a:lnTo>
                  <a:pt x="332" y="0"/>
                </a:lnTo>
                <a:lnTo>
                  <a:pt x="332" y="0"/>
                </a:lnTo>
                <a:lnTo>
                  <a:pt x="327" y="0"/>
                </a:lnTo>
                <a:lnTo>
                  <a:pt x="323" y="2"/>
                </a:lnTo>
                <a:lnTo>
                  <a:pt x="319" y="4"/>
                </a:lnTo>
                <a:lnTo>
                  <a:pt x="317" y="6"/>
                </a:lnTo>
                <a:lnTo>
                  <a:pt x="316" y="10"/>
                </a:lnTo>
                <a:lnTo>
                  <a:pt x="313" y="13"/>
                </a:lnTo>
                <a:lnTo>
                  <a:pt x="312" y="22"/>
                </a:lnTo>
                <a:lnTo>
                  <a:pt x="311" y="41"/>
                </a:lnTo>
                <a:lnTo>
                  <a:pt x="309" y="49"/>
                </a:lnTo>
                <a:lnTo>
                  <a:pt x="308" y="52"/>
                </a:lnTo>
                <a:lnTo>
                  <a:pt x="307" y="56"/>
                </a:lnTo>
                <a:lnTo>
                  <a:pt x="307" y="56"/>
                </a:lnTo>
                <a:lnTo>
                  <a:pt x="301" y="63"/>
                </a:lnTo>
                <a:lnTo>
                  <a:pt x="294" y="67"/>
                </a:lnTo>
                <a:lnTo>
                  <a:pt x="287" y="72"/>
                </a:lnTo>
                <a:lnTo>
                  <a:pt x="281" y="75"/>
                </a:lnTo>
                <a:lnTo>
                  <a:pt x="274" y="77"/>
                </a:lnTo>
                <a:lnTo>
                  <a:pt x="269" y="81"/>
                </a:lnTo>
                <a:lnTo>
                  <a:pt x="263" y="86"/>
                </a:lnTo>
                <a:lnTo>
                  <a:pt x="258" y="91"/>
                </a:lnTo>
                <a:lnTo>
                  <a:pt x="258" y="91"/>
                </a:lnTo>
                <a:lnTo>
                  <a:pt x="251" y="100"/>
                </a:lnTo>
                <a:lnTo>
                  <a:pt x="244" y="112"/>
                </a:lnTo>
                <a:lnTo>
                  <a:pt x="237" y="124"/>
                </a:lnTo>
                <a:lnTo>
                  <a:pt x="229" y="135"/>
                </a:lnTo>
                <a:lnTo>
                  <a:pt x="221" y="145"/>
                </a:lnTo>
                <a:lnTo>
                  <a:pt x="217" y="150"/>
                </a:lnTo>
                <a:lnTo>
                  <a:pt x="212" y="153"/>
                </a:lnTo>
                <a:lnTo>
                  <a:pt x="206" y="157"/>
                </a:lnTo>
                <a:lnTo>
                  <a:pt x="199" y="159"/>
                </a:lnTo>
                <a:lnTo>
                  <a:pt x="193" y="161"/>
                </a:lnTo>
                <a:lnTo>
                  <a:pt x="185" y="161"/>
                </a:lnTo>
                <a:lnTo>
                  <a:pt x="185" y="161"/>
                </a:lnTo>
                <a:lnTo>
                  <a:pt x="179" y="163"/>
                </a:lnTo>
                <a:lnTo>
                  <a:pt x="172" y="164"/>
                </a:lnTo>
                <a:lnTo>
                  <a:pt x="165" y="166"/>
                </a:lnTo>
                <a:lnTo>
                  <a:pt x="159" y="170"/>
                </a:lnTo>
                <a:lnTo>
                  <a:pt x="148" y="179"/>
                </a:lnTo>
                <a:lnTo>
                  <a:pt x="137" y="189"/>
                </a:lnTo>
                <a:lnTo>
                  <a:pt x="119" y="211"/>
                </a:lnTo>
                <a:lnTo>
                  <a:pt x="111" y="221"/>
                </a:lnTo>
                <a:lnTo>
                  <a:pt x="104" y="228"/>
                </a:lnTo>
                <a:lnTo>
                  <a:pt x="104" y="228"/>
                </a:lnTo>
                <a:lnTo>
                  <a:pt x="98" y="232"/>
                </a:lnTo>
                <a:lnTo>
                  <a:pt x="91" y="235"/>
                </a:lnTo>
                <a:lnTo>
                  <a:pt x="78" y="239"/>
                </a:lnTo>
                <a:lnTo>
                  <a:pt x="48" y="244"/>
                </a:lnTo>
                <a:lnTo>
                  <a:pt x="34" y="248"/>
                </a:lnTo>
                <a:lnTo>
                  <a:pt x="28" y="250"/>
                </a:lnTo>
                <a:lnTo>
                  <a:pt x="22" y="252"/>
                </a:lnTo>
                <a:lnTo>
                  <a:pt x="18" y="256"/>
                </a:lnTo>
                <a:lnTo>
                  <a:pt x="13" y="260"/>
                </a:lnTo>
                <a:lnTo>
                  <a:pt x="11" y="266"/>
                </a:lnTo>
                <a:lnTo>
                  <a:pt x="8" y="272"/>
                </a:lnTo>
                <a:lnTo>
                  <a:pt x="8" y="272"/>
                </a:lnTo>
                <a:lnTo>
                  <a:pt x="0" y="279"/>
                </a:lnTo>
                <a:lnTo>
                  <a:pt x="0" y="27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8" name="Freeform 63"/>
          <p:cNvSpPr>
            <a:spLocks/>
          </p:cNvSpPr>
          <p:nvPr/>
        </p:nvSpPr>
        <p:spPr bwMode="auto">
          <a:xfrm>
            <a:off x="1458913" y="4119563"/>
            <a:ext cx="509587" cy="384175"/>
          </a:xfrm>
          <a:custGeom>
            <a:avLst/>
            <a:gdLst/>
            <a:ahLst/>
            <a:cxnLst>
              <a:cxn ang="0">
                <a:pos x="278" y="422"/>
              </a:cxn>
              <a:cxn ang="0">
                <a:pos x="302" y="404"/>
              </a:cxn>
              <a:cxn ang="0">
                <a:pos x="333" y="384"/>
              </a:cxn>
              <a:cxn ang="0">
                <a:pos x="340" y="368"/>
              </a:cxn>
              <a:cxn ang="0">
                <a:pos x="347" y="328"/>
              </a:cxn>
              <a:cxn ang="0">
                <a:pos x="361" y="315"/>
              </a:cxn>
              <a:cxn ang="0">
                <a:pos x="386" y="311"/>
              </a:cxn>
              <a:cxn ang="0">
                <a:pos x="371" y="264"/>
              </a:cxn>
              <a:cxn ang="0">
                <a:pos x="374" y="244"/>
              </a:cxn>
              <a:cxn ang="0">
                <a:pos x="394" y="217"/>
              </a:cxn>
              <a:cxn ang="0">
                <a:pos x="445" y="201"/>
              </a:cxn>
              <a:cxn ang="0">
                <a:pos x="463" y="206"/>
              </a:cxn>
              <a:cxn ang="0">
                <a:pos x="488" y="223"/>
              </a:cxn>
              <a:cxn ang="0">
                <a:pos x="489" y="213"/>
              </a:cxn>
              <a:cxn ang="0">
                <a:pos x="517" y="177"/>
              </a:cxn>
              <a:cxn ang="0">
                <a:pos x="547" y="164"/>
              </a:cxn>
              <a:cxn ang="0">
                <a:pos x="564" y="172"/>
              </a:cxn>
              <a:cxn ang="0">
                <a:pos x="580" y="179"/>
              </a:cxn>
              <a:cxn ang="0">
                <a:pos x="604" y="166"/>
              </a:cxn>
              <a:cxn ang="0">
                <a:pos x="624" y="161"/>
              </a:cxn>
              <a:cxn ang="0">
                <a:pos x="610" y="126"/>
              </a:cxn>
              <a:cxn ang="0">
                <a:pos x="562" y="62"/>
              </a:cxn>
              <a:cxn ang="0">
                <a:pos x="515" y="53"/>
              </a:cxn>
              <a:cxn ang="0">
                <a:pos x="501" y="46"/>
              </a:cxn>
              <a:cxn ang="0">
                <a:pos x="489" y="12"/>
              </a:cxn>
              <a:cxn ang="0">
                <a:pos x="476" y="0"/>
              </a:cxn>
              <a:cxn ang="0">
                <a:pos x="462" y="1"/>
              </a:cxn>
              <a:cxn ang="0">
                <a:pos x="433" y="24"/>
              </a:cxn>
              <a:cxn ang="0">
                <a:pos x="404" y="35"/>
              </a:cxn>
              <a:cxn ang="0">
                <a:pos x="355" y="32"/>
              </a:cxn>
              <a:cxn ang="0">
                <a:pos x="301" y="28"/>
              </a:cxn>
              <a:cxn ang="0">
                <a:pos x="295" y="58"/>
              </a:cxn>
              <a:cxn ang="0">
                <a:pos x="267" y="76"/>
              </a:cxn>
              <a:cxn ang="0">
                <a:pos x="248" y="72"/>
              </a:cxn>
              <a:cxn ang="0">
                <a:pos x="233" y="55"/>
              </a:cxn>
              <a:cxn ang="0">
                <a:pos x="219" y="51"/>
              </a:cxn>
              <a:cxn ang="0">
                <a:pos x="194" y="76"/>
              </a:cxn>
              <a:cxn ang="0">
                <a:pos x="179" y="88"/>
              </a:cxn>
              <a:cxn ang="0">
                <a:pos x="164" y="115"/>
              </a:cxn>
              <a:cxn ang="0">
                <a:pos x="133" y="134"/>
              </a:cxn>
              <a:cxn ang="0">
                <a:pos x="53" y="153"/>
              </a:cxn>
              <a:cxn ang="0">
                <a:pos x="11" y="172"/>
              </a:cxn>
              <a:cxn ang="0">
                <a:pos x="0" y="194"/>
              </a:cxn>
              <a:cxn ang="0">
                <a:pos x="2" y="217"/>
              </a:cxn>
              <a:cxn ang="0">
                <a:pos x="16" y="231"/>
              </a:cxn>
              <a:cxn ang="0">
                <a:pos x="29" y="249"/>
              </a:cxn>
              <a:cxn ang="0">
                <a:pos x="19" y="262"/>
              </a:cxn>
              <a:cxn ang="0">
                <a:pos x="20" y="276"/>
              </a:cxn>
              <a:cxn ang="0">
                <a:pos x="42" y="293"/>
              </a:cxn>
              <a:cxn ang="0">
                <a:pos x="76" y="300"/>
              </a:cxn>
              <a:cxn ang="0">
                <a:pos x="96" y="311"/>
              </a:cxn>
              <a:cxn ang="0">
                <a:pos x="109" y="351"/>
              </a:cxn>
              <a:cxn ang="0">
                <a:pos x="111" y="398"/>
              </a:cxn>
              <a:cxn ang="0">
                <a:pos x="128" y="430"/>
              </a:cxn>
              <a:cxn ang="0">
                <a:pos x="150" y="439"/>
              </a:cxn>
              <a:cxn ang="0">
                <a:pos x="183" y="427"/>
              </a:cxn>
              <a:cxn ang="0">
                <a:pos x="234" y="401"/>
              </a:cxn>
              <a:cxn ang="0">
                <a:pos x="248" y="404"/>
              </a:cxn>
              <a:cxn ang="0">
                <a:pos x="275" y="432"/>
              </a:cxn>
            </a:cxnLst>
            <a:rect l="0" t="0" r="r" b="b"/>
            <a:pathLst>
              <a:path w="624" h="439">
                <a:moveTo>
                  <a:pt x="275" y="429"/>
                </a:moveTo>
                <a:lnTo>
                  <a:pt x="275" y="429"/>
                </a:lnTo>
                <a:lnTo>
                  <a:pt x="277" y="425"/>
                </a:lnTo>
                <a:lnTo>
                  <a:pt x="278" y="422"/>
                </a:lnTo>
                <a:lnTo>
                  <a:pt x="280" y="418"/>
                </a:lnTo>
                <a:lnTo>
                  <a:pt x="283" y="415"/>
                </a:lnTo>
                <a:lnTo>
                  <a:pt x="293" y="409"/>
                </a:lnTo>
                <a:lnTo>
                  <a:pt x="302" y="404"/>
                </a:lnTo>
                <a:lnTo>
                  <a:pt x="312" y="399"/>
                </a:lnTo>
                <a:lnTo>
                  <a:pt x="323" y="393"/>
                </a:lnTo>
                <a:lnTo>
                  <a:pt x="329" y="387"/>
                </a:lnTo>
                <a:lnTo>
                  <a:pt x="333" y="384"/>
                </a:lnTo>
                <a:lnTo>
                  <a:pt x="334" y="381"/>
                </a:lnTo>
                <a:lnTo>
                  <a:pt x="334" y="381"/>
                </a:lnTo>
                <a:lnTo>
                  <a:pt x="338" y="374"/>
                </a:lnTo>
                <a:lnTo>
                  <a:pt x="340" y="368"/>
                </a:lnTo>
                <a:lnTo>
                  <a:pt x="342" y="355"/>
                </a:lnTo>
                <a:lnTo>
                  <a:pt x="343" y="343"/>
                </a:lnTo>
                <a:lnTo>
                  <a:pt x="344" y="332"/>
                </a:lnTo>
                <a:lnTo>
                  <a:pt x="347" y="328"/>
                </a:lnTo>
                <a:lnTo>
                  <a:pt x="348" y="324"/>
                </a:lnTo>
                <a:lnTo>
                  <a:pt x="351" y="321"/>
                </a:lnTo>
                <a:lnTo>
                  <a:pt x="355" y="317"/>
                </a:lnTo>
                <a:lnTo>
                  <a:pt x="361" y="315"/>
                </a:lnTo>
                <a:lnTo>
                  <a:pt x="367" y="313"/>
                </a:lnTo>
                <a:lnTo>
                  <a:pt x="375" y="311"/>
                </a:lnTo>
                <a:lnTo>
                  <a:pt x="386" y="311"/>
                </a:lnTo>
                <a:lnTo>
                  <a:pt x="386" y="311"/>
                </a:lnTo>
                <a:lnTo>
                  <a:pt x="384" y="303"/>
                </a:lnTo>
                <a:lnTo>
                  <a:pt x="378" y="287"/>
                </a:lnTo>
                <a:lnTo>
                  <a:pt x="373" y="272"/>
                </a:lnTo>
                <a:lnTo>
                  <a:pt x="371" y="264"/>
                </a:lnTo>
                <a:lnTo>
                  <a:pt x="371" y="264"/>
                </a:lnTo>
                <a:lnTo>
                  <a:pt x="371" y="256"/>
                </a:lnTo>
                <a:lnTo>
                  <a:pt x="372" y="249"/>
                </a:lnTo>
                <a:lnTo>
                  <a:pt x="374" y="244"/>
                </a:lnTo>
                <a:lnTo>
                  <a:pt x="378" y="237"/>
                </a:lnTo>
                <a:lnTo>
                  <a:pt x="380" y="231"/>
                </a:lnTo>
                <a:lnTo>
                  <a:pt x="385" y="226"/>
                </a:lnTo>
                <a:lnTo>
                  <a:pt x="394" y="217"/>
                </a:lnTo>
                <a:lnTo>
                  <a:pt x="405" y="210"/>
                </a:lnTo>
                <a:lnTo>
                  <a:pt x="418" y="206"/>
                </a:lnTo>
                <a:lnTo>
                  <a:pt x="431" y="202"/>
                </a:lnTo>
                <a:lnTo>
                  <a:pt x="445" y="201"/>
                </a:lnTo>
                <a:lnTo>
                  <a:pt x="445" y="201"/>
                </a:lnTo>
                <a:lnTo>
                  <a:pt x="451" y="202"/>
                </a:lnTo>
                <a:lnTo>
                  <a:pt x="457" y="203"/>
                </a:lnTo>
                <a:lnTo>
                  <a:pt x="463" y="206"/>
                </a:lnTo>
                <a:lnTo>
                  <a:pt x="468" y="209"/>
                </a:lnTo>
                <a:lnTo>
                  <a:pt x="478" y="217"/>
                </a:lnTo>
                <a:lnTo>
                  <a:pt x="488" y="223"/>
                </a:lnTo>
                <a:lnTo>
                  <a:pt x="488" y="223"/>
                </a:lnTo>
                <a:lnTo>
                  <a:pt x="488" y="219"/>
                </a:lnTo>
                <a:lnTo>
                  <a:pt x="488" y="219"/>
                </a:lnTo>
                <a:lnTo>
                  <a:pt x="488" y="219"/>
                </a:lnTo>
                <a:lnTo>
                  <a:pt x="489" y="213"/>
                </a:lnTo>
                <a:lnTo>
                  <a:pt x="494" y="203"/>
                </a:lnTo>
                <a:lnTo>
                  <a:pt x="500" y="194"/>
                </a:lnTo>
                <a:lnTo>
                  <a:pt x="508" y="185"/>
                </a:lnTo>
                <a:lnTo>
                  <a:pt x="517" y="177"/>
                </a:lnTo>
                <a:lnTo>
                  <a:pt x="527" y="171"/>
                </a:lnTo>
                <a:lnTo>
                  <a:pt x="538" y="166"/>
                </a:lnTo>
                <a:lnTo>
                  <a:pt x="542" y="165"/>
                </a:lnTo>
                <a:lnTo>
                  <a:pt x="547" y="164"/>
                </a:lnTo>
                <a:lnTo>
                  <a:pt x="547" y="164"/>
                </a:lnTo>
                <a:lnTo>
                  <a:pt x="553" y="165"/>
                </a:lnTo>
                <a:lnTo>
                  <a:pt x="556" y="166"/>
                </a:lnTo>
                <a:lnTo>
                  <a:pt x="564" y="172"/>
                </a:lnTo>
                <a:lnTo>
                  <a:pt x="571" y="177"/>
                </a:lnTo>
                <a:lnTo>
                  <a:pt x="576" y="179"/>
                </a:lnTo>
                <a:lnTo>
                  <a:pt x="580" y="179"/>
                </a:lnTo>
                <a:lnTo>
                  <a:pt x="580" y="179"/>
                </a:lnTo>
                <a:lnTo>
                  <a:pt x="585" y="178"/>
                </a:lnTo>
                <a:lnTo>
                  <a:pt x="591" y="177"/>
                </a:lnTo>
                <a:lnTo>
                  <a:pt x="600" y="170"/>
                </a:lnTo>
                <a:lnTo>
                  <a:pt x="604" y="166"/>
                </a:lnTo>
                <a:lnTo>
                  <a:pt x="610" y="164"/>
                </a:lnTo>
                <a:lnTo>
                  <a:pt x="617" y="162"/>
                </a:lnTo>
                <a:lnTo>
                  <a:pt x="624" y="161"/>
                </a:lnTo>
                <a:lnTo>
                  <a:pt x="624" y="161"/>
                </a:lnTo>
                <a:lnTo>
                  <a:pt x="624" y="142"/>
                </a:lnTo>
                <a:lnTo>
                  <a:pt x="624" y="142"/>
                </a:lnTo>
                <a:lnTo>
                  <a:pt x="624" y="142"/>
                </a:lnTo>
                <a:lnTo>
                  <a:pt x="610" y="126"/>
                </a:lnTo>
                <a:lnTo>
                  <a:pt x="588" y="101"/>
                </a:lnTo>
                <a:lnTo>
                  <a:pt x="570" y="76"/>
                </a:lnTo>
                <a:lnTo>
                  <a:pt x="564" y="66"/>
                </a:lnTo>
                <a:lnTo>
                  <a:pt x="562" y="62"/>
                </a:lnTo>
                <a:lnTo>
                  <a:pt x="562" y="62"/>
                </a:lnTo>
                <a:lnTo>
                  <a:pt x="548" y="61"/>
                </a:lnTo>
                <a:lnTo>
                  <a:pt x="531" y="57"/>
                </a:lnTo>
                <a:lnTo>
                  <a:pt x="515" y="53"/>
                </a:lnTo>
                <a:lnTo>
                  <a:pt x="508" y="49"/>
                </a:lnTo>
                <a:lnTo>
                  <a:pt x="503" y="47"/>
                </a:lnTo>
                <a:lnTo>
                  <a:pt x="503" y="47"/>
                </a:lnTo>
                <a:lnTo>
                  <a:pt x="501" y="46"/>
                </a:lnTo>
                <a:lnTo>
                  <a:pt x="499" y="42"/>
                </a:lnTo>
                <a:lnTo>
                  <a:pt x="496" y="36"/>
                </a:lnTo>
                <a:lnTo>
                  <a:pt x="492" y="20"/>
                </a:lnTo>
                <a:lnTo>
                  <a:pt x="489" y="12"/>
                </a:lnTo>
                <a:lnTo>
                  <a:pt x="486" y="5"/>
                </a:lnTo>
                <a:lnTo>
                  <a:pt x="483" y="3"/>
                </a:lnTo>
                <a:lnTo>
                  <a:pt x="479" y="1"/>
                </a:lnTo>
                <a:lnTo>
                  <a:pt x="476" y="0"/>
                </a:lnTo>
                <a:lnTo>
                  <a:pt x="470" y="0"/>
                </a:lnTo>
                <a:lnTo>
                  <a:pt x="470" y="0"/>
                </a:lnTo>
                <a:lnTo>
                  <a:pt x="466" y="0"/>
                </a:lnTo>
                <a:lnTo>
                  <a:pt x="462" y="1"/>
                </a:lnTo>
                <a:lnTo>
                  <a:pt x="455" y="5"/>
                </a:lnTo>
                <a:lnTo>
                  <a:pt x="448" y="11"/>
                </a:lnTo>
                <a:lnTo>
                  <a:pt x="441" y="18"/>
                </a:lnTo>
                <a:lnTo>
                  <a:pt x="433" y="24"/>
                </a:lnTo>
                <a:lnTo>
                  <a:pt x="425" y="30"/>
                </a:lnTo>
                <a:lnTo>
                  <a:pt x="415" y="34"/>
                </a:lnTo>
                <a:lnTo>
                  <a:pt x="410" y="35"/>
                </a:lnTo>
                <a:lnTo>
                  <a:pt x="404" y="35"/>
                </a:lnTo>
                <a:lnTo>
                  <a:pt x="404" y="35"/>
                </a:lnTo>
                <a:lnTo>
                  <a:pt x="388" y="35"/>
                </a:lnTo>
                <a:lnTo>
                  <a:pt x="371" y="33"/>
                </a:lnTo>
                <a:lnTo>
                  <a:pt x="355" y="32"/>
                </a:lnTo>
                <a:lnTo>
                  <a:pt x="341" y="28"/>
                </a:lnTo>
                <a:lnTo>
                  <a:pt x="341" y="28"/>
                </a:lnTo>
                <a:lnTo>
                  <a:pt x="301" y="28"/>
                </a:lnTo>
                <a:lnTo>
                  <a:pt x="301" y="28"/>
                </a:lnTo>
                <a:lnTo>
                  <a:pt x="301" y="28"/>
                </a:lnTo>
                <a:lnTo>
                  <a:pt x="301" y="40"/>
                </a:lnTo>
                <a:lnTo>
                  <a:pt x="298" y="50"/>
                </a:lnTo>
                <a:lnTo>
                  <a:pt x="295" y="58"/>
                </a:lnTo>
                <a:lnTo>
                  <a:pt x="290" y="65"/>
                </a:lnTo>
                <a:lnTo>
                  <a:pt x="283" y="70"/>
                </a:lnTo>
                <a:lnTo>
                  <a:pt x="277" y="73"/>
                </a:lnTo>
                <a:lnTo>
                  <a:pt x="267" y="76"/>
                </a:lnTo>
                <a:lnTo>
                  <a:pt x="257" y="77"/>
                </a:lnTo>
                <a:lnTo>
                  <a:pt x="257" y="77"/>
                </a:lnTo>
                <a:lnTo>
                  <a:pt x="251" y="76"/>
                </a:lnTo>
                <a:lnTo>
                  <a:pt x="248" y="72"/>
                </a:lnTo>
                <a:lnTo>
                  <a:pt x="244" y="69"/>
                </a:lnTo>
                <a:lnTo>
                  <a:pt x="241" y="63"/>
                </a:lnTo>
                <a:lnTo>
                  <a:pt x="237" y="58"/>
                </a:lnTo>
                <a:lnTo>
                  <a:pt x="233" y="55"/>
                </a:lnTo>
                <a:lnTo>
                  <a:pt x="229" y="51"/>
                </a:lnTo>
                <a:lnTo>
                  <a:pt x="224" y="50"/>
                </a:lnTo>
                <a:lnTo>
                  <a:pt x="224" y="50"/>
                </a:lnTo>
                <a:lnTo>
                  <a:pt x="219" y="51"/>
                </a:lnTo>
                <a:lnTo>
                  <a:pt x="214" y="55"/>
                </a:lnTo>
                <a:lnTo>
                  <a:pt x="205" y="65"/>
                </a:lnTo>
                <a:lnTo>
                  <a:pt x="199" y="71"/>
                </a:lnTo>
                <a:lnTo>
                  <a:pt x="194" y="76"/>
                </a:lnTo>
                <a:lnTo>
                  <a:pt x="188" y="79"/>
                </a:lnTo>
                <a:lnTo>
                  <a:pt x="180" y="80"/>
                </a:lnTo>
                <a:lnTo>
                  <a:pt x="180" y="80"/>
                </a:lnTo>
                <a:lnTo>
                  <a:pt x="179" y="88"/>
                </a:lnTo>
                <a:lnTo>
                  <a:pt x="176" y="96"/>
                </a:lnTo>
                <a:lnTo>
                  <a:pt x="173" y="103"/>
                </a:lnTo>
                <a:lnTo>
                  <a:pt x="168" y="109"/>
                </a:lnTo>
                <a:lnTo>
                  <a:pt x="164" y="115"/>
                </a:lnTo>
                <a:lnTo>
                  <a:pt x="159" y="119"/>
                </a:lnTo>
                <a:lnTo>
                  <a:pt x="153" y="124"/>
                </a:lnTo>
                <a:lnTo>
                  <a:pt x="147" y="127"/>
                </a:lnTo>
                <a:lnTo>
                  <a:pt x="133" y="134"/>
                </a:lnTo>
                <a:lnTo>
                  <a:pt x="118" y="139"/>
                </a:lnTo>
                <a:lnTo>
                  <a:pt x="102" y="143"/>
                </a:lnTo>
                <a:lnTo>
                  <a:pt x="86" y="146"/>
                </a:lnTo>
                <a:lnTo>
                  <a:pt x="53" y="153"/>
                </a:lnTo>
                <a:lnTo>
                  <a:pt x="39" y="156"/>
                </a:lnTo>
                <a:lnTo>
                  <a:pt x="27" y="162"/>
                </a:lnTo>
                <a:lnTo>
                  <a:pt x="15" y="168"/>
                </a:lnTo>
                <a:lnTo>
                  <a:pt x="11" y="172"/>
                </a:lnTo>
                <a:lnTo>
                  <a:pt x="7" y="177"/>
                </a:lnTo>
                <a:lnTo>
                  <a:pt x="4" y="181"/>
                </a:lnTo>
                <a:lnTo>
                  <a:pt x="2" y="187"/>
                </a:lnTo>
                <a:lnTo>
                  <a:pt x="0" y="194"/>
                </a:lnTo>
                <a:lnTo>
                  <a:pt x="0" y="201"/>
                </a:lnTo>
                <a:lnTo>
                  <a:pt x="0" y="201"/>
                </a:lnTo>
                <a:lnTo>
                  <a:pt x="0" y="210"/>
                </a:lnTo>
                <a:lnTo>
                  <a:pt x="2" y="217"/>
                </a:lnTo>
                <a:lnTo>
                  <a:pt x="4" y="222"/>
                </a:lnTo>
                <a:lnTo>
                  <a:pt x="7" y="226"/>
                </a:lnTo>
                <a:lnTo>
                  <a:pt x="12" y="229"/>
                </a:lnTo>
                <a:lnTo>
                  <a:pt x="16" y="231"/>
                </a:lnTo>
                <a:lnTo>
                  <a:pt x="29" y="234"/>
                </a:lnTo>
                <a:lnTo>
                  <a:pt x="29" y="234"/>
                </a:lnTo>
                <a:lnTo>
                  <a:pt x="29" y="249"/>
                </a:lnTo>
                <a:lnTo>
                  <a:pt x="29" y="249"/>
                </a:lnTo>
                <a:lnTo>
                  <a:pt x="29" y="249"/>
                </a:lnTo>
                <a:lnTo>
                  <a:pt x="26" y="254"/>
                </a:lnTo>
                <a:lnTo>
                  <a:pt x="22" y="259"/>
                </a:lnTo>
                <a:lnTo>
                  <a:pt x="19" y="262"/>
                </a:lnTo>
                <a:lnTo>
                  <a:pt x="18" y="268"/>
                </a:lnTo>
                <a:lnTo>
                  <a:pt x="18" y="268"/>
                </a:lnTo>
                <a:lnTo>
                  <a:pt x="19" y="272"/>
                </a:lnTo>
                <a:lnTo>
                  <a:pt x="20" y="276"/>
                </a:lnTo>
                <a:lnTo>
                  <a:pt x="22" y="280"/>
                </a:lnTo>
                <a:lnTo>
                  <a:pt x="26" y="284"/>
                </a:lnTo>
                <a:lnTo>
                  <a:pt x="33" y="290"/>
                </a:lnTo>
                <a:lnTo>
                  <a:pt x="42" y="293"/>
                </a:lnTo>
                <a:lnTo>
                  <a:pt x="52" y="297"/>
                </a:lnTo>
                <a:lnTo>
                  <a:pt x="61" y="299"/>
                </a:lnTo>
                <a:lnTo>
                  <a:pt x="76" y="300"/>
                </a:lnTo>
                <a:lnTo>
                  <a:pt x="76" y="300"/>
                </a:lnTo>
                <a:lnTo>
                  <a:pt x="83" y="301"/>
                </a:lnTo>
                <a:lnTo>
                  <a:pt x="88" y="303"/>
                </a:lnTo>
                <a:lnTo>
                  <a:pt x="92" y="307"/>
                </a:lnTo>
                <a:lnTo>
                  <a:pt x="96" y="311"/>
                </a:lnTo>
                <a:lnTo>
                  <a:pt x="99" y="316"/>
                </a:lnTo>
                <a:lnTo>
                  <a:pt x="102" y="322"/>
                </a:lnTo>
                <a:lnTo>
                  <a:pt x="105" y="336"/>
                </a:lnTo>
                <a:lnTo>
                  <a:pt x="109" y="351"/>
                </a:lnTo>
                <a:lnTo>
                  <a:pt x="110" y="366"/>
                </a:lnTo>
                <a:lnTo>
                  <a:pt x="110" y="389"/>
                </a:lnTo>
                <a:lnTo>
                  <a:pt x="110" y="389"/>
                </a:lnTo>
                <a:lnTo>
                  <a:pt x="111" y="398"/>
                </a:lnTo>
                <a:lnTo>
                  <a:pt x="113" y="407"/>
                </a:lnTo>
                <a:lnTo>
                  <a:pt x="117" y="416"/>
                </a:lnTo>
                <a:lnTo>
                  <a:pt x="122" y="424"/>
                </a:lnTo>
                <a:lnTo>
                  <a:pt x="128" y="430"/>
                </a:lnTo>
                <a:lnTo>
                  <a:pt x="135" y="436"/>
                </a:lnTo>
                <a:lnTo>
                  <a:pt x="142" y="438"/>
                </a:lnTo>
                <a:lnTo>
                  <a:pt x="150" y="439"/>
                </a:lnTo>
                <a:lnTo>
                  <a:pt x="150" y="439"/>
                </a:lnTo>
                <a:lnTo>
                  <a:pt x="156" y="439"/>
                </a:lnTo>
                <a:lnTo>
                  <a:pt x="160" y="438"/>
                </a:lnTo>
                <a:lnTo>
                  <a:pt x="172" y="433"/>
                </a:lnTo>
                <a:lnTo>
                  <a:pt x="183" y="427"/>
                </a:lnTo>
                <a:lnTo>
                  <a:pt x="196" y="420"/>
                </a:lnTo>
                <a:lnTo>
                  <a:pt x="207" y="413"/>
                </a:lnTo>
                <a:lnTo>
                  <a:pt x="221" y="406"/>
                </a:lnTo>
                <a:lnTo>
                  <a:pt x="234" y="401"/>
                </a:lnTo>
                <a:lnTo>
                  <a:pt x="240" y="400"/>
                </a:lnTo>
                <a:lnTo>
                  <a:pt x="247" y="400"/>
                </a:lnTo>
                <a:lnTo>
                  <a:pt x="247" y="400"/>
                </a:lnTo>
                <a:lnTo>
                  <a:pt x="248" y="404"/>
                </a:lnTo>
                <a:lnTo>
                  <a:pt x="251" y="408"/>
                </a:lnTo>
                <a:lnTo>
                  <a:pt x="260" y="418"/>
                </a:lnTo>
                <a:lnTo>
                  <a:pt x="275" y="432"/>
                </a:lnTo>
                <a:lnTo>
                  <a:pt x="275" y="432"/>
                </a:lnTo>
                <a:lnTo>
                  <a:pt x="275" y="429"/>
                </a:lnTo>
                <a:lnTo>
                  <a:pt x="275" y="42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9" name="Freeform 64"/>
          <p:cNvSpPr>
            <a:spLocks/>
          </p:cNvSpPr>
          <p:nvPr/>
        </p:nvSpPr>
        <p:spPr bwMode="auto">
          <a:xfrm>
            <a:off x="1557338" y="3863975"/>
            <a:ext cx="515937" cy="309563"/>
          </a:xfrm>
          <a:custGeom>
            <a:avLst/>
            <a:gdLst/>
            <a:ahLst/>
            <a:cxnLst>
              <a:cxn ang="0">
                <a:pos x="599" y="167"/>
              </a:cxn>
              <a:cxn ang="0">
                <a:pos x="556" y="195"/>
              </a:cxn>
              <a:cxn ang="0">
                <a:pos x="527" y="200"/>
              </a:cxn>
              <a:cxn ang="0">
                <a:pos x="492" y="195"/>
              </a:cxn>
              <a:cxn ang="0">
                <a:pos x="439" y="162"/>
              </a:cxn>
              <a:cxn ang="0">
                <a:pos x="426" y="144"/>
              </a:cxn>
              <a:cxn ang="0">
                <a:pos x="351" y="86"/>
              </a:cxn>
              <a:cxn ang="0">
                <a:pos x="309" y="45"/>
              </a:cxn>
              <a:cxn ang="0">
                <a:pos x="299" y="17"/>
              </a:cxn>
              <a:cxn ang="0">
                <a:pos x="290" y="0"/>
              </a:cxn>
              <a:cxn ang="0">
                <a:pos x="276" y="22"/>
              </a:cxn>
              <a:cxn ang="0">
                <a:pos x="265" y="30"/>
              </a:cxn>
              <a:cxn ang="0">
                <a:pos x="227" y="14"/>
              </a:cxn>
              <a:cxn ang="0">
                <a:pos x="205" y="13"/>
              </a:cxn>
              <a:cxn ang="0">
                <a:pos x="180" y="27"/>
              </a:cxn>
              <a:cxn ang="0">
                <a:pos x="154" y="33"/>
              </a:cxn>
              <a:cxn ang="0">
                <a:pos x="121" y="76"/>
              </a:cxn>
              <a:cxn ang="0">
                <a:pos x="62" y="92"/>
              </a:cxn>
              <a:cxn ang="0">
                <a:pos x="55" y="114"/>
              </a:cxn>
              <a:cxn ang="0">
                <a:pos x="30" y="129"/>
              </a:cxn>
              <a:cxn ang="0">
                <a:pos x="6" y="139"/>
              </a:cxn>
              <a:cxn ang="0">
                <a:pos x="0" y="154"/>
              </a:cxn>
              <a:cxn ang="0">
                <a:pos x="17" y="173"/>
              </a:cxn>
              <a:cxn ang="0">
                <a:pos x="61" y="190"/>
              </a:cxn>
              <a:cxn ang="0">
                <a:pos x="85" y="189"/>
              </a:cxn>
              <a:cxn ang="0">
                <a:pos x="111" y="162"/>
              </a:cxn>
              <a:cxn ang="0">
                <a:pos x="121" y="199"/>
              </a:cxn>
              <a:cxn ang="0">
                <a:pos x="131" y="215"/>
              </a:cxn>
              <a:cxn ang="0">
                <a:pos x="169" y="237"/>
              </a:cxn>
              <a:cxn ang="0">
                <a:pos x="175" y="253"/>
              </a:cxn>
              <a:cxn ang="0">
                <a:pos x="161" y="250"/>
              </a:cxn>
              <a:cxn ang="0">
                <a:pos x="167" y="277"/>
              </a:cxn>
              <a:cxn ang="0">
                <a:pos x="195" y="289"/>
              </a:cxn>
              <a:cxn ang="0">
                <a:pos x="225" y="299"/>
              </a:cxn>
              <a:cxn ang="0">
                <a:pos x="235" y="323"/>
              </a:cxn>
              <a:cxn ang="0">
                <a:pos x="283" y="330"/>
              </a:cxn>
              <a:cxn ang="0">
                <a:pos x="304" y="325"/>
              </a:cxn>
              <a:cxn ang="0">
                <a:pos x="334" y="300"/>
              </a:cxn>
              <a:cxn ang="0">
                <a:pos x="349" y="295"/>
              </a:cxn>
              <a:cxn ang="0">
                <a:pos x="365" y="300"/>
              </a:cxn>
              <a:cxn ang="0">
                <a:pos x="378" y="337"/>
              </a:cxn>
              <a:cxn ang="0">
                <a:pos x="387" y="344"/>
              </a:cxn>
              <a:cxn ang="0">
                <a:pos x="441" y="357"/>
              </a:cxn>
              <a:cxn ang="0">
                <a:pos x="459" y="342"/>
              </a:cxn>
              <a:cxn ang="0">
                <a:pos x="471" y="326"/>
              </a:cxn>
              <a:cxn ang="0">
                <a:pos x="485" y="313"/>
              </a:cxn>
              <a:cxn ang="0">
                <a:pos x="531" y="315"/>
              </a:cxn>
              <a:cxn ang="0">
                <a:pos x="577" y="314"/>
              </a:cxn>
              <a:cxn ang="0">
                <a:pos x="599" y="298"/>
              </a:cxn>
              <a:cxn ang="0">
                <a:pos x="603" y="246"/>
              </a:cxn>
              <a:cxn ang="0">
                <a:pos x="628" y="152"/>
              </a:cxn>
              <a:cxn ang="0">
                <a:pos x="628" y="136"/>
              </a:cxn>
            </a:cxnLst>
            <a:rect l="0" t="0" r="r" b="b"/>
            <a:pathLst>
              <a:path w="632" h="357">
                <a:moveTo>
                  <a:pt x="628" y="136"/>
                </a:moveTo>
                <a:lnTo>
                  <a:pt x="628" y="136"/>
                </a:lnTo>
                <a:lnTo>
                  <a:pt x="609" y="158"/>
                </a:lnTo>
                <a:lnTo>
                  <a:pt x="599" y="167"/>
                </a:lnTo>
                <a:lnTo>
                  <a:pt x="589" y="176"/>
                </a:lnTo>
                <a:lnTo>
                  <a:pt x="578" y="183"/>
                </a:lnTo>
                <a:lnTo>
                  <a:pt x="567" y="190"/>
                </a:lnTo>
                <a:lnTo>
                  <a:pt x="556" y="195"/>
                </a:lnTo>
                <a:lnTo>
                  <a:pt x="543" y="198"/>
                </a:lnTo>
                <a:lnTo>
                  <a:pt x="543" y="198"/>
                </a:lnTo>
                <a:lnTo>
                  <a:pt x="535" y="200"/>
                </a:lnTo>
                <a:lnTo>
                  <a:pt x="527" y="200"/>
                </a:lnTo>
                <a:lnTo>
                  <a:pt x="518" y="200"/>
                </a:lnTo>
                <a:lnTo>
                  <a:pt x="509" y="199"/>
                </a:lnTo>
                <a:lnTo>
                  <a:pt x="500" y="197"/>
                </a:lnTo>
                <a:lnTo>
                  <a:pt x="492" y="195"/>
                </a:lnTo>
                <a:lnTo>
                  <a:pt x="474" y="188"/>
                </a:lnTo>
                <a:lnTo>
                  <a:pt x="458" y="178"/>
                </a:lnTo>
                <a:lnTo>
                  <a:pt x="444" y="168"/>
                </a:lnTo>
                <a:lnTo>
                  <a:pt x="439" y="162"/>
                </a:lnTo>
                <a:lnTo>
                  <a:pt x="434" y="157"/>
                </a:lnTo>
                <a:lnTo>
                  <a:pt x="429" y="150"/>
                </a:lnTo>
                <a:lnTo>
                  <a:pt x="426" y="144"/>
                </a:lnTo>
                <a:lnTo>
                  <a:pt x="426" y="144"/>
                </a:lnTo>
                <a:lnTo>
                  <a:pt x="411" y="130"/>
                </a:lnTo>
                <a:lnTo>
                  <a:pt x="396" y="117"/>
                </a:lnTo>
                <a:lnTo>
                  <a:pt x="366" y="97"/>
                </a:lnTo>
                <a:lnTo>
                  <a:pt x="351" y="86"/>
                </a:lnTo>
                <a:lnTo>
                  <a:pt x="336" y="75"/>
                </a:lnTo>
                <a:lnTo>
                  <a:pt x="322" y="61"/>
                </a:lnTo>
                <a:lnTo>
                  <a:pt x="309" y="45"/>
                </a:lnTo>
                <a:lnTo>
                  <a:pt x="309" y="45"/>
                </a:lnTo>
                <a:lnTo>
                  <a:pt x="305" y="39"/>
                </a:lnTo>
                <a:lnTo>
                  <a:pt x="303" y="33"/>
                </a:lnTo>
                <a:lnTo>
                  <a:pt x="301" y="22"/>
                </a:lnTo>
                <a:lnTo>
                  <a:pt x="299" y="17"/>
                </a:lnTo>
                <a:lnTo>
                  <a:pt x="298" y="12"/>
                </a:lnTo>
                <a:lnTo>
                  <a:pt x="295" y="6"/>
                </a:lnTo>
                <a:lnTo>
                  <a:pt x="290" y="0"/>
                </a:lnTo>
                <a:lnTo>
                  <a:pt x="290" y="0"/>
                </a:lnTo>
                <a:lnTo>
                  <a:pt x="287" y="4"/>
                </a:lnTo>
                <a:lnTo>
                  <a:pt x="283" y="8"/>
                </a:lnTo>
                <a:lnTo>
                  <a:pt x="279" y="17"/>
                </a:lnTo>
                <a:lnTo>
                  <a:pt x="276" y="22"/>
                </a:lnTo>
                <a:lnTo>
                  <a:pt x="273" y="27"/>
                </a:lnTo>
                <a:lnTo>
                  <a:pt x="269" y="29"/>
                </a:lnTo>
                <a:lnTo>
                  <a:pt x="265" y="30"/>
                </a:lnTo>
                <a:lnTo>
                  <a:pt x="265" y="30"/>
                </a:lnTo>
                <a:lnTo>
                  <a:pt x="258" y="29"/>
                </a:lnTo>
                <a:lnTo>
                  <a:pt x="251" y="27"/>
                </a:lnTo>
                <a:lnTo>
                  <a:pt x="240" y="21"/>
                </a:lnTo>
                <a:lnTo>
                  <a:pt x="227" y="14"/>
                </a:lnTo>
                <a:lnTo>
                  <a:pt x="220" y="13"/>
                </a:lnTo>
                <a:lnTo>
                  <a:pt x="213" y="12"/>
                </a:lnTo>
                <a:lnTo>
                  <a:pt x="213" y="12"/>
                </a:lnTo>
                <a:lnTo>
                  <a:pt x="205" y="13"/>
                </a:lnTo>
                <a:lnTo>
                  <a:pt x="197" y="15"/>
                </a:lnTo>
                <a:lnTo>
                  <a:pt x="191" y="18"/>
                </a:lnTo>
                <a:lnTo>
                  <a:pt x="185" y="22"/>
                </a:lnTo>
                <a:lnTo>
                  <a:pt x="180" y="27"/>
                </a:lnTo>
                <a:lnTo>
                  <a:pt x="173" y="30"/>
                </a:lnTo>
                <a:lnTo>
                  <a:pt x="165" y="32"/>
                </a:lnTo>
                <a:lnTo>
                  <a:pt x="154" y="33"/>
                </a:lnTo>
                <a:lnTo>
                  <a:pt x="154" y="33"/>
                </a:lnTo>
                <a:lnTo>
                  <a:pt x="150" y="46"/>
                </a:lnTo>
                <a:lnTo>
                  <a:pt x="142" y="58"/>
                </a:lnTo>
                <a:lnTo>
                  <a:pt x="133" y="68"/>
                </a:lnTo>
                <a:lnTo>
                  <a:pt x="121" y="76"/>
                </a:lnTo>
                <a:lnTo>
                  <a:pt x="108" y="83"/>
                </a:lnTo>
                <a:lnTo>
                  <a:pt x="93" y="89"/>
                </a:lnTo>
                <a:lnTo>
                  <a:pt x="78" y="91"/>
                </a:lnTo>
                <a:lnTo>
                  <a:pt x="62" y="92"/>
                </a:lnTo>
                <a:lnTo>
                  <a:pt x="62" y="92"/>
                </a:lnTo>
                <a:lnTo>
                  <a:pt x="61" y="101"/>
                </a:lnTo>
                <a:lnTo>
                  <a:pt x="59" y="108"/>
                </a:lnTo>
                <a:lnTo>
                  <a:pt x="55" y="114"/>
                </a:lnTo>
                <a:lnTo>
                  <a:pt x="51" y="119"/>
                </a:lnTo>
                <a:lnTo>
                  <a:pt x="46" y="122"/>
                </a:lnTo>
                <a:lnTo>
                  <a:pt x="40" y="125"/>
                </a:lnTo>
                <a:lnTo>
                  <a:pt x="30" y="129"/>
                </a:lnTo>
                <a:lnTo>
                  <a:pt x="19" y="132"/>
                </a:lnTo>
                <a:lnTo>
                  <a:pt x="14" y="135"/>
                </a:lnTo>
                <a:lnTo>
                  <a:pt x="9" y="137"/>
                </a:lnTo>
                <a:lnTo>
                  <a:pt x="6" y="139"/>
                </a:lnTo>
                <a:lnTo>
                  <a:pt x="2" y="144"/>
                </a:lnTo>
                <a:lnTo>
                  <a:pt x="0" y="148"/>
                </a:lnTo>
                <a:lnTo>
                  <a:pt x="0" y="154"/>
                </a:lnTo>
                <a:lnTo>
                  <a:pt x="0" y="154"/>
                </a:lnTo>
                <a:lnTo>
                  <a:pt x="0" y="158"/>
                </a:lnTo>
                <a:lnTo>
                  <a:pt x="2" y="160"/>
                </a:lnTo>
                <a:lnTo>
                  <a:pt x="8" y="167"/>
                </a:lnTo>
                <a:lnTo>
                  <a:pt x="17" y="173"/>
                </a:lnTo>
                <a:lnTo>
                  <a:pt x="28" y="178"/>
                </a:lnTo>
                <a:lnTo>
                  <a:pt x="39" y="184"/>
                </a:lnTo>
                <a:lnTo>
                  <a:pt x="51" y="188"/>
                </a:lnTo>
                <a:lnTo>
                  <a:pt x="61" y="190"/>
                </a:lnTo>
                <a:lnTo>
                  <a:pt x="70" y="191"/>
                </a:lnTo>
                <a:lnTo>
                  <a:pt x="70" y="191"/>
                </a:lnTo>
                <a:lnTo>
                  <a:pt x="78" y="191"/>
                </a:lnTo>
                <a:lnTo>
                  <a:pt x="85" y="189"/>
                </a:lnTo>
                <a:lnTo>
                  <a:pt x="91" y="185"/>
                </a:lnTo>
                <a:lnTo>
                  <a:pt x="96" y="181"/>
                </a:lnTo>
                <a:lnTo>
                  <a:pt x="103" y="172"/>
                </a:lnTo>
                <a:lnTo>
                  <a:pt x="111" y="162"/>
                </a:lnTo>
                <a:lnTo>
                  <a:pt x="111" y="162"/>
                </a:lnTo>
                <a:lnTo>
                  <a:pt x="115" y="174"/>
                </a:lnTo>
                <a:lnTo>
                  <a:pt x="118" y="188"/>
                </a:lnTo>
                <a:lnTo>
                  <a:pt x="121" y="199"/>
                </a:lnTo>
                <a:lnTo>
                  <a:pt x="122" y="205"/>
                </a:lnTo>
                <a:lnTo>
                  <a:pt x="126" y="209"/>
                </a:lnTo>
                <a:lnTo>
                  <a:pt x="126" y="209"/>
                </a:lnTo>
                <a:lnTo>
                  <a:pt x="131" y="215"/>
                </a:lnTo>
                <a:lnTo>
                  <a:pt x="138" y="221"/>
                </a:lnTo>
                <a:lnTo>
                  <a:pt x="154" y="228"/>
                </a:lnTo>
                <a:lnTo>
                  <a:pt x="161" y="232"/>
                </a:lnTo>
                <a:lnTo>
                  <a:pt x="169" y="237"/>
                </a:lnTo>
                <a:lnTo>
                  <a:pt x="175" y="243"/>
                </a:lnTo>
                <a:lnTo>
                  <a:pt x="180" y="250"/>
                </a:lnTo>
                <a:lnTo>
                  <a:pt x="180" y="250"/>
                </a:lnTo>
                <a:lnTo>
                  <a:pt x="175" y="253"/>
                </a:lnTo>
                <a:lnTo>
                  <a:pt x="170" y="254"/>
                </a:lnTo>
                <a:lnTo>
                  <a:pt x="167" y="253"/>
                </a:lnTo>
                <a:lnTo>
                  <a:pt x="161" y="250"/>
                </a:lnTo>
                <a:lnTo>
                  <a:pt x="161" y="250"/>
                </a:lnTo>
                <a:lnTo>
                  <a:pt x="161" y="272"/>
                </a:lnTo>
                <a:lnTo>
                  <a:pt x="161" y="272"/>
                </a:lnTo>
                <a:lnTo>
                  <a:pt x="161" y="272"/>
                </a:lnTo>
                <a:lnTo>
                  <a:pt x="167" y="277"/>
                </a:lnTo>
                <a:lnTo>
                  <a:pt x="172" y="281"/>
                </a:lnTo>
                <a:lnTo>
                  <a:pt x="177" y="283"/>
                </a:lnTo>
                <a:lnTo>
                  <a:pt x="183" y="285"/>
                </a:lnTo>
                <a:lnTo>
                  <a:pt x="195" y="289"/>
                </a:lnTo>
                <a:lnTo>
                  <a:pt x="205" y="291"/>
                </a:lnTo>
                <a:lnTo>
                  <a:pt x="215" y="293"/>
                </a:lnTo>
                <a:lnTo>
                  <a:pt x="220" y="296"/>
                </a:lnTo>
                <a:lnTo>
                  <a:pt x="225" y="299"/>
                </a:lnTo>
                <a:lnTo>
                  <a:pt x="228" y="304"/>
                </a:lnTo>
                <a:lnTo>
                  <a:pt x="231" y="308"/>
                </a:lnTo>
                <a:lnTo>
                  <a:pt x="234" y="315"/>
                </a:lnTo>
                <a:lnTo>
                  <a:pt x="235" y="323"/>
                </a:lnTo>
                <a:lnTo>
                  <a:pt x="235" y="323"/>
                </a:lnTo>
                <a:lnTo>
                  <a:pt x="259" y="328"/>
                </a:lnTo>
                <a:lnTo>
                  <a:pt x="272" y="330"/>
                </a:lnTo>
                <a:lnTo>
                  <a:pt x="283" y="330"/>
                </a:lnTo>
                <a:lnTo>
                  <a:pt x="283" y="330"/>
                </a:lnTo>
                <a:lnTo>
                  <a:pt x="289" y="330"/>
                </a:lnTo>
                <a:lnTo>
                  <a:pt x="294" y="329"/>
                </a:lnTo>
                <a:lnTo>
                  <a:pt x="304" y="325"/>
                </a:lnTo>
                <a:lnTo>
                  <a:pt x="312" y="319"/>
                </a:lnTo>
                <a:lnTo>
                  <a:pt x="320" y="313"/>
                </a:lnTo>
                <a:lnTo>
                  <a:pt x="327" y="306"/>
                </a:lnTo>
                <a:lnTo>
                  <a:pt x="334" y="300"/>
                </a:lnTo>
                <a:lnTo>
                  <a:pt x="341" y="296"/>
                </a:lnTo>
                <a:lnTo>
                  <a:pt x="345" y="295"/>
                </a:lnTo>
                <a:lnTo>
                  <a:pt x="349" y="295"/>
                </a:lnTo>
                <a:lnTo>
                  <a:pt x="349" y="295"/>
                </a:lnTo>
                <a:lnTo>
                  <a:pt x="355" y="295"/>
                </a:lnTo>
                <a:lnTo>
                  <a:pt x="358" y="296"/>
                </a:lnTo>
                <a:lnTo>
                  <a:pt x="362" y="298"/>
                </a:lnTo>
                <a:lnTo>
                  <a:pt x="365" y="300"/>
                </a:lnTo>
                <a:lnTo>
                  <a:pt x="368" y="307"/>
                </a:lnTo>
                <a:lnTo>
                  <a:pt x="371" y="315"/>
                </a:lnTo>
                <a:lnTo>
                  <a:pt x="375" y="331"/>
                </a:lnTo>
                <a:lnTo>
                  <a:pt x="378" y="337"/>
                </a:lnTo>
                <a:lnTo>
                  <a:pt x="380" y="341"/>
                </a:lnTo>
                <a:lnTo>
                  <a:pt x="382" y="342"/>
                </a:lnTo>
                <a:lnTo>
                  <a:pt x="382" y="342"/>
                </a:lnTo>
                <a:lnTo>
                  <a:pt x="387" y="344"/>
                </a:lnTo>
                <a:lnTo>
                  <a:pt x="394" y="348"/>
                </a:lnTo>
                <a:lnTo>
                  <a:pt x="410" y="352"/>
                </a:lnTo>
                <a:lnTo>
                  <a:pt x="427" y="356"/>
                </a:lnTo>
                <a:lnTo>
                  <a:pt x="441" y="357"/>
                </a:lnTo>
                <a:lnTo>
                  <a:pt x="441" y="357"/>
                </a:lnTo>
                <a:lnTo>
                  <a:pt x="443" y="353"/>
                </a:lnTo>
                <a:lnTo>
                  <a:pt x="448" y="350"/>
                </a:lnTo>
                <a:lnTo>
                  <a:pt x="459" y="342"/>
                </a:lnTo>
                <a:lnTo>
                  <a:pt x="459" y="342"/>
                </a:lnTo>
                <a:lnTo>
                  <a:pt x="463" y="338"/>
                </a:lnTo>
                <a:lnTo>
                  <a:pt x="466" y="335"/>
                </a:lnTo>
                <a:lnTo>
                  <a:pt x="471" y="326"/>
                </a:lnTo>
                <a:lnTo>
                  <a:pt x="473" y="321"/>
                </a:lnTo>
                <a:lnTo>
                  <a:pt x="477" y="318"/>
                </a:lnTo>
                <a:lnTo>
                  <a:pt x="480" y="314"/>
                </a:lnTo>
                <a:lnTo>
                  <a:pt x="485" y="313"/>
                </a:lnTo>
                <a:lnTo>
                  <a:pt x="485" y="313"/>
                </a:lnTo>
                <a:lnTo>
                  <a:pt x="496" y="312"/>
                </a:lnTo>
                <a:lnTo>
                  <a:pt x="512" y="314"/>
                </a:lnTo>
                <a:lnTo>
                  <a:pt x="531" y="315"/>
                </a:lnTo>
                <a:lnTo>
                  <a:pt x="550" y="316"/>
                </a:lnTo>
                <a:lnTo>
                  <a:pt x="559" y="316"/>
                </a:lnTo>
                <a:lnTo>
                  <a:pt x="569" y="315"/>
                </a:lnTo>
                <a:lnTo>
                  <a:pt x="577" y="314"/>
                </a:lnTo>
                <a:lnTo>
                  <a:pt x="585" y="312"/>
                </a:lnTo>
                <a:lnTo>
                  <a:pt x="590" y="308"/>
                </a:lnTo>
                <a:lnTo>
                  <a:pt x="595" y="304"/>
                </a:lnTo>
                <a:lnTo>
                  <a:pt x="599" y="298"/>
                </a:lnTo>
                <a:lnTo>
                  <a:pt x="600" y="290"/>
                </a:lnTo>
                <a:lnTo>
                  <a:pt x="600" y="290"/>
                </a:lnTo>
                <a:lnTo>
                  <a:pt x="600" y="267"/>
                </a:lnTo>
                <a:lnTo>
                  <a:pt x="603" y="246"/>
                </a:lnTo>
                <a:lnTo>
                  <a:pt x="608" y="228"/>
                </a:lnTo>
                <a:lnTo>
                  <a:pt x="612" y="209"/>
                </a:lnTo>
                <a:lnTo>
                  <a:pt x="624" y="173"/>
                </a:lnTo>
                <a:lnTo>
                  <a:pt x="628" y="152"/>
                </a:lnTo>
                <a:lnTo>
                  <a:pt x="632" y="129"/>
                </a:lnTo>
                <a:lnTo>
                  <a:pt x="632" y="129"/>
                </a:lnTo>
                <a:lnTo>
                  <a:pt x="628" y="136"/>
                </a:lnTo>
                <a:lnTo>
                  <a:pt x="628" y="13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0" name="Freeform 65"/>
          <p:cNvSpPr>
            <a:spLocks/>
          </p:cNvSpPr>
          <p:nvPr/>
        </p:nvSpPr>
        <p:spPr bwMode="auto">
          <a:xfrm>
            <a:off x="1404938" y="3746500"/>
            <a:ext cx="279400" cy="269875"/>
          </a:xfrm>
          <a:custGeom>
            <a:avLst/>
            <a:gdLst/>
            <a:ahLst/>
            <a:cxnLst>
              <a:cxn ang="0">
                <a:pos x="187" y="280"/>
              </a:cxn>
              <a:cxn ang="0">
                <a:pos x="196" y="269"/>
              </a:cxn>
              <a:cxn ang="0">
                <a:pos x="217" y="261"/>
              </a:cxn>
              <a:cxn ang="0">
                <a:pos x="238" y="251"/>
              </a:cxn>
              <a:cxn ang="0">
                <a:pos x="248" y="233"/>
              </a:cxn>
              <a:cxn ang="0">
                <a:pos x="265" y="223"/>
              </a:cxn>
              <a:cxn ang="0">
                <a:pos x="308" y="208"/>
              </a:cxn>
              <a:cxn ang="0">
                <a:pos x="337" y="178"/>
              </a:cxn>
              <a:cxn ang="0">
                <a:pos x="336" y="165"/>
              </a:cxn>
              <a:cxn ang="0">
                <a:pos x="321" y="160"/>
              </a:cxn>
              <a:cxn ang="0">
                <a:pos x="307" y="144"/>
              </a:cxn>
              <a:cxn ang="0">
                <a:pos x="292" y="95"/>
              </a:cxn>
              <a:cxn ang="0">
                <a:pos x="278" y="48"/>
              </a:cxn>
              <a:cxn ang="0">
                <a:pos x="261" y="30"/>
              </a:cxn>
              <a:cxn ang="0">
                <a:pos x="246" y="26"/>
              </a:cxn>
              <a:cxn ang="0">
                <a:pos x="241" y="28"/>
              </a:cxn>
              <a:cxn ang="0">
                <a:pos x="232" y="40"/>
              </a:cxn>
              <a:cxn ang="0">
                <a:pos x="226" y="40"/>
              </a:cxn>
              <a:cxn ang="0">
                <a:pos x="213" y="34"/>
              </a:cxn>
              <a:cxn ang="0">
                <a:pos x="194" y="12"/>
              </a:cxn>
              <a:cxn ang="0">
                <a:pos x="179" y="2"/>
              </a:cxn>
              <a:cxn ang="0">
                <a:pos x="169" y="0"/>
              </a:cxn>
              <a:cxn ang="0">
                <a:pos x="147" y="3"/>
              </a:cxn>
              <a:cxn ang="0">
                <a:pos x="142" y="0"/>
              </a:cxn>
              <a:cxn ang="0">
                <a:pos x="129" y="10"/>
              </a:cxn>
              <a:cxn ang="0">
                <a:pos x="95" y="11"/>
              </a:cxn>
              <a:cxn ang="0">
                <a:pos x="94" y="27"/>
              </a:cxn>
              <a:cxn ang="0">
                <a:pos x="84" y="48"/>
              </a:cxn>
              <a:cxn ang="0">
                <a:pos x="64" y="68"/>
              </a:cxn>
              <a:cxn ang="0">
                <a:pos x="59" y="81"/>
              </a:cxn>
              <a:cxn ang="0">
                <a:pos x="59" y="94"/>
              </a:cxn>
              <a:cxn ang="0">
                <a:pos x="66" y="108"/>
              </a:cxn>
              <a:cxn ang="0">
                <a:pos x="79" y="114"/>
              </a:cxn>
              <a:cxn ang="0">
                <a:pos x="84" y="132"/>
              </a:cxn>
              <a:cxn ang="0">
                <a:pos x="80" y="149"/>
              </a:cxn>
              <a:cxn ang="0">
                <a:pos x="64" y="169"/>
              </a:cxn>
              <a:cxn ang="0">
                <a:pos x="26" y="196"/>
              </a:cxn>
              <a:cxn ang="0">
                <a:pos x="8" y="218"/>
              </a:cxn>
              <a:cxn ang="0">
                <a:pos x="0" y="249"/>
              </a:cxn>
              <a:cxn ang="0">
                <a:pos x="3" y="268"/>
              </a:cxn>
              <a:cxn ang="0">
                <a:pos x="18" y="295"/>
              </a:cxn>
              <a:cxn ang="0">
                <a:pos x="36" y="308"/>
              </a:cxn>
              <a:cxn ang="0">
                <a:pos x="46" y="308"/>
              </a:cxn>
              <a:cxn ang="0">
                <a:pos x="66" y="299"/>
              </a:cxn>
              <a:cxn ang="0">
                <a:pos x="86" y="280"/>
              </a:cxn>
              <a:cxn ang="0">
                <a:pos x="102" y="276"/>
              </a:cxn>
              <a:cxn ang="0">
                <a:pos x="123" y="277"/>
              </a:cxn>
              <a:cxn ang="0">
                <a:pos x="172" y="286"/>
              </a:cxn>
              <a:cxn ang="0">
                <a:pos x="187" y="286"/>
              </a:cxn>
            </a:cxnLst>
            <a:rect l="0" t="0" r="r" b="b"/>
            <a:pathLst>
              <a:path w="341" h="309">
                <a:moveTo>
                  <a:pt x="187" y="286"/>
                </a:moveTo>
                <a:lnTo>
                  <a:pt x="187" y="286"/>
                </a:lnTo>
                <a:lnTo>
                  <a:pt x="187" y="280"/>
                </a:lnTo>
                <a:lnTo>
                  <a:pt x="189" y="276"/>
                </a:lnTo>
                <a:lnTo>
                  <a:pt x="193" y="271"/>
                </a:lnTo>
                <a:lnTo>
                  <a:pt x="196" y="269"/>
                </a:lnTo>
                <a:lnTo>
                  <a:pt x="201" y="267"/>
                </a:lnTo>
                <a:lnTo>
                  <a:pt x="206" y="264"/>
                </a:lnTo>
                <a:lnTo>
                  <a:pt x="217" y="261"/>
                </a:lnTo>
                <a:lnTo>
                  <a:pt x="227" y="257"/>
                </a:lnTo>
                <a:lnTo>
                  <a:pt x="233" y="254"/>
                </a:lnTo>
                <a:lnTo>
                  <a:pt x="238" y="251"/>
                </a:lnTo>
                <a:lnTo>
                  <a:pt x="242" y="246"/>
                </a:lnTo>
                <a:lnTo>
                  <a:pt x="246" y="240"/>
                </a:lnTo>
                <a:lnTo>
                  <a:pt x="248" y="233"/>
                </a:lnTo>
                <a:lnTo>
                  <a:pt x="249" y="224"/>
                </a:lnTo>
                <a:lnTo>
                  <a:pt x="249" y="224"/>
                </a:lnTo>
                <a:lnTo>
                  <a:pt x="265" y="223"/>
                </a:lnTo>
                <a:lnTo>
                  <a:pt x="280" y="221"/>
                </a:lnTo>
                <a:lnTo>
                  <a:pt x="295" y="215"/>
                </a:lnTo>
                <a:lnTo>
                  <a:pt x="308" y="208"/>
                </a:lnTo>
                <a:lnTo>
                  <a:pt x="320" y="200"/>
                </a:lnTo>
                <a:lnTo>
                  <a:pt x="329" y="190"/>
                </a:lnTo>
                <a:lnTo>
                  <a:pt x="337" y="178"/>
                </a:lnTo>
                <a:lnTo>
                  <a:pt x="341" y="165"/>
                </a:lnTo>
                <a:lnTo>
                  <a:pt x="341" y="165"/>
                </a:lnTo>
                <a:lnTo>
                  <a:pt x="336" y="165"/>
                </a:lnTo>
                <a:lnTo>
                  <a:pt x="330" y="163"/>
                </a:lnTo>
                <a:lnTo>
                  <a:pt x="325" y="162"/>
                </a:lnTo>
                <a:lnTo>
                  <a:pt x="321" y="160"/>
                </a:lnTo>
                <a:lnTo>
                  <a:pt x="317" y="156"/>
                </a:lnTo>
                <a:lnTo>
                  <a:pt x="314" y="153"/>
                </a:lnTo>
                <a:lnTo>
                  <a:pt x="307" y="144"/>
                </a:lnTo>
                <a:lnTo>
                  <a:pt x="302" y="133"/>
                </a:lnTo>
                <a:lnTo>
                  <a:pt x="299" y="122"/>
                </a:lnTo>
                <a:lnTo>
                  <a:pt x="292" y="95"/>
                </a:lnTo>
                <a:lnTo>
                  <a:pt x="286" y="70"/>
                </a:lnTo>
                <a:lnTo>
                  <a:pt x="283" y="58"/>
                </a:lnTo>
                <a:lnTo>
                  <a:pt x="278" y="48"/>
                </a:lnTo>
                <a:lnTo>
                  <a:pt x="272" y="39"/>
                </a:lnTo>
                <a:lnTo>
                  <a:pt x="265" y="32"/>
                </a:lnTo>
                <a:lnTo>
                  <a:pt x="261" y="30"/>
                </a:lnTo>
                <a:lnTo>
                  <a:pt x="256" y="27"/>
                </a:lnTo>
                <a:lnTo>
                  <a:pt x="252" y="26"/>
                </a:lnTo>
                <a:lnTo>
                  <a:pt x="246" y="26"/>
                </a:lnTo>
                <a:lnTo>
                  <a:pt x="246" y="26"/>
                </a:lnTo>
                <a:lnTo>
                  <a:pt x="244" y="26"/>
                </a:lnTo>
                <a:lnTo>
                  <a:pt x="241" y="28"/>
                </a:lnTo>
                <a:lnTo>
                  <a:pt x="237" y="33"/>
                </a:lnTo>
                <a:lnTo>
                  <a:pt x="234" y="39"/>
                </a:lnTo>
                <a:lnTo>
                  <a:pt x="232" y="40"/>
                </a:lnTo>
                <a:lnTo>
                  <a:pt x="231" y="41"/>
                </a:lnTo>
                <a:lnTo>
                  <a:pt x="231" y="41"/>
                </a:lnTo>
                <a:lnTo>
                  <a:pt x="226" y="40"/>
                </a:lnTo>
                <a:lnTo>
                  <a:pt x="222" y="39"/>
                </a:lnTo>
                <a:lnTo>
                  <a:pt x="217" y="37"/>
                </a:lnTo>
                <a:lnTo>
                  <a:pt x="213" y="34"/>
                </a:lnTo>
                <a:lnTo>
                  <a:pt x="207" y="27"/>
                </a:lnTo>
                <a:lnTo>
                  <a:pt x="200" y="20"/>
                </a:lnTo>
                <a:lnTo>
                  <a:pt x="194" y="12"/>
                </a:lnTo>
                <a:lnTo>
                  <a:pt x="187" y="7"/>
                </a:lnTo>
                <a:lnTo>
                  <a:pt x="183" y="4"/>
                </a:lnTo>
                <a:lnTo>
                  <a:pt x="179" y="2"/>
                </a:lnTo>
                <a:lnTo>
                  <a:pt x="175" y="1"/>
                </a:lnTo>
                <a:lnTo>
                  <a:pt x="169" y="0"/>
                </a:lnTo>
                <a:lnTo>
                  <a:pt x="169" y="0"/>
                </a:lnTo>
                <a:lnTo>
                  <a:pt x="161" y="1"/>
                </a:lnTo>
                <a:lnTo>
                  <a:pt x="153" y="3"/>
                </a:lnTo>
                <a:lnTo>
                  <a:pt x="147" y="3"/>
                </a:lnTo>
                <a:lnTo>
                  <a:pt x="145" y="2"/>
                </a:lnTo>
                <a:lnTo>
                  <a:pt x="142" y="0"/>
                </a:lnTo>
                <a:lnTo>
                  <a:pt x="142" y="0"/>
                </a:lnTo>
                <a:lnTo>
                  <a:pt x="138" y="4"/>
                </a:lnTo>
                <a:lnTo>
                  <a:pt x="132" y="8"/>
                </a:lnTo>
                <a:lnTo>
                  <a:pt x="129" y="10"/>
                </a:lnTo>
                <a:lnTo>
                  <a:pt x="125" y="11"/>
                </a:lnTo>
                <a:lnTo>
                  <a:pt x="125" y="11"/>
                </a:lnTo>
                <a:lnTo>
                  <a:pt x="95" y="11"/>
                </a:lnTo>
                <a:lnTo>
                  <a:pt x="95" y="11"/>
                </a:lnTo>
                <a:lnTo>
                  <a:pt x="95" y="20"/>
                </a:lnTo>
                <a:lnTo>
                  <a:pt x="94" y="27"/>
                </a:lnTo>
                <a:lnTo>
                  <a:pt x="92" y="34"/>
                </a:lnTo>
                <a:lnTo>
                  <a:pt x="89" y="40"/>
                </a:lnTo>
                <a:lnTo>
                  <a:pt x="84" y="48"/>
                </a:lnTo>
                <a:lnTo>
                  <a:pt x="77" y="55"/>
                </a:lnTo>
                <a:lnTo>
                  <a:pt x="70" y="61"/>
                </a:lnTo>
                <a:lnTo>
                  <a:pt x="64" y="68"/>
                </a:lnTo>
                <a:lnTo>
                  <a:pt x="62" y="72"/>
                </a:lnTo>
                <a:lnTo>
                  <a:pt x="61" y="77"/>
                </a:lnTo>
                <a:lnTo>
                  <a:pt x="59" y="81"/>
                </a:lnTo>
                <a:lnTo>
                  <a:pt x="58" y="88"/>
                </a:lnTo>
                <a:lnTo>
                  <a:pt x="58" y="88"/>
                </a:lnTo>
                <a:lnTo>
                  <a:pt x="59" y="94"/>
                </a:lnTo>
                <a:lnTo>
                  <a:pt x="61" y="100"/>
                </a:lnTo>
                <a:lnTo>
                  <a:pt x="63" y="104"/>
                </a:lnTo>
                <a:lnTo>
                  <a:pt x="66" y="108"/>
                </a:lnTo>
                <a:lnTo>
                  <a:pt x="70" y="110"/>
                </a:lnTo>
                <a:lnTo>
                  <a:pt x="74" y="112"/>
                </a:lnTo>
                <a:lnTo>
                  <a:pt x="79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32"/>
                </a:lnTo>
                <a:lnTo>
                  <a:pt x="84" y="132"/>
                </a:lnTo>
                <a:lnTo>
                  <a:pt x="84" y="141"/>
                </a:lnTo>
                <a:lnTo>
                  <a:pt x="80" y="149"/>
                </a:lnTo>
                <a:lnTo>
                  <a:pt x="77" y="156"/>
                </a:lnTo>
                <a:lnTo>
                  <a:pt x="71" y="163"/>
                </a:lnTo>
                <a:lnTo>
                  <a:pt x="64" y="169"/>
                </a:lnTo>
                <a:lnTo>
                  <a:pt x="57" y="175"/>
                </a:lnTo>
                <a:lnTo>
                  <a:pt x="42" y="185"/>
                </a:lnTo>
                <a:lnTo>
                  <a:pt x="26" y="196"/>
                </a:lnTo>
                <a:lnTo>
                  <a:pt x="19" y="203"/>
                </a:lnTo>
                <a:lnTo>
                  <a:pt x="13" y="210"/>
                </a:lnTo>
                <a:lnTo>
                  <a:pt x="8" y="218"/>
                </a:lnTo>
                <a:lnTo>
                  <a:pt x="4" y="228"/>
                </a:lnTo>
                <a:lnTo>
                  <a:pt x="1" y="238"/>
                </a:lnTo>
                <a:lnTo>
                  <a:pt x="0" y="249"/>
                </a:lnTo>
                <a:lnTo>
                  <a:pt x="0" y="249"/>
                </a:lnTo>
                <a:lnTo>
                  <a:pt x="1" y="259"/>
                </a:lnTo>
                <a:lnTo>
                  <a:pt x="3" y="268"/>
                </a:lnTo>
                <a:lnTo>
                  <a:pt x="7" y="278"/>
                </a:lnTo>
                <a:lnTo>
                  <a:pt x="12" y="287"/>
                </a:lnTo>
                <a:lnTo>
                  <a:pt x="18" y="295"/>
                </a:lnTo>
                <a:lnTo>
                  <a:pt x="25" y="302"/>
                </a:lnTo>
                <a:lnTo>
                  <a:pt x="32" y="307"/>
                </a:lnTo>
                <a:lnTo>
                  <a:pt x="36" y="308"/>
                </a:lnTo>
                <a:lnTo>
                  <a:pt x="40" y="309"/>
                </a:lnTo>
                <a:lnTo>
                  <a:pt x="40" y="309"/>
                </a:lnTo>
                <a:lnTo>
                  <a:pt x="46" y="308"/>
                </a:lnTo>
                <a:lnTo>
                  <a:pt x="50" y="307"/>
                </a:lnTo>
                <a:lnTo>
                  <a:pt x="58" y="304"/>
                </a:lnTo>
                <a:lnTo>
                  <a:pt x="66" y="299"/>
                </a:lnTo>
                <a:lnTo>
                  <a:pt x="72" y="292"/>
                </a:lnTo>
                <a:lnTo>
                  <a:pt x="79" y="286"/>
                </a:lnTo>
                <a:lnTo>
                  <a:pt x="86" y="280"/>
                </a:lnTo>
                <a:lnTo>
                  <a:pt x="94" y="277"/>
                </a:lnTo>
                <a:lnTo>
                  <a:pt x="97" y="276"/>
                </a:lnTo>
                <a:lnTo>
                  <a:pt x="102" y="276"/>
                </a:lnTo>
                <a:lnTo>
                  <a:pt x="102" y="276"/>
                </a:lnTo>
                <a:lnTo>
                  <a:pt x="114" y="276"/>
                </a:lnTo>
                <a:lnTo>
                  <a:pt x="123" y="277"/>
                </a:lnTo>
                <a:lnTo>
                  <a:pt x="142" y="282"/>
                </a:lnTo>
                <a:lnTo>
                  <a:pt x="163" y="285"/>
                </a:lnTo>
                <a:lnTo>
                  <a:pt x="172" y="286"/>
                </a:lnTo>
                <a:lnTo>
                  <a:pt x="184" y="286"/>
                </a:lnTo>
                <a:lnTo>
                  <a:pt x="184" y="286"/>
                </a:lnTo>
                <a:lnTo>
                  <a:pt x="187" y="286"/>
                </a:lnTo>
                <a:lnTo>
                  <a:pt x="187" y="28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1" name="Freeform 66"/>
          <p:cNvSpPr>
            <a:spLocks/>
          </p:cNvSpPr>
          <p:nvPr/>
        </p:nvSpPr>
        <p:spPr bwMode="auto">
          <a:xfrm>
            <a:off x="992188" y="3560763"/>
            <a:ext cx="528637" cy="384175"/>
          </a:xfrm>
          <a:custGeom>
            <a:avLst/>
            <a:gdLst/>
            <a:ahLst/>
            <a:cxnLst>
              <a:cxn ang="0">
                <a:pos x="18" y="134"/>
              </a:cxn>
              <a:cxn ang="0">
                <a:pos x="67" y="89"/>
              </a:cxn>
              <a:cxn ang="0">
                <a:pos x="69" y="56"/>
              </a:cxn>
              <a:cxn ang="0">
                <a:pos x="80" y="1"/>
              </a:cxn>
              <a:cxn ang="0">
                <a:pos x="102" y="1"/>
              </a:cxn>
              <a:cxn ang="0">
                <a:pos x="128" y="28"/>
              </a:cxn>
              <a:cxn ang="0">
                <a:pos x="172" y="42"/>
              </a:cxn>
              <a:cxn ang="0">
                <a:pos x="240" y="50"/>
              </a:cxn>
              <a:cxn ang="0">
                <a:pos x="274" y="72"/>
              </a:cxn>
              <a:cxn ang="0">
                <a:pos x="290" y="81"/>
              </a:cxn>
              <a:cxn ang="0">
                <a:pos x="343" y="63"/>
              </a:cxn>
              <a:cxn ang="0">
                <a:pos x="385" y="46"/>
              </a:cxn>
              <a:cxn ang="0">
                <a:pos x="409" y="54"/>
              </a:cxn>
              <a:cxn ang="0">
                <a:pos x="426" y="92"/>
              </a:cxn>
              <a:cxn ang="0">
                <a:pos x="437" y="100"/>
              </a:cxn>
              <a:cxn ang="0">
                <a:pos x="459" y="89"/>
              </a:cxn>
              <a:cxn ang="0">
                <a:pos x="474" y="110"/>
              </a:cxn>
              <a:cxn ang="0">
                <a:pos x="487" y="114"/>
              </a:cxn>
              <a:cxn ang="0">
                <a:pos x="503" y="103"/>
              </a:cxn>
              <a:cxn ang="0">
                <a:pos x="537" y="124"/>
              </a:cxn>
              <a:cxn ang="0">
                <a:pos x="569" y="140"/>
              </a:cxn>
              <a:cxn ang="0">
                <a:pos x="575" y="157"/>
              </a:cxn>
              <a:cxn ang="0">
                <a:pos x="592" y="156"/>
              </a:cxn>
              <a:cxn ang="0">
                <a:pos x="620" y="140"/>
              </a:cxn>
              <a:cxn ang="0">
                <a:pos x="634" y="147"/>
              </a:cxn>
              <a:cxn ang="0">
                <a:pos x="638" y="200"/>
              </a:cxn>
              <a:cxn ang="0">
                <a:pos x="645" y="214"/>
              </a:cxn>
              <a:cxn ang="0">
                <a:pos x="628" y="225"/>
              </a:cxn>
              <a:cxn ang="0">
                <a:pos x="597" y="241"/>
              </a:cxn>
              <a:cxn ang="0">
                <a:pos x="573" y="275"/>
              </a:cxn>
              <a:cxn ang="0">
                <a:pos x="561" y="302"/>
              </a:cxn>
              <a:cxn ang="0">
                <a:pos x="569" y="322"/>
              </a:cxn>
              <a:cxn ang="0">
                <a:pos x="587" y="328"/>
              </a:cxn>
              <a:cxn ang="0">
                <a:pos x="581" y="368"/>
              </a:cxn>
              <a:cxn ang="0">
                <a:pos x="538" y="402"/>
              </a:cxn>
              <a:cxn ang="0">
                <a:pos x="506" y="442"/>
              </a:cxn>
              <a:cxn ang="0">
                <a:pos x="481" y="400"/>
              </a:cxn>
              <a:cxn ang="0">
                <a:pos x="443" y="391"/>
              </a:cxn>
              <a:cxn ang="0">
                <a:pos x="411" y="405"/>
              </a:cxn>
              <a:cxn ang="0">
                <a:pos x="397" y="397"/>
              </a:cxn>
              <a:cxn ang="0">
                <a:pos x="378" y="379"/>
              </a:cxn>
              <a:cxn ang="0">
                <a:pos x="337" y="369"/>
              </a:cxn>
              <a:cxn ang="0">
                <a:pos x="321" y="347"/>
              </a:cxn>
              <a:cxn ang="0">
                <a:pos x="299" y="340"/>
              </a:cxn>
              <a:cxn ang="0">
                <a:pos x="253" y="350"/>
              </a:cxn>
              <a:cxn ang="0">
                <a:pos x="224" y="338"/>
              </a:cxn>
              <a:cxn ang="0">
                <a:pos x="195" y="291"/>
              </a:cxn>
              <a:cxn ang="0">
                <a:pos x="157" y="272"/>
              </a:cxn>
              <a:cxn ang="0">
                <a:pos x="116" y="271"/>
              </a:cxn>
              <a:cxn ang="0">
                <a:pos x="60" y="231"/>
              </a:cxn>
              <a:cxn ang="0">
                <a:pos x="0" y="140"/>
              </a:cxn>
            </a:cxnLst>
            <a:rect l="0" t="0" r="r" b="b"/>
            <a:pathLst>
              <a:path w="645" h="442">
                <a:moveTo>
                  <a:pt x="0" y="140"/>
                </a:moveTo>
                <a:lnTo>
                  <a:pt x="0" y="140"/>
                </a:lnTo>
                <a:lnTo>
                  <a:pt x="3" y="140"/>
                </a:lnTo>
                <a:lnTo>
                  <a:pt x="8" y="139"/>
                </a:lnTo>
                <a:lnTo>
                  <a:pt x="18" y="134"/>
                </a:lnTo>
                <a:lnTo>
                  <a:pt x="30" y="126"/>
                </a:lnTo>
                <a:lnTo>
                  <a:pt x="41" y="118"/>
                </a:lnTo>
                <a:lnTo>
                  <a:pt x="52" y="108"/>
                </a:lnTo>
                <a:lnTo>
                  <a:pt x="61" y="99"/>
                </a:lnTo>
                <a:lnTo>
                  <a:pt x="67" y="89"/>
                </a:lnTo>
                <a:lnTo>
                  <a:pt x="69" y="85"/>
                </a:lnTo>
                <a:lnTo>
                  <a:pt x="69" y="81"/>
                </a:lnTo>
                <a:lnTo>
                  <a:pt x="69" y="81"/>
                </a:lnTo>
                <a:lnTo>
                  <a:pt x="69" y="56"/>
                </a:lnTo>
                <a:lnTo>
                  <a:pt x="69" y="56"/>
                </a:lnTo>
                <a:lnTo>
                  <a:pt x="70" y="45"/>
                </a:lnTo>
                <a:lnTo>
                  <a:pt x="73" y="31"/>
                </a:lnTo>
                <a:lnTo>
                  <a:pt x="77" y="17"/>
                </a:lnTo>
                <a:lnTo>
                  <a:pt x="80" y="1"/>
                </a:lnTo>
                <a:lnTo>
                  <a:pt x="80" y="1"/>
                </a:lnTo>
                <a:lnTo>
                  <a:pt x="86" y="1"/>
                </a:lnTo>
                <a:lnTo>
                  <a:pt x="92" y="0"/>
                </a:lnTo>
                <a:lnTo>
                  <a:pt x="96" y="0"/>
                </a:lnTo>
                <a:lnTo>
                  <a:pt x="102" y="1"/>
                </a:lnTo>
                <a:lnTo>
                  <a:pt x="102" y="1"/>
                </a:lnTo>
                <a:lnTo>
                  <a:pt x="110" y="4"/>
                </a:lnTo>
                <a:lnTo>
                  <a:pt x="115" y="9"/>
                </a:lnTo>
                <a:lnTo>
                  <a:pt x="118" y="13"/>
                </a:lnTo>
                <a:lnTo>
                  <a:pt x="122" y="19"/>
                </a:lnTo>
                <a:lnTo>
                  <a:pt x="128" y="28"/>
                </a:lnTo>
                <a:lnTo>
                  <a:pt x="131" y="32"/>
                </a:lnTo>
                <a:lnTo>
                  <a:pt x="136" y="34"/>
                </a:lnTo>
                <a:lnTo>
                  <a:pt x="136" y="34"/>
                </a:lnTo>
                <a:lnTo>
                  <a:pt x="155" y="40"/>
                </a:lnTo>
                <a:lnTo>
                  <a:pt x="172" y="42"/>
                </a:lnTo>
                <a:lnTo>
                  <a:pt x="187" y="45"/>
                </a:lnTo>
                <a:lnTo>
                  <a:pt x="200" y="45"/>
                </a:lnTo>
                <a:lnTo>
                  <a:pt x="213" y="46"/>
                </a:lnTo>
                <a:lnTo>
                  <a:pt x="226" y="47"/>
                </a:lnTo>
                <a:lnTo>
                  <a:pt x="240" y="50"/>
                </a:lnTo>
                <a:lnTo>
                  <a:pt x="256" y="56"/>
                </a:lnTo>
                <a:lnTo>
                  <a:pt x="256" y="56"/>
                </a:lnTo>
                <a:lnTo>
                  <a:pt x="262" y="60"/>
                </a:lnTo>
                <a:lnTo>
                  <a:pt x="266" y="63"/>
                </a:lnTo>
                <a:lnTo>
                  <a:pt x="274" y="72"/>
                </a:lnTo>
                <a:lnTo>
                  <a:pt x="277" y="76"/>
                </a:lnTo>
                <a:lnTo>
                  <a:pt x="281" y="79"/>
                </a:lnTo>
                <a:lnTo>
                  <a:pt x="284" y="81"/>
                </a:lnTo>
                <a:lnTo>
                  <a:pt x="290" y="81"/>
                </a:lnTo>
                <a:lnTo>
                  <a:pt x="290" y="81"/>
                </a:lnTo>
                <a:lnTo>
                  <a:pt x="297" y="81"/>
                </a:lnTo>
                <a:lnTo>
                  <a:pt x="305" y="80"/>
                </a:lnTo>
                <a:lnTo>
                  <a:pt x="319" y="76"/>
                </a:lnTo>
                <a:lnTo>
                  <a:pt x="331" y="70"/>
                </a:lnTo>
                <a:lnTo>
                  <a:pt x="343" y="63"/>
                </a:lnTo>
                <a:lnTo>
                  <a:pt x="354" y="57"/>
                </a:lnTo>
                <a:lnTo>
                  <a:pt x="366" y="51"/>
                </a:lnTo>
                <a:lnTo>
                  <a:pt x="376" y="47"/>
                </a:lnTo>
                <a:lnTo>
                  <a:pt x="381" y="46"/>
                </a:lnTo>
                <a:lnTo>
                  <a:pt x="385" y="46"/>
                </a:lnTo>
                <a:lnTo>
                  <a:pt x="385" y="46"/>
                </a:lnTo>
                <a:lnTo>
                  <a:pt x="393" y="46"/>
                </a:lnTo>
                <a:lnTo>
                  <a:pt x="399" y="48"/>
                </a:lnTo>
                <a:lnTo>
                  <a:pt x="405" y="50"/>
                </a:lnTo>
                <a:lnTo>
                  <a:pt x="409" y="54"/>
                </a:lnTo>
                <a:lnTo>
                  <a:pt x="413" y="58"/>
                </a:lnTo>
                <a:lnTo>
                  <a:pt x="415" y="63"/>
                </a:lnTo>
                <a:lnTo>
                  <a:pt x="420" y="72"/>
                </a:lnTo>
                <a:lnTo>
                  <a:pt x="422" y="83"/>
                </a:lnTo>
                <a:lnTo>
                  <a:pt x="426" y="92"/>
                </a:lnTo>
                <a:lnTo>
                  <a:pt x="428" y="95"/>
                </a:lnTo>
                <a:lnTo>
                  <a:pt x="430" y="97"/>
                </a:lnTo>
                <a:lnTo>
                  <a:pt x="432" y="100"/>
                </a:lnTo>
                <a:lnTo>
                  <a:pt x="437" y="100"/>
                </a:lnTo>
                <a:lnTo>
                  <a:pt x="437" y="100"/>
                </a:lnTo>
                <a:lnTo>
                  <a:pt x="439" y="100"/>
                </a:lnTo>
                <a:lnTo>
                  <a:pt x="443" y="99"/>
                </a:lnTo>
                <a:lnTo>
                  <a:pt x="450" y="94"/>
                </a:lnTo>
                <a:lnTo>
                  <a:pt x="457" y="91"/>
                </a:lnTo>
                <a:lnTo>
                  <a:pt x="459" y="89"/>
                </a:lnTo>
                <a:lnTo>
                  <a:pt x="462" y="88"/>
                </a:lnTo>
                <a:lnTo>
                  <a:pt x="462" y="88"/>
                </a:lnTo>
                <a:lnTo>
                  <a:pt x="466" y="99"/>
                </a:lnTo>
                <a:lnTo>
                  <a:pt x="470" y="107"/>
                </a:lnTo>
                <a:lnTo>
                  <a:pt x="474" y="110"/>
                </a:lnTo>
                <a:lnTo>
                  <a:pt x="477" y="112"/>
                </a:lnTo>
                <a:lnTo>
                  <a:pt x="481" y="114"/>
                </a:lnTo>
                <a:lnTo>
                  <a:pt x="484" y="115"/>
                </a:lnTo>
                <a:lnTo>
                  <a:pt x="484" y="115"/>
                </a:lnTo>
                <a:lnTo>
                  <a:pt x="487" y="114"/>
                </a:lnTo>
                <a:lnTo>
                  <a:pt x="489" y="112"/>
                </a:lnTo>
                <a:lnTo>
                  <a:pt x="493" y="109"/>
                </a:lnTo>
                <a:lnTo>
                  <a:pt x="498" y="106"/>
                </a:lnTo>
                <a:lnTo>
                  <a:pt x="500" y="104"/>
                </a:lnTo>
                <a:lnTo>
                  <a:pt x="503" y="103"/>
                </a:lnTo>
                <a:lnTo>
                  <a:pt x="503" y="103"/>
                </a:lnTo>
                <a:lnTo>
                  <a:pt x="510" y="104"/>
                </a:lnTo>
                <a:lnTo>
                  <a:pt x="516" y="108"/>
                </a:lnTo>
                <a:lnTo>
                  <a:pt x="530" y="118"/>
                </a:lnTo>
                <a:lnTo>
                  <a:pt x="537" y="124"/>
                </a:lnTo>
                <a:lnTo>
                  <a:pt x="546" y="129"/>
                </a:lnTo>
                <a:lnTo>
                  <a:pt x="556" y="132"/>
                </a:lnTo>
                <a:lnTo>
                  <a:pt x="566" y="133"/>
                </a:lnTo>
                <a:lnTo>
                  <a:pt x="566" y="133"/>
                </a:lnTo>
                <a:lnTo>
                  <a:pt x="569" y="140"/>
                </a:lnTo>
                <a:lnTo>
                  <a:pt x="569" y="140"/>
                </a:lnTo>
                <a:lnTo>
                  <a:pt x="569" y="140"/>
                </a:lnTo>
                <a:lnTo>
                  <a:pt x="569" y="148"/>
                </a:lnTo>
                <a:lnTo>
                  <a:pt x="572" y="154"/>
                </a:lnTo>
                <a:lnTo>
                  <a:pt x="575" y="157"/>
                </a:lnTo>
                <a:lnTo>
                  <a:pt x="577" y="158"/>
                </a:lnTo>
                <a:lnTo>
                  <a:pt x="580" y="158"/>
                </a:lnTo>
                <a:lnTo>
                  <a:pt x="580" y="158"/>
                </a:lnTo>
                <a:lnTo>
                  <a:pt x="587" y="158"/>
                </a:lnTo>
                <a:lnTo>
                  <a:pt x="592" y="156"/>
                </a:lnTo>
                <a:lnTo>
                  <a:pt x="597" y="153"/>
                </a:lnTo>
                <a:lnTo>
                  <a:pt x="602" y="149"/>
                </a:lnTo>
                <a:lnTo>
                  <a:pt x="610" y="144"/>
                </a:lnTo>
                <a:lnTo>
                  <a:pt x="614" y="141"/>
                </a:lnTo>
                <a:lnTo>
                  <a:pt x="620" y="140"/>
                </a:lnTo>
                <a:lnTo>
                  <a:pt x="620" y="140"/>
                </a:lnTo>
                <a:lnTo>
                  <a:pt x="625" y="141"/>
                </a:lnTo>
                <a:lnTo>
                  <a:pt x="628" y="142"/>
                </a:lnTo>
                <a:lnTo>
                  <a:pt x="632" y="145"/>
                </a:lnTo>
                <a:lnTo>
                  <a:pt x="634" y="147"/>
                </a:lnTo>
                <a:lnTo>
                  <a:pt x="636" y="154"/>
                </a:lnTo>
                <a:lnTo>
                  <a:pt x="637" y="163"/>
                </a:lnTo>
                <a:lnTo>
                  <a:pt x="637" y="183"/>
                </a:lnTo>
                <a:lnTo>
                  <a:pt x="638" y="192"/>
                </a:lnTo>
                <a:lnTo>
                  <a:pt x="638" y="200"/>
                </a:lnTo>
                <a:lnTo>
                  <a:pt x="638" y="200"/>
                </a:lnTo>
                <a:lnTo>
                  <a:pt x="640" y="205"/>
                </a:lnTo>
                <a:lnTo>
                  <a:pt x="641" y="209"/>
                </a:lnTo>
                <a:lnTo>
                  <a:pt x="643" y="213"/>
                </a:lnTo>
                <a:lnTo>
                  <a:pt x="645" y="214"/>
                </a:lnTo>
                <a:lnTo>
                  <a:pt x="645" y="214"/>
                </a:lnTo>
                <a:lnTo>
                  <a:pt x="641" y="218"/>
                </a:lnTo>
                <a:lnTo>
                  <a:pt x="635" y="222"/>
                </a:lnTo>
                <a:lnTo>
                  <a:pt x="632" y="224"/>
                </a:lnTo>
                <a:lnTo>
                  <a:pt x="628" y="225"/>
                </a:lnTo>
                <a:lnTo>
                  <a:pt x="628" y="225"/>
                </a:lnTo>
                <a:lnTo>
                  <a:pt x="598" y="225"/>
                </a:lnTo>
                <a:lnTo>
                  <a:pt x="598" y="225"/>
                </a:lnTo>
                <a:lnTo>
                  <a:pt x="598" y="234"/>
                </a:lnTo>
                <a:lnTo>
                  <a:pt x="597" y="241"/>
                </a:lnTo>
                <a:lnTo>
                  <a:pt x="595" y="248"/>
                </a:lnTo>
                <a:lnTo>
                  <a:pt x="592" y="254"/>
                </a:lnTo>
                <a:lnTo>
                  <a:pt x="587" y="262"/>
                </a:lnTo>
                <a:lnTo>
                  <a:pt x="580" y="269"/>
                </a:lnTo>
                <a:lnTo>
                  <a:pt x="573" y="275"/>
                </a:lnTo>
                <a:lnTo>
                  <a:pt x="567" y="282"/>
                </a:lnTo>
                <a:lnTo>
                  <a:pt x="565" y="286"/>
                </a:lnTo>
                <a:lnTo>
                  <a:pt x="564" y="291"/>
                </a:lnTo>
                <a:lnTo>
                  <a:pt x="562" y="295"/>
                </a:lnTo>
                <a:lnTo>
                  <a:pt x="561" y="302"/>
                </a:lnTo>
                <a:lnTo>
                  <a:pt x="561" y="302"/>
                </a:lnTo>
                <a:lnTo>
                  <a:pt x="562" y="308"/>
                </a:lnTo>
                <a:lnTo>
                  <a:pt x="564" y="314"/>
                </a:lnTo>
                <a:lnTo>
                  <a:pt x="566" y="318"/>
                </a:lnTo>
                <a:lnTo>
                  <a:pt x="569" y="322"/>
                </a:lnTo>
                <a:lnTo>
                  <a:pt x="573" y="324"/>
                </a:lnTo>
                <a:lnTo>
                  <a:pt x="577" y="326"/>
                </a:lnTo>
                <a:lnTo>
                  <a:pt x="582" y="328"/>
                </a:lnTo>
                <a:lnTo>
                  <a:pt x="587" y="328"/>
                </a:lnTo>
                <a:lnTo>
                  <a:pt x="587" y="328"/>
                </a:lnTo>
                <a:lnTo>
                  <a:pt x="587" y="346"/>
                </a:lnTo>
                <a:lnTo>
                  <a:pt x="587" y="346"/>
                </a:lnTo>
                <a:lnTo>
                  <a:pt x="587" y="354"/>
                </a:lnTo>
                <a:lnTo>
                  <a:pt x="584" y="361"/>
                </a:lnTo>
                <a:lnTo>
                  <a:pt x="581" y="368"/>
                </a:lnTo>
                <a:lnTo>
                  <a:pt x="576" y="374"/>
                </a:lnTo>
                <a:lnTo>
                  <a:pt x="572" y="378"/>
                </a:lnTo>
                <a:lnTo>
                  <a:pt x="566" y="383"/>
                </a:lnTo>
                <a:lnTo>
                  <a:pt x="552" y="392"/>
                </a:lnTo>
                <a:lnTo>
                  <a:pt x="538" y="402"/>
                </a:lnTo>
                <a:lnTo>
                  <a:pt x="526" y="413"/>
                </a:lnTo>
                <a:lnTo>
                  <a:pt x="520" y="419"/>
                </a:lnTo>
                <a:lnTo>
                  <a:pt x="514" y="425"/>
                </a:lnTo>
                <a:lnTo>
                  <a:pt x="510" y="434"/>
                </a:lnTo>
                <a:lnTo>
                  <a:pt x="506" y="442"/>
                </a:lnTo>
                <a:lnTo>
                  <a:pt x="506" y="442"/>
                </a:lnTo>
                <a:lnTo>
                  <a:pt x="498" y="423"/>
                </a:lnTo>
                <a:lnTo>
                  <a:pt x="493" y="414"/>
                </a:lnTo>
                <a:lnTo>
                  <a:pt x="488" y="407"/>
                </a:lnTo>
                <a:lnTo>
                  <a:pt x="481" y="400"/>
                </a:lnTo>
                <a:lnTo>
                  <a:pt x="473" y="394"/>
                </a:lnTo>
                <a:lnTo>
                  <a:pt x="461" y="392"/>
                </a:lnTo>
                <a:lnTo>
                  <a:pt x="447" y="391"/>
                </a:lnTo>
                <a:lnTo>
                  <a:pt x="447" y="391"/>
                </a:lnTo>
                <a:lnTo>
                  <a:pt x="443" y="391"/>
                </a:lnTo>
                <a:lnTo>
                  <a:pt x="437" y="393"/>
                </a:lnTo>
                <a:lnTo>
                  <a:pt x="428" y="398"/>
                </a:lnTo>
                <a:lnTo>
                  <a:pt x="419" y="402"/>
                </a:lnTo>
                <a:lnTo>
                  <a:pt x="415" y="405"/>
                </a:lnTo>
                <a:lnTo>
                  <a:pt x="411" y="405"/>
                </a:lnTo>
                <a:lnTo>
                  <a:pt x="411" y="405"/>
                </a:lnTo>
                <a:lnTo>
                  <a:pt x="406" y="405"/>
                </a:lnTo>
                <a:lnTo>
                  <a:pt x="403" y="402"/>
                </a:lnTo>
                <a:lnTo>
                  <a:pt x="399" y="400"/>
                </a:lnTo>
                <a:lnTo>
                  <a:pt x="397" y="397"/>
                </a:lnTo>
                <a:lnTo>
                  <a:pt x="392" y="390"/>
                </a:lnTo>
                <a:lnTo>
                  <a:pt x="389" y="386"/>
                </a:lnTo>
                <a:lnTo>
                  <a:pt x="385" y="383"/>
                </a:lnTo>
                <a:lnTo>
                  <a:pt x="385" y="383"/>
                </a:lnTo>
                <a:lnTo>
                  <a:pt x="378" y="379"/>
                </a:lnTo>
                <a:lnTo>
                  <a:pt x="371" y="377"/>
                </a:lnTo>
                <a:lnTo>
                  <a:pt x="360" y="374"/>
                </a:lnTo>
                <a:lnTo>
                  <a:pt x="350" y="373"/>
                </a:lnTo>
                <a:lnTo>
                  <a:pt x="340" y="370"/>
                </a:lnTo>
                <a:lnTo>
                  <a:pt x="337" y="369"/>
                </a:lnTo>
                <a:lnTo>
                  <a:pt x="333" y="367"/>
                </a:lnTo>
                <a:lnTo>
                  <a:pt x="330" y="364"/>
                </a:lnTo>
                <a:lnTo>
                  <a:pt x="327" y="360"/>
                </a:lnTo>
                <a:lnTo>
                  <a:pt x="324" y="354"/>
                </a:lnTo>
                <a:lnTo>
                  <a:pt x="321" y="347"/>
                </a:lnTo>
                <a:lnTo>
                  <a:pt x="315" y="328"/>
                </a:lnTo>
                <a:lnTo>
                  <a:pt x="315" y="328"/>
                </a:lnTo>
                <a:lnTo>
                  <a:pt x="310" y="330"/>
                </a:lnTo>
                <a:lnTo>
                  <a:pt x="306" y="333"/>
                </a:lnTo>
                <a:lnTo>
                  <a:pt x="299" y="340"/>
                </a:lnTo>
                <a:lnTo>
                  <a:pt x="293" y="347"/>
                </a:lnTo>
                <a:lnTo>
                  <a:pt x="290" y="350"/>
                </a:lnTo>
                <a:lnTo>
                  <a:pt x="286" y="350"/>
                </a:lnTo>
                <a:lnTo>
                  <a:pt x="286" y="350"/>
                </a:lnTo>
                <a:lnTo>
                  <a:pt x="253" y="350"/>
                </a:lnTo>
                <a:lnTo>
                  <a:pt x="253" y="350"/>
                </a:lnTo>
                <a:lnTo>
                  <a:pt x="244" y="350"/>
                </a:lnTo>
                <a:lnTo>
                  <a:pt x="236" y="346"/>
                </a:lnTo>
                <a:lnTo>
                  <a:pt x="229" y="343"/>
                </a:lnTo>
                <a:lnTo>
                  <a:pt x="224" y="338"/>
                </a:lnTo>
                <a:lnTo>
                  <a:pt x="218" y="332"/>
                </a:lnTo>
                <a:lnTo>
                  <a:pt x="215" y="325"/>
                </a:lnTo>
                <a:lnTo>
                  <a:pt x="208" y="312"/>
                </a:lnTo>
                <a:lnTo>
                  <a:pt x="200" y="298"/>
                </a:lnTo>
                <a:lnTo>
                  <a:pt x="195" y="291"/>
                </a:lnTo>
                <a:lnTo>
                  <a:pt x="191" y="285"/>
                </a:lnTo>
                <a:lnTo>
                  <a:pt x="185" y="280"/>
                </a:lnTo>
                <a:lnTo>
                  <a:pt x="177" y="276"/>
                </a:lnTo>
                <a:lnTo>
                  <a:pt x="168" y="274"/>
                </a:lnTo>
                <a:lnTo>
                  <a:pt x="157" y="272"/>
                </a:lnTo>
                <a:lnTo>
                  <a:pt x="157" y="272"/>
                </a:lnTo>
                <a:lnTo>
                  <a:pt x="128" y="272"/>
                </a:lnTo>
                <a:lnTo>
                  <a:pt x="128" y="272"/>
                </a:lnTo>
                <a:lnTo>
                  <a:pt x="122" y="272"/>
                </a:lnTo>
                <a:lnTo>
                  <a:pt x="116" y="271"/>
                </a:lnTo>
                <a:lnTo>
                  <a:pt x="104" y="267"/>
                </a:lnTo>
                <a:lnTo>
                  <a:pt x="93" y="261"/>
                </a:lnTo>
                <a:lnTo>
                  <a:pt x="81" y="252"/>
                </a:lnTo>
                <a:lnTo>
                  <a:pt x="70" y="242"/>
                </a:lnTo>
                <a:lnTo>
                  <a:pt x="60" y="231"/>
                </a:lnTo>
                <a:lnTo>
                  <a:pt x="50" y="219"/>
                </a:lnTo>
                <a:lnTo>
                  <a:pt x="40" y="207"/>
                </a:lnTo>
                <a:lnTo>
                  <a:pt x="24" y="183"/>
                </a:lnTo>
                <a:lnTo>
                  <a:pt x="11" y="161"/>
                </a:lnTo>
                <a:lnTo>
                  <a:pt x="0" y="140"/>
                </a:lnTo>
                <a:lnTo>
                  <a:pt x="0" y="140"/>
                </a:lnTo>
                <a:lnTo>
                  <a:pt x="0" y="14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2" name="Freeform 67"/>
          <p:cNvSpPr>
            <a:spLocks/>
          </p:cNvSpPr>
          <p:nvPr/>
        </p:nvSpPr>
        <p:spPr bwMode="auto">
          <a:xfrm>
            <a:off x="827088" y="3668713"/>
            <a:ext cx="360362" cy="306387"/>
          </a:xfrm>
          <a:custGeom>
            <a:avLst/>
            <a:gdLst/>
            <a:ahLst/>
            <a:cxnLst>
              <a:cxn ang="0">
                <a:pos x="199" y="17"/>
              </a:cxn>
              <a:cxn ang="0">
                <a:pos x="186" y="2"/>
              </a:cxn>
              <a:cxn ang="0">
                <a:pos x="181" y="0"/>
              </a:cxn>
              <a:cxn ang="0">
                <a:pos x="172" y="4"/>
              </a:cxn>
              <a:cxn ang="0">
                <a:pos x="162" y="10"/>
              </a:cxn>
              <a:cxn ang="0">
                <a:pos x="156" y="21"/>
              </a:cxn>
              <a:cxn ang="0">
                <a:pos x="137" y="31"/>
              </a:cxn>
              <a:cxn ang="0">
                <a:pos x="121" y="39"/>
              </a:cxn>
              <a:cxn ang="0">
                <a:pos x="107" y="60"/>
              </a:cxn>
              <a:cxn ang="0">
                <a:pos x="92" y="82"/>
              </a:cxn>
              <a:cxn ang="0">
                <a:pos x="75" y="90"/>
              </a:cxn>
              <a:cxn ang="0">
                <a:pos x="55" y="91"/>
              </a:cxn>
              <a:cxn ang="0">
                <a:pos x="36" y="163"/>
              </a:cxn>
              <a:cxn ang="0">
                <a:pos x="29" y="194"/>
              </a:cxn>
              <a:cxn ang="0">
                <a:pos x="35" y="217"/>
              </a:cxn>
              <a:cxn ang="0">
                <a:pos x="34" y="235"/>
              </a:cxn>
              <a:cxn ang="0">
                <a:pos x="27" y="240"/>
              </a:cxn>
              <a:cxn ang="0">
                <a:pos x="7" y="241"/>
              </a:cxn>
              <a:cxn ang="0">
                <a:pos x="0" y="246"/>
              </a:cxn>
              <a:cxn ang="0">
                <a:pos x="9" y="263"/>
              </a:cxn>
              <a:cxn ang="0">
                <a:pos x="26" y="283"/>
              </a:cxn>
              <a:cxn ang="0">
                <a:pos x="30" y="300"/>
              </a:cxn>
              <a:cxn ang="0">
                <a:pos x="26" y="315"/>
              </a:cxn>
              <a:cxn ang="0">
                <a:pos x="22" y="330"/>
              </a:cxn>
              <a:cxn ang="0">
                <a:pos x="29" y="345"/>
              </a:cxn>
              <a:cxn ang="0">
                <a:pos x="46" y="348"/>
              </a:cxn>
              <a:cxn ang="0">
                <a:pos x="70" y="347"/>
              </a:cxn>
              <a:cxn ang="0">
                <a:pos x="105" y="340"/>
              </a:cxn>
              <a:cxn ang="0">
                <a:pos x="182" y="306"/>
              </a:cxn>
              <a:cxn ang="0">
                <a:pos x="213" y="293"/>
              </a:cxn>
              <a:cxn ang="0">
                <a:pos x="234" y="331"/>
              </a:cxn>
              <a:cxn ang="0">
                <a:pos x="243" y="340"/>
              </a:cxn>
              <a:cxn ang="0">
                <a:pos x="257" y="330"/>
              </a:cxn>
              <a:cxn ang="0">
                <a:pos x="267" y="337"/>
              </a:cxn>
              <a:cxn ang="0">
                <a:pos x="283" y="352"/>
              </a:cxn>
              <a:cxn ang="0">
                <a:pos x="293" y="352"/>
              </a:cxn>
              <a:cxn ang="0">
                <a:pos x="302" y="344"/>
              </a:cxn>
              <a:cxn ang="0">
                <a:pos x="312" y="334"/>
              </a:cxn>
              <a:cxn ang="0">
                <a:pos x="340" y="327"/>
              </a:cxn>
              <a:cxn ang="0">
                <a:pos x="367" y="312"/>
              </a:cxn>
              <a:cxn ang="0">
                <a:pos x="388" y="292"/>
              </a:cxn>
              <a:cxn ang="0">
                <a:pos x="425" y="243"/>
              </a:cxn>
              <a:cxn ang="0">
                <a:pos x="441" y="223"/>
              </a:cxn>
              <a:cxn ang="0">
                <a:pos x="425" y="212"/>
              </a:cxn>
              <a:cxn ang="0">
                <a:pos x="408" y="182"/>
              </a:cxn>
              <a:cxn ang="0">
                <a:pos x="391" y="160"/>
              </a:cxn>
              <a:cxn ang="0">
                <a:pos x="370" y="151"/>
              </a:cxn>
              <a:cxn ang="0">
                <a:pos x="331" y="149"/>
              </a:cxn>
              <a:cxn ang="0">
                <a:pos x="309" y="145"/>
              </a:cxn>
              <a:cxn ang="0">
                <a:pos x="280" y="124"/>
              </a:cxn>
              <a:cxn ang="0">
                <a:pos x="255" y="92"/>
              </a:cxn>
              <a:cxn ang="0">
                <a:pos x="210" y="25"/>
              </a:cxn>
              <a:cxn ang="0">
                <a:pos x="195" y="10"/>
              </a:cxn>
            </a:cxnLst>
            <a:rect l="0" t="0" r="r" b="b"/>
            <a:pathLst>
              <a:path w="441" h="352">
                <a:moveTo>
                  <a:pt x="203" y="17"/>
                </a:moveTo>
                <a:lnTo>
                  <a:pt x="203" y="17"/>
                </a:lnTo>
                <a:lnTo>
                  <a:pt x="199" y="17"/>
                </a:lnTo>
                <a:lnTo>
                  <a:pt x="196" y="15"/>
                </a:lnTo>
                <a:lnTo>
                  <a:pt x="190" y="8"/>
                </a:lnTo>
                <a:lnTo>
                  <a:pt x="186" y="2"/>
                </a:lnTo>
                <a:lnTo>
                  <a:pt x="183" y="0"/>
                </a:lnTo>
                <a:lnTo>
                  <a:pt x="181" y="0"/>
                </a:lnTo>
                <a:lnTo>
                  <a:pt x="181" y="0"/>
                </a:lnTo>
                <a:lnTo>
                  <a:pt x="177" y="0"/>
                </a:lnTo>
                <a:lnTo>
                  <a:pt x="175" y="1"/>
                </a:lnTo>
                <a:lnTo>
                  <a:pt x="172" y="4"/>
                </a:lnTo>
                <a:lnTo>
                  <a:pt x="167" y="8"/>
                </a:lnTo>
                <a:lnTo>
                  <a:pt x="165" y="9"/>
                </a:lnTo>
                <a:lnTo>
                  <a:pt x="162" y="10"/>
                </a:lnTo>
                <a:lnTo>
                  <a:pt x="162" y="10"/>
                </a:lnTo>
                <a:lnTo>
                  <a:pt x="159" y="16"/>
                </a:lnTo>
                <a:lnTo>
                  <a:pt x="156" y="21"/>
                </a:lnTo>
                <a:lnTo>
                  <a:pt x="152" y="24"/>
                </a:lnTo>
                <a:lnTo>
                  <a:pt x="148" y="27"/>
                </a:lnTo>
                <a:lnTo>
                  <a:pt x="137" y="31"/>
                </a:lnTo>
                <a:lnTo>
                  <a:pt x="125" y="35"/>
                </a:lnTo>
                <a:lnTo>
                  <a:pt x="125" y="35"/>
                </a:lnTo>
                <a:lnTo>
                  <a:pt x="121" y="39"/>
                </a:lnTo>
                <a:lnTo>
                  <a:pt x="118" y="42"/>
                </a:lnTo>
                <a:lnTo>
                  <a:pt x="112" y="50"/>
                </a:lnTo>
                <a:lnTo>
                  <a:pt x="107" y="60"/>
                </a:lnTo>
                <a:lnTo>
                  <a:pt x="103" y="69"/>
                </a:lnTo>
                <a:lnTo>
                  <a:pt x="97" y="77"/>
                </a:lnTo>
                <a:lnTo>
                  <a:pt x="92" y="82"/>
                </a:lnTo>
                <a:lnTo>
                  <a:pt x="88" y="85"/>
                </a:lnTo>
                <a:lnTo>
                  <a:pt x="82" y="87"/>
                </a:lnTo>
                <a:lnTo>
                  <a:pt x="75" y="90"/>
                </a:lnTo>
                <a:lnTo>
                  <a:pt x="66" y="91"/>
                </a:lnTo>
                <a:lnTo>
                  <a:pt x="55" y="91"/>
                </a:lnTo>
                <a:lnTo>
                  <a:pt x="55" y="91"/>
                </a:lnTo>
                <a:lnTo>
                  <a:pt x="50" y="118"/>
                </a:lnTo>
                <a:lnTo>
                  <a:pt x="43" y="141"/>
                </a:lnTo>
                <a:lnTo>
                  <a:pt x="36" y="163"/>
                </a:lnTo>
                <a:lnTo>
                  <a:pt x="30" y="186"/>
                </a:lnTo>
                <a:lnTo>
                  <a:pt x="30" y="186"/>
                </a:lnTo>
                <a:lnTo>
                  <a:pt x="29" y="194"/>
                </a:lnTo>
                <a:lnTo>
                  <a:pt x="30" y="200"/>
                </a:lnTo>
                <a:lnTo>
                  <a:pt x="34" y="212"/>
                </a:lnTo>
                <a:lnTo>
                  <a:pt x="35" y="217"/>
                </a:lnTo>
                <a:lnTo>
                  <a:pt x="36" y="222"/>
                </a:lnTo>
                <a:lnTo>
                  <a:pt x="35" y="228"/>
                </a:lnTo>
                <a:lnTo>
                  <a:pt x="34" y="235"/>
                </a:lnTo>
                <a:lnTo>
                  <a:pt x="34" y="235"/>
                </a:lnTo>
                <a:lnTo>
                  <a:pt x="30" y="238"/>
                </a:lnTo>
                <a:lnTo>
                  <a:pt x="27" y="240"/>
                </a:lnTo>
                <a:lnTo>
                  <a:pt x="22" y="241"/>
                </a:lnTo>
                <a:lnTo>
                  <a:pt x="16" y="241"/>
                </a:lnTo>
                <a:lnTo>
                  <a:pt x="7" y="241"/>
                </a:lnTo>
                <a:lnTo>
                  <a:pt x="0" y="241"/>
                </a:lnTo>
                <a:lnTo>
                  <a:pt x="0" y="241"/>
                </a:lnTo>
                <a:lnTo>
                  <a:pt x="0" y="246"/>
                </a:lnTo>
                <a:lnTo>
                  <a:pt x="1" y="251"/>
                </a:lnTo>
                <a:lnTo>
                  <a:pt x="5" y="258"/>
                </a:lnTo>
                <a:lnTo>
                  <a:pt x="9" y="263"/>
                </a:lnTo>
                <a:lnTo>
                  <a:pt x="15" y="269"/>
                </a:lnTo>
                <a:lnTo>
                  <a:pt x="21" y="276"/>
                </a:lnTo>
                <a:lnTo>
                  <a:pt x="26" y="283"/>
                </a:lnTo>
                <a:lnTo>
                  <a:pt x="29" y="291"/>
                </a:lnTo>
                <a:lnTo>
                  <a:pt x="29" y="296"/>
                </a:lnTo>
                <a:lnTo>
                  <a:pt x="30" y="300"/>
                </a:lnTo>
                <a:lnTo>
                  <a:pt x="30" y="300"/>
                </a:lnTo>
                <a:lnTo>
                  <a:pt x="29" y="308"/>
                </a:lnTo>
                <a:lnTo>
                  <a:pt x="26" y="315"/>
                </a:lnTo>
                <a:lnTo>
                  <a:pt x="23" y="322"/>
                </a:lnTo>
                <a:lnTo>
                  <a:pt x="22" y="330"/>
                </a:lnTo>
                <a:lnTo>
                  <a:pt x="22" y="330"/>
                </a:lnTo>
                <a:lnTo>
                  <a:pt x="23" y="337"/>
                </a:lnTo>
                <a:lnTo>
                  <a:pt x="26" y="342"/>
                </a:lnTo>
                <a:lnTo>
                  <a:pt x="29" y="345"/>
                </a:lnTo>
                <a:lnTo>
                  <a:pt x="34" y="347"/>
                </a:lnTo>
                <a:lnTo>
                  <a:pt x="39" y="348"/>
                </a:lnTo>
                <a:lnTo>
                  <a:pt x="46" y="348"/>
                </a:lnTo>
                <a:lnTo>
                  <a:pt x="59" y="348"/>
                </a:lnTo>
                <a:lnTo>
                  <a:pt x="59" y="348"/>
                </a:lnTo>
                <a:lnTo>
                  <a:pt x="70" y="347"/>
                </a:lnTo>
                <a:lnTo>
                  <a:pt x="82" y="346"/>
                </a:lnTo>
                <a:lnTo>
                  <a:pt x="93" y="344"/>
                </a:lnTo>
                <a:lnTo>
                  <a:pt x="105" y="340"/>
                </a:lnTo>
                <a:lnTo>
                  <a:pt x="126" y="334"/>
                </a:lnTo>
                <a:lnTo>
                  <a:pt x="146" y="324"/>
                </a:lnTo>
                <a:lnTo>
                  <a:pt x="182" y="306"/>
                </a:lnTo>
                <a:lnTo>
                  <a:pt x="198" y="299"/>
                </a:lnTo>
                <a:lnTo>
                  <a:pt x="213" y="293"/>
                </a:lnTo>
                <a:lnTo>
                  <a:pt x="213" y="293"/>
                </a:lnTo>
                <a:lnTo>
                  <a:pt x="220" y="307"/>
                </a:lnTo>
                <a:lnTo>
                  <a:pt x="227" y="320"/>
                </a:lnTo>
                <a:lnTo>
                  <a:pt x="234" y="331"/>
                </a:lnTo>
                <a:lnTo>
                  <a:pt x="237" y="337"/>
                </a:lnTo>
                <a:lnTo>
                  <a:pt x="243" y="340"/>
                </a:lnTo>
                <a:lnTo>
                  <a:pt x="243" y="340"/>
                </a:lnTo>
                <a:lnTo>
                  <a:pt x="248" y="338"/>
                </a:lnTo>
                <a:lnTo>
                  <a:pt x="251" y="336"/>
                </a:lnTo>
                <a:lnTo>
                  <a:pt x="257" y="330"/>
                </a:lnTo>
                <a:lnTo>
                  <a:pt x="257" y="330"/>
                </a:lnTo>
                <a:lnTo>
                  <a:pt x="263" y="332"/>
                </a:lnTo>
                <a:lnTo>
                  <a:pt x="267" y="337"/>
                </a:lnTo>
                <a:lnTo>
                  <a:pt x="274" y="344"/>
                </a:lnTo>
                <a:lnTo>
                  <a:pt x="280" y="350"/>
                </a:lnTo>
                <a:lnTo>
                  <a:pt x="283" y="352"/>
                </a:lnTo>
                <a:lnTo>
                  <a:pt x="287" y="352"/>
                </a:lnTo>
                <a:lnTo>
                  <a:pt x="287" y="352"/>
                </a:lnTo>
                <a:lnTo>
                  <a:pt x="293" y="352"/>
                </a:lnTo>
                <a:lnTo>
                  <a:pt x="297" y="350"/>
                </a:lnTo>
                <a:lnTo>
                  <a:pt x="299" y="347"/>
                </a:lnTo>
                <a:lnTo>
                  <a:pt x="302" y="344"/>
                </a:lnTo>
                <a:lnTo>
                  <a:pt x="305" y="338"/>
                </a:lnTo>
                <a:lnTo>
                  <a:pt x="309" y="336"/>
                </a:lnTo>
                <a:lnTo>
                  <a:pt x="312" y="334"/>
                </a:lnTo>
                <a:lnTo>
                  <a:pt x="312" y="334"/>
                </a:lnTo>
                <a:lnTo>
                  <a:pt x="327" y="330"/>
                </a:lnTo>
                <a:lnTo>
                  <a:pt x="340" y="327"/>
                </a:lnTo>
                <a:lnTo>
                  <a:pt x="350" y="322"/>
                </a:lnTo>
                <a:lnTo>
                  <a:pt x="359" y="317"/>
                </a:lnTo>
                <a:lnTo>
                  <a:pt x="367" y="312"/>
                </a:lnTo>
                <a:lnTo>
                  <a:pt x="375" y="306"/>
                </a:lnTo>
                <a:lnTo>
                  <a:pt x="382" y="299"/>
                </a:lnTo>
                <a:lnTo>
                  <a:pt x="388" y="292"/>
                </a:lnTo>
                <a:lnTo>
                  <a:pt x="400" y="277"/>
                </a:lnTo>
                <a:lnTo>
                  <a:pt x="411" y="260"/>
                </a:lnTo>
                <a:lnTo>
                  <a:pt x="425" y="243"/>
                </a:lnTo>
                <a:lnTo>
                  <a:pt x="433" y="233"/>
                </a:lnTo>
                <a:lnTo>
                  <a:pt x="441" y="223"/>
                </a:lnTo>
                <a:lnTo>
                  <a:pt x="441" y="223"/>
                </a:lnTo>
                <a:lnTo>
                  <a:pt x="435" y="220"/>
                </a:lnTo>
                <a:lnTo>
                  <a:pt x="429" y="216"/>
                </a:lnTo>
                <a:lnTo>
                  <a:pt x="425" y="212"/>
                </a:lnTo>
                <a:lnTo>
                  <a:pt x="421" y="206"/>
                </a:lnTo>
                <a:lnTo>
                  <a:pt x="415" y="193"/>
                </a:lnTo>
                <a:lnTo>
                  <a:pt x="408" y="182"/>
                </a:lnTo>
                <a:lnTo>
                  <a:pt x="401" y="169"/>
                </a:lnTo>
                <a:lnTo>
                  <a:pt x="396" y="164"/>
                </a:lnTo>
                <a:lnTo>
                  <a:pt x="391" y="160"/>
                </a:lnTo>
                <a:lnTo>
                  <a:pt x="385" y="155"/>
                </a:lnTo>
                <a:lnTo>
                  <a:pt x="378" y="153"/>
                </a:lnTo>
                <a:lnTo>
                  <a:pt x="370" y="151"/>
                </a:lnTo>
                <a:lnTo>
                  <a:pt x="360" y="149"/>
                </a:lnTo>
                <a:lnTo>
                  <a:pt x="360" y="149"/>
                </a:lnTo>
                <a:lnTo>
                  <a:pt x="331" y="149"/>
                </a:lnTo>
                <a:lnTo>
                  <a:pt x="331" y="149"/>
                </a:lnTo>
                <a:lnTo>
                  <a:pt x="319" y="148"/>
                </a:lnTo>
                <a:lnTo>
                  <a:pt x="309" y="145"/>
                </a:lnTo>
                <a:lnTo>
                  <a:pt x="298" y="140"/>
                </a:lnTo>
                <a:lnTo>
                  <a:pt x="289" y="132"/>
                </a:lnTo>
                <a:lnTo>
                  <a:pt x="280" y="124"/>
                </a:lnTo>
                <a:lnTo>
                  <a:pt x="271" y="115"/>
                </a:lnTo>
                <a:lnTo>
                  <a:pt x="263" y="103"/>
                </a:lnTo>
                <a:lnTo>
                  <a:pt x="255" y="92"/>
                </a:lnTo>
                <a:lnTo>
                  <a:pt x="240" y="69"/>
                </a:lnTo>
                <a:lnTo>
                  <a:pt x="225" y="46"/>
                </a:lnTo>
                <a:lnTo>
                  <a:pt x="210" y="25"/>
                </a:lnTo>
                <a:lnTo>
                  <a:pt x="203" y="17"/>
                </a:lnTo>
                <a:lnTo>
                  <a:pt x="195" y="10"/>
                </a:lnTo>
                <a:lnTo>
                  <a:pt x="195" y="10"/>
                </a:lnTo>
                <a:lnTo>
                  <a:pt x="203" y="17"/>
                </a:lnTo>
                <a:lnTo>
                  <a:pt x="203" y="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3" name="Freeform 68"/>
          <p:cNvSpPr>
            <a:spLocks/>
          </p:cNvSpPr>
          <p:nvPr/>
        </p:nvSpPr>
        <p:spPr bwMode="auto">
          <a:xfrm>
            <a:off x="1362075" y="3944938"/>
            <a:ext cx="242888" cy="350837"/>
          </a:xfrm>
          <a:custGeom>
            <a:avLst/>
            <a:gdLst/>
            <a:ahLst/>
            <a:cxnLst>
              <a:cxn ang="0">
                <a:pos x="118" y="393"/>
              </a:cxn>
              <a:cxn ang="0">
                <a:pos x="125" y="376"/>
              </a:cxn>
              <a:cxn ang="0">
                <a:pos x="145" y="361"/>
              </a:cxn>
              <a:cxn ang="0">
                <a:pos x="204" y="345"/>
              </a:cxn>
              <a:cxn ang="0">
                <a:pos x="251" y="333"/>
              </a:cxn>
              <a:cxn ang="0">
                <a:pos x="277" y="318"/>
              </a:cxn>
              <a:cxn ang="0">
                <a:pos x="291" y="302"/>
              </a:cxn>
              <a:cxn ang="0">
                <a:pos x="298" y="279"/>
              </a:cxn>
              <a:cxn ang="0">
                <a:pos x="278" y="269"/>
              </a:cxn>
              <a:cxn ang="0">
                <a:pos x="258" y="261"/>
              </a:cxn>
              <a:cxn ang="0">
                <a:pos x="250" y="253"/>
              </a:cxn>
              <a:cxn ang="0">
                <a:pos x="245" y="235"/>
              </a:cxn>
              <a:cxn ang="0">
                <a:pos x="232" y="223"/>
              </a:cxn>
              <a:cxn ang="0">
                <a:pos x="206" y="203"/>
              </a:cxn>
              <a:cxn ang="0">
                <a:pos x="199" y="192"/>
              </a:cxn>
              <a:cxn ang="0">
                <a:pos x="195" y="166"/>
              </a:cxn>
              <a:cxn ang="0">
                <a:pos x="181" y="154"/>
              </a:cxn>
              <a:cxn ang="0">
                <a:pos x="167" y="151"/>
              </a:cxn>
              <a:cxn ang="0">
                <a:pos x="138" y="143"/>
              </a:cxn>
              <a:cxn ang="0">
                <a:pos x="133" y="133"/>
              </a:cxn>
              <a:cxn ang="0">
                <a:pos x="133" y="124"/>
              </a:cxn>
              <a:cxn ang="0">
                <a:pos x="143" y="107"/>
              </a:cxn>
              <a:cxn ang="0">
                <a:pos x="144" y="95"/>
              </a:cxn>
              <a:cxn ang="0">
                <a:pos x="138" y="78"/>
              </a:cxn>
              <a:cxn ang="0">
                <a:pos x="129" y="63"/>
              </a:cxn>
              <a:cxn ang="0">
                <a:pos x="109" y="78"/>
              </a:cxn>
              <a:cxn ang="0">
                <a:pos x="92" y="81"/>
              </a:cxn>
              <a:cxn ang="0">
                <a:pos x="84" y="79"/>
              </a:cxn>
              <a:cxn ang="0">
                <a:pos x="64" y="61"/>
              </a:cxn>
              <a:cxn ang="0">
                <a:pos x="53" y="32"/>
              </a:cxn>
              <a:cxn ang="0">
                <a:pos x="53" y="11"/>
              </a:cxn>
              <a:cxn ang="0">
                <a:pos x="55" y="0"/>
              </a:cxn>
              <a:cxn ang="0">
                <a:pos x="52" y="11"/>
              </a:cxn>
              <a:cxn ang="0">
                <a:pos x="21" y="50"/>
              </a:cxn>
              <a:cxn ang="0">
                <a:pos x="3" y="78"/>
              </a:cxn>
              <a:cxn ang="0">
                <a:pos x="0" y="99"/>
              </a:cxn>
              <a:cxn ang="0">
                <a:pos x="3" y="118"/>
              </a:cxn>
              <a:cxn ang="0">
                <a:pos x="19" y="151"/>
              </a:cxn>
              <a:cxn ang="0">
                <a:pos x="49" y="195"/>
              </a:cxn>
              <a:cxn ang="0">
                <a:pos x="59" y="219"/>
              </a:cxn>
              <a:cxn ang="0">
                <a:pos x="59" y="238"/>
              </a:cxn>
              <a:cxn ang="0">
                <a:pos x="52" y="261"/>
              </a:cxn>
              <a:cxn ang="0">
                <a:pos x="52" y="301"/>
              </a:cxn>
              <a:cxn ang="0">
                <a:pos x="59" y="318"/>
              </a:cxn>
              <a:cxn ang="0">
                <a:pos x="72" y="330"/>
              </a:cxn>
              <a:cxn ang="0">
                <a:pos x="85" y="344"/>
              </a:cxn>
              <a:cxn ang="0">
                <a:pos x="99" y="367"/>
              </a:cxn>
              <a:cxn ang="0">
                <a:pos x="116" y="382"/>
              </a:cxn>
              <a:cxn ang="0">
                <a:pos x="118" y="400"/>
              </a:cxn>
            </a:cxnLst>
            <a:rect l="0" t="0" r="r" b="b"/>
            <a:pathLst>
              <a:path w="298" h="400">
                <a:moveTo>
                  <a:pt x="118" y="400"/>
                </a:moveTo>
                <a:lnTo>
                  <a:pt x="118" y="400"/>
                </a:lnTo>
                <a:lnTo>
                  <a:pt x="118" y="393"/>
                </a:lnTo>
                <a:lnTo>
                  <a:pt x="120" y="386"/>
                </a:lnTo>
                <a:lnTo>
                  <a:pt x="122" y="380"/>
                </a:lnTo>
                <a:lnTo>
                  <a:pt x="125" y="376"/>
                </a:lnTo>
                <a:lnTo>
                  <a:pt x="129" y="371"/>
                </a:lnTo>
                <a:lnTo>
                  <a:pt x="133" y="367"/>
                </a:lnTo>
                <a:lnTo>
                  <a:pt x="145" y="361"/>
                </a:lnTo>
                <a:lnTo>
                  <a:pt x="157" y="355"/>
                </a:lnTo>
                <a:lnTo>
                  <a:pt x="171" y="352"/>
                </a:lnTo>
                <a:lnTo>
                  <a:pt x="204" y="345"/>
                </a:lnTo>
                <a:lnTo>
                  <a:pt x="220" y="342"/>
                </a:lnTo>
                <a:lnTo>
                  <a:pt x="236" y="338"/>
                </a:lnTo>
                <a:lnTo>
                  <a:pt x="251" y="333"/>
                </a:lnTo>
                <a:lnTo>
                  <a:pt x="265" y="326"/>
                </a:lnTo>
                <a:lnTo>
                  <a:pt x="271" y="323"/>
                </a:lnTo>
                <a:lnTo>
                  <a:pt x="277" y="318"/>
                </a:lnTo>
                <a:lnTo>
                  <a:pt x="282" y="314"/>
                </a:lnTo>
                <a:lnTo>
                  <a:pt x="286" y="308"/>
                </a:lnTo>
                <a:lnTo>
                  <a:pt x="291" y="302"/>
                </a:lnTo>
                <a:lnTo>
                  <a:pt x="294" y="295"/>
                </a:lnTo>
                <a:lnTo>
                  <a:pt x="297" y="287"/>
                </a:lnTo>
                <a:lnTo>
                  <a:pt x="298" y="279"/>
                </a:lnTo>
                <a:lnTo>
                  <a:pt x="298" y="279"/>
                </a:lnTo>
                <a:lnTo>
                  <a:pt x="289" y="275"/>
                </a:lnTo>
                <a:lnTo>
                  <a:pt x="278" y="269"/>
                </a:lnTo>
                <a:lnTo>
                  <a:pt x="271" y="265"/>
                </a:lnTo>
                <a:lnTo>
                  <a:pt x="266" y="263"/>
                </a:lnTo>
                <a:lnTo>
                  <a:pt x="258" y="261"/>
                </a:lnTo>
                <a:lnTo>
                  <a:pt x="251" y="261"/>
                </a:lnTo>
                <a:lnTo>
                  <a:pt x="251" y="261"/>
                </a:lnTo>
                <a:lnTo>
                  <a:pt x="250" y="253"/>
                </a:lnTo>
                <a:lnTo>
                  <a:pt x="248" y="246"/>
                </a:lnTo>
                <a:lnTo>
                  <a:pt x="247" y="241"/>
                </a:lnTo>
                <a:lnTo>
                  <a:pt x="245" y="235"/>
                </a:lnTo>
                <a:lnTo>
                  <a:pt x="243" y="232"/>
                </a:lnTo>
                <a:lnTo>
                  <a:pt x="239" y="229"/>
                </a:lnTo>
                <a:lnTo>
                  <a:pt x="232" y="223"/>
                </a:lnTo>
                <a:lnTo>
                  <a:pt x="216" y="212"/>
                </a:lnTo>
                <a:lnTo>
                  <a:pt x="209" y="207"/>
                </a:lnTo>
                <a:lnTo>
                  <a:pt x="206" y="203"/>
                </a:lnTo>
                <a:lnTo>
                  <a:pt x="202" y="199"/>
                </a:lnTo>
                <a:lnTo>
                  <a:pt x="202" y="199"/>
                </a:lnTo>
                <a:lnTo>
                  <a:pt x="199" y="192"/>
                </a:lnTo>
                <a:lnTo>
                  <a:pt x="198" y="185"/>
                </a:lnTo>
                <a:lnTo>
                  <a:pt x="197" y="172"/>
                </a:lnTo>
                <a:lnTo>
                  <a:pt x="195" y="166"/>
                </a:lnTo>
                <a:lnTo>
                  <a:pt x="193" y="162"/>
                </a:lnTo>
                <a:lnTo>
                  <a:pt x="189" y="157"/>
                </a:lnTo>
                <a:lnTo>
                  <a:pt x="181" y="154"/>
                </a:lnTo>
                <a:lnTo>
                  <a:pt x="181" y="154"/>
                </a:lnTo>
                <a:lnTo>
                  <a:pt x="174" y="153"/>
                </a:lnTo>
                <a:lnTo>
                  <a:pt x="167" y="151"/>
                </a:lnTo>
                <a:lnTo>
                  <a:pt x="151" y="149"/>
                </a:lnTo>
                <a:lnTo>
                  <a:pt x="144" y="148"/>
                </a:lnTo>
                <a:lnTo>
                  <a:pt x="138" y="143"/>
                </a:lnTo>
                <a:lnTo>
                  <a:pt x="136" y="141"/>
                </a:lnTo>
                <a:lnTo>
                  <a:pt x="134" y="138"/>
                </a:lnTo>
                <a:lnTo>
                  <a:pt x="133" y="133"/>
                </a:lnTo>
                <a:lnTo>
                  <a:pt x="132" y="128"/>
                </a:lnTo>
                <a:lnTo>
                  <a:pt x="132" y="128"/>
                </a:lnTo>
                <a:lnTo>
                  <a:pt x="133" y="124"/>
                </a:lnTo>
                <a:lnTo>
                  <a:pt x="134" y="119"/>
                </a:lnTo>
                <a:lnTo>
                  <a:pt x="138" y="113"/>
                </a:lnTo>
                <a:lnTo>
                  <a:pt x="143" y="107"/>
                </a:lnTo>
                <a:lnTo>
                  <a:pt x="144" y="102"/>
                </a:lnTo>
                <a:lnTo>
                  <a:pt x="144" y="95"/>
                </a:lnTo>
                <a:lnTo>
                  <a:pt x="144" y="95"/>
                </a:lnTo>
                <a:lnTo>
                  <a:pt x="144" y="90"/>
                </a:lnTo>
                <a:lnTo>
                  <a:pt x="141" y="86"/>
                </a:lnTo>
                <a:lnTo>
                  <a:pt x="138" y="78"/>
                </a:lnTo>
                <a:lnTo>
                  <a:pt x="133" y="70"/>
                </a:lnTo>
                <a:lnTo>
                  <a:pt x="129" y="63"/>
                </a:lnTo>
                <a:lnTo>
                  <a:pt x="129" y="63"/>
                </a:lnTo>
                <a:lnTo>
                  <a:pt x="121" y="70"/>
                </a:lnTo>
                <a:lnTo>
                  <a:pt x="114" y="76"/>
                </a:lnTo>
                <a:lnTo>
                  <a:pt x="109" y="78"/>
                </a:lnTo>
                <a:lnTo>
                  <a:pt x="105" y="79"/>
                </a:lnTo>
                <a:lnTo>
                  <a:pt x="99" y="80"/>
                </a:lnTo>
                <a:lnTo>
                  <a:pt x="92" y="81"/>
                </a:lnTo>
                <a:lnTo>
                  <a:pt x="92" y="81"/>
                </a:lnTo>
                <a:lnTo>
                  <a:pt x="88" y="80"/>
                </a:lnTo>
                <a:lnTo>
                  <a:pt x="84" y="79"/>
                </a:lnTo>
                <a:lnTo>
                  <a:pt x="77" y="76"/>
                </a:lnTo>
                <a:lnTo>
                  <a:pt x="70" y="69"/>
                </a:lnTo>
                <a:lnTo>
                  <a:pt x="64" y="61"/>
                </a:lnTo>
                <a:lnTo>
                  <a:pt x="59" y="52"/>
                </a:lnTo>
                <a:lnTo>
                  <a:pt x="55" y="42"/>
                </a:lnTo>
                <a:lnTo>
                  <a:pt x="53" y="32"/>
                </a:lnTo>
                <a:lnTo>
                  <a:pt x="52" y="21"/>
                </a:lnTo>
                <a:lnTo>
                  <a:pt x="52" y="21"/>
                </a:lnTo>
                <a:lnTo>
                  <a:pt x="53" y="11"/>
                </a:lnTo>
                <a:lnTo>
                  <a:pt x="54" y="4"/>
                </a:lnTo>
                <a:lnTo>
                  <a:pt x="55" y="0"/>
                </a:lnTo>
                <a:lnTo>
                  <a:pt x="55" y="0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46" y="23"/>
                </a:lnTo>
                <a:lnTo>
                  <a:pt x="38" y="32"/>
                </a:lnTo>
                <a:lnTo>
                  <a:pt x="21" y="50"/>
                </a:lnTo>
                <a:lnTo>
                  <a:pt x="13" y="61"/>
                </a:lnTo>
                <a:lnTo>
                  <a:pt x="7" y="71"/>
                </a:lnTo>
                <a:lnTo>
                  <a:pt x="3" y="78"/>
                </a:lnTo>
                <a:lnTo>
                  <a:pt x="2" y="84"/>
                </a:lnTo>
                <a:lnTo>
                  <a:pt x="1" y="92"/>
                </a:lnTo>
                <a:lnTo>
                  <a:pt x="0" y="99"/>
                </a:lnTo>
                <a:lnTo>
                  <a:pt x="0" y="99"/>
                </a:lnTo>
                <a:lnTo>
                  <a:pt x="1" y="109"/>
                </a:lnTo>
                <a:lnTo>
                  <a:pt x="3" y="118"/>
                </a:lnTo>
                <a:lnTo>
                  <a:pt x="6" y="127"/>
                </a:lnTo>
                <a:lnTo>
                  <a:pt x="9" y="135"/>
                </a:lnTo>
                <a:lnTo>
                  <a:pt x="19" y="151"/>
                </a:lnTo>
                <a:lnTo>
                  <a:pt x="30" y="166"/>
                </a:lnTo>
                <a:lnTo>
                  <a:pt x="40" y="180"/>
                </a:lnTo>
                <a:lnTo>
                  <a:pt x="49" y="195"/>
                </a:lnTo>
                <a:lnTo>
                  <a:pt x="54" y="203"/>
                </a:lnTo>
                <a:lnTo>
                  <a:pt x="56" y="210"/>
                </a:lnTo>
                <a:lnTo>
                  <a:pt x="59" y="219"/>
                </a:lnTo>
                <a:lnTo>
                  <a:pt x="59" y="227"/>
                </a:lnTo>
                <a:lnTo>
                  <a:pt x="59" y="227"/>
                </a:lnTo>
                <a:lnTo>
                  <a:pt x="59" y="238"/>
                </a:lnTo>
                <a:lnTo>
                  <a:pt x="57" y="247"/>
                </a:lnTo>
                <a:lnTo>
                  <a:pt x="55" y="254"/>
                </a:lnTo>
                <a:lnTo>
                  <a:pt x="52" y="261"/>
                </a:lnTo>
                <a:lnTo>
                  <a:pt x="52" y="261"/>
                </a:lnTo>
                <a:lnTo>
                  <a:pt x="52" y="301"/>
                </a:lnTo>
                <a:lnTo>
                  <a:pt x="52" y="301"/>
                </a:lnTo>
                <a:lnTo>
                  <a:pt x="53" y="308"/>
                </a:lnTo>
                <a:lnTo>
                  <a:pt x="55" y="314"/>
                </a:lnTo>
                <a:lnTo>
                  <a:pt x="59" y="318"/>
                </a:lnTo>
                <a:lnTo>
                  <a:pt x="63" y="323"/>
                </a:lnTo>
                <a:lnTo>
                  <a:pt x="68" y="328"/>
                </a:lnTo>
                <a:lnTo>
                  <a:pt x="72" y="330"/>
                </a:lnTo>
                <a:lnTo>
                  <a:pt x="82" y="334"/>
                </a:lnTo>
                <a:lnTo>
                  <a:pt x="82" y="334"/>
                </a:lnTo>
                <a:lnTo>
                  <a:pt x="85" y="344"/>
                </a:lnTo>
                <a:lnTo>
                  <a:pt x="88" y="352"/>
                </a:lnTo>
                <a:lnTo>
                  <a:pt x="93" y="360"/>
                </a:lnTo>
                <a:lnTo>
                  <a:pt x="99" y="367"/>
                </a:lnTo>
                <a:lnTo>
                  <a:pt x="105" y="372"/>
                </a:lnTo>
                <a:lnTo>
                  <a:pt x="110" y="378"/>
                </a:lnTo>
                <a:lnTo>
                  <a:pt x="116" y="382"/>
                </a:lnTo>
                <a:lnTo>
                  <a:pt x="122" y="385"/>
                </a:lnTo>
                <a:lnTo>
                  <a:pt x="122" y="385"/>
                </a:lnTo>
                <a:lnTo>
                  <a:pt x="118" y="400"/>
                </a:lnTo>
                <a:lnTo>
                  <a:pt x="118" y="40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4" name="Freeform 69"/>
          <p:cNvSpPr>
            <a:spLocks/>
          </p:cNvSpPr>
          <p:nvPr/>
        </p:nvSpPr>
        <p:spPr bwMode="auto">
          <a:xfrm>
            <a:off x="1120775" y="3846513"/>
            <a:ext cx="288925" cy="368300"/>
          </a:xfrm>
          <a:custGeom>
            <a:avLst/>
            <a:gdLst/>
            <a:ahLst/>
            <a:cxnLst>
              <a:cxn ang="0">
                <a:pos x="341" y="95"/>
              </a:cxn>
              <a:cxn ang="0">
                <a:pos x="324" y="72"/>
              </a:cxn>
              <a:cxn ang="0">
                <a:pos x="290" y="63"/>
              </a:cxn>
              <a:cxn ang="0">
                <a:pos x="280" y="65"/>
              </a:cxn>
              <a:cxn ang="0">
                <a:pos x="258" y="77"/>
              </a:cxn>
              <a:cxn ang="0">
                <a:pos x="249" y="77"/>
              </a:cxn>
              <a:cxn ang="0">
                <a:pos x="240" y="69"/>
              </a:cxn>
              <a:cxn ang="0">
                <a:pos x="228" y="55"/>
              </a:cxn>
              <a:cxn ang="0">
                <a:pos x="214" y="49"/>
              </a:cxn>
              <a:cxn ang="0">
                <a:pos x="183" y="42"/>
              </a:cxn>
              <a:cxn ang="0">
                <a:pos x="173" y="36"/>
              </a:cxn>
              <a:cxn ang="0">
                <a:pos x="164" y="19"/>
              </a:cxn>
              <a:cxn ang="0">
                <a:pos x="153" y="2"/>
              </a:cxn>
              <a:cxn ang="0">
                <a:pos x="136" y="19"/>
              </a:cxn>
              <a:cxn ang="0">
                <a:pos x="129" y="22"/>
              </a:cxn>
              <a:cxn ang="0">
                <a:pos x="90" y="22"/>
              </a:cxn>
              <a:cxn ang="0">
                <a:pos x="78" y="15"/>
              </a:cxn>
              <a:cxn ang="0">
                <a:pos x="56" y="45"/>
              </a:cxn>
              <a:cxn ang="0">
                <a:pos x="22" y="95"/>
              </a:cxn>
              <a:cxn ang="0">
                <a:pos x="0" y="114"/>
              </a:cxn>
              <a:cxn ang="0">
                <a:pos x="25" y="120"/>
              </a:cxn>
              <a:cxn ang="0">
                <a:pos x="44" y="138"/>
              </a:cxn>
              <a:cxn ang="0">
                <a:pos x="59" y="162"/>
              </a:cxn>
              <a:cxn ang="0">
                <a:pos x="73" y="175"/>
              </a:cxn>
              <a:cxn ang="0">
                <a:pos x="99" y="191"/>
              </a:cxn>
              <a:cxn ang="0">
                <a:pos x="110" y="207"/>
              </a:cxn>
              <a:cxn ang="0">
                <a:pos x="114" y="231"/>
              </a:cxn>
              <a:cxn ang="0">
                <a:pos x="112" y="241"/>
              </a:cxn>
              <a:cxn ang="0">
                <a:pos x="101" y="269"/>
              </a:cxn>
              <a:cxn ang="0">
                <a:pos x="101" y="284"/>
              </a:cxn>
              <a:cxn ang="0">
                <a:pos x="107" y="305"/>
              </a:cxn>
              <a:cxn ang="0">
                <a:pos x="124" y="323"/>
              </a:cxn>
              <a:cxn ang="0">
                <a:pos x="140" y="341"/>
              </a:cxn>
              <a:cxn ang="0">
                <a:pos x="147" y="362"/>
              </a:cxn>
              <a:cxn ang="0">
                <a:pos x="147" y="376"/>
              </a:cxn>
              <a:cxn ang="0">
                <a:pos x="133" y="392"/>
              </a:cxn>
              <a:cxn ang="0">
                <a:pos x="126" y="407"/>
              </a:cxn>
              <a:cxn ang="0">
                <a:pos x="127" y="415"/>
              </a:cxn>
              <a:cxn ang="0">
                <a:pos x="135" y="422"/>
              </a:cxn>
              <a:cxn ang="0">
                <a:pos x="144" y="422"/>
              </a:cxn>
              <a:cxn ang="0">
                <a:pos x="158" y="407"/>
              </a:cxn>
              <a:cxn ang="0">
                <a:pos x="165" y="404"/>
              </a:cxn>
              <a:cxn ang="0">
                <a:pos x="204" y="404"/>
              </a:cxn>
              <a:cxn ang="0">
                <a:pos x="235" y="394"/>
              </a:cxn>
              <a:cxn ang="0">
                <a:pos x="250" y="393"/>
              </a:cxn>
              <a:cxn ang="0">
                <a:pos x="273" y="399"/>
              </a:cxn>
              <a:cxn ang="0">
                <a:pos x="297" y="404"/>
              </a:cxn>
              <a:cxn ang="0">
                <a:pos x="324" y="400"/>
              </a:cxn>
              <a:cxn ang="0">
                <a:pos x="347" y="379"/>
              </a:cxn>
              <a:cxn ang="0">
                <a:pos x="353" y="341"/>
              </a:cxn>
              <a:cxn ang="0">
                <a:pos x="350" y="324"/>
              </a:cxn>
              <a:cxn ang="0">
                <a:pos x="334" y="294"/>
              </a:cxn>
              <a:cxn ang="0">
                <a:pos x="303" y="249"/>
              </a:cxn>
              <a:cxn ang="0">
                <a:pos x="295" y="223"/>
              </a:cxn>
              <a:cxn ang="0">
                <a:pos x="295" y="206"/>
              </a:cxn>
              <a:cxn ang="0">
                <a:pos x="301" y="185"/>
              </a:cxn>
              <a:cxn ang="0">
                <a:pos x="332" y="146"/>
              </a:cxn>
              <a:cxn ang="0">
                <a:pos x="346" y="125"/>
              </a:cxn>
            </a:cxnLst>
            <a:rect l="0" t="0" r="r" b="b"/>
            <a:pathLst>
              <a:path w="353" h="422">
                <a:moveTo>
                  <a:pt x="349" y="114"/>
                </a:moveTo>
                <a:lnTo>
                  <a:pt x="349" y="114"/>
                </a:lnTo>
                <a:lnTo>
                  <a:pt x="341" y="95"/>
                </a:lnTo>
                <a:lnTo>
                  <a:pt x="336" y="86"/>
                </a:lnTo>
                <a:lnTo>
                  <a:pt x="331" y="79"/>
                </a:lnTo>
                <a:lnTo>
                  <a:pt x="324" y="72"/>
                </a:lnTo>
                <a:lnTo>
                  <a:pt x="316" y="66"/>
                </a:lnTo>
                <a:lnTo>
                  <a:pt x="304" y="64"/>
                </a:lnTo>
                <a:lnTo>
                  <a:pt x="290" y="63"/>
                </a:lnTo>
                <a:lnTo>
                  <a:pt x="290" y="63"/>
                </a:lnTo>
                <a:lnTo>
                  <a:pt x="286" y="63"/>
                </a:lnTo>
                <a:lnTo>
                  <a:pt x="280" y="65"/>
                </a:lnTo>
                <a:lnTo>
                  <a:pt x="271" y="70"/>
                </a:lnTo>
                <a:lnTo>
                  <a:pt x="262" y="74"/>
                </a:lnTo>
                <a:lnTo>
                  <a:pt x="258" y="77"/>
                </a:lnTo>
                <a:lnTo>
                  <a:pt x="254" y="77"/>
                </a:lnTo>
                <a:lnTo>
                  <a:pt x="254" y="77"/>
                </a:lnTo>
                <a:lnTo>
                  <a:pt x="249" y="77"/>
                </a:lnTo>
                <a:lnTo>
                  <a:pt x="246" y="74"/>
                </a:lnTo>
                <a:lnTo>
                  <a:pt x="242" y="72"/>
                </a:lnTo>
                <a:lnTo>
                  <a:pt x="240" y="69"/>
                </a:lnTo>
                <a:lnTo>
                  <a:pt x="235" y="62"/>
                </a:lnTo>
                <a:lnTo>
                  <a:pt x="232" y="58"/>
                </a:lnTo>
                <a:lnTo>
                  <a:pt x="228" y="55"/>
                </a:lnTo>
                <a:lnTo>
                  <a:pt x="228" y="55"/>
                </a:lnTo>
                <a:lnTo>
                  <a:pt x="221" y="51"/>
                </a:lnTo>
                <a:lnTo>
                  <a:pt x="214" y="49"/>
                </a:lnTo>
                <a:lnTo>
                  <a:pt x="203" y="46"/>
                </a:lnTo>
                <a:lnTo>
                  <a:pt x="193" y="45"/>
                </a:lnTo>
                <a:lnTo>
                  <a:pt x="183" y="42"/>
                </a:lnTo>
                <a:lnTo>
                  <a:pt x="180" y="41"/>
                </a:lnTo>
                <a:lnTo>
                  <a:pt x="176" y="39"/>
                </a:lnTo>
                <a:lnTo>
                  <a:pt x="173" y="36"/>
                </a:lnTo>
                <a:lnTo>
                  <a:pt x="170" y="32"/>
                </a:lnTo>
                <a:lnTo>
                  <a:pt x="167" y="26"/>
                </a:lnTo>
                <a:lnTo>
                  <a:pt x="164" y="19"/>
                </a:lnTo>
                <a:lnTo>
                  <a:pt x="158" y="0"/>
                </a:lnTo>
                <a:lnTo>
                  <a:pt x="158" y="0"/>
                </a:lnTo>
                <a:lnTo>
                  <a:pt x="153" y="2"/>
                </a:lnTo>
                <a:lnTo>
                  <a:pt x="149" y="5"/>
                </a:lnTo>
                <a:lnTo>
                  <a:pt x="142" y="12"/>
                </a:lnTo>
                <a:lnTo>
                  <a:pt x="136" y="19"/>
                </a:lnTo>
                <a:lnTo>
                  <a:pt x="133" y="22"/>
                </a:lnTo>
                <a:lnTo>
                  <a:pt x="129" y="22"/>
                </a:lnTo>
                <a:lnTo>
                  <a:pt x="129" y="22"/>
                </a:lnTo>
                <a:lnTo>
                  <a:pt x="96" y="22"/>
                </a:lnTo>
                <a:lnTo>
                  <a:pt x="96" y="22"/>
                </a:lnTo>
                <a:lnTo>
                  <a:pt x="90" y="22"/>
                </a:lnTo>
                <a:lnTo>
                  <a:pt x="86" y="19"/>
                </a:lnTo>
                <a:lnTo>
                  <a:pt x="81" y="17"/>
                </a:lnTo>
                <a:lnTo>
                  <a:pt x="78" y="15"/>
                </a:lnTo>
                <a:lnTo>
                  <a:pt x="78" y="15"/>
                </a:lnTo>
                <a:lnTo>
                  <a:pt x="65" y="30"/>
                </a:lnTo>
                <a:lnTo>
                  <a:pt x="56" y="45"/>
                </a:lnTo>
                <a:lnTo>
                  <a:pt x="40" y="71"/>
                </a:lnTo>
                <a:lnTo>
                  <a:pt x="31" y="84"/>
                </a:lnTo>
                <a:lnTo>
                  <a:pt x="22" y="95"/>
                </a:lnTo>
                <a:lnTo>
                  <a:pt x="13" y="104"/>
                </a:lnTo>
                <a:lnTo>
                  <a:pt x="7" y="109"/>
                </a:lnTo>
                <a:lnTo>
                  <a:pt x="0" y="114"/>
                </a:lnTo>
                <a:lnTo>
                  <a:pt x="0" y="114"/>
                </a:lnTo>
                <a:lnTo>
                  <a:pt x="14" y="117"/>
                </a:lnTo>
                <a:lnTo>
                  <a:pt x="25" y="120"/>
                </a:lnTo>
                <a:lnTo>
                  <a:pt x="33" y="125"/>
                </a:lnTo>
                <a:lnTo>
                  <a:pt x="40" y="131"/>
                </a:lnTo>
                <a:lnTo>
                  <a:pt x="44" y="138"/>
                </a:lnTo>
                <a:lnTo>
                  <a:pt x="50" y="145"/>
                </a:lnTo>
                <a:lnTo>
                  <a:pt x="59" y="162"/>
                </a:lnTo>
                <a:lnTo>
                  <a:pt x="59" y="162"/>
                </a:lnTo>
                <a:lnTo>
                  <a:pt x="61" y="165"/>
                </a:lnTo>
                <a:lnTo>
                  <a:pt x="65" y="169"/>
                </a:lnTo>
                <a:lnTo>
                  <a:pt x="73" y="175"/>
                </a:lnTo>
                <a:lnTo>
                  <a:pt x="81" y="179"/>
                </a:lnTo>
                <a:lnTo>
                  <a:pt x="91" y="184"/>
                </a:lnTo>
                <a:lnTo>
                  <a:pt x="99" y="191"/>
                </a:lnTo>
                <a:lnTo>
                  <a:pt x="104" y="195"/>
                </a:lnTo>
                <a:lnTo>
                  <a:pt x="107" y="200"/>
                </a:lnTo>
                <a:lnTo>
                  <a:pt x="110" y="207"/>
                </a:lnTo>
                <a:lnTo>
                  <a:pt x="112" y="214"/>
                </a:lnTo>
                <a:lnTo>
                  <a:pt x="114" y="222"/>
                </a:lnTo>
                <a:lnTo>
                  <a:pt x="114" y="231"/>
                </a:lnTo>
                <a:lnTo>
                  <a:pt x="114" y="231"/>
                </a:lnTo>
                <a:lnTo>
                  <a:pt x="113" y="237"/>
                </a:lnTo>
                <a:lnTo>
                  <a:pt x="112" y="241"/>
                </a:lnTo>
                <a:lnTo>
                  <a:pt x="107" y="252"/>
                </a:lnTo>
                <a:lnTo>
                  <a:pt x="102" y="263"/>
                </a:lnTo>
                <a:lnTo>
                  <a:pt x="101" y="269"/>
                </a:lnTo>
                <a:lnTo>
                  <a:pt x="99" y="276"/>
                </a:lnTo>
                <a:lnTo>
                  <a:pt x="99" y="276"/>
                </a:lnTo>
                <a:lnTo>
                  <a:pt x="101" y="284"/>
                </a:lnTo>
                <a:lnTo>
                  <a:pt x="102" y="292"/>
                </a:lnTo>
                <a:lnTo>
                  <a:pt x="104" y="299"/>
                </a:lnTo>
                <a:lnTo>
                  <a:pt x="107" y="305"/>
                </a:lnTo>
                <a:lnTo>
                  <a:pt x="111" y="310"/>
                </a:lnTo>
                <a:lnTo>
                  <a:pt x="114" y="315"/>
                </a:lnTo>
                <a:lnTo>
                  <a:pt x="124" y="323"/>
                </a:lnTo>
                <a:lnTo>
                  <a:pt x="133" y="332"/>
                </a:lnTo>
                <a:lnTo>
                  <a:pt x="136" y="337"/>
                </a:lnTo>
                <a:lnTo>
                  <a:pt x="140" y="341"/>
                </a:lnTo>
                <a:lnTo>
                  <a:pt x="143" y="347"/>
                </a:lnTo>
                <a:lnTo>
                  <a:pt x="145" y="354"/>
                </a:lnTo>
                <a:lnTo>
                  <a:pt x="147" y="362"/>
                </a:lnTo>
                <a:lnTo>
                  <a:pt x="148" y="371"/>
                </a:lnTo>
                <a:lnTo>
                  <a:pt x="148" y="371"/>
                </a:lnTo>
                <a:lnTo>
                  <a:pt x="147" y="376"/>
                </a:lnTo>
                <a:lnTo>
                  <a:pt x="144" y="381"/>
                </a:lnTo>
                <a:lnTo>
                  <a:pt x="136" y="389"/>
                </a:lnTo>
                <a:lnTo>
                  <a:pt x="133" y="392"/>
                </a:lnTo>
                <a:lnTo>
                  <a:pt x="129" y="397"/>
                </a:lnTo>
                <a:lnTo>
                  <a:pt x="127" y="401"/>
                </a:lnTo>
                <a:lnTo>
                  <a:pt x="126" y="407"/>
                </a:lnTo>
                <a:lnTo>
                  <a:pt x="126" y="407"/>
                </a:lnTo>
                <a:lnTo>
                  <a:pt x="126" y="412"/>
                </a:lnTo>
                <a:lnTo>
                  <a:pt x="127" y="415"/>
                </a:lnTo>
                <a:lnTo>
                  <a:pt x="128" y="417"/>
                </a:lnTo>
                <a:lnTo>
                  <a:pt x="130" y="420"/>
                </a:lnTo>
                <a:lnTo>
                  <a:pt x="135" y="422"/>
                </a:lnTo>
                <a:lnTo>
                  <a:pt x="141" y="422"/>
                </a:lnTo>
                <a:lnTo>
                  <a:pt x="141" y="422"/>
                </a:lnTo>
                <a:lnTo>
                  <a:pt x="144" y="422"/>
                </a:lnTo>
                <a:lnTo>
                  <a:pt x="148" y="420"/>
                </a:lnTo>
                <a:lnTo>
                  <a:pt x="152" y="413"/>
                </a:lnTo>
                <a:lnTo>
                  <a:pt x="158" y="407"/>
                </a:lnTo>
                <a:lnTo>
                  <a:pt x="162" y="405"/>
                </a:lnTo>
                <a:lnTo>
                  <a:pt x="165" y="404"/>
                </a:lnTo>
                <a:lnTo>
                  <a:pt x="165" y="404"/>
                </a:lnTo>
                <a:lnTo>
                  <a:pt x="199" y="404"/>
                </a:lnTo>
                <a:lnTo>
                  <a:pt x="199" y="404"/>
                </a:lnTo>
                <a:lnTo>
                  <a:pt x="204" y="404"/>
                </a:lnTo>
                <a:lnTo>
                  <a:pt x="210" y="402"/>
                </a:lnTo>
                <a:lnTo>
                  <a:pt x="223" y="399"/>
                </a:lnTo>
                <a:lnTo>
                  <a:pt x="235" y="394"/>
                </a:lnTo>
                <a:lnTo>
                  <a:pt x="242" y="393"/>
                </a:lnTo>
                <a:lnTo>
                  <a:pt x="250" y="393"/>
                </a:lnTo>
                <a:lnTo>
                  <a:pt x="250" y="393"/>
                </a:lnTo>
                <a:lnTo>
                  <a:pt x="257" y="393"/>
                </a:lnTo>
                <a:lnTo>
                  <a:pt x="263" y="394"/>
                </a:lnTo>
                <a:lnTo>
                  <a:pt x="273" y="399"/>
                </a:lnTo>
                <a:lnTo>
                  <a:pt x="283" y="402"/>
                </a:lnTo>
                <a:lnTo>
                  <a:pt x="290" y="404"/>
                </a:lnTo>
                <a:lnTo>
                  <a:pt x="297" y="404"/>
                </a:lnTo>
                <a:lnTo>
                  <a:pt x="297" y="404"/>
                </a:lnTo>
                <a:lnTo>
                  <a:pt x="312" y="404"/>
                </a:lnTo>
                <a:lnTo>
                  <a:pt x="324" y="400"/>
                </a:lnTo>
                <a:lnTo>
                  <a:pt x="333" y="394"/>
                </a:lnTo>
                <a:lnTo>
                  <a:pt x="341" y="387"/>
                </a:lnTo>
                <a:lnTo>
                  <a:pt x="347" y="379"/>
                </a:lnTo>
                <a:lnTo>
                  <a:pt x="350" y="368"/>
                </a:lnTo>
                <a:lnTo>
                  <a:pt x="353" y="356"/>
                </a:lnTo>
                <a:lnTo>
                  <a:pt x="353" y="341"/>
                </a:lnTo>
                <a:lnTo>
                  <a:pt x="353" y="341"/>
                </a:lnTo>
                <a:lnTo>
                  <a:pt x="353" y="333"/>
                </a:lnTo>
                <a:lnTo>
                  <a:pt x="350" y="324"/>
                </a:lnTo>
                <a:lnTo>
                  <a:pt x="348" y="317"/>
                </a:lnTo>
                <a:lnTo>
                  <a:pt x="343" y="309"/>
                </a:lnTo>
                <a:lnTo>
                  <a:pt x="334" y="294"/>
                </a:lnTo>
                <a:lnTo>
                  <a:pt x="324" y="280"/>
                </a:lnTo>
                <a:lnTo>
                  <a:pt x="313" y="265"/>
                </a:lnTo>
                <a:lnTo>
                  <a:pt x="303" y="249"/>
                </a:lnTo>
                <a:lnTo>
                  <a:pt x="300" y="241"/>
                </a:lnTo>
                <a:lnTo>
                  <a:pt x="297" y="232"/>
                </a:lnTo>
                <a:lnTo>
                  <a:pt x="295" y="223"/>
                </a:lnTo>
                <a:lnTo>
                  <a:pt x="294" y="213"/>
                </a:lnTo>
                <a:lnTo>
                  <a:pt x="294" y="213"/>
                </a:lnTo>
                <a:lnTo>
                  <a:pt x="295" y="206"/>
                </a:lnTo>
                <a:lnTo>
                  <a:pt x="296" y="198"/>
                </a:lnTo>
                <a:lnTo>
                  <a:pt x="297" y="192"/>
                </a:lnTo>
                <a:lnTo>
                  <a:pt x="301" y="185"/>
                </a:lnTo>
                <a:lnTo>
                  <a:pt x="307" y="175"/>
                </a:lnTo>
                <a:lnTo>
                  <a:pt x="315" y="164"/>
                </a:lnTo>
                <a:lnTo>
                  <a:pt x="332" y="146"/>
                </a:lnTo>
                <a:lnTo>
                  <a:pt x="340" y="137"/>
                </a:lnTo>
                <a:lnTo>
                  <a:pt x="346" y="125"/>
                </a:lnTo>
                <a:lnTo>
                  <a:pt x="346" y="125"/>
                </a:lnTo>
                <a:lnTo>
                  <a:pt x="349" y="114"/>
                </a:lnTo>
                <a:lnTo>
                  <a:pt x="349" y="11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5" name="Freeform 70"/>
          <p:cNvSpPr>
            <a:spLocks/>
          </p:cNvSpPr>
          <p:nvPr/>
        </p:nvSpPr>
        <p:spPr bwMode="auto">
          <a:xfrm>
            <a:off x="1466850" y="3987800"/>
            <a:ext cx="282575" cy="201613"/>
          </a:xfrm>
          <a:custGeom>
            <a:avLst/>
            <a:gdLst/>
            <a:ahLst/>
            <a:cxnLst>
              <a:cxn ang="0">
                <a:pos x="341" y="182"/>
              </a:cxn>
              <a:cxn ang="0">
                <a:pos x="330" y="179"/>
              </a:cxn>
              <a:cxn ang="0">
                <a:pos x="290" y="179"/>
              </a:cxn>
              <a:cxn ang="0">
                <a:pos x="284" y="209"/>
              </a:cxn>
              <a:cxn ang="0">
                <a:pos x="266" y="224"/>
              </a:cxn>
              <a:cxn ang="0">
                <a:pos x="246" y="228"/>
              </a:cxn>
              <a:cxn ang="0">
                <a:pos x="233" y="220"/>
              </a:cxn>
              <a:cxn ang="0">
                <a:pos x="222" y="206"/>
              </a:cxn>
              <a:cxn ang="0">
                <a:pos x="213" y="201"/>
              </a:cxn>
              <a:cxn ang="0">
                <a:pos x="194" y="216"/>
              </a:cxn>
              <a:cxn ang="0">
                <a:pos x="177" y="230"/>
              </a:cxn>
              <a:cxn ang="0">
                <a:pos x="160" y="227"/>
              </a:cxn>
              <a:cxn ang="0">
                <a:pos x="137" y="215"/>
              </a:cxn>
              <a:cxn ang="0">
                <a:pos x="122" y="213"/>
              </a:cxn>
              <a:cxn ang="0">
                <a:pos x="118" y="193"/>
              </a:cxn>
              <a:cxn ang="0">
                <a:pos x="110" y="181"/>
              </a:cxn>
              <a:cxn ang="0">
                <a:pos x="80" y="159"/>
              </a:cxn>
              <a:cxn ang="0">
                <a:pos x="73" y="151"/>
              </a:cxn>
              <a:cxn ang="0">
                <a:pos x="68" y="124"/>
              </a:cxn>
              <a:cxn ang="0">
                <a:pos x="60" y="109"/>
              </a:cxn>
              <a:cxn ang="0">
                <a:pos x="45" y="105"/>
              </a:cxn>
              <a:cxn ang="0">
                <a:pos x="15" y="100"/>
              </a:cxn>
              <a:cxn ang="0">
                <a:pos x="5" y="90"/>
              </a:cxn>
              <a:cxn ang="0">
                <a:pos x="3" y="80"/>
              </a:cxn>
              <a:cxn ang="0">
                <a:pos x="9" y="65"/>
              </a:cxn>
              <a:cxn ang="0">
                <a:pos x="15" y="47"/>
              </a:cxn>
              <a:cxn ang="0">
                <a:pos x="12" y="38"/>
              </a:cxn>
              <a:cxn ang="0">
                <a:pos x="0" y="15"/>
              </a:cxn>
              <a:cxn ang="0">
                <a:pos x="11" y="4"/>
              </a:cxn>
              <a:cxn ang="0">
                <a:pos x="25" y="0"/>
              </a:cxn>
              <a:cxn ang="0">
                <a:pos x="68" y="6"/>
              </a:cxn>
              <a:cxn ang="0">
                <a:pos x="110" y="10"/>
              </a:cxn>
              <a:cxn ang="0">
                <a:pos x="112" y="16"/>
              </a:cxn>
              <a:cxn ang="0">
                <a:pos x="138" y="34"/>
              </a:cxn>
              <a:cxn ang="0">
                <a:pos x="171" y="46"/>
              </a:cxn>
              <a:cxn ang="0">
                <a:pos x="188" y="47"/>
              </a:cxn>
              <a:cxn ang="0">
                <a:pos x="206" y="37"/>
              </a:cxn>
              <a:cxn ang="0">
                <a:pos x="221" y="18"/>
              </a:cxn>
              <a:cxn ang="0">
                <a:pos x="231" y="55"/>
              </a:cxn>
              <a:cxn ang="0">
                <a:pos x="236" y="65"/>
              </a:cxn>
              <a:cxn ang="0">
                <a:pos x="264" y="84"/>
              </a:cxn>
              <a:cxn ang="0">
                <a:pos x="285" y="99"/>
              </a:cxn>
              <a:cxn ang="0">
                <a:pos x="285" y="109"/>
              </a:cxn>
              <a:cxn ang="0">
                <a:pos x="271" y="106"/>
              </a:cxn>
              <a:cxn ang="0">
                <a:pos x="271" y="128"/>
              </a:cxn>
              <a:cxn ang="0">
                <a:pos x="282" y="137"/>
              </a:cxn>
              <a:cxn ang="0">
                <a:pos x="301" y="145"/>
              </a:cxn>
              <a:cxn ang="0">
                <a:pos x="325" y="151"/>
              </a:cxn>
              <a:cxn ang="0">
                <a:pos x="338" y="162"/>
              </a:cxn>
              <a:cxn ang="0">
                <a:pos x="345" y="176"/>
              </a:cxn>
            </a:cxnLst>
            <a:rect l="0" t="0" r="r" b="b"/>
            <a:pathLst>
              <a:path w="345" h="231">
                <a:moveTo>
                  <a:pt x="345" y="183"/>
                </a:moveTo>
                <a:lnTo>
                  <a:pt x="345" y="183"/>
                </a:lnTo>
                <a:lnTo>
                  <a:pt x="341" y="182"/>
                </a:lnTo>
                <a:lnTo>
                  <a:pt x="338" y="181"/>
                </a:lnTo>
                <a:lnTo>
                  <a:pt x="330" y="179"/>
                </a:lnTo>
                <a:lnTo>
                  <a:pt x="330" y="179"/>
                </a:lnTo>
                <a:lnTo>
                  <a:pt x="290" y="179"/>
                </a:lnTo>
                <a:lnTo>
                  <a:pt x="290" y="179"/>
                </a:lnTo>
                <a:lnTo>
                  <a:pt x="290" y="179"/>
                </a:lnTo>
                <a:lnTo>
                  <a:pt x="290" y="191"/>
                </a:lnTo>
                <a:lnTo>
                  <a:pt x="287" y="201"/>
                </a:lnTo>
                <a:lnTo>
                  <a:pt x="284" y="209"/>
                </a:lnTo>
                <a:lnTo>
                  <a:pt x="279" y="216"/>
                </a:lnTo>
                <a:lnTo>
                  <a:pt x="272" y="221"/>
                </a:lnTo>
                <a:lnTo>
                  <a:pt x="266" y="224"/>
                </a:lnTo>
                <a:lnTo>
                  <a:pt x="256" y="227"/>
                </a:lnTo>
                <a:lnTo>
                  <a:pt x="246" y="228"/>
                </a:lnTo>
                <a:lnTo>
                  <a:pt x="246" y="228"/>
                </a:lnTo>
                <a:lnTo>
                  <a:pt x="240" y="227"/>
                </a:lnTo>
                <a:lnTo>
                  <a:pt x="237" y="223"/>
                </a:lnTo>
                <a:lnTo>
                  <a:pt x="233" y="220"/>
                </a:lnTo>
                <a:lnTo>
                  <a:pt x="230" y="214"/>
                </a:lnTo>
                <a:lnTo>
                  <a:pt x="226" y="209"/>
                </a:lnTo>
                <a:lnTo>
                  <a:pt x="222" y="206"/>
                </a:lnTo>
                <a:lnTo>
                  <a:pt x="218" y="202"/>
                </a:lnTo>
                <a:lnTo>
                  <a:pt x="213" y="201"/>
                </a:lnTo>
                <a:lnTo>
                  <a:pt x="213" y="201"/>
                </a:lnTo>
                <a:lnTo>
                  <a:pt x="208" y="202"/>
                </a:lnTo>
                <a:lnTo>
                  <a:pt x="203" y="206"/>
                </a:lnTo>
                <a:lnTo>
                  <a:pt x="194" y="216"/>
                </a:lnTo>
                <a:lnTo>
                  <a:pt x="188" y="222"/>
                </a:lnTo>
                <a:lnTo>
                  <a:pt x="183" y="227"/>
                </a:lnTo>
                <a:lnTo>
                  <a:pt x="177" y="230"/>
                </a:lnTo>
                <a:lnTo>
                  <a:pt x="169" y="231"/>
                </a:lnTo>
                <a:lnTo>
                  <a:pt x="169" y="231"/>
                </a:lnTo>
                <a:lnTo>
                  <a:pt x="160" y="227"/>
                </a:lnTo>
                <a:lnTo>
                  <a:pt x="149" y="221"/>
                </a:lnTo>
                <a:lnTo>
                  <a:pt x="142" y="217"/>
                </a:lnTo>
                <a:lnTo>
                  <a:pt x="137" y="215"/>
                </a:lnTo>
                <a:lnTo>
                  <a:pt x="129" y="213"/>
                </a:lnTo>
                <a:lnTo>
                  <a:pt x="122" y="213"/>
                </a:lnTo>
                <a:lnTo>
                  <a:pt x="122" y="213"/>
                </a:lnTo>
                <a:lnTo>
                  <a:pt x="121" y="205"/>
                </a:lnTo>
                <a:lnTo>
                  <a:pt x="119" y="198"/>
                </a:lnTo>
                <a:lnTo>
                  <a:pt x="118" y="193"/>
                </a:lnTo>
                <a:lnTo>
                  <a:pt x="116" y="187"/>
                </a:lnTo>
                <a:lnTo>
                  <a:pt x="114" y="184"/>
                </a:lnTo>
                <a:lnTo>
                  <a:pt x="110" y="181"/>
                </a:lnTo>
                <a:lnTo>
                  <a:pt x="103" y="175"/>
                </a:lnTo>
                <a:lnTo>
                  <a:pt x="87" y="164"/>
                </a:lnTo>
                <a:lnTo>
                  <a:pt x="80" y="159"/>
                </a:lnTo>
                <a:lnTo>
                  <a:pt x="77" y="155"/>
                </a:lnTo>
                <a:lnTo>
                  <a:pt x="73" y="151"/>
                </a:lnTo>
                <a:lnTo>
                  <a:pt x="73" y="151"/>
                </a:lnTo>
                <a:lnTo>
                  <a:pt x="70" y="144"/>
                </a:lnTo>
                <a:lnTo>
                  <a:pt x="69" y="137"/>
                </a:lnTo>
                <a:lnTo>
                  <a:pt x="68" y="124"/>
                </a:lnTo>
                <a:lnTo>
                  <a:pt x="66" y="118"/>
                </a:lnTo>
                <a:lnTo>
                  <a:pt x="64" y="114"/>
                </a:lnTo>
                <a:lnTo>
                  <a:pt x="60" y="109"/>
                </a:lnTo>
                <a:lnTo>
                  <a:pt x="52" y="106"/>
                </a:lnTo>
                <a:lnTo>
                  <a:pt x="52" y="106"/>
                </a:lnTo>
                <a:lnTo>
                  <a:pt x="45" y="105"/>
                </a:lnTo>
                <a:lnTo>
                  <a:pt x="38" y="103"/>
                </a:lnTo>
                <a:lnTo>
                  <a:pt x="22" y="101"/>
                </a:lnTo>
                <a:lnTo>
                  <a:pt x="15" y="100"/>
                </a:lnTo>
                <a:lnTo>
                  <a:pt x="9" y="95"/>
                </a:lnTo>
                <a:lnTo>
                  <a:pt x="7" y="93"/>
                </a:lnTo>
                <a:lnTo>
                  <a:pt x="5" y="90"/>
                </a:lnTo>
                <a:lnTo>
                  <a:pt x="4" y="85"/>
                </a:lnTo>
                <a:lnTo>
                  <a:pt x="3" y="80"/>
                </a:lnTo>
                <a:lnTo>
                  <a:pt x="3" y="80"/>
                </a:lnTo>
                <a:lnTo>
                  <a:pt x="4" y="76"/>
                </a:lnTo>
                <a:lnTo>
                  <a:pt x="5" y="71"/>
                </a:lnTo>
                <a:lnTo>
                  <a:pt x="9" y="65"/>
                </a:lnTo>
                <a:lnTo>
                  <a:pt x="14" y="59"/>
                </a:lnTo>
                <a:lnTo>
                  <a:pt x="15" y="54"/>
                </a:lnTo>
                <a:lnTo>
                  <a:pt x="15" y="47"/>
                </a:lnTo>
                <a:lnTo>
                  <a:pt x="15" y="47"/>
                </a:lnTo>
                <a:lnTo>
                  <a:pt x="15" y="42"/>
                </a:lnTo>
                <a:lnTo>
                  <a:pt x="12" y="38"/>
                </a:lnTo>
                <a:lnTo>
                  <a:pt x="9" y="30"/>
                </a:lnTo>
                <a:lnTo>
                  <a:pt x="4" y="22"/>
                </a:lnTo>
                <a:lnTo>
                  <a:pt x="0" y="15"/>
                </a:lnTo>
                <a:lnTo>
                  <a:pt x="0" y="15"/>
                </a:lnTo>
                <a:lnTo>
                  <a:pt x="5" y="9"/>
                </a:lnTo>
                <a:lnTo>
                  <a:pt x="11" y="4"/>
                </a:lnTo>
                <a:lnTo>
                  <a:pt x="18" y="1"/>
                </a:lnTo>
                <a:lnTo>
                  <a:pt x="25" y="0"/>
                </a:lnTo>
                <a:lnTo>
                  <a:pt x="25" y="0"/>
                </a:lnTo>
                <a:lnTo>
                  <a:pt x="37" y="0"/>
                </a:lnTo>
                <a:lnTo>
                  <a:pt x="47" y="1"/>
                </a:lnTo>
                <a:lnTo>
                  <a:pt x="68" y="6"/>
                </a:lnTo>
                <a:lnTo>
                  <a:pt x="88" y="9"/>
                </a:lnTo>
                <a:lnTo>
                  <a:pt x="99" y="10"/>
                </a:lnTo>
                <a:lnTo>
                  <a:pt x="110" y="10"/>
                </a:lnTo>
                <a:lnTo>
                  <a:pt x="110" y="10"/>
                </a:lnTo>
                <a:lnTo>
                  <a:pt x="110" y="14"/>
                </a:lnTo>
                <a:lnTo>
                  <a:pt x="112" y="16"/>
                </a:lnTo>
                <a:lnTo>
                  <a:pt x="118" y="23"/>
                </a:lnTo>
                <a:lnTo>
                  <a:pt x="127" y="29"/>
                </a:lnTo>
                <a:lnTo>
                  <a:pt x="138" y="34"/>
                </a:lnTo>
                <a:lnTo>
                  <a:pt x="149" y="40"/>
                </a:lnTo>
                <a:lnTo>
                  <a:pt x="161" y="44"/>
                </a:lnTo>
                <a:lnTo>
                  <a:pt x="171" y="46"/>
                </a:lnTo>
                <a:lnTo>
                  <a:pt x="180" y="47"/>
                </a:lnTo>
                <a:lnTo>
                  <a:pt x="180" y="47"/>
                </a:lnTo>
                <a:lnTo>
                  <a:pt x="188" y="47"/>
                </a:lnTo>
                <a:lnTo>
                  <a:pt x="195" y="45"/>
                </a:lnTo>
                <a:lnTo>
                  <a:pt x="201" y="41"/>
                </a:lnTo>
                <a:lnTo>
                  <a:pt x="206" y="37"/>
                </a:lnTo>
                <a:lnTo>
                  <a:pt x="213" y="28"/>
                </a:lnTo>
                <a:lnTo>
                  <a:pt x="221" y="18"/>
                </a:lnTo>
                <a:lnTo>
                  <a:pt x="221" y="18"/>
                </a:lnTo>
                <a:lnTo>
                  <a:pt x="225" y="30"/>
                </a:lnTo>
                <a:lnTo>
                  <a:pt x="228" y="44"/>
                </a:lnTo>
                <a:lnTo>
                  <a:pt x="231" y="55"/>
                </a:lnTo>
                <a:lnTo>
                  <a:pt x="232" y="61"/>
                </a:lnTo>
                <a:lnTo>
                  <a:pt x="236" y="65"/>
                </a:lnTo>
                <a:lnTo>
                  <a:pt x="236" y="65"/>
                </a:lnTo>
                <a:lnTo>
                  <a:pt x="241" y="71"/>
                </a:lnTo>
                <a:lnTo>
                  <a:pt x="248" y="77"/>
                </a:lnTo>
                <a:lnTo>
                  <a:pt x="264" y="84"/>
                </a:lnTo>
                <a:lnTo>
                  <a:pt x="271" y="88"/>
                </a:lnTo>
                <a:lnTo>
                  <a:pt x="279" y="93"/>
                </a:lnTo>
                <a:lnTo>
                  <a:pt x="285" y="99"/>
                </a:lnTo>
                <a:lnTo>
                  <a:pt x="290" y="106"/>
                </a:lnTo>
                <a:lnTo>
                  <a:pt x="290" y="106"/>
                </a:lnTo>
                <a:lnTo>
                  <a:pt x="285" y="109"/>
                </a:lnTo>
                <a:lnTo>
                  <a:pt x="280" y="110"/>
                </a:lnTo>
                <a:lnTo>
                  <a:pt x="277" y="109"/>
                </a:lnTo>
                <a:lnTo>
                  <a:pt x="271" y="106"/>
                </a:lnTo>
                <a:lnTo>
                  <a:pt x="271" y="106"/>
                </a:lnTo>
                <a:lnTo>
                  <a:pt x="271" y="128"/>
                </a:lnTo>
                <a:lnTo>
                  <a:pt x="271" y="128"/>
                </a:lnTo>
                <a:lnTo>
                  <a:pt x="271" y="128"/>
                </a:lnTo>
                <a:lnTo>
                  <a:pt x="277" y="133"/>
                </a:lnTo>
                <a:lnTo>
                  <a:pt x="282" y="137"/>
                </a:lnTo>
                <a:lnTo>
                  <a:pt x="286" y="139"/>
                </a:lnTo>
                <a:lnTo>
                  <a:pt x="292" y="141"/>
                </a:lnTo>
                <a:lnTo>
                  <a:pt x="301" y="145"/>
                </a:lnTo>
                <a:lnTo>
                  <a:pt x="312" y="146"/>
                </a:lnTo>
                <a:lnTo>
                  <a:pt x="321" y="148"/>
                </a:lnTo>
                <a:lnTo>
                  <a:pt x="325" y="151"/>
                </a:lnTo>
                <a:lnTo>
                  <a:pt x="330" y="154"/>
                </a:lnTo>
                <a:lnTo>
                  <a:pt x="333" y="158"/>
                </a:lnTo>
                <a:lnTo>
                  <a:pt x="338" y="162"/>
                </a:lnTo>
                <a:lnTo>
                  <a:pt x="341" y="168"/>
                </a:lnTo>
                <a:lnTo>
                  <a:pt x="345" y="176"/>
                </a:lnTo>
                <a:lnTo>
                  <a:pt x="345" y="176"/>
                </a:lnTo>
                <a:lnTo>
                  <a:pt x="345" y="183"/>
                </a:lnTo>
                <a:lnTo>
                  <a:pt x="345" y="18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6" name="Freeform 71"/>
          <p:cNvSpPr>
            <a:spLocks/>
          </p:cNvSpPr>
          <p:nvPr/>
        </p:nvSpPr>
        <p:spPr bwMode="auto">
          <a:xfrm>
            <a:off x="1220788" y="4629150"/>
            <a:ext cx="539750" cy="544513"/>
          </a:xfrm>
          <a:custGeom>
            <a:avLst/>
            <a:gdLst/>
            <a:ahLst/>
            <a:cxnLst>
              <a:cxn ang="0">
                <a:pos x="425" y="197"/>
              </a:cxn>
              <a:cxn ang="0">
                <a:pos x="482" y="223"/>
              </a:cxn>
              <a:cxn ang="0">
                <a:pos x="566" y="239"/>
              </a:cxn>
              <a:cxn ang="0">
                <a:pos x="568" y="230"/>
              </a:cxn>
              <a:cxn ang="0">
                <a:pos x="566" y="224"/>
              </a:cxn>
              <a:cxn ang="0">
                <a:pos x="563" y="241"/>
              </a:cxn>
              <a:cxn ang="0">
                <a:pos x="545" y="257"/>
              </a:cxn>
              <a:cxn ang="0">
                <a:pos x="541" y="275"/>
              </a:cxn>
              <a:cxn ang="0">
                <a:pos x="556" y="304"/>
              </a:cxn>
              <a:cxn ang="0">
                <a:pos x="600" y="345"/>
              </a:cxn>
              <a:cxn ang="0">
                <a:pos x="616" y="379"/>
              </a:cxn>
              <a:cxn ang="0">
                <a:pos x="643" y="456"/>
              </a:cxn>
              <a:cxn ang="0">
                <a:pos x="662" y="489"/>
              </a:cxn>
              <a:cxn ang="0">
                <a:pos x="643" y="511"/>
              </a:cxn>
              <a:cxn ang="0">
                <a:pos x="625" y="514"/>
              </a:cxn>
              <a:cxn ang="0">
                <a:pos x="577" y="524"/>
              </a:cxn>
              <a:cxn ang="0">
                <a:pos x="530" y="533"/>
              </a:cxn>
              <a:cxn ang="0">
                <a:pos x="501" y="524"/>
              </a:cxn>
              <a:cxn ang="0">
                <a:pos x="484" y="522"/>
              </a:cxn>
              <a:cxn ang="0">
                <a:pos x="443" y="537"/>
              </a:cxn>
              <a:cxn ang="0">
                <a:pos x="412" y="542"/>
              </a:cxn>
              <a:cxn ang="0">
                <a:pos x="383" y="560"/>
              </a:cxn>
              <a:cxn ang="0">
                <a:pos x="364" y="605"/>
              </a:cxn>
              <a:cxn ang="0">
                <a:pos x="341" y="624"/>
              </a:cxn>
              <a:cxn ang="0">
                <a:pos x="320" y="623"/>
              </a:cxn>
              <a:cxn ang="0">
                <a:pos x="291" y="610"/>
              </a:cxn>
              <a:cxn ang="0">
                <a:pos x="286" y="533"/>
              </a:cxn>
              <a:cxn ang="0">
                <a:pos x="291" y="507"/>
              </a:cxn>
              <a:cxn ang="0">
                <a:pos x="280" y="504"/>
              </a:cxn>
              <a:cxn ang="0">
                <a:pos x="232" y="419"/>
              </a:cxn>
              <a:cxn ang="0">
                <a:pos x="205" y="418"/>
              </a:cxn>
              <a:cxn ang="0">
                <a:pos x="192" y="402"/>
              </a:cxn>
              <a:cxn ang="0">
                <a:pos x="183" y="365"/>
              </a:cxn>
              <a:cxn ang="0">
                <a:pos x="156" y="364"/>
              </a:cxn>
              <a:cxn ang="0">
                <a:pos x="138" y="359"/>
              </a:cxn>
              <a:cxn ang="0">
                <a:pos x="129" y="342"/>
              </a:cxn>
              <a:cxn ang="0">
                <a:pos x="138" y="323"/>
              </a:cxn>
              <a:cxn ang="0">
                <a:pos x="157" y="302"/>
              </a:cxn>
              <a:cxn ang="0">
                <a:pos x="156" y="275"/>
              </a:cxn>
              <a:cxn ang="0">
                <a:pos x="136" y="247"/>
              </a:cxn>
              <a:cxn ang="0">
                <a:pos x="87" y="216"/>
              </a:cxn>
              <a:cxn ang="0">
                <a:pos x="70" y="198"/>
              </a:cxn>
              <a:cxn ang="0">
                <a:pos x="53" y="184"/>
              </a:cxn>
              <a:cxn ang="0">
                <a:pos x="14" y="170"/>
              </a:cxn>
              <a:cxn ang="0">
                <a:pos x="1" y="148"/>
              </a:cxn>
              <a:cxn ang="0">
                <a:pos x="3" y="124"/>
              </a:cxn>
              <a:cxn ang="0">
                <a:pos x="12" y="89"/>
              </a:cxn>
              <a:cxn ang="0">
                <a:pos x="82" y="12"/>
              </a:cxn>
              <a:cxn ang="0">
                <a:pos x="99" y="5"/>
              </a:cxn>
              <a:cxn ang="0">
                <a:pos x="118" y="0"/>
              </a:cxn>
              <a:cxn ang="0">
                <a:pos x="148" y="14"/>
              </a:cxn>
              <a:cxn ang="0">
                <a:pos x="184" y="59"/>
              </a:cxn>
              <a:cxn ang="0">
                <a:pos x="198" y="68"/>
              </a:cxn>
              <a:cxn ang="0">
                <a:pos x="241" y="76"/>
              </a:cxn>
              <a:cxn ang="0">
                <a:pos x="258" y="89"/>
              </a:cxn>
              <a:cxn ang="0">
                <a:pos x="263" y="106"/>
              </a:cxn>
              <a:cxn ang="0">
                <a:pos x="278" y="128"/>
              </a:cxn>
              <a:cxn ang="0">
                <a:pos x="334" y="144"/>
              </a:cxn>
              <a:cxn ang="0">
                <a:pos x="395" y="157"/>
              </a:cxn>
              <a:cxn ang="0">
                <a:pos x="419" y="180"/>
              </a:cxn>
            </a:cxnLst>
            <a:rect l="0" t="0" r="r" b="b"/>
            <a:pathLst>
              <a:path w="662" h="625">
                <a:moveTo>
                  <a:pt x="419" y="188"/>
                </a:moveTo>
                <a:lnTo>
                  <a:pt x="419" y="188"/>
                </a:lnTo>
                <a:lnTo>
                  <a:pt x="421" y="192"/>
                </a:lnTo>
                <a:lnTo>
                  <a:pt x="425" y="197"/>
                </a:lnTo>
                <a:lnTo>
                  <a:pt x="431" y="201"/>
                </a:lnTo>
                <a:lnTo>
                  <a:pt x="439" y="206"/>
                </a:lnTo>
                <a:lnTo>
                  <a:pt x="458" y="215"/>
                </a:lnTo>
                <a:lnTo>
                  <a:pt x="482" y="223"/>
                </a:lnTo>
                <a:lnTo>
                  <a:pt x="508" y="229"/>
                </a:lnTo>
                <a:lnTo>
                  <a:pt x="532" y="235"/>
                </a:lnTo>
                <a:lnTo>
                  <a:pt x="551" y="238"/>
                </a:lnTo>
                <a:lnTo>
                  <a:pt x="566" y="239"/>
                </a:lnTo>
                <a:lnTo>
                  <a:pt x="566" y="239"/>
                </a:lnTo>
                <a:lnTo>
                  <a:pt x="570" y="237"/>
                </a:lnTo>
                <a:lnTo>
                  <a:pt x="570" y="235"/>
                </a:lnTo>
                <a:lnTo>
                  <a:pt x="568" y="230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5" y="234"/>
                </a:lnTo>
                <a:lnTo>
                  <a:pt x="563" y="241"/>
                </a:lnTo>
                <a:lnTo>
                  <a:pt x="558" y="245"/>
                </a:lnTo>
                <a:lnTo>
                  <a:pt x="554" y="249"/>
                </a:lnTo>
                <a:lnTo>
                  <a:pt x="549" y="252"/>
                </a:lnTo>
                <a:lnTo>
                  <a:pt x="545" y="257"/>
                </a:lnTo>
                <a:lnTo>
                  <a:pt x="542" y="261"/>
                </a:lnTo>
                <a:lnTo>
                  <a:pt x="541" y="268"/>
                </a:lnTo>
                <a:lnTo>
                  <a:pt x="541" y="268"/>
                </a:lnTo>
                <a:lnTo>
                  <a:pt x="541" y="275"/>
                </a:lnTo>
                <a:lnTo>
                  <a:pt x="542" y="282"/>
                </a:lnTo>
                <a:lnTo>
                  <a:pt x="545" y="288"/>
                </a:lnTo>
                <a:lnTo>
                  <a:pt x="548" y="293"/>
                </a:lnTo>
                <a:lnTo>
                  <a:pt x="556" y="304"/>
                </a:lnTo>
                <a:lnTo>
                  <a:pt x="564" y="314"/>
                </a:lnTo>
                <a:lnTo>
                  <a:pt x="584" y="330"/>
                </a:lnTo>
                <a:lnTo>
                  <a:pt x="593" y="338"/>
                </a:lnTo>
                <a:lnTo>
                  <a:pt x="600" y="345"/>
                </a:lnTo>
                <a:lnTo>
                  <a:pt x="600" y="345"/>
                </a:lnTo>
                <a:lnTo>
                  <a:pt x="604" y="352"/>
                </a:lnTo>
                <a:lnTo>
                  <a:pt x="609" y="360"/>
                </a:lnTo>
                <a:lnTo>
                  <a:pt x="616" y="379"/>
                </a:lnTo>
                <a:lnTo>
                  <a:pt x="623" y="397"/>
                </a:lnTo>
                <a:lnTo>
                  <a:pt x="630" y="418"/>
                </a:lnTo>
                <a:lnTo>
                  <a:pt x="637" y="437"/>
                </a:lnTo>
                <a:lnTo>
                  <a:pt x="643" y="456"/>
                </a:lnTo>
                <a:lnTo>
                  <a:pt x="652" y="474"/>
                </a:lnTo>
                <a:lnTo>
                  <a:pt x="656" y="481"/>
                </a:lnTo>
                <a:lnTo>
                  <a:pt x="662" y="489"/>
                </a:lnTo>
                <a:lnTo>
                  <a:pt x="662" y="489"/>
                </a:lnTo>
                <a:lnTo>
                  <a:pt x="655" y="493"/>
                </a:lnTo>
                <a:lnTo>
                  <a:pt x="650" y="497"/>
                </a:lnTo>
                <a:lnTo>
                  <a:pt x="647" y="503"/>
                </a:lnTo>
                <a:lnTo>
                  <a:pt x="643" y="511"/>
                </a:lnTo>
                <a:lnTo>
                  <a:pt x="643" y="511"/>
                </a:lnTo>
                <a:lnTo>
                  <a:pt x="634" y="513"/>
                </a:lnTo>
                <a:lnTo>
                  <a:pt x="625" y="514"/>
                </a:lnTo>
                <a:lnTo>
                  <a:pt x="625" y="514"/>
                </a:lnTo>
                <a:lnTo>
                  <a:pt x="611" y="516"/>
                </a:lnTo>
                <a:lnTo>
                  <a:pt x="599" y="518"/>
                </a:lnTo>
                <a:lnTo>
                  <a:pt x="587" y="520"/>
                </a:lnTo>
                <a:lnTo>
                  <a:pt x="577" y="524"/>
                </a:lnTo>
                <a:lnTo>
                  <a:pt x="555" y="531"/>
                </a:lnTo>
                <a:lnTo>
                  <a:pt x="542" y="532"/>
                </a:lnTo>
                <a:lnTo>
                  <a:pt x="530" y="533"/>
                </a:lnTo>
                <a:lnTo>
                  <a:pt x="530" y="533"/>
                </a:lnTo>
                <a:lnTo>
                  <a:pt x="524" y="533"/>
                </a:lnTo>
                <a:lnTo>
                  <a:pt x="519" y="532"/>
                </a:lnTo>
                <a:lnTo>
                  <a:pt x="510" y="527"/>
                </a:lnTo>
                <a:lnTo>
                  <a:pt x="501" y="524"/>
                </a:lnTo>
                <a:lnTo>
                  <a:pt x="497" y="522"/>
                </a:lnTo>
                <a:lnTo>
                  <a:pt x="493" y="521"/>
                </a:lnTo>
                <a:lnTo>
                  <a:pt x="493" y="521"/>
                </a:lnTo>
                <a:lnTo>
                  <a:pt x="484" y="522"/>
                </a:lnTo>
                <a:lnTo>
                  <a:pt x="475" y="525"/>
                </a:lnTo>
                <a:lnTo>
                  <a:pt x="459" y="532"/>
                </a:lnTo>
                <a:lnTo>
                  <a:pt x="451" y="535"/>
                </a:lnTo>
                <a:lnTo>
                  <a:pt x="443" y="537"/>
                </a:lnTo>
                <a:lnTo>
                  <a:pt x="434" y="540"/>
                </a:lnTo>
                <a:lnTo>
                  <a:pt x="424" y="541"/>
                </a:lnTo>
                <a:lnTo>
                  <a:pt x="424" y="541"/>
                </a:lnTo>
                <a:lnTo>
                  <a:pt x="412" y="542"/>
                </a:lnTo>
                <a:lnTo>
                  <a:pt x="402" y="544"/>
                </a:lnTo>
                <a:lnTo>
                  <a:pt x="395" y="548"/>
                </a:lnTo>
                <a:lnTo>
                  <a:pt x="388" y="554"/>
                </a:lnTo>
                <a:lnTo>
                  <a:pt x="383" y="560"/>
                </a:lnTo>
                <a:lnTo>
                  <a:pt x="379" y="567"/>
                </a:lnTo>
                <a:lnTo>
                  <a:pt x="373" y="582"/>
                </a:lnTo>
                <a:lnTo>
                  <a:pt x="367" y="598"/>
                </a:lnTo>
                <a:lnTo>
                  <a:pt x="364" y="605"/>
                </a:lnTo>
                <a:lnTo>
                  <a:pt x="359" y="611"/>
                </a:lnTo>
                <a:lnTo>
                  <a:pt x="355" y="617"/>
                </a:lnTo>
                <a:lnTo>
                  <a:pt x="349" y="621"/>
                </a:lnTo>
                <a:lnTo>
                  <a:pt x="341" y="624"/>
                </a:lnTo>
                <a:lnTo>
                  <a:pt x="332" y="625"/>
                </a:lnTo>
                <a:lnTo>
                  <a:pt x="332" y="625"/>
                </a:lnTo>
                <a:lnTo>
                  <a:pt x="326" y="624"/>
                </a:lnTo>
                <a:lnTo>
                  <a:pt x="320" y="623"/>
                </a:lnTo>
                <a:lnTo>
                  <a:pt x="309" y="619"/>
                </a:lnTo>
                <a:lnTo>
                  <a:pt x="298" y="615"/>
                </a:lnTo>
                <a:lnTo>
                  <a:pt x="291" y="610"/>
                </a:lnTo>
                <a:lnTo>
                  <a:pt x="291" y="610"/>
                </a:lnTo>
                <a:lnTo>
                  <a:pt x="290" y="588"/>
                </a:lnTo>
                <a:lnTo>
                  <a:pt x="289" y="571"/>
                </a:lnTo>
                <a:lnTo>
                  <a:pt x="287" y="543"/>
                </a:lnTo>
                <a:lnTo>
                  <a:pt x="286" y="533"/>
                </a:lnTo>
                <a:lnTo>
                  <a:pt x="286" y="524"/>
                </a:lnTo>
                <a:lnTo>
                  <a:pt x="288" y="516"/>
                </a:lnTo>
                <a:lnTo>
                  <a:pt x="291" y="507"/>
                </a:lnTo>
                <a:lnTo>
                  <a:pt x="291" y="507"/>
                </a:lnTo>
                <a:lnTo>
                  <a:pt x="284" y="506"/>
                </a:lnTo>
                <a:lnTo>
                  <a:pt x="282" y="505"/>
                </a:lnTo>
                <a:lnTo>
                  <a:pt x="282" y="504"/>
                </a:lnTo>
                <a:lnTo>
                  <a:pt x="280" y="504"/>
                </a:lnTo>
                <a:lnTo>
                  <a:pt x="280" y="504"/>
                </a:lnTo>
                <a:lnTo>
                  <a:pt x="271" y="486"/>
                </a:lnTo>
                <a:lnTo>
                  <a:pt x="255" y="457"/>
                </a:lnTo>
                <a:lnTo>
                  <a:pt x="232" y="419"/>
                </a:lnTo>
                <a:lnTo>
                  <a:pt x="232" y="419"/>
                </a:lnTo>
                <a:lnTo>
                  <a:pt x="211" y="419"/>
                </a:lnTo>
                <a:lnTo>
                  <a:pt x="211" y="419"/>
                </a:lnTo>
                <a:lnTo>
                  <a:pt x="205" y="418"/>
                </a:lnTo>
                <a:lnTo>
                  <a:pt x="202" y="417"/>
                </a:lnTo>
                <a:lnTo>
                  <a:pt x="198" y="414"/>
                </a:lnTo>
                <a:lnTo>
                  <a:pt x="196" y="410"/>
                </a:lnTo>
                <a:lnTo>
                  <a:pt x="192" y="402"/>
                </a:lnTo>
                <a:lnTo>
                  <a:pt x="190" y="391"/>
                </a:lnTo>
                <a:lnTo>
                  <a:pt x="188" y="373"/>
                </a:lnTo>
                <a:lnTo>
                  <a:pt x="186" y="366"/>
                </a:lnTo>
                <a:lnTo>
                  <a:pt x="183" y="365"/>
                </a:lnTo>
                <a:lnTo>
                  <a:pt x="181" y="364"/>
                </a:lnTo>
                <a:lnTo>
                  <a:pt x="181" y="364"/>
                </a:lnTo>
                <a:lnTo>
                  <a:pt x="156" y="364"/>
                </a:lnTo>
                <a:lnTo>
                  <a:pt x="156" y="364"/>
                </a:lnTo>
                <a:lnTo>
                  <a:pt x="151" y="364"/>
                </a:lnTo>
                <a:lnTo>
                  <a:pt x="146" y="363"/>
                </a:lnTo>
                <a:lnTo>
                  <a:pt x="142" y="361"/>
                </a:lnTo>
                <a:lnTo>
                  <a:pt x="138" y="359"/>
                </a:lnTo>
                <a:lnTo>
                  <a:pt x="135" y="356"/>
                </a:lnTo>
                <a:lnTo>
                  <a:pt x="131" y="351"/>
                </a:lnTo>
                <a:lnTo>
                  <a:pt x="130" y="346"/>
                </a:lnTo>
                <a:lnTo>
                  <a:pt x="129" y="342"/>
                </a:lnTo>
                <a:lnTo>
                  <a:pt x="129" y="342"/>
                </a:lnTo>
                <a:lnTo>
                  <a:pt x="130" y="335"/>
                </a:lnTo>
                <a:lnTo>
                  <a:pt x="134" y="328"/>
                </a:lnTo>
                <a:lnTo>
                  <a:pt x="138" y="323"/>
                </a:lnTo>
                <a:lnTo>
                  <a:pt x="144" y="318"/>
                </a:lnTo>
                <a:lnTo>
                  <a:pt x="150" y="313"/>
                </a:lnTo>
                <a:lnTo>
                  <a:pt x="154" y="307"/>
                </a:lnTo>
                <a:lnTo>
                  <a:pt x="157" y="302"/>
                </a:lnTo>
                <a:lnTo>
                  <a:pt x="159" y="295"/>
                </a:lnTo>
                <a:lnTo>
                  <a:pt x="159" y="295"/>
                </a:lnTo>
                <a:lnTo>
                  <a:pt x="158" y="284"/>
                </a:lnTo>
                <a:lnTo>
                  <a:pt x="156" y="275"/>
                </a:lnTo>
                <a:lnTo>
                  <a:pt x="152" y="267"/>
                </a:lnTo>
                <a:lnTo>
                  <a:pt x="148" y="260"/>
                </a:lnTo>
                <a:lnTo>
                  <a:pt x="143" y="253"/>
                </a:lnTo>
                <a:lnTo>
                  <a:pt x="136" y="247"/>
                </a:lnTo>
                <a:lnTo>
                  <a:pt x="123" y="238"/>
                </a:lnTo>
                <a:lnTo>
                  <a:pt x="108" y="229"/>
                </a:lnTo>
                <a:lnTo>
                  <a:pt x="93" y="221"/>
                </a:lnTo>
                <a:lnTo>
                  <a:pt x="87" y="216"/>
                </a:lnTo>
                <a:lnTo>
                  <a:pt x="81" y="211"/>
                </a:lnTo>
                <a:lnTo>
                  <a:pt x="75" y="205"/>
                </a:lnTo>
                <a:lnTo>
                  <a:pt x="70" y="198"/>
                </a:lnTo>
                <a:lnTo>
                  <a:pt x="70" y="198"/>
                </a:lnTo>
                <a:lnTo>
                  <a:pt x="67" y="193"/>
                </a:lnTo>
                <a:lnTo>
                  <a:pt x="64" y="190"/>
                </a:lnTo>
                <a:lnTo>
                  <a:pt x="59" y="186"/>
                </a:lnTo>
                <a:lnTo>
                  <a:pt x="53" y="184"/>
                </a:lnTo>
                <a:lnTo>
                  <a:pt x="42" y="181"/>
                </a:lnTo>
                <a:lnTo>
                  <a:pt x="30" y="177"/>
                </a:lnTo>
                <a:lnTo>
                  <a:pt x="19" y="174"/>
                </a:lnTo>
                <a:lnTo>
                  <a:pt x="14" y="170"/>
                </a:lnTo>
                <a:lnTo>
                  <a:pt x="9" y="167"/>
                </a:lnTo>
                <a:lnTo>
                  <a:pt x="6" y="162"/>
                </a:lnTo>
                <a:lnTo>
                  <a:pt x="3" y="157"/>
                </a:lnTo>
                <a:lnTo>
                  <a:pt x="1" y="148"/>
                </a:lnTo>
                <a:lnTo>
                  <a:pt x="0" y="140"/>
                </a:lnTo>
                <a:lnTo>
                  <a:pt x="0" y="140"/>
                </a:lnTo>
                <a:lnTo>
                  <a:pt x="1" y="132"/>
                </a:lnTo>
                <a:lnTo>
                  <a:pt x="3" y="124"/>
                </a:lnTo>
                <a:lnTo>
                  <a:pt x="6" y="112"/>
                </a:lnTo>
                <a:lnTo>
                  <a:pt x="9" y="99"/>
                </a:lnTo>
                <a:lnTo>
                  <a:pt x="11" y="94"/>
                </a:lnTo>
                <a:lnTo>
                  <a:pt x="12" y="89"/>
                </a:lnTo>
                <a:lnTo>
                  <a:pt x="12" y="89"/>
                </a:lnTo>
                <a:lnTo>
                  <a:pt x="12" y="59"/>
                </a:lnTo>
                <a:lnTo>
                  <a:pt x="12" y="59"/>
                </a:lnTo>
                <a:lnTo>
                  <a:pt x="82" y="12"/>
                </a:lnTo>
                <a:lnTo>
                  <a:pt x="82" y="12"/>
                </a:lnTo>
                <a:lnTo>
                  <a:pt x="82" y="12"/>
                </a:lnTo>
                <a:lnTo>
                  <a:pt x="91" y="8"/>
                </a:lnTo>
                <a:lnTo>
                  <a:pt x="99" y="5"/>
                </a:lnTo>
                <a:lnTo>
                  <a:pt x="108" y="1"/>
                </a:lnTo>
                <a:lnTo>
                  <a:pt x="113" y="0"/>
                </a:lnTo>
                <a:lnTo>
                  <a:pt x="118" y="0"/>
                </a:lnTo>
                <a:lnTo>
                  <a:pt x="118" y="0"/>
                </a:lnTo>
                <a:lnTo>
                  <a:pt x="123" y="1"/>
                </a:lnTo>
                <a:lnTo>
                  <a:pt x="128" y="2"/>
                </a:lnTo>
                <a:lnTo>
                  <a:pt x="137" y="7"/>
                </a:lnTo>
                <a:lnTo>
                  <a:pt x="148" y="14"/>
                </a:lnTo>
                <a:lnTo>
                  <a:pt x="157" y="23"/>
                </a:lnTo>
                <a:lnTo>
                  <a:pt x="165" y="32"/>
                </a:lnTo>
                <a:lnTo>
                  <a:pt x="173" y="43"/>
                </a:lnTo>
                <a:lnTo>
                  <a:pt x="184" y="59"/>
                </a:lnTo>
                <a:lnTo>
                  <a:pt x="184" y="59"/>
                </a:lnTo>
                <a:lnTo>
                  <a:pt x="188" y="62"/>
                </a:lnTo>
                <a:lnTo>
                  <a:pt x="192" y="66"/>
                </a:lnTo>
                <a:lnTo>
                  <a:pt x="198" y="68"/>
                </a:lnTo>
                <a:lnTo>
                  <a:pt x="204" y="69"/>
                </a:lnTo>
                <a:lnTo>
                  <a:pt x="215" y="71"/>
                </a:lnTo>
                <a:lnTo>
                  <a:pt x="228" y="74"/>
                </a:lnTo>
                <a:lnTo>
                  <a:pt x="241" y="76"/>
                </a:lnTo>
                <a:lnTo>
                  <a:pt x="245" y="78"/>
                </a:lnTo>
                <a:lnTo>
                  <a:pt x="250" y="81"/>
                </a:lnTo>
                <a:lnTo>
                  <a:pt x="255" y="84"/>
                </a:lnTo>
                <a:lnTo>
                  <a:pt x="258" y="89"/>
                </a:lnTo>
                <a:lnTo>
                  <a:pt x="260" y="93"/>
                </a:lnTo>
                <a:lnTo>
                  <a:pt x="261" y="100"/>
                </a:lnTo>
                <a:lnTo>
                  <a:pt x="261" y="100"/>
                </a:lnTo>
                <a:lnTo>
                  <a:pt x="263" y="106"/>
                </a:lnTo>
                <a:lnTo>
                  <a:pt x="265" y="112"/>
                </a:lnTo>
                <a:lnTo>
                  <a:pt x="267" y="116"/>
                </a:lnTo>
                <a:lnTo>
                  <a:pt x="271" y="121"/>
                </a:lnTo>
                <a:lnTo>
                  <a:pt x="278" y="128"/>
                </a:lnTo>
                <a:lnTo>
                  <a:pt x="287" y="134"/>
                </a:lnTo>
                <a:lnTo>
                  <a:pt x="297" y="137"/>
                </a:lnTo>
                <a:lnTo>
                  <a:pt x="309" y="140"/>
                </a:lnTo>
                <a:lnTo>
                  <a:pt x="334" y="144"/>
                </a:lnTo>
                <a:lnTo>
                  <a:pt x="359" y="147"/>
                </a:lnTo>
                <a:lnTo>
                  <a:pt x="372" y="150"/>
                </a:lnTo>
                <a:lnTo>
                  <a:pt x="385" y="153"/>
                </a:lnTo>
                <a:lnTo>
                  <a:pt x="395" y="157"/>
                </a:lnTo>
                <a:lnTo>
                  <a:pt x="405" y="162"/>
                </a:lnTo>
                <a:lnTo>
                  <a:pt x="413" y="170"/>
                </a:lnTo>
                <a:lnTo>
                  <a:pt x="417" y="175"/>
                </a:lnTo>
                <a:lnTo>
                  <a:pt x="419" y="180"/>
                </a:lnTo>
                <a:lnTo>
                  <a:pt x="419" y="180"/>
                </a:lnTo>
                <a:lnTo>
                  <a:pt x="419" y="188"/>
                </a:lnTo>
                <a:lnTo>
                  <a:pt x="419" y="18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7" name="Freeform 72"/>
          <p:cNvSpPr>
            <a:spLocks/>
          </p:cNvSpPr>
          <p:nvPr/>
        </p:nvSpPr>
        <p:spPr bwMode="auto">
          <a:xfrm>
            <a:off x="1316038" y="4435475"/>
            <a:ext cx="301625" cy="355600"/>
          </a:xfrm>
          <a:custGeom>
            <a:avLst/>
            <a:gdLst/>
            <a:ahLst/>
            <a:cxnLst>
              <a:cxn ang="0">
                <a:pos x="302" y="403"/>
              </a:cxn>
              <a:cxn ang="0">
                <a:pos x="311" y="387"/>
              </a:cxn>
              <a:cxn ang="0">
                <a:pos x="347" y="358"/>
              </a:cxn>
              <a:cxn ang="0">
                <a:pos x="364" y="335"/>
              </a:cxn>
              <a:cxn ang="0">
                <a:pos x="368" y="321"/>
              </a:cxn>
              <a:cxn ang="0">
                <a:pos x="362" y="307"/>
              </a:cxn>
              <a:cxn ang="0">
                <a:pos x="352" y="298"/>
              </a:cxn>
              <a:cxn ang="0">
                <a:pos x="349" y="288"/>
              </a:cxn>
              <a:cxn ang="0">
                <a:pos x="359" y="262"/>
              </a:cxn>
              <a:cxn ang="0">
                <a:pos x="367" y="242"/>
              </a:cxn>
              <a:cxn ang="0">
                <a:pos x="367" y="218"/>
              </a:cxn>
              <a:cxn ang="0">
                <a:pos x="361" y="200"/>
              </a:cxn>
              <a:cxn ang="0">
                <a:pos x="349" y="192"/>
              </a:cxn>
              <a:cxn ang="0">
                <a:pos x="349" y="170"/>
              </a:cxn>
              <a:cxn ang="0">
                <a:pos x="338" y="167"/>
              </a:cxn>
              <a:cxn ang="0">
                <a:pos x="309" y="146"/>
              </a:cxn>
              <a:cxn ang="0">
                <a:pos x="285" y="130"/>
              </a:cxn>
              <a:cxn ang="0">
                <a:pos x="268" y="126"/>
              </a:cxn>
              <a:cxn ang="0">
                <a:pos x="256" y="130"/>
              </a:cxn>
              <a:cxn ang="0">
                <a:pos x="245" y="143"/>
              </a:cxn>
              <a:cxn ang="0">
                <a:pos x="232" y="151"/>
              </a:cxn>
              <a:cxn ang="0">
                <a:pos x="217" y="146"/>
              </a:cxn>
              <a:cxn ang="0">
                <a:pos x="207" y="126"/>
              </a:cxn>
              <a:cxn ang="0">
                <a:pos x="201" y="76"/>
              </a:cxn>
              <a:cxn ang="0">
                <a:pos x="192" y="52"/>
              </a:cxn>
              <a:cxn ang="0">
                <a:pos x="170" y="42"/>
              </a:cxn>
              <a:cxn ang="0">
                <a:pos x="162" y="43"/>
              </a:cxn>
              <a:cxn ang="0">
                <a:pos x="141" y="52"/>
              </a:cxn>
              <a:cxn ang="0">
                <a:pos x="128" y="51"/>
              </a:cxn>
              <a:cxn ang="0">
                <a:pos x="103" y="35"/>
              </a:cxn>
              <a:cxn ang="0">
                <a:pos x="84" y="9"/>
              </a:cxn>
              <a:cxn ang="0">
                <a:pos x="74" y="4"/>
              </a:cxn>
              <a:cxn ang="0">
                <a:pos x="59" y="17"/>
              </a:cxn>
              <a:cxn ang="0">
                <a:pos x="53" y="35"/>
              </a:cxn>
              <a:cxn ang="0">
                <a:pos x="51" y="159"/>
              </a:cxn>
              <a:cxn ang="0">
                <a:pos x="50" y="172"/>
              </a:cxn>
              <a:cxn ang="0">
                <a:pos x="39" y="190"/>
              </a:cxn>
              <a:cxn ang="0">
                <a:pos x="5" y="215"/>
              </a:cxn>
              <a:cxn ang="0">
                <a:pos x="0" y="221"/>
              </a:cxn>
              <a:cxn ang="0">
                <a:pos x="5" y="222"/>
              </a:cxn>
              <a:cxn ang="0">
                <a:pos x="30" y="235"/>
              </a:cxn>
              <a:cxn ang="0">
                <a:pos x="55" y="264"/>
              </a:cxn>
              <a:cxn ang="0">
                <a:pos x="70" y="283"/>
              </a:cxn>
              <a:cxn ang="0">
                <a:pos x="86" y="290"/>
              </a:cxn>
              <a:cxn ang="0">
                <a:pos x="123" y="297"/>
              </a:cxn>
              <a:cxn ang="0">
                <a:pos x="137" y="305"/>
              </a:cxn>
              <a:cxn ang="0">
                <a:pos x="143" y="321"/>
              </a:cxn>
              <a:cxn ang="0">
                <a:pos x="147" y="333"/>
              </a:cxn>
              <a:cxn ang="0">
                <a:pos x="160" y="349"/>
              </a:cxn>
              <a:cxn ang="0">
                <a:pos x="191" y="361"/>
              </a:cxn>
              <a:cxn ang="0">
                <a:pos x="254" y="371"/>
              </a:cxn>
              <a:cxn ang="0">
                <a:pos x="287" y="383"/>
              </a:cxn>
              <a:cxn ang="0">
                <a:pos x="301" y="401"/>
              </a:cxn>
              <a:cxn ang="0">
                <a:pos x="301" y="409"/>
              </a:cxn>
            </a:cxnLst>
            <a:rect l="0" t="0" r="r" b="b"/>
            <a:pathLst>
              <a:path w="368" h="409">
                <a:moveTo>
                  <a:pt x="301" y="409"/>
                </a:moveTo>
                <a:lnTo>
                  <a:pt x="301" y="409"/>
                </a:lnTo>
                <a:lnTo>
                  <a:pt x="302" y="403"/>
                </a:lnTo>
                <a:lnTo>
                  <a:pt x="305" y="397"/>
                </a:lnTo>
                <a:lnTo>
                  <a:pt x="308" y="391"/>
                </a:lnTo>
                <a:lnTo>
                  <a:pt x="311" y="387"/>
                </a:lnTo>
                <a:lnTo>
                  <a:pt x="323" y="378"/>
                </a:lnTo>
                <a:lnTo>
                  <a:pt x="334" y="367"/>
                </a:lnTo>
                <a:lnTo>
                  <a:pt x="347" y="358"/>
                </a:lnTo>
                <a:lnTo>
                  <a:pt x="357" y="346"/>
                </a:lnTo>
                <a:lnTo>
                  <a:pt x="361" y="341"/>
                </a:lnTo>
                <a:lnTo>
                  <a:pt x="364" y="335"/>
                </a:lnTo>
                <a:lnTo>
                  <a:pt x="367" y="328"/>
                </a:lnTo>
                <a:lnTo>
                  <a:pt x="368" y="321"/>
                </a:lnTo>
                <a:lnTo>
                  <a:pt x="368" y="321"/>
                </a:lnTo>
                <a:lnTo>
                  <a:pt x="367" y="314"/>
                </a:lnTo>
                <a:lnTo>
                  <a:pt x="364" y="311"/>
                </a:lnTo>
                <a:lnTo>
                  <a:pt x="362" y="307"/>
                </a:lnTo>
                <a:lnTo>
                  <a:pt x="359" y="304"/>
                </a:lnTo>
                <a:lnTo>
                  <a:pt x="355" y="302"/>
                </a:lnTo>
                <a:lnTo>
                  <a:pt x="352" y="298"/>
                </a:lnTo>
                <a:lnTo>
                  <a:pt x="351" y="294"/>
                </a:lnTo>
                <a:lnTo>
                  <a:pt x="349" y="288"/>
                </a:lnTo>
                <a:lnTo>
                  <a:pt x="349" y="288"/>
                </a:lnTo>
                <a:lnTo>
                  <a:pt x="351" y="280"/>
                </a:lnTo>
                <a:lnTo>
                  <a:pt x="352" y="274"/>
                </a:lnTo>
                <a:lnTo>
                  <a:pt x="359" y="262"/>
                </a:lnTo>
                <a:lnTo>
                  <a:pt x="362" y="257"/>
                </a:lnTo>
                <a:lnTo>
                  <a:pt x="364" y="250"/>
                </a:lnTo>
                <a:lnTo>
                  <a:pt x="367" y="242"/>
                </a:lnTo>
                <a:lnTo>
                  <a:pt x="368" y="233"/>
                </a:lnTo>
                <a:lnTo>
                  <a:pt x="368" y="233"/>
                </a:lnTo>
                <a:lnTo>
                  <a:pt x="367" y="218"/>
                </a:lnTo>
                <a:lnTo>
                  <a:pt x="366" y="211"/>
                </a:lnTo>
                <a:lnTo>
                  <a:pt x="364" y="205"/>
                </a:lnTo>
                <a:lnTo>
                  <a:pt x="361" y="200"/>
                </a:lnTo>
                <a:lnTo>
                  <a:pt x="359" y="197"/>
                </a:lnTo>
                <a:lnTo>
                  <a:pt x="354" y="193"/>
                </a:lnTo>
                <a:lnTo>
                  <a:pt x="349" y="192"/>
                </a:lnTo>
                <a:lnTo>
                  <a:pt x="349" y="192"/>
                </a:lnTo>
                <a:lnTo>
                  <a:pt x="349" y="170"/>
                </a:lnTo>
                <a:lnTo>
                  <a:pt x="349" y="170"/>
                </a:lnTo>
                <a:lnTo>
                  <a:pt x="349" y="170"/>
                </a:lnTo>
                <a:lnTo>
                  <a:pt x="344" y="169"/>
                </a:lnTo>
                <a:lnTo>
                  <a:pt x="338" y="167"/>
                </a:lnTo>
                <a:lnTo>
                  <a:pt x="328" y="161"/>
                </a:lnTo>
                <a:lnTo>
                  <a:pt x="318" y="154"/>
                </a:lnTo>
                <a:lnTo>
                  <a:pt x="309" y="146"/>
                </a:lnTo>
                <a:lnTo>
                  <a:pt x="300" y="139"/>
                </a:lnTo>
                <a:lnTo>
                  <a:pt x="291" y="132"/>
                </a:lnTo>
                <a:lnTo>
                  <a:pt x="285" y="130"/>
                </a:lnTo>
                <a:lnTo>
                  <a:pt x="280" y="128"/>
                </a:lnTo>
                <a:lnTo>
                  <a:pt x="275" y="127"/>
                </a:lnTo>
                <a:lnTo>
                  <a:pt x="268" y="126"/>
                </a:lnTo>
                <a:lnTo>
                  <a:pt x="268" y="126"/>
                </a:lnTo>
                <a:lnTo>
                  <a:pt x="262" y="127"/>
                </a:lnTo>
                <a:lnTo>
                  <a:pt x="256" y="130"/>
                </a:lnTo>
                <a:lnTo>
                  <a:pt x="253" y="134"/>
                </a:lnTo>
                <a:lnTo>
                  <a:pt x="248" y="138"/>
                </a:lnTo>
                <a:lnTo>
                  <a:pt x="245" y="143"/>
                </a:lnTo>
                <a:lnTo>
                  <a:pt x="241" y="147"/>
                </a:lnTo>
                <a:lnTo>
                  <a:pt x="237" y="150"/>
                </a:lnTo>
                <a:lnTo>
                  <a:pt x="232" y="151"/>
                </a:lnTo>
                <a:lnTo>
                  <a:pt x="232" y="151"/>
                </a:lnTo>
                <a:lnTo>
                  <a:pt x="224" y="150"/>
                </a:lnTo>
                <a:lnTo>
                  <a:pt x="217" y="146"/>
                </a:lnTo>
                <a:lnTo>
                  <a:pt x="212" y="140"/>
                </a:lnTo>
                <a:lnTo>
                  <a:pt x="209" y="134"/>
                </a:lnTo>
                <a:lnTo>
                  <a:pt x="207" y="126"/>
                </a:lnTo>
                <a:lnTo>
                  <a:pt x="206" y="116"/>
                </a:lnTo>
                <a:lnTo>
                  <a:pt x="203" y="97"/>
                </a:lnTo>
                <a:lnTo>
                  <a:pt x="201" y="76"/>
                </a:lnTo>
                <a:lnTo>
                  <a:pt x="199" y="67"/>
                </a:lnTo>
                <a:lnTo>
                  <a:pt x="195" y="59"/>
                </a:lnTo>
                <a:lnTo>
                  <a:pt x="192" y="52"/>
                </a:lnTo>
                <a:lnTo>
                  <a:pt x="186" y="46"/>
                </a:lnTo>
                <a:lnTo>
                  <a:pt x="178" y="43"/>
                </a:lnTo>
                <a:lnTo>
                  <a:pt x="170" y="42"/>
                </a:lnTo>
                <a:lnTo>
                  <a:pt x="170" y="42"/>
                </a:lnTo>
                <a:lnTo>
                  <a:pt x="165" y="42"/>
                </a:lnTo>
                <a:lnTo>
                  <a:pt x="162" y="43"/>
                </a:lnTo>
                <a:lnTo>
                  <a:pt x="154" y="47"/>
                </a:lnTo>
                <a:lnTo>
                  <a:pt x="146" y="51"/>
                </a:lnTo>
                <a:lnTo>
                  <a:pt x="141" y="52"/>
                </a:lnTo>
                <a:lnTo>
                  <a:pt x="137" y="53"/>
                </a:lnTo>
                <a:lnTo>
                  <a:pt x="137" y="53"/>
                </a:lnTo>
                <a:lnTo>
                  <a:pt x="128" y="51"/>
                </a:lnTo>
                <a:lnTo>
                  <a:pt x="120" y="47"/>
                </a:lnTo>
                <a:lnTo>
                  <a:pt x="111" y="42"/>
                </a:lnTo>
                <a:lnTo>
                  <a:pt x="103" y="35"/>
                </a:lnTo>
                <a:lnTo>
                  <a:pt x="95" y="27"/>
                </a:lnTo>
                <a:lnTo>
                  <a:pt x="88" y="19"/>
                </a:lnTo>
                <a:lnTo>
                  <a:pt x="84" y="9"/>
                </a:lnTo>
                <a:lnTo>
                  <a:pt x="81" y="0"/>
                </a:lnTo>
                <a:lnTo>
                  <a:pt x="81" y="0"/>
                </a:lnTo>
                <a:lnTo>
                  <a:pt x="74" y="4"/>
                </a:lnTo>
                <a:lnTo>
                  <a:pt x="69" y="8"/>
                </a:lnTo>
                <a:lnTo>
                  <a:pt x="64" y="12"/>
                </a:lnTo>
                <a:lnTo>
                  <a:pt x="59" y="17"/>
                </a:lnTo>
                <a:lnTo>
                  <a:pt x="56" y="22"/>
                </a:lnTo>
                <a:lnTo>
                  <a:pt x="54" y="29"/>
                </a:lnTo>
                <a:lnTo>
                  <a:pt x="53" y="35"/>
                </a:lnTo>
                <a:lnTo>
                  <a:pt x="51" y="42"/>
                </a:lnTo>
                <a:lnTo>
                  <a:pt x="51" y="42"/>
                </a:lnTo>
                <a:lnTo>
                  <a:pt x="51" y="159"/>
                </a:lnTo>
                <a:lnTo>
                  <a:pt x="51" y="159"/>
                </a:lnTo>
                <a:lnTo>
                  <a:pt x="51" y="166"/>
                </a:lnTo>
                <a:lnTo>
                  <a:pt x="50" y="172"/>
                </a:lnTo>
                <a:lnTo>
                  <a:pt x="48" y="176"/>
                </a:lnTo>
                <a:lnTo>
                  <a:pt x="46" y="182"/>
                </a:lnTo>
                <a:lnTo>
                  <a:pt x="39" y="190"/>
                </a:lnTo>
                <a:lnTo>
                  <a:pt x="30" y="197"/>
                </a:lnTo>
                <a:lnTo>
                  <a:pt x="12" y="208"/>
                </a:lnTo>
                <a:lnTo>
                  <a:pt x="5" y="215"/>
                </a:lnTo>
                <a:lnTo>
                  <a:pt x="0" y="221"/>
                </a:lnTo>
                <a:lnTo>
                  <a:pt x="0" y="221"/>
                </a:lnTo>
                <a:lnTo>
                  <a:pt x="0" y="221"/>
                </a:lnTo>
                <a:lnTo>
                  <a:pt x="0" y="221"/>
                </a:lnTo>
                <a:lnTo>
                  <a:pt x="0" y="221"/>
                </a:lnTo>
                <a:lnTo>
                  <a:pt x="5" y="222"/>
                </a:lnTo>
                <a:lnTo>
                  <a:pt x="10" y="223"/>
                </a:lnTo>
                <a:lnTo>
                  <a:pt x="19" y="228"/>
                </a:lnTo>
                <a:lnTo>
                  <a:pt x="30" y="235"/>
                </a:lnTo>
                <a:lnTo>
                  <a:pt x="39" y="244"/>
                </a:lnTo>
                <a:lnTo>
                  <a:pt x="47" y="253"/>
                </a:lnTo>
                <a:lnTo>
                  <a:pt x="55" y="264"/>
                </a:lnTo>
                <a:lnTo>
                  <a:pt x="66" y="280"/>
                </a:lnTo>
                <a:lnTo>
                  <a:pt x="66" y="280"/>
                </a:lnTo>
                <a:lnTo>
                  <a:pt x="70" y="283"/>
                </a:lnTo>
                <a:lnTo>
                  <a:pt x="74" y="287"/>
                </a:lnTo>
                <a:lnTo>
                  <a:pt x="80" y="289"/>
                </a:lnTo>
                <a:lnTo>
                  <a:pt x="86" y="290"/>
                </a:lnTo>
                <a:lnTo>
                  <a:pt x="97" y="292"/>
                </a:lnTo>
                <a:lnTo>
                  <a:pt x="110" y="295"/>
                </a:lnTo>
                <a:lnTo>
                  <a:pt x="123" y="297"/>
                </a:lnTo>
                <a:lnTo>
                  <a:pt x="127" y="299"/>
                </a:lnTo>
                <a:lnTo>
                  <a:pt x="132" y="302"/>
                </a:lnTo>
                <a:lnTo>
                  <a:pt x="137" y="305"/>
                </a:lnTo>
                <a:lnTo>
                  <a:pt x="140" y="310"/>
                </a:lnTo>
                <a:lnTo>
                  <a:pt x="142" y="314"/>
                </a:lnTo>
                <a:lnTo>
                  <a:pt x="143" y="321"/>
                </a:lnTo>
                <a:lnTo>
                  <a:pt x="143" y="321"/>
                </a:lnTo>
                <a:lnTo>
                  <a:pt x="145" y="327"/>
                </a:lnTo>
                <a:lnTo>
                  <a:pt x="147" y="333"/>
                </a:lnTo>
                <a:lnTo>
                  <a:pt x="149" y="337"/>
                </a:lnTo>
                <a:lnTo>
                  <a:pt x="153" y="342"/>
                </a:lnTo>
                <a:lnTo>
                  <a:pt x="160" y="349"/>
                </a:lnTo>
                <a:lnTo>
                  <a:pt x="169" y="355"/>
                </a:lnTo>
                <a:lnTo>
                  <a:pt x="179" y="358"/>
                </a:lnTo>
                <a:lnTo>
                  <a:pt x="191" y="361"/>
                </a:lnTo>
                <a:lnTo>
                  <a:pt x="216" y="365"/>
                </a:lnTo>
                <a:lnTo>
                  <a:pt x="241" y="368"/>
                </a:lnTo>
                <a:lnTo>
                  <a:pt x="254" y="371"/>
                </a:lnTo>
                <a:lnTo>
                  <a:pt x="267" y="374"/>
                </a:lnTo>
                <a:lnTo>
                  <a:pt x="277" y="378"/>
                </a:lnTo>
                <a:lnTo>
                  <a:pt x="287" y="383"/>
                </a:lnTo>
                <a:lnTo>
                  <a:pt x="295" y="391"/>
                </a:lnTo>
                <a:lnTo>
                  <a:pt x="299" y="396"/>
                </a:lnTo>
                <a:lnTo>
                  <a:pt x="301" y="401"/>
                </a:lnTo>
                <a:lnTo>
                  <a:pt x="301" y="401"/>
                </a:lnTo>
                <a:lnTo>
                  <a:pt x="301" y="409"/>
                </a:lnTo>
                <a:lnTo>
                  <a:pt x="301" y="4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8" name="Freeform 73"/>
          <p:cNvSpPr>
            <a:spLocks/>
          </p:cNvSpPr>
          <p:nvPr/>
        </p:nvSpPr>
        <p:spPr bwMode="auto">
          <a:xfrm>
            <a:off x="935038" y="4695825"/>
            <a:ext cx="523875" cy="504825"/>
          </a:xfrm>
          <a:custGeom>
            <a:avLst/>
            <a:gdLst/>
            <a:ahLst/>
            <a:cxnLst>
              <a:cxn ang="0">
                <a:pos x="606" y="436"/>
              </a:cxn>
              <a:cxn ang="0">
                <a:pos x="588" y="452"/>
              </a:cxn>
              <a:cxn ang="0">
                <a:pos x="512" y="475"/>
              </a:cxn>
              <a:cxn ang="0">
                <a:pos x="486" y="501"/>
              </a:cxn>
              <a:cxn ang="0">
                <a:pos x="477" y="533"/>
              </a:cxn>
              <a:cxn ang="0">
                <a:pos x="443" y="565"/>
              </a:cxn>
              <a:cxn ang="0">
                <a:pos x="403" y="574"/>
              </a:cxn>
              <a:cxn ang="0">
                <a:pos x="391" y="535"/>
              </a:cxn>
              <a:cxn ang="0">
                <a:pos x="368" y="526"/>
              </a:cxn>
              <a:cxn ang="0">
                <a:pos x="330" y="533"/>
              </a:cxn>
              <a:cxn ang="0">
                <a:pos x="271" y="526"/>
              </a:cxn>
              <a:cxn ang="0">
                <a:pos x="242" y="536"/>
              </a:cxn>
              <a:cxn ang="0">
                <a:pos x="217" y="547"/>
              </a:cxn>
              <a:cxn ang="0">
                <a:pos x="195" y="512"/>
              </a:cxn>
              <a:cxn ang="0">
                <a:pos x="186" y="509"/>
              </a:cxn>
              <a:cxn ang="0">
                <a:pos x="168" y="543"/>
              </a:cxn>
              <a:cxn ang="0">
                <a:pos x="142" y="536"/>
              </a:cxn>
              <a:cxn ang="0">
                <a:pos x="113" y="529"/>
              </a:cxn>
              <a:cxn ang="0">
                <a:pos x="76" y="540"/>
              </a:cxn>
              <a:cxn ang="0">
                <a:pos x="54" y="534"/>
              </a:cxn>
              <a:cxn ang="0">
                <a:pos x="19" y="490"/>
              </a:cxn>
              <a:cxn ang="0">
                <a:pos x="24" y="455"/>
              </a:cxn>
              <a:cxn ang="0">
                <a:pos x="28" y="422"/>
              </a:cxn>
              <a:cxn ang="0">
                <a:pos x="9" y="395"/>
              </a:cxn>
              <a:cxn ang="0">
                <a:pos x="0" y="375"/>
              </a:cxn>
              <a:cxn ang="0">
                <a:pos x="27" y="346"/>
              </a:cxn>
              <a:cxn ang="0">
                <a:pos x="57" y="338"/>
              </a:cxn>
              <a:cxn ang="0">
                <a:pos x="100" y="350"/>
              </a:cxn>
              <a:cxn ang="0">
                <a:pos x="117" y="343"/>
              </a:cxn>
              <a:cxn ang="0">
                <a:pos x="120" y="298"/>
              </a:cxn>
              <a:cxn ang="0">
                <a:pos x="123" y="241"/>
              </a:cxn>
              <a:cxn ang="0">
                <a:pos x="151" y="206"/>
              </a:cxn>
              <a:cxn ang="0">
                <a:pos x="165" y="169"/>
              </a:cxn>
              <a:cxn ang="0">
                <a:pos x="154" y="137"/>
              </a:cxn>
              <a:cxn ang="0">
                <a:pos x="143" y="100"/>
              </a:cxn>
              <a:cxn ang="0">
                <a:pos x="170" y="57"/>
              </a:cxn>
              <a:cxn ang="0">
                <a:pos x="201" y="0"/>
              </a:cxn>
              <a:cxn ang="0">
                <a:pos x="286" y="2"/>
              </a:cxn>
              <a:cxn ang="0">
                <a:pos x="326" y="36"/>
              </a:cxn>
              <a:cxn ang="0">
                <a:pos x="346" y="50"/>
              </a:cxn>
              <a:cxn ang="0">
                <a:pos x="349" y="71"/>
              </a:cxn>
              <a:cxn ang="0">
                <a:pos x="367" y="97"/>
              </a:cxn>
              <a:cxn ang="0">
                <a:pos x="412" y="113"/>
              </a:cxn>
              <a:cxn ang="0">
                <a:pos x="429" y="134"/>
              </a:cxn>
              <a:cxn ang="0">
                <a:pos x="484" y="170"/>
              </a:cxn>
              <a:cxn ang="0">
                <a:pos x="506" y="207"/>
              </a:cxn>
              <a:cxn ang="0">
                <a:pos x="498" y="236"/>
              </a:cxn>
              <a:cxn ang="0">
                <a:pos x="477" y="265"/>
              </a:cxn>
              <a:cxn ang="0">
                <a:pos x="486" y="282"/>
              </a:cxn>
              <a:cxn ang="0">
                <a:pos x="504" y="287"/>
              </a:cxn>
              <a:cxn ang="0">
                <a:pos x="536" y="296"/>
              </a:cxn>
              <a:cxn ang="0">
                <a:pos x="550" y="340"/>
              </a:cxn>
              <a:cxn ang="0">
                <a:pos x="580" y="342"/>
              </a:cxn>
              <a:cxn ang="0">
                <a:pos x="630" y="427"/>
              </a:cxn>
              <a:cxn ang="0">
                <a:pos x="639" y="430"/>
              </a:cxn>
            </a:cxnLst>
            <a:rect l="0" t="0" r="r" b="b"/>
            <a:pathLst>
              <a:path w="639" h="580">
                <a:moveTo>
                  <a:pt x="621" y="430"/>
                </a:moveTo>
                <a:lnTo>
                  <a:pt x="621" y="430"/>
                </a:lnTo>
                <a:lnTo>
                  <a:pt x="615" y="430"/>
                </a:lnTo>
                <a:lnTo>
                  <a:pt x="609" y="433"/>
                </a:lnTo>
                <a:lnTo>
                  <a:pt x="606" y="436"/>
                </a:lnTo>
                <a:lnTo>
                  <a:pt x="603" y="440"/>
                </a:lnTo>
                <a:lnTo>
                  <a:pt x="597" y="448"/>
                </a:lnTo>
                <a:lnTo>
                  <a:pt x="592" y="450"/>
                </a:lnTo>
                <a:lnTo>
                  <a:pt x="588" y="452"/>
                </a:lnTo>
                <a:lnTo>
                  <a:pt x="588" y="452"/>
                </a:lnTo>
                <a:lnTo>
                  <a:pt x="574" y="456"/>
                </a:lnTo>
                <a:lnTo>
                  <a:pt x="559" y="460"/>
                </a:lnTo>
                <a:lnTo>
                  <a:pt x="543" y="464"/>
                </a:lnTo>
                <a:lnTo>
                  <a:pt x="527" y="468"/>
                </a:lnTo>
                <a:lnTo>
                  <a:pt x="512" y="475"/>
                </a:lnTo>
                <a:lnTo>
                  <a:pt x="505" y="479"/>
                </a:lnTo>
                <a:lnTo>
                  <a:pt x="499" y="483"/>
                </a:lnTo>
                <a:lnTo>
                  <a:pt x="494" y="488"/>
                </a:lnTo>
                <a:lnTo>
                  <a:pt x="490" y="494"/>
                </a:lnTo>
                <a:lnTo>
                  <a:pt x="486" y="501"/>
                </a:lnTo>
                <a:lnTo>
                  <a:pt x="485" y="508"/>
                </a:lnTo>
                <a:lnTo>
                  <a:pt x="485" y="508"/>
                </a:lnTo>
                <a:lnTo>
                  <a:pt x="483" y="517"/>
                </a:lnTo>
                <a:lnTo>
                  <a:pt x="481" y="526"/>
                </a:lnTo>
                <a:lnTo>
                  <a:pt x="477" y="533"/>
                </a:lnTo>
                <a:lnTo>
                  <a:pt x="474" y="540"/>
                </a:lnTo>
                <a:lnTo>
                  <a:pt x="469" y="546"/>
                </a:lnTo>
                <a:lnTo>
                  <a:pt x="464" y="551"/>
                </a:lnTo>
                <a:lnTo>
                  <a:pt x="454" y="559"/>
                </a:lnTo>
                <a:lnTo>
                  <a:pt x="443" y="565"/>
                </a:lnTo>
                <a:lnTo>
                  <a:pt x="431" y="571"/>
                </a:lnTo>
                <a:lnTo>
                  <a:pt x="418" y="575"/>
                </a:lnTo>
                <a:lnTo>
                  <a:pt x="407" y="580"/>
                </a:lnTo>
                <a:lnTo>
                  <a:pt x="407" y="580"/>
                </a:lnTo>
                <a:lnTo>
                  <a:pt x="403" y="574"/>
                </a:lnTo>
                <a:lnTo>
                  <a:pt x="401" y="566"/>
                </a:lnTo>
                <a:lnTo>
                  <a:pt x="400" y="557"/>
                </a:lnTo>
                <a:lnTo>
                  <a:pt x="397" y="548"/>
                </a:lnTo>
                <a:lnTo>
                  <a:pt x="393" y="540"/>
                </a:lnTo>
                <a:lnTo>
                  <a:pt x="391" y="535"/>
                </a:lnTo>
                <a:lnTo>
                  <a:pt x="387" y="533"/>
                </a:lnTo>
                <a:lnTo>
                  <a:pt x="384" y="529"/>
                </a:lnTo>
                <a:lnTo>
                  <a:pt x="379" y="527"/>
                </a:lnTo>
                <a:lnTo>
                  <a:pt x="374" y="526"/>
                </a:lnTo>
                <a:lnTo>
                  <a:pt x="368" y="526"/>
                </a:lnTo>
                <a:lnTo>
                  <a:pt x="368" y="526"/>
                </a:lnTo>
                <a:lnTo>
                  <a:pt x="357" y="527"/>
                </a:lnTo>
                <a:lnTo>
                  <a:pt x="351" y="529"/>
                </a:lnTo>
                <a:lnTo>
                  <a:pt x="341" y="532"/>
                </a:lnTo>
                <a:lnTo>
                  <a:pt x="330" y="533"/>
                </a:lnTo>
                <a:lnTo>
                  <a:pt x="330" y="533"/>
                </a:lnTo>
                <a:lnTo>
                  <a:pt x="314" y="532"/>
                </a:lnTo>
                <a:lnTo>
                  <a:pt x="301" y="529"/>
                </a:lnTo>
                <a:lnTo>
                  <a:pt x="287" y="527"/>
                </a:lnTo>
                <a:lnTo>
                  <a:pt x="271" y="526"/>
                </a:lnTo>
                <a:lnTo>
                  <a:pt x="271" y="526"/>
                </a:lnTo>
                <a:lnTo>
                  <a:pt x="262" y="527"/>
                </a:lnTo>
                <a:lnTo>
                  <a:pt x="255" y="529"/>
                </a:lnTo>
                <a:lnTo>
                  <a:pt x="248" y="533"/>
                </a:lnTo>
                <a:lnTo>
                  <a:pt x="242" y="536"/>
                </a:lnTo>
                <a:lnTo>
                  <a:pt x="232" y="544"/>
                </a:lnTo>
                <a:lnTo>
                  <a:pt x="226" y="547"/>
                </a:lnTo>
                <a:lnTo>
                  <a:pt x="221" y="548"/>
                </a:lnTo>
                <a:lnTo>
                  <a:pt x="221" y="548"/>
                </a:lnTo>
                <a:lnTo>
                  <a:pt x="217" y="547"/>
                </a:lnTo>
                <a:lnTo>
                  <a:pt x="214" y="546"/>
                </a:lnTo>
                <a:lnTo>
                  <a:pt x="209" y="542"/>
                </a:lnTo>
                <a:lnTo>
                  <a:pt x="204" y="535"/>
                </a:lnTo>
                <a:lnTo>
                  <a:pt x="201" y="528"/>
                </a:lnTo>
                <a:lnTo>
                  <a:pt x="195" y="512"/>
                </a:lnTo>
                <a:lnTo>
                  <a:pt x="193" y="505"/>
                </a:lnTo>
                <a:lnTo>
                  <a:pt x="191" y="500"/>
                </a:lnTo>
                <a:lnTo>
                  <a:pt x="191" y="500"/>
                </a:lnTo>
                <a:lnTo>
                  <a:pt x="188" y="503"/>
                </a:lnTo>
                <a:lnTo>
                  <a:pt x="186" y="509"/>
                </a:lnTo>
                <a:lnTo>
                  <a:pt x="180" y="524"/>
                </a:lnTo>
                <a:lnTo>
                  <a:pt x="178" y="531"/>
                </a:lnTo>
                <a:lnTo>
                  <a:pt x="174" y="538"/>
                </a:lnTo>
                <a:lnTo>
                  <a:pt x="170" y="542"/>
                </a:lnTo>
                <a:lnTo>
                  <a:pt x="168" y="543"/>
                </a:lnTo>
                <a:lnTo>
                  <a:pt x="165" y="544"/>
                </a:lnTo>
                <a:lnTo>
                  <a:pt x="165" y="544"/>
                </a:lnTo>
                <a:lnTo>
                  <a:pt x="158" y="543"/>
                </a:lnTo>
                <a:lnTo>
                  <a:pt x="153" y="542"/>
                </a:lnTo>
                <a:lnTo>
                  <a:pt x="142" y="536"/>
                </a:lnTo>
                <a:lnTo>
                  <a:pt x="137" y="534"/>
                </a:lnTo>
                <a:lnTo>
                  <a:pt x="130" y="532"/>
                </a:lnTo>
                <a:lnTo>
                  <a:pt x="123" y="529"/>
                </a:lnTo>
                <a:lnTo>
                  <a:pt x="113" y="529"/>
                </a:lnTo>
                <a:lnTo>
                  <a:pt x="113" y="529"/>
                </a:lnTo>
                <a:lnTo>
                  <a:pt x="108" y="529"/>
                </a:lnTo>
                <a:lnTo>
                  <a:pt x="102" y="531"/>
                </a:lnTo>
                <a:lnTo>
                  <a:pt x="92" y="535"/>
                </a:lnTo>
                <a:lnTo>
                  <a:pt x="81" y="539"/>
                </a:lnTo>
                <a:lnTo>
                  <a:pt x="76" y="540"/>
                </a:lnTo>
                <a:lnTo>
                  <a:pt x="70" y="541"/>
                </a:lnTo>
                <a:lnTo>
                  <a:pt x="70" y="541"/>
                </a:lnTo>
                <a:lnTo>
                  <a:pt x="66" y="540"/>
                </a:lnTo>
                <a:lnTo>
                  <a:pt x="62" y="539"/>
                </a:lnTo>
                <a:lnTo>
                  <a:pt x="54" y="534"/>
                </a:lnTo>
                <a:lnTo>
                  <a:pt x="46" y="527"/>
                </a:lnTo>
                <a:lnTo>
                  <a:pt x="36" y="519"/>
                </a:lnTo>
                <a:lnTo>
                  <a:pt x="29" y="510"/>
                </a:lnTo>
                <a:lnTo>
                  <a:pt x="24" y="501"/>
                </a:lnTo>
                <a:lnTo>
                  <a:pt x="19" y="490"/>
                </a:lnTo>
                <a:lnTo>
                  <a:pt x="18" y="482"/>
                </a:lnTo>
                <a:lnTo>
                  <a:pt x="18" y="482"/>
                </a:lnTo>
                <a:lnTo>
                  <a:pt x="18" y="474"/>
                </a:lnTo>
                <a:lnTo>
                  <a:pt x="19" y="467"/>
                </a:lnTo>
                <a:lnTo>
                  <a:pt x="24" y="455"/>
                </a:lnTo>
                <a:lnTo>
                  <a:pt x="27" y="441"/>
                </a:lnTo>
                <a:lnTo>
                  <a:pt x="28" y="434"/>
                </a:lnTo>
                <a:lnTo>
                  <a:pt x="29" y="427"/>
                </a:lnTo>
                <a:lnTo>
                  <a:pt x="29" y="427"/>
                </a:lnTo>
                <a:lnTo>
                  <a:pt x="28" y="422"/>
                </a:lnTo>
                <a:lnTo>
                  <a:pt x="28" y="418"/>
                </a:lnTo>
                <a:lnTo>
                  <a:pt x="25" y="411"/>
                </a:lnTo>
                <a:lnTo>
                  <a:pt x="20" y="405"/>
                </a:lnTo>
                <a:lnTo>
                  <a:pt x="15" y="399"/>
                </a:lnTo>
                <a:lnTo>
                  <a:pt x="9" y="395"/>
                </a:lnTo>
                <a:lnTo>
                  <a:pt x="4" y="390"/>
                </a:lnTo>
                <a:lnTo>
                  <a:pt x="1" y="386"/>
                </a:lnTo>
                <a:lnTo>
                  <a:pt x="0" y="379"/>
                </a:lnTo>
                <a:lnTo>
                  <a:pt x="0" y="379"/>
                </a:lnTo>
                <a:lnTo>
                  <a:pt x="0" y="375"/>
                </a:lnTo>
                <a:lnTo>
                  <a:pt x="1" y="372"/>
                </a:lnTo>
                <a:lnTo>
                  <a:pt x="5" y="365"/>
                </a:lnTo>
                <a:lnTo>
                  <a:pt x="11" y="358"/>
                </a:lnTo>
                <a:lnTo>
                  <a:pt x="18" y="352"/>
                </a:lnTo>
                <a:lnTo>
                  <a:pt x="27" y="346"/>
                </a:lnTo>
                <a:lnTo>
                  <a:pt x="35" y="342"/>
                </a:lnTo>
                <a:lnTo>
                  <a:pt x="43" y="340"/>
                </a:lnTo>
                <a:lnTo>
                  <a:pt x="51" y="338"/>
                </a:lnTo>
                <a:lnTo>
                  <a:pt x="51" y="338"/>
                </a:lnTo>
                <a:lnTo>
                  <a:pt x="57" y="338"/>
                </a:lnTo>
                <a:lnTo>
                  <a:pt x="64" y="340"/>
                </a:lnTo>
                <a:lnTo>
                  <a:pt x="76" y="344"/>
                </a:lnTo>
                <a:lnTo>
                  <a:pt x="86" y="348"/>
                </a:lnTo>
                <a:lnTo>
                  <a:pt x="93" y="349"/>
                </a:lnTo>
                <a:lnTo>
                  <a:pt x="100" y="350"/>
                </a:lnTo>
                <a:lnTo>
                  <a:pt x="100" y="350"/>
                </a:lnTo>
                <a:lnTo>
                  <a:pt x="109" y="349"/>
                </a:lnTo>
                <a:lnTo>
                  <a:pt x="112" y="346"/>
                </a:lnTo>
                <a:lnTo>
                  <a:pt x="115" y="345"/>
                </a:lnTo>
                <a:lnTo>
                  <a:pt x="117" y="343"/>
                </a:lnTo>
                <a:lnTo>
                  <a:pt x="119" y="340"/>
                </a:lnTo>
                <a:lnTo>
                  <a:pt x="122" y="334"/>
                </a:lnTo>
                <a:lnTo>
                  <a:pt x="122" y="326"/>
                </a:lnTo>
                <a:lnTo>
                  <a:pt x="122" y="317"/>
                </a:lnTo>
                <a:lnTo>
                  <a:pt x="120" y="298"/>
                </a:lnTo>
                <a:lnTo>
                  <a:pt x="120" y="298"/>
                </a:lnTo>
                <a:lnTo>
                  <a:pt x="120" y="253"/>
                </a:lnTo>
                <a:lnTo>
                  <a:pt x="120" y="253"/>
                </a:lnTo>
                <a:lnTo>
                  <a:pt x="122" y="246"/>
                </a:lnTo>
                <a:lnTo>
                  <a:pt x="123" y="241"/>
                </a:lnTo>
                <a:lnTo>
                  <a:pt x="125" y="235"/>
                </a:lnTo>
                <a:lnTo>
                  <a:pt x="127" y="230"/>
                </a:lnTo>
                <a:lnTo>
                  <a:pt x="135" y="222"/>
                </a:lnTo>
                <a:lnTo>
                  <a:pt x="143" y="214"/>
                </a:lnTo>
                <a:lnTo>
                  <a:pt x="151" y="206"/>
                </a:lnTo>
                <a:lnTo>
                  <a:pt x="158" y="197"/>
                </a:lnTo>
                <a:lnTo>
                  <a:pt x="161" y="191"/>
                </a:lnTo>
                <a:lnTo>
                  <a:pt x="163" y="185"/>
                </a:lnTo>
                <a:lnTo>
                  <a:pt x="164" y="178"/>
                </a:lnTo>
                <a:lnTo>
                  <a:pt x="165" y="169"/>
                </a:lnTo>
                <a:lnTo>
                  <a:pt x="165" y="169"/>
                </a:lnTo>
                <a:lnTo>
                  <a:pt x="164" y="160"/>
                </a:lnTo>
                <a:lnTo>
                  <a:pt x="162" y="152"/>
                </a:lnTo>
                <a:lnTo>
                  <a:pt x="158" y="144"/>
                </a:lnTo>
                <a:lnTo>
                  <a:pt x="154" y="137"/>
                </a:lnTo>
                <a:lnTo>
                  <a:pt x="147" y="122"/>
                </a:lnTo>
                <a:lnTo>
                  <a:pt x="145" y="115"/>
                </a:lnTo>
                <a:lnTo>
                  <a:pt x="143" y="107"/>
                </a:lnTo>
                <a:lnTo>
                  <a:pt x="143" y="107"/>
                </a:lnTo>
                <a:lnTo>
                  <a:pt x="143" y="100"/>
                </a:lnTo>
                <a:lnTo>
                  <a:pt x="146" y="94"/>
                </a:lnTo>
                <a:lnTo>
                  <a:pt x="148" y="88"/>
                </a:lnTo>
                <a:lnTo>
                  <a:pt x="151" y="82"/>
                </a:lnTo>
                <a:lnTo>
                  <a:pt x="160" y="69"/>
                </a:lnTo>
                <a:lnTo>
                  <a:pt x="170" y="57"/>
                </a:lnTo>
                <a:lnTo>
                  <a:pt x="180" y="43"/>
                </a:lnTo>
                <a:lnTo>
                  <a:pt x="189" y="29"/>
                </a:lnTo>
                <a:lnTo>
                  <a:pt x="196" y="15"/>
                </a:lnTo>
                <a:lnTo>
                  <a:pt x="200" y="8"/>
                </a:lnTo>
                <a:lnTo>
                  <a:pt x="201" y="0"/>
                </a:lnTo>
                <a:lnTo>
                  <a:pt x="201" y="0"/>
                </a:lnTo>
                <a:lnTo>
                  <a:pt x="279" y="0"/>
                </a:lnTo>
                <a:lnTo>
                  <a:pt x="279" y="0"/>
                </a:lnTo>
                <a:lnTo>
                  <a:pt x="283" y="0"/>
                </a:lnTo>
                <a:lnTo>
                  <a:pt x="286" y="2"/>
                </a:lnTo>
                <a:lnTo>
                  <a:pt x="293" y="7"/>
                </a:lnTo>
                <a:lnTo>
                  <a:pt x="301" y="13"/>
                </a:lnTo>
                <a:lnTo>
                  <a:pt x="309" y="21"/>
                </a:lnTo>
                <a:lnTo>
                  <a:pt x="317" y="29"/>
                </a:lnTo>
                <a:lnTo>
                  <a:pt x="326" y="36"/>
                </a:lnTo>
                <a:lnTo>
                  <a:pt x="336" y="42"/>
                </a:lnTo>
                <a:lnTo>
                  <a:pt x="340" y="43"/>
                </a:lnTo>
                <a:lnTo>
                  <a:pt x="345" y="44"/>
                </a:lnTo>
                <a:lnTo>
                  <a:pt x="345" y="44"/>
                </a:lnTo>
                <a:lnTo>
                  <a:pt x="346" y="50"/>
                </a:lnTo>
                <a:lnTo>
                  <a:pt x="347" y="54"/>
                </a:lnTo>
                <a:lnTo>
                  <a:pt x="348" y="58"/>
                </a:lnTo>
                <a:lnTo>
                  <a:pt x="348" y="63"/>
                </a:lnTo>
                <a:lnTo>
                  <a:pt x="348" y="63"/>
                </a:lnTo>
                <a:lnTo>
                  <a:pt x="349" y="71"/>
                </a:lnTo>
                <a:lnTo>
                  <a:pt x="351" y="80"/>
                </a:lnTo>
                <a:lnTo>
                  <a:pt x="354" y="85"/>
                </a:lnTo>
                <a:lnTo>
                  <a:pt x="357" y="90"/>
                </a:lnTo>
                <a:lnTo>
                  <a:pt x="362" y="93"/>
                </a:lnTo>
                <a:lnTo>
                  <a:pt x="367" y="97"/>
                </a:lnTo>
                <a:lnTo>
                  <a:pt x="378" y="100"/>
                </a:lnTo>
                <a:lnTo>
                  <a:pt x="390" y="104"/>
                </a:lnTo>
                <a:lnTo>
                  <a:pt x="401" y="107"/>
                </a:lnTo>
                <a:lnTo>
                  <a:pt x="407" y="109"/>
                </a:lnTo>
                <a:lnTo>
                  <a:pt x="412" y="113"/>
                </a:lnTo>
                <a:lnTo>
                  <a:pt x="415" y="116"/>
                </a:lnTo>
                <a:lnTo>
                  <a:pt x="418" y="121"/>
                </a:lnTo>
                <a:lnTo>
                  <a:pt x="418" y="121"/>
                </a:lnTo>
                <a:lnTo>
                  <a:pt x="423" y="128"/>
                </a:lnTo>
                <a:lnTo>
                  <a:pt x="429" y="134"/>
                </a:lnTo>
                <a:lnTo>
                  <a:pt x="435" y="139"/>
                </a:lnTo>
                <a:lnTo>
                  <a:pt x="441" y="144"/>
                </a:lnTo>
                <a:lnTo>
                  <a:pt x="456" y="152"/>
                </a:lnTo>
                <a:lnTo>
                  <a:pt x="471" y="161"/>
                </a:lnTo>
                <a:lnTo>
                  <a:pt x="484" y="170"/>
                </a:lnTo>
                <a:lnTo>
                  <a:pt x="491" y="176"/>
                </a:lnTo>
                <a:lnTo>
                  <a:pt x="496" y="183"/>
                </a:lnTo>
                <a:lnTo>
                  <a:pt x="500" y="190"/>
                </a:lnTo>
                <a:lnTo>
                  <a:pt x="504" y="198"/>
                </a:lnTo>
                <a:lnTo>
                  <a:pt x="506" y="207"/>
                </a:lnTo>
                <a:lnTo>
                  <a:pt x="507" y="218"/>
                </a:lnTo>
                <a:lnTo>
                  <a:pt x="507" y="218"/>
                </a:lnTo>
                <a:lnTo>
                  <a:pt x="505" y="225"/>
                </a:lnTo>
                <a:lnTo>
                  <a:pt x="502" y="230"/>
                </a:lnTo>
                <a:lnTo>
                  <a:pt x="498" y="236"/>
                </a:lnTo>
                <a:lnTo>
                  <a:pt x="492" y="241"/>
                </a:lnTo>
                <a:lnTo>
                  <a:pt x="486" y="246"/>
                </a:lnTo>
                <a:lnTo>
                  <a:pt x="482" y="251"/>
                </a:lnTo>
                <a:lnTo>
                  <a:pt x="478" y="258"/>
                </a:lnTo>
                <a:lnTo>
                  <a:pt x="477" y="265"/>
                </a:lnTo>
                <a:lnTo>
                  <a:pt x="477" y="265"/>
                </a:lnTo>
                <a:lnTo>
                  <a:pt x="478" y="269"/>
                </a:lnTo>
                <a:lnTo>
                  <a:pt x="479" y="274"/>
                </a:lnTo>
                <a:lnTo>
                  <a:pt x="483" y="279"/>
                </a:lnTo>
                <a:lnTo>
                  <a:pt x="486" y="282"/>
                </a:lnTo>
                <a:lnTo>
                  <a:pt x="490" y="284"/>
                </a:lnTo>
                <a:lnTo>
                  <a:pt x="494" y="286"/>
                </a:lnTo>
                <a:lnTo>
                  <a:pt x="499" y="287"/>
                </a:lnTo>
                <a:lnTo>
                  <a:pt x="504" y="287"/>
                </a:lnTo>
                <a:lnTo>
                  <a:pt x="504" y="287"/>
                </a:lnTo>
                <a:lnTo>
                  <a:pt x="529" y="287"/>
                </a:lnTo>
                <a:lnTo>
                  <a:pt x="529" y="287"/>
                </a:lnTo>
                <a:lnTo>
                  <a:pt x="531" y="288"/>
                </a:lnTo>
                <a:lnTo>
                  <a:pt x="534" y="289"/>
                </a:lnTo>
                <a:lnTo>
                  <a:pt x="536" y="296"/>
                </a:lnTo>
                <a:lnTo>
                  <a:pt x="538" y="314"/>
                </a:lnTo>
                <a:lnTo>
                  <a:pt x="540" y="325"/>
                </a:lnTo>
                <a:lnTo>
                  <a:pt x="544" y="333"/>
                </a:lnTo>
                <a:lnTo>
                  <a:pt x="546" y="337"/>
                </a:lnTo>
                <a:lnTo>
                  <a:pt x="550" y="340"/>
                </a:lnTo>
                <a:lnTo>
                  <a:pt x="553" y="341"/>
                </a:lnTo>
                <a:lnTo>
                  <a:pt x="559" y="342"/>
                </a:lnTo>
                <a:lnTo>
                  <a:pt x="559" y="342"/>
                </a:lnTo>
                <a:lnTo>
                  <a:pt x="580" y="342"/>
                </a:lnTo>
                <a:lnTo>
                  <a:pt x="580" y="342"/>
                </a:lnTo>
                <a:lnTo>
                  <a:pt x="603" y="380"/>
                </a:lnTo>
                <a:lnTo>
                  <a:pt x="619" y="409"/>
                </a:lnTo>
                <a:lnTo>
                  <a:pt x="628" y="427"/>
                </a:lnTo>
                <a:lnTo>
                  <a:pt x="628" y="427"/>
                </a:lnTo>
                <a:lnTo>
                  <a:pt x="630" y="427"/>
                </a:lnTo>
                <a:lnTo>
                  <a:pt x="630" y="428"/>
                </a:lnTo>
                <a:lnTo>
                  <a:pt x="632" y="429"/>
                </a:lnTo>
                <a:lnTo>
                  <a:pt x="639" y="430"/>
                </a:lnTo>
                <a:lnTo>
                  <a:pt x="639" y="430"/>
                </a:lnTo>
                <a:lnTo>
                  <a:pt x="639" y="430"/>
                </a:lnTo>
                <a:lnTo>
                  <a:pt x="621" y="430"/>
                </a:lnTo>
                <a:lnTo>
                  <a:pt x="621" y="43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9" name="Freeform 74"/>
          <p:cNvSpPr>
            <a:spLocks/>
          </p:cNvSpPr>
          <p:nvPr/>
        </p:nvSpPr>
        <p:spPr bwMode="auto">
          <a:xfrm>
            <a:off x="1182688" y="4176713"/>
            <a:ext cx="300037" cy="258762"/>
          </a:xfrm>
          <a:custGeom>
            <a:avLst/>
            <a:gdLst/>
            <a:ahLst/>
            <a:cxnLst>
              <a:cxn ang="0">
                <a:pos x="55" y="29"/>
              </a:cxn>
              <a:cxn ang="0">
                <a:pos x="56" y="40"/>
              </a:cxn>
              <a:cxn ang="0">
                <a:pos x="67" y="44"/>
              </a:cxn>
              <a:cxn ang="0">
                <a:pos x="74" y="42"/>
              </a:cxn>
              <a:cxn ang="0">
                <a:pos x="88" y="27"/>
              </a:cxn>
              <a:cxn ang="0">
                <a:pos x="125" y="26"/>
              </a:cxn>
              <a:cxn ang="0">
                <a:pos x="136" y="24"/>
              </a:cxn>
              <a:cxn ang="0">
                <a:pos x="168" y="15"/>
              </a:cxn>
              <a:cxn ang="0">
                <a:pos x="183" y="15"/>
              </a:cxn>
              <a:cxn ang="0">
                <a:pos x="209" y="24"/>
              </a:cxn>
              <a:cxn ang="0">
                <a:pos x="223" y="26"/>
              </a:cxn>
              <a:cxn ang="0">
                <a:pos x="249" y="22"/>
              </a:cxn>
              <a:cxn ang="0">
                <a:pos x="265" y="11"/>
              </a:cxn>
              <a:cxn ang="0">
                <a:pos x="272" y="0"/>
              </a:cxn>
              <a:cxn ang="0">
                <a:pos x="273" y="44"/>
              </a:cxn>
              <a:cxn ang="0">
                <a:pos x="283" y="59"/>
              </a:cxn>
              <a:cxn ang="0">
                <a:pos x="302" y="70"/>
              </a:cxn>
              <a:cxn ang="0">
                <a:pos x="308" y="88"/>
              </a:cxn>
              <a:cxn ang="0">
                <a:pos x="325" y="108"/>
              </a:cxn>
              <a:cxn ang="0">
                <a:pos x="342" y="121"/>
              </a:cxn>
              <a:cxn ang="0">
                <a:pos x="338" y="136"/>
              </a:cxn>
              <a:cxn ang="0">
                <a:pos x="340" y="152"/>
              </a:cxn>
              <a:cxn ang="0">
                <a:pos x="350" y="164"/>
              </a:cxn>
              <a:cxn ang="0">
                <a:pos x="367" y="169"/>
              </a:cxn>
              <a:cxn ang="0">
                <a:pos x="367" y="184"/>
              </a:cxn>
              <a:cxn ang="0">
                <a:pos x="357" y="197"/>
              </a:cxn>
              <a:cxn ang="0">
                <a:pos x="357" y="212"/>
              </a:cxn>
              <a:cxn ang="0">
                <a:pos x="346" y="236"/>
              </a:cxn>
              <a:cxn ang="0">
                <a:pos x="325" y="257"/>
              </a:cxn>
              <a:cxn ang="0">
                <a:pos x="277" y="282"/>
              </a:cxn>
              <a:cxn ang="0">
                <a:pos x="236" y="292"/>
              </a:cxn>
              <a:cxn ang="0">
                <a:pos x="216" y="272"/>
              </a:cxn>
              <a:cxn ang="0">
                <a:pos x="195" y="265"/>
              </a:cxn>
              <a:cxn ang="0">
                <a:pos x="182" y="268"/>
              </a:cxn>
              <a:cxn ang="0">
                <a:pos x="174" y="280"/>
              </a:cxn>
              <a:cxn ang="0">
                <a:pos x="154" y="287"/>
              </a:cxn>
              <a:cxn ang="0">
                <a:pos x="146" y="284"/>
              </a:cxn>
              <a:cxn ang="0">
                <a:pos x="132" y="273"/>
              </a:cxn>
              <a:cxn ang="0">
                <a:pos x="119" y="250"/>
              </a:cxn>
              <a:cxn ang="0">
                <a:pos x="106" y="243"/>
              </a:cxn>
              <a:cxn ang="0">
                <a:pos x="99" y="244"/>
              </a:cxn>
              <a:cxn ang="0">
                <a:pos x="84" y="253"/>
              </a:cxn>
              <a:cxn ang="0">
                <a:pos x="75" y="253"/>
              </a:cxn>
              <a:cxn ang="0">
                <a:pos x="66" y="243"/>
              </a:cxn>
              <a:cxn ang="0">
                <a:pos x="61" y="221"/>
              </a:cxn>
              <a:cxn ang="0">
                <a:pos x="58" y="194"/>
              </a:cxn>
              <a:cxn ang="0">
                <a:pos x="47" y="188"/>
              </a:cxn>
              <a:cxn ang="0">
                <a:pos x="22" y="188"/>
              </a:cxn>
              <a:cxn ang="0">
                <a:pos x="8" y="184"/>
              </a:cxn>
              <a:cxn ang="0">
                <a:pos x="1" y="175"/>
              </a:cxn>
              <a:cxn ang="0">
                <a:pos x="0" y="166"/>
              </a:cxn>
              <a:cxn ang="0">
                <a:pos x="5" y="131"/>
              </a:cxn>
              <a:cxn ang="0">
                <a:pos x="28" y="75"/>
              </a:cxn>
              <a:cxn ang="0">
                <a:pos x="55" y="29"/>
              </a:cxn>
            </a:cxnLst>
            <a:rect l="0" t="0" r="r" b="b"/>
            <a:pathLst>
              <a:path w="367" h="297">
                <a:moveTo>
                  <a:pt x="55" y="29"/>
                </a:moveTo>
                <a:lnTo>
                  <a:pt x="55" y="29"/>
                </a:lnTo>
                <a:lnTo>
                  <a:pt x="55" y="29"/>
                </a:lnTo>
                <a:lnTo>
                  <a:pt x="55" y="29"/>
                </a:lnTo>
                <a:lnTo>
                  <a:pt x="55" y="38"/>
                </a:lnTo>
                <a:lnTo>
                  <a:pt x="56" y="40"/>
                </a:lnTo>
                <a:lnTo>
                  <a:pt x="58" y="43"/>
                </a:lnTo>
                <a:lnTo>
                  <a:pt x="61" y="44"/>
                </a:lnTo>
                <a:lnTo>
                  <a:pt x="67" y="44"/>
                </a:lnTo>
                <a:lnTo>
                  <a:pt x="67" y="44"/>
                </a:lnTo>
                <a:lnTo>
                  <a:pt x="70" y="44"/>
                </a:lnTo>
                <a:lnTo>
                  <a:pt x="74" y="42"/>
                </a:lnTo>
                <a:lnTo>
                  <a:pt x="78" y="35"/>
                </a:lnTo>
                <a:lnTo>
                  <a:pt x="84" y="29"/>
                </a:lnTo>
                <a:lnTo>
                  <a:pt x="88" y="27"/>
                </a:lnTo>
                <a:lnTo>
                  <a:pt x="91" y="26"/>
                </a:lnTo>
                <a:lnTo>
                  <a:pt x="91" y="26"/>
                </a:lnTo>
                <a:lnTo>
                  <a:pt x="125" y="26"/>
                </a:lnTo>
                <a:lnTo>
                  <a:pt x="125" y="26"/>
                </a:lnTo>
                <a:lnTo>
                  <a:pt x="130" y="26"/>
                </a:lnTo>
                <a:lnTo>
                  <a:pt x="136" y="24"/>
                </a:lnTo>
                <a:lnTo>
                  <a:pt x="149" y="21"/>
                </a:lnTo>
                <a:lnTo>
                  <a:pt x="161" y="16"/>
                </a:lnTo>
                <a:lnTo>
                  <a:pt x="168" y="15"/>
                </a:lnTo>
                <a:lnTo>
                  <a:pt x="176" y="15"/>
                </a:lnTo>
                <a:lnTo>
                  <a:pt x="176" y="15"/>
                </a:lnTo>
                <a:lnTo>
                  <a:pt x="183" y="15"/>
                </a:lnTo>
                <a:lnTo>
                  <a:pt x="189" y="16"/>
                </a:lnTo>
                <a:lnTo>
                  <a:pt x="199" y="21"/>
                </a:lnTo>
                <a:lnTo>
                  <a:pt x="209" y="24"/>
                </a:lnTo>
                <a:lnTo>
                  <a:pt x="216" y="26"/>
                </a:lnTo>
                <a:lnTo>
                  <a:pt x="223" y="26"/>
                </a:lnTo>
                <a:lnTo>
                  <a:pt x="223" y="26"/>
                </a:lnTo>
                <a:lnTo>
                  <a:pt x="233" y="26"/>
                </a:lnTo>
                <a:lnTo>
                  <a:pt x="242" y="24"/>
                </a:lnTo>
                <a:lnTo>
                  <a:pt x="249" y="22"/>
                </a:lnTo>
                <a:lnTo>
                  <a:pt x="254" y="19"/>
                </a:lnTo>
                <a:lnTo>
                  <a:pt x="260" y="15"/>
                </a:lnTo>
                <a:lnTo>
                  <a:pt x="265" y="11"/>
                </a:lnTo>
                <a:lnTo>
                  <a:pt x="269" y="6"/>
                </a:lnTo>
                <a:lnTo>
                  <a:pt x="272" y="0"/>
                </a:lnTo>
                <a:lnTo>
                  <a:pt x="272" y="0"/>
                </a:lnTo>
                <a:lnTo>
                  <a:pt x="272" y="37"/>
                </a:lnTo>
                <a:lnTo>
                  <a:pt x="272" y="37"/>
                </a:lnTo>
                <a:lnTo>
                  <a:pt x="273" y="44"/>
                </a:lnTo>
                <a:lnTo>
                  <a:pt x="275" y="50"/>
                </a:lnTo>
                <a:lnTo>
                  <a:pt x="279" y="54"/>
                </a:lnTo>
                <a:lnTo>
                  <a:pt x="283" y="59"/>
                </a:lnTo>
                <a:lnTo>
                  <a:pt x="288" y="64"/>
                </a:lnTo>
                <a:lnTo>
                  <a:pt x="292" y="66"/>
                </a:lnTo>
                <a:lnTo>
                  <a:pt x="302" y="70"/>
                </a:lnTo>
                <a:lnTo>
                  <a:pt x="302" y="70"/>
                </a:lnTo>
                <a:lnTo>
                  <a:pt x="305" y="80"/>
                </a:lnTo>
                <a:lnTo>
                  <a:pt x="308" y="88"/>
                </a:lnTo>
                <a:lnTo>
                  <a:pt x="313" y="96"/>
                </a:lnTo>
                <a:lnTo>
                  <a:pt x="319" y="103"/>
                </a:lnTo>
                <a:lnTo>
                  <a:pt x="325" y="108"/>
                </a:lnTo>
                <a:lnTo>
                  <a:pt x="330" y="114"/>
                </a:lnTo>
                <a:lnTo>
                  <a:pt x="336" y="118"/>
                </a:lnTo>
                <a:lnTo>
                  <a:pt x="342" y="121"/>
                </a:lnTo>
                <a:lnTo>
                  <a:pt x="342" y="121"/>
                </a:lnTo>
                <a:lnTo>
                  <a:pt x="338" y="136"/>
                </a:lnTo>
                <a:lnTo>
                  <a:pt x="338" y="136"/>
                </a:lnTo>
                <a:lnTo>
                  <a:pt x="338" y="136"/>
                </a:lnTo>
                <a:lnTo>
                  <a:pt x="338" y="145"/>
                </a:lnTo>
                <a:lnTo>
                  <a:pt x="340" y="152"/>
                </a:lnTo>
                <a:lnTo>
                  <a:pt x="342" y="157"/>
                </a:lnTo>
                <a:lnTo>
                  <a:pt x="345" y="161"/>
                </a:lnTo>
                <a:lnTo>
                  <a:pt x="350" y="164"/>
                </a:lnTo>
                <a:lnTo>
                  <a:pt x="354" y="166"/>
                </a:lnTo>
                <a:lnTo>
                  <a:pt x="367" y="169"/>
                </a:lnTo>
                <a:lnTo>
                  <a:pt x="367" y="169"/>
                </a:lnTo>
                <a:lnTo>
                  <a:pt x="367" y="184"/>
                </a:lnTo>
                <a:lnTo>
                  <a:pt x="367" y="184"/>
                </a:lnTo>
                <a:lnTo>
                  <a:pt x="367" y="184"/>
                </a:lnTo>
                <a:lnTo>
                  <a:pt x="364" y="189"/>
                </a:lnTo>
                <a:lnTo>
                  <a:pt x="360" y="194"/>
                </a:lnTo>
                <a:lnTo>
                  <a:pt x="357" y="197"/>
                </a:lnTo>
                <a:lnTo>
                  <a:pt x="356" y="203"/>
                </a:lnTo>
                <a:lnTo>
                  <a:pt x="356" y="203"/>
                </a:lnTo>
                <a:lnTo>
                  <a:pt x="357" y="212"/>
                </a:lnTo>
                <a:lnTo>
                  <a:pt x="354" y="220"/>
                </a:lnTo>
                <a:lnTo>
                  <a:pt x="351" y="229"/>
                </a:lnTo>
                <a:lnTo>
                  <a:pt x="346" y="236"/>
                </a:lnTo>
                <a:lnTo>
                  <a:pt x="341" y="243"/>
                </a:lnTo>
                <a:lnTo>
                  <a:pt x="333" y="250"/>
                </a:lnTo>
                <a:lnTo>
                  <a:pt x="325" y="257"/>
                </a:lnTo>
                <a:lnTo>
                  <a:pt x="315" y="263"/>
                </a:lnTo>
                <a:lnTo>
                  <a:pt x="297" y="273"/>
                </a:lnTo>
                <a:lnTo>
                  <a:pt x="277" y="282"/>
                </a:lnTo>
                <a:lnTo>
                  <a:pt x="243" y="297"/>
                </a:lnTo>
                <a:lnTo>
                  <a:pt x="243" y="297"/>
                </a:lnTo>
                <a:lnTo>
                  <a:pt x="236" y="292"/>
                </a:lnTo>
                <a:lnTo>
                  <a:pt x="231" y="288"/>
                </a:lnTo>
                <a:lnTo>
                  <a:pt x="221" y="278"/>
                </a:lnTo>
                <a:lnTo>
                  <a:pt x="216" y="272"/>
                </a:lnTo>
                <a:lnTo>
                  <a:pt x="211" y="268"/>
                </a:lnTo>
                <a:lnTo>
                  <a:pt x="203" y="266"/>
                </a:lnTo>
                <a:lnTo>
                  <a:pt x="195" y="265"/>
                </a:lnTo>
                <a:lnTo>
                  <a:pt x="195" y="265"/>
                </a:lnTo>
                <a:lnTo>
                  <a:pt x="186" y="266"/>
                </a:lnTo>
                <a:lnTo>
                  <a:pt x="182" y="268"/>
                </a:lnTo>
                <a:lnTo>
                  <a:pt x="178" y="272"/>
                </a:lnTo>
                <a:lnTo>
                  <a:pt x="176" y="275"/>
                </a:lnTo>
                <a:lnTo>
                  <a:pt x="174" y="280"/>
                </a:lnTo>
                <a:lnTo>
                  <a:pt x="169" y="283"/>
                </a:lnTo>
                <a:lnTo>
                  <a:pt x="163" y="286"/>
                </a:lnTo>
                <a:lnTo>
                  <a:pt x="154" y="287"/>
                </a:lnTo>
                <a:lnTo>
                  <a:pt x="154" y="287"/>
                </a:lnTo>
                <a:lnTo>
                  <a:pt x="150" y="286"/>
                </a:lnTo>
                <a:lnTo>
                  <a:pt x="146" y="284"/>
                </a:lnTo>
                <a:lnTo>
                  <a:pt x="142" y="282"/>
                </a:lnTo>
                <a:lnTo>
                  <a:pt x="138" y="280"/>
                </a:lnTo>
                <a:lnTo>
                  <a:pt x="132" y="273"/>
                </a:lnTo>
                <a:lnTo>
                  <a:pt x="128" y="265"/>
                </a:lnTo>
                <a:lnTo>
                  <a:pt x="123" y="257"/>
                </a:lnTo>
                <a:lnTo>
                  <a:pt x="119" y="250"/>
                </a:lnTo>
                <a:lnTo>
                  <a:pt x="113" y="245"/>
                </a:lnTo>
                <a:lnTo>
                  <a:pt x="109" y="243"/>
                </a:lnTo>
                <a:lnTo>
                  <a:pt x="106" y="243"/>
                </a:lnTo>
                <a:lnTo>
                  <a:pt x="106" y="243"/>
                </a:lnTo>
                <a:lnTo>
                  <a:pt x="102" y="243"/>
                </a:lnTo>
                <a:lnTo>
                  <a:pt x="99" y="244"/>
                </a:lnTo>
                <a:lnTo>
                  <a:pt x="93" y="249"/>
                </a:lnTo>
                <a:lnTo>
                  <a:pt x="88" y="252"/>
                </a:lnTo>
                <a:lnTo>
                  <a:pt x="84" y="253"/>
                </a:lnTo>
                <a:lnTo>
                  <a:pt x="81" y="253"/>
                </a:lnTo>
                <a:lnTo>
                  <a:pt x="81" y="253"/>
                </a:lnTo>
                <a:lnTo>
                  <a:pt x="75" y="253"/>
                </a:lnTo>
                <a:lnTo>
                  <a:pt x="71" y="251"/>
                </a:lnTo>
                <a:lnTo>
                  <a:pt x="68" y="248"/>
                </a:lnTo>
                <a:lnTo>
                  <a:pt x="66" y="243"/>
                </a:lnTo>
                <a:lnTo>
                  <a:pt x="63" y="238"/>
                </a:lnTo>
                <a:lnTo>
                  <a:pt x="62" y="233"/>
                </a:lnTo>
                <a:lnTo>
                  <a:pt x="61" y="221"/>
                </a:lnTo>
                <a:lnTo>
                  <a:pt x="61" y="208"/>
                </a:lnTo>
                <a:lnTo>
                  <a:pt x="59" y="198"/>
                </a:lnTo>
                <a:lnTo>
                  <a:pt x="58" y="194"/>
                </a:lnTo>
                <a:lnTo>
                  <a:pt x="55" y="190"/>
                </a:lnTo>
                <a:lnTo>
                  <a:pt x="52" y="189"/>
                </a:lnTo>
                <a:lnTo>
                  <a:pt x="47" y="188"/>
                </a:lnTo>
                <a:lnTo>
                  <a:pt x="47" y="188"/>
                </a:lnTo>
                <a:lnTo>
                  <a:pt x="22" y="188"/>
                </a:lnTo>
                <a:lnTo>
                  <a:pt x="22" y="188"/>
                </a:lnTo>
                <a:lnTo>
                  <a:pt x="17" y="188"/>
                </a:lnTo>
                <a:lnTo>
                  <a:pt x="13" y="187"/>
                </a:lnTo>
                <a:lnTo>
                  <a:pt x="8" y="184"/>
                </a:lnTo>
                <a:lnTo>
                  <a:pt x="6" y="182"/>
                </a:lnTo>
                <a:lnTo>
                  <a:pt x="4" y="179"/>
                </a:lnTo>
                <a:lnTo>
                  <a:pt x="1" y="175"/>
                </a:lnTo>
                <a:lnTo>
                  <a:pt x="0" y="171"/>
                </a:lnTo>
                <a:lnTo>
                  <a:pt x="0" y="166"/>
                </a:lnTo>
                <a:lnTo>
                  <a:pt x="0" y="166"/>
                </a:lnTo>
                <a:lnTo>
                  <a:pt x="0" y="154"/>
                </a:lnTo>
                <a:lnTo>
                  <a:pt x="2" y="143"/>
                </a:lnTo>
                <a:lnTo>
                  <a:pt x="5" y="131"/>
                </a:lnTo>
                <a:lnTo>
                  <a:pt x="8" y="120"/>
                </a:lnTo>
                <a:lnTo>
                  <a:pt x="17" y="97"/>
                </a:lnTo>
                <a:lnTo>
                  <a:pt x="28" y="75"/>
                </a:lnTo>
                <a:lnTo>
                  <a:pt x="38" y="57"/>
                </a:lnTo>
                <a:lnTo>
                  <a:pt x="46" y="43"/>
                </a:lnTo>
                <a:lnTo>
                  <a:pt x="55" y="29"/>
                </a:lnTo>
                <a:lnTo>
                  <a:pt x="55" y="29"/>
                </a:lnTo>
                <a:lnTo>
                  <a:pt x="55" y="2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0" name="Freeform 75"/>
          <p:cNvSpPr>
            <a:spLocks/>
          </p:cNvSpPr>
          <p:nvPr/>
        </p:nvSpPr>
        <p:spPr bwMode="auto">
          <a:xfrm>
            <a:off x="941388" y="3924300"/>
            <a:ext cx="273050" cy="207963"/>
          </a:xfrm>
          <a:custGeom>
            <a:avLst/>
            <a:gdLst/>
            <a:ahLst/>
            <a:cxnLst>
              <a:cxn ang="0">
                <a:pos x="311" y="191"/>
              </a:cxn>
              <a:cxn ang="0">
                <a:pos x="288" y="205"/>
              </a:cxn>
              <a:cxn ang="0">
                <a:pos x="280" y="205"/>
              </a:cxn>
              <a:cxn ang="0">
                <a:pos x="269" y="197"/>
              </a:cxn>
              <a:cxn ang="0">
                <a:pos x="262" y="195"/>
              </a:cxn>
              <a:cxn ang="0">
                <a:pos x="251" y="203"/>
              </a:cxn>
              <a:cxn ang="0">
                <a:pos x="242" y="217"/>
              </a:cxn>
              <a:cxn ang="0">
                <a:pos x="233" y="220"/>
              </a:cxn>
              <a:cxn ang="0">
                <a:pos x="213" y="211"/>
              </a:cxn>
              <a:cxn ang="0">
                <a:pos x="197" y="196"/>
              </a:cxn>
              <a:cxn ang="0">
                <a:pos x="181" y="191"/>
              </a:cxn>
              <a:cxn ang="0">
                <a:pos x="167" y="192"/>
              </a:cxn>
              <a:cxn ang="0">
                <a:pos x="148" y="206"/>
              </a:cxn>
              <a:cxn ang="0">
                <a:pos x="122" y="232"/>
              </a:cxn>
              <a:cxn ang="0">
                <a:pos x="104" y="238"/>
              </a:cxn>
              <a:cxn ang="0">
                <a:pos x="78" y="238"/>
              </a:cxn>
              <a:cxn ang="0">
                <a:pos x="47" y="230"/>
              </a:cxn>
              <a:cxn ang="0">
                <a:pos x="29" y="219"/>
              </a:cxn>
              <a:cxn ang="0">
                <a:pos x="18" y="202"/>
              </a:cxn>
              <a:cxn ang="0">
                <a:pos x="12" y="179"/>
              </a:cxn>
              <a:cxn ang="0">
                <a:pos x="13" y="162"/>
              </a:cxn>
              <a:cxn ang="0">
                <a:pos x="27" y="134"/>
              </a:cxn>
              <a:cxn ang="0">
                <a:pos x="30" y="121"/>
              </a:cxn>
              <a:cxn ang="0">
                <a:pos x="21" y="105"/>
              </a:cxn>
              <a:cxn ang="0">
                <a:pos x="5" y="92"/>
              </a:cxn>
              <a:cxn ang="0">
                <a:pos x="0" y="81"/>
              </a:cxn>
              <a:cxn ang="0">
                <a:pos x="7" y="64"/>
              </a:cxn>
              <a:cxn ang="0">
                <a:pos x="6" y="45"/>
              </a:cxn>
              <a:cxn ang="0">
                <a:pos x="41" y="15"/>
              </a:cxn>
              <a:cxn ang="0">
                <a:pos x="74" y="0"/>
              </a:cxn>
              <a:cxn ang="0">
                <a:pos x="95" y="38"/>
              </a:cxn>
              <a:cxn ang="0">
                <a:pos x="104" y="47"/>
              </a:cxn>
              <a:cxn ang="0">
                <a:pos x="118" y="37"/>
              </a:cxn>
              <a:cxn ang="0">
                <a:pos x="128" y="44"/>
              </a:cxn>
              <a:cxn ang="0">
                <a:pos x="144" y="59"/>
              </a:cxn>
              <a:cxn ang="0">
                <a:pos x="154" y="59"/>
              </a:cxn>
              <a:cxn ang="0">
                <a:pos x="163" y="51"/>
              </a:cxn>
              <a:cxn ang="0">
                <a:pos x="173" y="41"/>
              </a:cxn>
              <a:cxn ang="0">
                <a:pos x="200" y="35"/>
              </a:cxn>
              <a:cxn ang="0">
                <a:pos x="221" y="26"/>
              </a:cxn>
              <a:cxn ang="0">
                <a:pos x="254" y="37"/>
              </a:cxn>
              <a:cxn ang="0">
                <a:pos x="271" y="57"/>
              </a:cxn>
              <a:cxn ang="0">
                <a:pos x="282" y="77"/>
              </a:cxn>
              <a:cxn ang="0">
                <a:pos x="302" y="91"/>
              </a:cxn>
              <a:cxn ang="0">
                <a:pos x="325" y="107"/>
              </a:cxn>
              <a:cxn ang="0">
                <a:pos x="333" y="126"/>
              </a:cxn>
              <a:cxn ang="0">
                <a:pos x="335" y="143"/>
              </a:cxn>
              <a:cxn ang="0">
                <a:pos x="328" y="164"/>
              </a:cxn>
              <a:cxn ang="0">
                <a:pos x="320" y="188"/>
              </a:cxn>
              <a:cxn ang="0">
                <a:pos x="317" y="188"/>
              </a:cxn>
            </a:cxnLst>
            <a:rect l="0" t="0" r="r" b="b"/>
            <a:pathLst>
              <a:path w="335" h="240">
                <a:moveTo>
                  <a:pt x="317" y="188"/>
                </a:moveTo>
                <a:lnTo>
                  <a:pt x="317" y="188"/>
                </a:lnTo>
                <a:lnTo>
                  <a:pt x="311" y="191"/>
                </a:lnTo>
                <a:lnTo>
                  <a:pt x="303" y="198"/>
                </a:lnTo>
                <a:lnTo>
                  <a:pt x="293" y="203"/>
                </a:lnTo>
                <a:lnTo>
                  <a:pt x="288" y="205"/>
                </a:lnTo>
                <a:lnTo>
                  <a:pt x="284" y="205"/>
                </a:lnTo>
                <a:lnTo>
                  <a:pt x="284" y="205"/>
                </a:lnTo>
                <a:lnTo>
                  <a:pt x="280" y="205"/>
                </a:lnTo>
                <a:lnTo>
                  <a:pt x="278" y="204"/>
                </a:lnTo>
                <a:lnTo>
                  <a:pt x="273" y="200"/>
                </a:lnTo>
                <a:lnTo>
                  <a:pt x="269" y="197"/>
                </a:lnTo>
                <a:lnTo>
                  <a:pt x="265" y="196"/>
                </a:lnTo>
                <a:lnTo>
                  <a:pt x="262" y="195"/>
                </a:lnTo>
                <a:lnTo>
                  <a:pt x="262" y="195"/>
                </a:lnTo>
                <a:lnTo>
                  <a:pt x="257" y="196"/>
                </a:lnTo>
                <a:lnTo>
                  <a:pt x="254" y="199"/>
                </a:lnTo>
                <a:lnTo>
                  <a:pt x="251" y="203"/>
                </a:lnTo>
                <a:lnTo>
                  <a:pt x="249" y="207"/>
                </a:lnTo>
                <a:lnTo>
                  <a:pt x="246" y="212"/>
                </a:lnTo>
                <a:lnTo>
                  <a:pt x="242" y="217"/>
                </a:lnTo>
                <a:lnTo>
                  <a:pt x="239" y="219"/>
                </a:lnTo>
                <a:lnTo>
                  <a:pt x="233" y="220"/>
                </a:lnTo>
                <a:lnTo>
                  <a:pt x="233" y="220"/>
                </a:lnTo>
                <a:lnTo>
                  <a:pt x="225" y="219"/>
                </a:lnTo>
                <a:lnTo>
                  <a:pt x="219" y="215"/>
                </a:lnTo>
                <a:lnTo>
                  <a:pt x="213" y="211"/>
                </a:lnTo>
                <a:lnTo>
                  <a:pt x="208" y="205"/>
                </a:lnTo>
                <a:lnTo>
                  <a:pt x="203" y="200"/>
                </a:lnTo>
                <a:lnTo>
                  <a:pt x="197" y="196"/>
                </a:lnTo>
                <a:lnTo>
                  <a:pt x="190" y="192"/>
                </a:lnTo>
                <a:lnTo>
                  <a:pt x="186" y="191"/>
                </a:lnTo>
                <a:lnTo>
                  <a:pt x="181" y="191"/>
                </a:lnTo>
                <a:lnTo>
                  <a:pt x="181" y="191"/>
                </a:lnTo>
                <a:lnTo>
                  <a:pt x="174" y="191"/>
                </a:lnTo>
                <a:lnTo>
                  <a:pt x="167" y="192"/>
                </a:lnTo>
                <a:lnTo>
                  <a:pt x="163" y="195"/>
                </a:lnTo>
                <a:lnTo>
                  <a:pt x="157" y="198"/>
                </a:lnTo>
                <a:lnTo>
                  <a:pt x="148" y="206"/>
                </a:lnTo>
                <a:lnTo>
                  <a:pt x="141" y="215"/>
                </a:lnTo>
                <a:lnTo>
                  <a:pt x="132" y="223"/>
                </a:lnTo>
                <a:lnTo>
                  <a:pt x="122" y="232"/>
                </a:lnTo>
                <a:lnTo>
                  <a:pt x="118" y="235"/>
                </a:lnTo>
                <a:lnTo>
                  <a:pt x="111" y="237"/>
                </a:lnTo>
                <a:lnTo>
                  <a:pt x="104" y="238"/>
                </a:lnTo>
                <a:lnTo>
                  <a:pt x="97" y="240"/>
                </a:lnTo>
                <a:lnTo>
                  <a:pt x="97" y="240"/>
                </a:lnTo>
                <a:lnTo>
                  <a:pt x="78" y="238"/>
                </a:lnTo>
                <a:lnTo>
                  <a:pt x="61" y="235"/>
                </a:lnTo>
                <a:lnTo>
                  <a:pt x="55" y="233"/>
                </a:lnTo>
                <a:lnTo>
                  <a:pt x="47" y="230"/>
                </a:lnTo>
                <a:lnTo>
                  <a:pt x="41" y="227"/>
                </a:lnTo>
                <a:lnTo>
                  <a:pt x="35" y="223"/>
                </a:lnTo>
                <a:lnTo>
                  <a:pt x="29" y="219"/>
                </a:lnTo>
                <a:lnTo>
                  <a:pt x="25" y="213"/>
                </a:lnTo>
                <a:lnTo>
                  <a:pt x="21" y="207"/>
                </a:lnTo>
                <a:lnTo>
                  <a:pt x="18" y="202"/>
                </a:lnTo>
                <a:lnTo>
                  <a:pt x="15" y="195"/>
                </a:lnTo>
                <a:lnTo>
                  <a:pt x="13" y="187"/>
                </a:lnTo>
                <a:lnTo>
                  <a:pt x="12" y="179"/>
                </a:lnTo>
                <a:lnTo>
                  <a:pt x="12" y="169"/>
                </a:lnTo>
                <a:lnTo>
                  <a:pt x="12" y="169"/>
                </a:lnTo>
                <a:lnTo>
                  <a:pt x="13" y="162"/>
                </a:lnTo>
                <a:lnTo>
                  <a:pt x="14" y="157"/>
                </a:lnTo>
                <a:lnTo>
                  <a:pt x="21" y="145"/>
                </a:lnTo>
                <a:lnTo>
                  <a:pt x="27" y="134"/>
                </a:lnTo>
                <a:lnTo>
                  <a:pt x="29" y="128"/>
                </a:lnTo>
                <a:lnTo>
                  <a:pt x="30" y="121"/>
                </a:lnTo>
                <a:lnTo>
                  <a:pt x="30" y="121"/>
                </a:lnTo>
                <a:lnTo>
                  <a:pt x="29" y="115"/>
                </a:lnTo>
                <a:lnTo>
                  <a:pt x="26" y="110"/>
                </a:lnTo>
                <a:lnTo>
                  <a:pt x="21" y="105"/>
                </a:lnTo>
                <a:lnTo>
                  <a:pt x="15" y="102"/>
                </a:lnTo>
                <a:lnTo>
                  <a:pt x="10" y="97"/>
                </a:lnTo>
                <a:lnTo>
                  <a:pt x="5" y="92"/>
                </a:lnTo>
                <a:lnTo>
                  <a:pt x="2" y="87"/>
                </a:lnTo>
                <a:lnTo>
                  <a:pt x="0" y="81"/>
                </a:lnTo>
                <a:lnTo>
                  <a:pt x="0" y="81"/>
                </a:lnTo>
                <a:lnTo>
                  <a:pt x="2" y="76"/>
                </a:lnTo>
                <a:lnTo>
                  <a:pt x="4" y="73"/>
                </a:lnTo>
                <a:lnTo>
                  <a:pt x="7" y="64"/>
                </a:lnTo>
                <a:lnTo>
                  <a:pt x="9" y="58"/>
                </a:lnTo>
                <a:lnTo>
                  <a:pt x="9" y="52"/>
                </a:lnTo>
                <a:lnTo>
                  <a:pt x="6" y="45"/>
                </a:lnTo>
                <a:lnTo>
                  <a:pt x="0" y="37"/>
                </a:lnTo>
                <a:lnTo>
                  <a:pt x="0" y="37"/>
                </a:lnTo>
                <a:lnTo>
                  <a:pt x="41" y="15"/>
                </a:lnTo>
                <a:lnTo>
                  <a:pt x="58" y="7"/>
                </a:lnTo>
                <a:lnTo>
                  <a:pt x="74" y="0"/>
                </a:lnTo>
                <a:lnTo>
                  <a:pt x="74" y="0"/>
                </a:lnTo>
                <a:lnTo>
                  <a:pt x="81" y="14"/>
                </a:lnTo>
                <a:lnTo>
                  <a:pt x="88" y="27"/>
                </a:lnTo>
                <a:lnTo>
                  <a:pt x="95" y="38"/>
                </a:lnTo>
                <a:lnTo>
                  <a:pt x="98" y="44"/>
                </a:lnTo>
                <a:lnTo>
                  <a:pt x="104" y="47"/>
                </a:lnTo>
                <a:lnTo>
                  <a:pt x="104" y="47"/>
                </a:lnTo>
                <a:lnTo>
                  <a:pt x="109" y="45"/>
                </a:lnTo>
                <a:lnTo>
                  <a:pt x="112" y="43"/>
                </a:lnTo>
                <a:lnTo>
                  <a:pt x="118" y="37"/>
                </a:lnTo>
                <a:lnTo>
                  <a:pt x="118" y="37"/>
                </a:lnTo>
                <a:lnTo>
                  <a:pt x="124" y="39"/>
                </a:lnTo>
                <a:lnTo>
                  <a:pt x="128" y="44"/>
                </a:lnTo>
                <a:lnTo>
                  <a:pt x="135" y="51"/>
                </a:lnTo>
                <a:lnTo>
                  <a:pt x="141" y="57"/>
                </a:lnTo>
                <a:lnTo>
                  <a:pt x="144" y="59"/>
                </a:lnTo>
                <a:lnTo>
                  <a:pt x="148" y="59"/>
                </a:lnTo>
                <a:lnTo>
                  <a:pt x="148" y="59"/>
                </a:lnTo>
                <a:lnTo>
                  <a:pt x="154" y="59"/>
                </a:lnTo>
                <a:lnTo>
                  <a:pt x="158" y="57"/>
                </a:lnTo>
                <a:lnTo>
                  <a:pt x="160" y="54"/>
                </a:lnTo>
                <a:lnTo>
                  <a:pt x="163" y="51"/>
                </a:lnTo>
                <a:lnTo>
                  <a:pt x="166" y="45"/>
                </a:lnTo>
                <a:lnTo>
                  <a:pt x="170" y="43"/>
                </a:lnTo>
                <a:lnTo>
                  <a:pt x="173" y="41"/>
                </a:lnTo>
                <a:lnTo>
                  <a:pt x="173" y="41"/>
                </a:lnTo>
                <a:lnTo>
                  <a:pt x="188" y="37"/>
                </a:lnTo>
                <a:lnTo>
                  <a:pt x="200" y="35"/>
                </a:lnTo>
                <a:lnTo>
                  <a:pt x="211" y="30"/>
                </a:lnTo>
                <a:lnTo>
                  <a:pt x="221" y="26"/>
                </a:lnTo>
                <a:lnTo>
                  <a:pt x="221" y="26"/>
                </a:lnTo>
                <a:lnTo>
                  <a:pt x="235" y="29"/>
                </a:lnTo>
                <a:lnTo>
                  <a:pt x="246" y="32"/>
                </a:lnTo>
                <a:lnTo>
                  <a:pt x="254" y="37"/>
                </a:lnTo>
                <a:lnTo>
                  <a:pt x="261" y="43"/>
                </a:lnTo>
                <a:lnTo>
                  <a:pt x="265" y="50"/>
                </a:lnTo>
                <a:lnTo>
                  <a:pt x="271" y="57"/>
                </a:lnTo>
                <a:lnTo>
                  <a:pt x="280" y="74"/>
                </a:lnTo>
                <a:lnTo>
                  <a:pt x="280" y="74"/>
                </a:lnTo>
                <a:lnTo>
                  <a:pt x="282" y="77"/>
                </a:lnTo>
                <a:lnTo>
                  <a:pt x="286" y="81"/>
                </a:lnTo>
                <a:lnTo>
                  <a:pt x="294" y="87"/>
                </a:lnTo>
                <a:lnTo>
                  <a:pt x="302" y="91"/>
                </a:lnTo>
                <a:lnTo>
                  <a:pt x="312" y="96"/>
                </a:lnTo>
                <a:lnTo>
                  <a:pt x="320" y="103"/>
                </a:lnTo>
                <a:lnTo>
                  <a:pt x="325" y="107"/>
                </a:lnTo>
                <a:lnTo>
                  <a:pt x="328" y="112"/>
                </a:lnTo>
                <a:lnTo>
                  <a:pt x="331" y="119"/>
                </a:lnTo>
                <a:lnTo>
                  <a:pt x="333" y="126"/>
                </a:lnTo>
                <a:lnTo>
                  <a:pt x="335" y="134"/>
                </a:lnTo>
                <a:lnTo>
                  <a:pt x="335" y="143"/>
                </a:lnTo>
                <a:lnTo>
                  <a:pt x="335" y="143"/>
                </a:lnTo>
                <a:lnTo>
                  <a:pt x="334" y="149"/>
                </a:lnTo>
                <a:lnTo>
                  <a:pt x="333" y="153"/>
                </a:lnTo>
                <a:lnTo>
                  <a:pt x="328" y="164"/>
                </a:lnTo>
                <a:lnTo>
                  <a:pt x="323" y="175"/>
                </a:lnTo>
                <a:lnTo>
                  <a:pt x="322" y="181"/>
                </a:lnTo>
                <a:lnTo>
                  <a:pt x="320" y="188"/>
                </a:lnTo>
                <a:lnTo>
                  <a:pt x="320" y="188"/>
                </a:lnTo>
                <a:lnTo>
                  <a:pt x="317" y="188"/>
                </a:lnTo>
                <a:lnTo>
                  <a:pt x="317" y="18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1" name="Freeform 76"/>
          <p:cNvSpPr>
            <a:spLocks/>
          </p:cNvSpPr>
          <p:nvPr/>
        </p:nvSpPr>
        <p:spPr bwMode="auto">
          <a:xfrm>
            <a:off x="1146175" y="4384675"/>
            <a:ext cx="236538" cy="295275"/>
          </a:xfrm>
          <a:custGeom>
            <a:avLst/>
            <a:gdLst/>
            <a:ahLst/>
            <a:cxnLst>
              <a:cxn ang="0">
                <a:pos x="291" y="59"/>
              </a:cxn>
              <a:cxn ang="0">
                <a:pos x="279" y="67"/>
              </a:cxn>
              <a:cxn ang="0">
                <a:pos x="269" y="76"/>
              </a:cxn>
              <a:cxn ang="0">
                <a:pos x="264" y="88"/>
              </a:cxn>
              <a:cxn ang="0">
                <a:pos x="261" y="101"/>
              </a:cxn>
              <a:cxn ang="0">
                <a:pos x="261" y="218"/>
              </a:cxn>
              <a:cxn ang="0">
                <a:pos x="261" y="225"/>
              </a:cxn>
              <a:cxn ang="0">
                <a:pos x="258" y="235"/>
              </a:cxn>
              <a:cxn ang="0">
                <a:pos x="249" y="249"/>
              </a:cxn>
              <a:cxn ang="0">
                <a:pos x="222" y="267"/>
              </a:cxn>
              <a:cxn ang="0">
                <a:pos x="210" y="280"/>
              </a:cxn>
              <a:cxn ang="0">
                <a:pos x="205" y="280"/>
              </a:cxn>
              <a:cxn ang="0">
                <a:pos x="191" y="285"/>
              </a:cxn>
              <a:cxn ang="0">
                <a:pos x="174" y="292"/>
              </a:cxn>
              <a:cxn ang="0">
                <a:pos x="104" y="339"/>
              </a:cxn>
              <a:cxn ang="0">
                <a:pos x="104" y="339"/>
              </a:cxn>
              <a:cxn ang="0">
                <a:pos x="105" y="326"/>
              </a:cxn>
              <a:cxn ang="0">
                <a:pos x="103" y="318"/>
              </a:cxn>
              <a:cxn ang="0">
                <a:pos x="97" y="315"/>
              </a:cxn>
              <a:cxn ang="0">
                <a:pos x="83" y="313"/>
              </a:cxn>
              <a:cxn ang="0">
                <a:pos x="72" y="311"/>
              </a:cxn>
              <a:cxn ang="0">
                <a:pos x="66" y="307"/>
              </a:cxn>
              <a:cxn ang="0">
                <a:pos x="63" y="303"/>
              </a:cxn>
              <a:cxn ang="0">
                <a:pos x="51" y="266"/>
              </a:cxn>
              <a:cxn ang="0">
                <a:pos x="36" y="235"/>
              </a:cxn>
              <a:cxn ang="0">
                <a:pos x="0" y="174"/>
              </a:cxn>
              <a:cxn ang="0">
                <a:pos x="12" y="173"/>
              </a:cxn>
              <a:cxn ang="0">
                <a:pos x="26" y="166"/>
              </a:cxn>
              <a:cxn ang="0">
                <a:pos x="31" y="155"/>
              </a:cxn>
              <a:cxn ang="0">
                <a:pos x="34" y="126"/>
              </a:cxn>
              <a:cxn ang="0">
                <a:pos x="34" y="74"/>
              </a:cxn>
              <a:cxn ang="0">
                <a:pos x="34" y="69"/>
              </a:cxn>
              <a:cxn ang="0">
                <a:pos x="38" y="59"/>
              </a:cxn>
              <a:cxn ang="0">
                <a:pos x="50" y="44"/>
              </a:cxn>
              <a:cxn ang="0">
                <a:pos x="73" y="23"/>
              </a:cxn>
              <a:cxn ang="0">
                <a:pos x="107" y="0"/>
              </a:cxn>
              <a:cxn ang="0">
                <a:pos x="111" y="6"/>
              </a:cxn>
              <a:cxn ang="0">
                <a:pos x="119" y="14"/>
              </a:cxn>
              <a:cxn ang="0">
                <a:pos x="126" y="15"/>
              </a:cxn>
              <a:cxn ang="0">
                <a:pos x="129" y="15"/>
              </a:cxn>
              <a:cxn ang="0">
                <a:pos x="138" y="11"/>
              </a:cxn>
              <a:cxn ang="0">
                <a:pos x="147" y="5"/>
              </a:cxn>
              <a:cxn ang="0">
                <a:pos x="151" y="5"/>
              </a:cxn>
              <a:cxn ang="0">
                <a:pos x="158" y="7"/>
              </a:cxn>
              <a:cxn ang="0">
                <a:pos x="168" y="19"/>
              </a:cxn>
              <a:cxn ang="0">
                <a:pos x="177" y="35"/>
              </a:cxn>
              <a:cxn ang="0">
                <a:pos x="187" y="44"/>
              </a:cxn>
              <a:cxn ang="0">
                <a:pos x="195" y="48"/>
              </a:cxn>
              <a:cxn ang="0">
                <a:pos x="199" y="49"/>
              </a:cxn>
              <a:cxn ang="0">
                <a:pos x="214" y="45"/>
              </a:cxn>
              <a:cxn ang="0">
                <a:pos x="221" y="37"/>
              </a:cxn>
              <a:cxn ang="0">
                <a:pos x="227" y="30"/>
              </a:cxn>
              <a:cxn ang="0">
                <a:pos x="240" y="27"/>
              </a:cxn>
              <a:cxn ang="0">
                <a:pos x="248" y="28"/>
              </a:cxn>
              <a:cxn ang="0">
                <a:pos x="261" y="34"/>
              </a:cxn>
              <a:cxn ang="0">
                <a:pos x="276" y="50"/>
              </a:cxn>
              <a:cxn ang="0">
                <a:pos x="288" y="59"/>
              </a:cxn>
              <a:cxn ang="0">
                <a:pos x="291" y="59"/>
              </a:cxn>
            </a:cxnLst>
            <a:rect l="0" t="0" r="r" b="b"/>
            <a:pathLst>
              <a:path w="291" h="339">
                <a:moveTo>
                  <a:pt x="291" y="59"/>
                </a:moveTo>
                <a:lnTo>
                  <a:pt x="291" y="59"/>
                </a:lnTo>
                <a:lnTo>
                  <a:pt x="284" y="63"/>
                </a:lnTo>
                <a:lnTo>
                  <a:pt x="279" y="67"/>
                </a:lnTo>
                <a:lnTo>
                  <a:pt x="274" y="71"/>
                </a:lnTo>
                <a:lnTo>
                  <a:pt x="269" y="76"/>
                </a:lnTo>
                <a:lnTo>
                  <a:pt x="266" y="81"/>
                </a:lnTo>
                <a:lnTo>
                  <a:pt x="264" y="88"/>
                </a:lnTo>
                <a:lnTo>
                  <a:pt x="263" y="94"/>
                </a:lnTo>
                <a:lnTo>
                  <a:pt x="261" y="101"/>
                </a:lnTo>
                <a:lnTo>
                  <a:pt x="261" y="101"/>
                </a:lnTo>
                <a:lnTo>
                  <a:pt x="261" y="218"/>
                </a:lnTo>
                <a:lnTo>
                  <a:pt x="261" y="218"/>
                </a:lnTo>
                <a:lnTo>
                  <a:pt x="261" y="225"/>
                </a:lnTo>
                <a:lnTo>
                  <a:pt x="260" y="231"/>
                </a:lnTo>
                <a:lnTo>
                  <a:pt x="258" y="235"/>
                </a:lnTo>
                <a:lnTo>
                  <a:pt x="256" y="241"/>
                </a:lnTo>
                <a:lnTo>
                  <a:pt x="249" y="249"/>
                </a:lnTo>
                <a:lnTo>
                  <a:pt x="240" y="256"/>
                </a:lnTo>
                <a:lnTo>
                  <a:pt x="222" y="267"/>
                </a:lnTo>
                <a:lnTo>
                  <a:pt x="215" y="274"/>
                </a:lnTo>
                <a:lnTo>
                  <a:pt x="210" y="280"/>
                </a:lnTo>
                <a:lnTo>
                  <a:pt x="210" y="280"/>
                </a:lnTo>
                <a:lnTo>
                  <a:pt x="205" y="280"/>
                </a:lnTo>
                <a:lnTo>
                  <a:pt x="200" y="281"/>
                </a:lnTo>
                <a:lnTo>
                  <a:pt x="191" y="285"/>
                </a:lnTo>
                <a:lnTo>
                  <a:pt x="183" y="288"/>
                </a:lnTo>
                <a:lnTo>
                  <a:pt x="174" y="292"/>
                </a:lnTo>
                <a:lnTo>
                  <a:pt x="174" y="292"/>
                </a:lnTo>
                <a:lnTo>
                  <a:pt x="104" y="339"/>
                </a:lnTo>
                <a:lnTo>
                  <a:pt x="104" y="339"/>
                </a:lnTo>
                <a:lnTo>
                  <a:pt x="104" y="339"/>
                </a:lnTo>
                <a:lnTo>
                  <a:pt x="105" y="332"/>
                </a:lnTo>
                <a:lnTo>
                  <a:pt x="105" y="326"/>
                </a:lnTo>
                <a:lnTo>
                  <a:pt x="104" y="321"/>
                </a:lnTo>
                <a:lnTo>
                  <a:pt x="103" y="318"/>
                </a:lnTo>
                <a:lnTo>
                  <a:pt x="100" y="316"/>
                </a:lnTo>
                <a:lnTo>
                  <a:pt x="97" y="315"/>
                </a:lnTo>
                <a:lnTo>
                  <a:pt x="90" y="313"/>
                </a:lnTo>
                <a:lnTo>
                  <a:pt x="83" y="313"/>
                </a:lnTo>
                <a:lnTo>
                  <a:pt x="75" y="312"/>
                </a:lnTo>
                <a:lnTo>
                  <a:pt x="72" y="311"/>
                </a:lnTo>
                <a:lnTo>
                  <a:pt x="68" y="310"/>
                </a:lnTo>
                <a:lnTo>
                  <a:pt x="66" y="307"/>
                </a:lnTo>
                <a:lnTo>
                  <a:pt x="63" y="303"/>
                </a:lnTo>
                <a:lnTo>
                  <a:pt x="63" y="303"/>
                </a:lnTo>
                <a:lnTo>
                  <a:pt x="57" y="283"/>
                </a:lnTo>
                <a:lnTo>
                  <a:pt x="51" y="266"/>
                </a:lnTo>
                <a:lnTo>
                  <a:pt x="44" y="250"/>
                </a:lnTo>
                <a:lnTo>
                  <a:pt x="36" y="235"/>
                </a:lnTo>
                <a:lnTo>
                  <a:pt x="20" y="206"/>
                </a:lnTo>
                <a:lnTo>
                  <a:pt x="0" y="174"/>
                </a:lnTo>
                <a:lnTo>
                  <a:pt x="0" y="174"/>
                </a:lnTo>
                <a:lnTo>
                  <a:pt x="12" y="173"/>
                </a:lnTo>
                <a:lnTo>
                  <a:pt x="20" y="171"/>
                </a:lnTo>
                <a:lnTo>
                  <a:pt x="26" y="166"/>
                </a:lnTo>
                <a:lnTo>
                  <a:pt x="29" y="162"/>
                </a:lnTo>
                <a:lnTo>
                  <a:pt x="31" y="155"/>
                </a:lnTo>
                <a:lnTo>
                  <a:pt x="34" y="147"/>
                </a:lnTo>
                <a:lnTo>
                  <a:pt x="34" y="126"/>
                </a:lnTo>
                <a:lnTo>
                  <a:pt x="34" y="126"/>
                </a:lnTo>
                <a:lnTo>
                  <a:pt x="34" y="74"/>
                </a:lnTo>
                <a:lnTo>
                  <a:pt x="34" y="74"/>
                </a:lnTo>
                <a:lnTo>
                  <a:pt x="34" y="69"/>
                </a:lnTo>
                <a:lnTo>
                  <a:pt x="36" y="65"/>
                </a:lnTo>
                <a:lnTo>
                  <a:pt x="38" y="59"/>
                </a:lnTo>
                <a:lnTo>
                  <a:pt x="42" y="54"/>
                </a:lnTo>
                <a:lnTo>
                  <a:pt x="50" y="44"/>
                </a:lnTo>
                <a:lnTo>
                  <a:pt x="61" y="34"/>
                </a:lnTo>
                <a:lnTo>
                  <a:pt x="73" y="23"/>
                </a:lnTo>
                <a:lnTo>
                  <a:pt x="85" y="15"/>
                </a:lnTo>
                <a:lnTo>
                  <a:pt x="107" y="0"/>
                </a:lnTo>
                <a:lnTo>
                  <a:pt x="107" y="0"/>
                </a:lnTo>
                <a:lnTo>
                  <a:pt x="111" y="6"/>
                </a:lnTo>
                <a:lnTo>
                  <a:pt x="114" y="11"/>
                </a:lnTo>
                <a:lnTo>
                  <a:pt x="119" y="14"/>
                </a:lnTo>
                <a:lnTo>
                  <a:pt x="122" y="15"/>
                </a:lnTo>
                <a:lnTo>
                  <a:pt x="126" y="15"/>
                </a:lnTo>
                <a:lnTo>
                  <a:pt x="126" y="15"/>
                </a:lnTo>
                <a:lnTo>
                  <a:pt x="129" y="15"/>
                </a:lnTo>
                <a:lnTo>
                  <a:pt x="133" y="14"/>
                </a:lnTo>
                <a:lnTo>
                  <a:pt x="138" y="11"/>
                </a:lnTo>
                <a:lnTo>
                  <a:pt x="144" y="6"/>
                </a:lnTo>
                <a:lnTo>
                  <a:pt x="147" y="5"/>
                </a:lnTo>
                <a:lnTo>
                  <a:pt x="151" y="5"/>
                </a:lnTo>
                <a:lnTo>
                  <a:pt x="151" y="5"/>
                </a:lnTo>
                <a:lnTo>
                  <a:pt x="154" y="5"/>
                </a:lnTo>
                <a:lnTo>
                  <a:pt x="158" y="7"/>
                </a:lnTo>
                <a:lnTo>
                  <a:pt x="164" y="12"/>
                </a:lnTo>
                <a:lnTo>
                  <a:pt x="168" y="19"/>
                </a:lnTo>
                <a:lnTo>
                  <a:pt x="173" y="27"/>
                </a:lnTo>
                <a:lnTo>
                  <a:pt x="177" y="35"/>
                </a:lnTo>
                <a:lnTo>
                  <a:pt x="183" y="42"/>
                </a:lnTo>
                <a:lnTo>
                  <a:pt x="187" y="44"/>
                </a:lnTo>
                <a:lnTo>
                  <a:pt x="191" y="46"/>
                </a:lnTo>
                <a:lnTo>
                  <a:pt x="195" y="48"/>
                </a:lnTo>
                <a:lnTo>
                  <a:pt x="199" y="49"/>
                </a:lnTo>
                <a:lnTo>
                  <a:pt x="199" y="49"/>
                </a:lnTo>
                <a:lnTo>
                  <a:pt x="208" y="48"/>
                </a:lnTo>
                <a:lnTo>
                  <a:pt x="214" y="45"/>
                </a:lnTo>
                <a:lnTo>
                  <a:pt x="219" y="42"/>
                </a:lnTo>
                <a:lnTo>
                  <a:pt x="221" y="37"/>
                </a:lnTo>
                <a:lnTo>
                  <a:pt x="223" y="34"/>
                </a:lnTo>
                <a:lnTo>
                  <a:pt x="227" y="30"/>
                </a:lnTo>
                <a:lnTo>
                  <a:pt x="231" y="28"/>
                </a:lnTo>
                <a:lnTo>
                  <a:pt x="240" y="27"/>
                </a:lnTo>
                <a:lnTo>
                  <a:pt x="240" y="27"/>
                </a:lnTo>
                <a:lnTo>
                  <a:pt x="248" y="28"/>
                </a:lnTo>
                <a:lnTo>
                  <a:pt x="256" y="30"/>
                </a:lnTo>
                <a:lnTo>
                  <a:pt x="261" y="34"/>
                </a:lnTo>
                <a:lnTo>
                  <a:pt x="266" y="40"/>
                </a:lnTo>
                <a:lnTo>
                  <a:pt x="276" y="50"/>
                </a:lnTo>
                <a:lnTo>
                  <a:pt x="281" y="54"/>
                </a:lnTo>
                <a:lnTo>
                  <a:pt x="288" y="59"/>
                </a:lnTo>
                <a:lnTo>
                  <a:pt x="288" y="59"/>
                </a:lnTo>
                <a:lnTo>
                  <a:pt x="291" y="59"/>
                </a:lnTo>
                <a:lnTo>
                  <a:pt x="291" y="5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2" name="Freeform 77"/>
          <p:cNvSpPr>
            <a:spLocks/>
          </p:cNvSpPr>
          <p:nvPr/>
        </p:nvSpPr>
        <p:spPr bwMode="auto">
          <a:xfrm>
            <a:off x="898525" y="4419600"/>
            <a:ext cx="331788" cy="371475"/>
          </a:xfrm>
          <a:custGeom>
            <a:avLst/>
            <a:gdLst/>
            <a:ahLst/>
            <a:cxnLst>
              <a:cxn ang="0">
                <a:pos x="404" y="297"/>
              </a:cxn>
              <a:cxn ang="0">
                <a:pos x="405" y="284"/>
              </a:cxn>
              <a:cxn ang="0">
                <a:pos x="400" y="274"/>
              </a:cxn>
              <a:cxn ang="0">
                <a:pos x="383" y="271"/>
              </a:cxn>
              <a:cxn ang="0">
                <a:pos x="368" y="268"/>
              </a:cxn>
              <a:cxn ang="0">
                <a:pos x="363" y="261"/>
              </a:cxn>
              <a:cxn ang="0">
                <a:pos x="344" y="208"/>
              </a:cxn>
              <a:cxn ang="0">
                <a:pos x="300" y="132"/>
              </a:cxn>
              <a:cxn ang="0">
                <a:pos x="279" y="128"/>
              </a:cxn>
              <a:cxn ang="0">
                <a:pos x="250" y="109"/>
              </a:cxn>
              <a:cxn ang="0">
                <a:pos x="231" y="84"/>
              </a:cxn>
              <a:cxn ang="0">
                <a:pos x="229" y="69"/>
              </a:cxn>
              <a:cxn ang="0">
                <a:pos x="229" y="48"/>
              </a:cxn>
              <a:cxn ang="0">
                <a:pos x="216" y="40"/>
              </a:cxn>
              <a:cxn ang="0">
                <a:pos x="194" y="19"/>
              </a:cxn>
              <a:cxn ang="0">
                <a:pos x="179" y="6"/>
              </a:cxn>
              <a:cxn ang="0">
                <a:pos x="159" y="2"/>
              </a:cxn>
              <a:cxn ang="0">
                <a:pos x="134" y="1"/>
              </a:cxn>
              <a:cxn ang="0">
                <a:pos x="125" y="10"/>
              </a:cxn>
              <a:cxn ang="0">
                <a:pos x="102" y="47"/>
              </a:cxn>
              <a:cxn ang="0">
                <a:pos x="80" y="80"/>
              </a:cxn>
              <a:cxn ang="0">
                <a:pos x="83" y="90"/>
              </a:cxn>
              <a:cxn ang="0">
                <a:pos x="84" y="99"/>
              </a:cxn>
              <a:cxn ang="0">
                <a:pos x="71" y="110"/>
              </a:cxn>
              <a:cxn ang="0">
                <a:pos x="70" y="117"/>
              </a:cxn>
              <a:cxn ang="0">
                <a:pos x="93" y="138"/>
              </a:cxn>
              <a:cxn ang="0">
                <a:pos x="93" y="144"/>
              </a:cxn>
              <a:cxn ang="0">
                <a:pos x="73" y="163"/>
              </a:cxn>
              <a:cxn ang="0">
                <a:pos x="70" y="168"/>
              </a:cxn>
              <a:cxn ang="0">
                <a:pos x="76" y="184"/>
              </a:cxn>
              <a:cxn ang="0">
                <a:pos x="76" y="200"/>
              </a:cxn>
              <a:cxn ang="0">
                <a:pos x="64" y="225"/>
              </a:cxn>
              <a:cxn ang="0">
                <a:pos x="38" y="252"/>
              </a:cxn>
              <a:cxn ang="0">
                <a:pos x="11" y="281"/>
              </a:cxn>
              <a:cxn ang="0">
                <a:pos x="1" y="308"/>
              </a:cxn>
              <a:cxn ang="0">
                <a:pos x="1" y="325"/>
              </a:cxn>
              <a:cxn ang="0">
                <a:pos x="18" y="384"/>
              </a:cxn>
              <a:cxn ang="0">
                <a:pos x="25" y="400"/>
              </a:cxn>
              <a:cxn ang="0">
                <a:pos x="30" y="390"/>
              </a:cxn>
              <a:cxn ang="0">
                <a:pos x="42" y="389"/>
              </a:cxn>
              <a:cxn ang="0">
                <a:pos x="59" y="395"/>
              </a:cxn>
              <a:cxn ang="0">
                <a:pos x="84" y="414"/>
              </a:cxn>
              <a:cxn ang="0">
                <a:pos x="103" y="424"/>
              </a:cxn>
              <a:cxn ang="0">
                <a:pos x="117" y="426"/>
              </a:cxn>
              <a:cxn ang="0">
                <a:pos x="144" y="420"/>
              </a:cxn>
              <a:cxn ang="0">
                <a:pos x="168" y="414"/>
              </a:cxn>
              <a:cxn ang="0">
                <a:pos x="181" y="418"/>
              </a:cxn>
              <a:cxn ang="0">
                <a:pos x="187" y="415"/>
              </a:cxn>
              <a:cxn ang="0">
                <a:pos x="195" y="397"/>
              </a:cxn>
              <a:cxn ang="0">
                <a:pos x="224" y="358"/>
              </a:cxn>
              <a:cxn ang="0">
                <a:pos x="244" y="323"/>
              </a:cxn>
              <a:cxn ang="0">
                <a:pos x="323" y="315"/>
              </a:cxn>
              <a:cxn ang="0">
                <a:pos x="330" y="317"/>
              </a:cxn>
              <a:cxn ang="0">
                <a:pos x="353" y="338"/>
              </a:cxn>
              <a:cxn ang="0">
                <a:pos x="382" y="362"/>
              </a:cxn>
              <a:cxn ang="0">
                <a:pos x="392" y="367"/>
              </a:cxn>
              <a:cxn ang="0">
                <a:pos x="403" y="332"/>
              </a:cxn>
              <a:cxn ang="0">
                <a:pos x="404" y="327"/>
              </a:cxn>
            </a:cxnLst>
            <a:rect l="0" t="0" r="r" b="b"/>
            <a:pathLst>
              <a:path w="405" h="426">
                <a:moveTo>
                  <a:pt x="404" y="327"/>
                </a:moveTo>
                <a:lnTo>
                  <a:pt x="404" y="327"/>
                </a:lnTo>
                <a:lnTo>
                  <a:pt x="404" y="297"/>
                </a:lnTo>
                <a:lnTo>
                  <a:pt x="404" y="297"/>
                </a:lnTo>
                <a:lnTo>
                  <a:pt x="405" y="290"/>
                </a:lnTo>
                <a:lnTo>
                  <a:pt x="405" y="284"/>
                </a:lnTo>
                <a:lnTo>
                  <a:pt x="404" y="279"/>
                </a:lnTo>
                <a:lnTo>
                  <a:pt x="403" y="276"/>
                </a:lnTo>
                <a:lnTo>
                  <a:pt x="400" y="274"/>
                </a:lnTo>
                <a:lnTo>
                  <a:pt x="397" y="273"/>
                </a:lnTo>
                <a:lnTo>
                  <a:pt x="390" y="271"/>
                </a:lnTo>
                <a:lnTo>
                  <a:pt x="383" y="271"/>
                </a:lnTo>
                <a:lnTo>
                  <a:pt x="375" y="270"/>
                </a:lnTo>
                <a:lnTo>
                  <a:pt x="372" y="269"/>
                </a:lnTo>
                <a:lnTo>
                  <a:pt x="368" y="268"/>
                </a:lnTo>
                <a:lnTo>
                  <a:pt x="366" y="265"/>
                </a:lnTo>
                <a:lnTo>
                  <a:pt x="363" y="261"/>
                </a:lnTo>
                <a:lnTo>
                  <a:pt x="363" y="261"/>
                </a:lnTo>
                <a:lnTo>
                  <a:pt x="357" y="241"/>
                </a:lnTo>
                <a:lnTo>
                  <a:pt x="351" y="224"/>
                </a:lnTo>
                <a:lnTo>
                  <a:pt x="344" y="208"/>
                </a:lnTo>
                <a:lnTo>
                  <a:pt x="336" y="193"/>
                </a:lnTo>
                <a:lnTo>
                  <a:pt x="320" y="164"/>
                </a:lnTo>
                <a:lnTo>
                  <a:pt x="300" y="132"/>
                </a:lnTo>
                <a:lnTo>
                  <a:pt x="300" y="132"/>
                </a:lnTo>
                <a:lnTo>
                  <a:pt x="291" y="131"/>
                </a:lnTo>
                <a:lnTo>
                  <a:pt x="279" y="128"/>
                </a:lnTo>
                <a:lnTo>
                  <a:pt x="269" y="123"/>
                </a:lnTo>
                <a:lnTo>
                  <a:pt x="259" y="116"/>
                </a:lnTo>
                <a:lnTo>
                  <a:pt x="250" y="109"/>
                </a:lnTo>
                <a:lnTo>
                  <a:pt x="242" y="101"/>
                </a:lnTo>
                <a:lnTo>
                  <a:pt x="236" y="92"/>
                </a:lnTo>
                <a:lnTo>
                  <a:pt x="231" y="84"/>
                </a:lnTo>
                <a:lnTo>
                  <a:pt x="231" y="84"/>
                </a:lnTo>
                <a:lnTo>
                  <a:pt x="230" y="76"/>
                </a:lnTo>
                <a:lnTo>
                  <a:pt x="229" y="69"/>
                </a:lnTo>
                <a:lnTo>
                  <a:pt x="230" y="57"/>
                </a:lnTo>
                <a:lnTo>
                  <a:pt x="230" y="53"/>
                </a:lnTo>
                <a:lnTo>
                  <a:pt x="229" y="48"/>
                </a:lnTo>
                <a:lnTo>
                  <a:pt x="224" y="44"/>
                </a:lnTo>
                <a:lnTo>
                  <a:pt x="216" y="40"/>
                </a:lnTo>
                <a:lnTo>
                  <a:pt x="216" y="40"/>
                </a:lnTo>
                <a:lnTo>
                  <a:pt x="210" y="37"/>
                </a:lnTo>
                <a:lnTo>
                  <a:pt x="205" y="32"/>
                </a:lnTo>
                <a:lnTo>
                  <a:pt x="194" y="19"/>
                </a:lnTo>
                <a:lnTo>
                  <a:pt x="190" y="14"/>
                </a:lnTo>
                <a:lnTo>
                  <a:pt x="184" y="9"/>
                </a:lnTo>
                <a:lnTo>
                  <a:pt x="179" y="6"/>
                </a:lnTo>
                <a:lnTo>
                  <a:pt x="172" y="3"/>
                </a:lnTo>
                <a:lnTo>
                  <a:pt x="172" y="3"/>
                </a:lnTo>
                <a:lnTo>
                  <a:pt x="159" y="2"/>
                </a:lnTo>
                <a:lnTo>
                  <a:pt x="149" y="2"/>
                </a:lnTo>
                <a:lnTo>
                  <a:pt x="140" y="2"/>
                </a:lnTo>
                <a:lnTo>
                  <a:pt x="134" y="1"/>
                </a:lnTo>
                <a:lnTo>
                  <a:pt x="129" y="0"/>
                </a:lnTo>
                <a:lnTo>
                  <a:pt x="129" y="0"/>
                </a:lnTo>
                <a:lnTo>
                  <a:pt x="125" y="10"/>
                </a:lnTo>
                <a:lnTo>
                  <a:pt x="120" y="22"/>
                </a:lnTo>
                <a:lnTo>
                  <a:pt x="111" y="34"/>
                </a:lnTo>
                <a:lnTo>
                  <a:pt x="102" y="47"/>
                </a:lnTo>
                <a:lnTo>
                  <a:pt x="87" y="68"/>
                </a:lnTo>
                <a:lnTo>
                  <a:pt x="82" y="76"/>
                </a:lnTo>
                <a:lnTo>
                  <a:pt x="80" y="80"/>
                </a:lnTo>
                <a:lnTo>
                  <a:pt x="80" y="80"/>
                </a:lnTo>
                <a:lnTo>
                  <a:pt x="80" y="85"/>
                </a:lnTo>
                <a:lnTo>
                  <a:pt x="83" y="90"/>
                </a:lnTo>
                <a:lnTo>
                  <a:pt x="84" y="94"/>
                </a:lnTo>
                <a:lnTo>
                  <a:pt x="84" y="99"/>
                </a:lnTo>
                <a:lnTo>
                  <a:pt x="84" y="99"/>
                </a:lnTo>
                <a:lnTo>
                  <a:pt x="79" y="103"/>
                </a:lnTo>
                <a:lnTo>
                  <a:pt x="75" y="107"/>
                </a:lnTo>
                <a:lnTo>
                  <a:pt x="71" y="110"/>
                </a:lnTo>
                <a:lnTo>
                  <a:pt x="70" y="114"/>
                </a:lnTo>
                <a:lnTo>
                  <a:pt x="70" y="117"/>
                </a:lnTo>
                <a:lnTo>
                  <a:pt x="70" y="117"/>
                </a:lnTo>
                <a:lnTo>
                  <a:pt x="80" y="128"/>
                </a:lnTo>
                <a:lnTo>
                  <a:pt x="90" y="136"/>
                </a:lnTo>
                <a:lnTo>
                  <a:pt x="93" y="138"/>
                </a:lnTo>
                <a:lnTo>
                  <a:pt x="95" y="139"/>
                </a:lnTo>
                <a:lnTo>
                  <a:pt x="95" y="139"/>
                </a:lnTo>
                <a:lnTo>
                  <a:pt x="93" y="144"/>
                </a:lnTo>
                <a:lnTo>
                  <a:pt x="90" y="148"/>
                </a:lnTo>
                <a:lnTo>
                  <a:pt x="80" y="156"/>
                </a:lnTo>
                <a:lnTo>
                  <a:pt x="73" y="163"/>
                </a:lnTo>
                <a:lnTo>
                  <a:pt x="70" y="166"/>
                </a:lnTo>
                <a:lnTo>
                  <a:pt x="70" y="168"/>
                </a:lnTo>
                <a:lnTo>
                  <a:pt x="70" y="168"/>
                </a:lnTo>
                <a:lnTo>
                  <a:pt x="71" y="174"/>
                </a:lnTo>
                <a:lnTo>
                  <a:pt x="73" y="178"/>
                </a:lnTo>
                <a:lnTo>
                  <a:pt x="76" y="184"/>
                </a:lnTo>
                <a:lnTo>
                  <a:pt x="77" y="191"/>
                </a:lnTo>
                <a:lnTo>
                  <a:pt x="77" y="191"/>
                </a:lnTo>
                <a:lnTo>
                  <a:pt x="76" y="200"/>
                </a:lnTo>
                <a:lnTo>
                  <a:pt x="73" y="209"/>
                </a:lnTo>
                <a:lnTo>
                  <a:pt x="70" y="217"/>
                </a:lnTo>
                <a:lnTo>
                  <a:pt x="64" y="225"/>
                </a:lnTo>
                <a:lnTo>
                  <a:pt x="59" y="232"/>
                </a:lnTo>
                <a:lnTo>
                  <a:pt x="53" y="239"/>
                </a:lnTo>
                <a:lnTo>
                  <a:pt x="38" y="252"/>
                </a:lnTo>
                <a:lnTo>
                  <a:pt x="24" y="266"/>
                </a:lnTo>
                <a:lnTo>
                  <a:pt x="17" y="273"/>
                </a:lnTo>
                <a:lnTo>
                  <a:pt x="11" y="281"/>
                </a:lnTo>
                <a:lnTo>
                  <a:pt x="7" y="289"/>
                </a:lnTo>
                <a:lnTo>
                  <a:pt x="3" y="298"/>
                </a:lnTo>
                <a:lnTo>
                  <a:pt x="1" y="308"/>
                </a:lnTo>
                <a:lnTo>
                  <a:pt x="0" y="320"/>
                </a:lnTo>
                <a:lnTo>
                  <a:pt x="0" y="320"/>
                </a:lnTo>
                <a:lnTo>
                  <a:pt x="1" y="325"/>
                </a:lnTo>
                <a:lnTo>
                  <a:pt x="2" y="335"/>
                </a:lnTo>
                <a:lnTo>
                  <a:pt x="10" y="359"/>
                </a:lnTo>
                <a:lnTo>
                  <a:pt x="18" y="384"/>
                </a:lnTo>
                <a:lnTo>
                  <a:pt x="22" y="393"/>
                </a:lnTo>
                <a:lnTo>
                  <a:pt x="25" y="400"/>
                </a:lnTo>
                <a:lnTo>
                  <a:pt x="25" y="400"/>
                </a:lnTo>
                <a:lnTo>
                  <a:pt x="25" y="396"/>
                </a:lnTo>
                <a:lnTo>
                  <a:pt x="26" y="391"/>
                </a:lnTo>
                <a:lnTo>
                  <a:pt x="30" y="390"/>
                </a:lnTo>
                <a:lnTo>
                  <a:pt x="36" y="389"/>
                </a:lnTo>
                <a:lnTo>
                  <a:pt x="36" y="389"/>
                </a:lnTo>
                <a:lnTo>
                  <a:pt x="42" y="389"/>
                </a:lnTo>
                <a:lnTo>
                  <a:pt x="48" y="390"/>
                </a:lnTo>
                <a:lnTo>
                  <a:pt x="54" y="392"/>
                </a:lnTo>
                <a:lnTo>
                  <a:pt x="59" y="395"/>
                </a:lnTo>
                <a:lnTo>
                  <a:pt x="68" y="400"/>
                </a:lnTo>
                <a:lnTo>
                  <a:pt x="76" y="407"/>
                </a:lnTo>
                <a:lnTo>
                  <a:pt x="84" y="414"/>
                </a:lnTo>
                <a:lnTo>
                  <a:pt x="93" y="420"/>
                </a:lnTo>
                <a:lnTo>
                  <a:pt x="98" y="422"/>
                </a:lnTo>
                <a:lnTo>
                  <a:pt x="103" y="424"/>
                </a:lnTo>
                <a:lnTo>
                  <a:pt x="110" y="426"/>
                </a:lnTo>
                <a:lnTo>
                  <a:pt x="117" y="426"/>
                </a:lnTo>
                <a:lnTo>
                  <a:pt x="117" y="426"/>
                </a:lnTo>
                <a:lnTo>
                  <a:pt x="125" y="426"/>
                </a:lnTo>
                <a:lnTo>
                  <a:pt x="132" y="424"/>
                </a:lnTo>
                <a:lnTo>
                  <a:pt x="144" y="420"/>
                </a:lnTo>
                <a:lnTo>
                  <a:pt x="155" y="416"/>
                </a:lnTo>
                <a:lnTo>
                  <a:pt x="162" y="415"/>
                </a:lnTo>
                <a:lnTo>
                  <a:pt x="168" y="414"/>
                </a:lnTo>
                <a:lnTo>
                  <a:pt x="168" y="414"/>
                </a:lnTo>
                <a:lnTo>
                  <a:pt x="175" y="415"/>
                </a:lnTo>
                <a:lnTo>
                  <a:pt x="181" y="418"/>
                </a:lnTo>
                <a:lnTo>
                  <a:pt x="187" y="422"/>
                </a:lnTo>
                <a:lnTo>
                  <a:pt x="187" y="422"/>
                </a:lnTo>
                <a:lnTo>
                  <a:pt x="187" y="415"/>
                </a:lnTo>
                <a:lnTo>
                  <a:pt x="190" y="409"/>
                </a:lnTo>
                <a:lnTo>
                  <a:pt x="192" y="403"/>
                </a:lnTo>
                <a:lnTo>
                  <a:pt x="195" y="397"/>
                </a:lnTo>
                <a:lnTo>
                  <a:pt x="204" y="384"/>
                </a:lnTo>
                <a:lnTo>
                  <a:pt x="214" y="372"/>
                </a:lnTo>
                <a:lnTo>
                  <a:pt x="224" y="358"/>
                </a:lnTo>
                <a:lnTo>
                  <a:pt x="233" y="344"/>
                </a:lnTo>
                <a:lnTo>
                  <a:pt x="240" y="330"/>
                </a:lnTo>
                <a:lnTo>
                  <a:pt x="244" y="323"/>
                </a:lnTo>
                <a:lnTo>
                  <a:pt x="245" y="315"/>
                </a:lnTo>
                <a:lnTo>
                  <a:pt x="245" y="315"/>
                </a:lnTo>
                <a:lnTo>
                  <a:pt x="323" y="315"/>
                </a:lnTo>
                <a:lnTo>
                  <a:pt x="323" y="315"/>
                </a:lnTo>
                <a:lnTo>
                  <a:pt x="327" y="315"/>
                </a:lnTo>
                <a:lnTo>
                  <a:pt x="330" y="317"/>
                </a:lnTo>
                <a:lnTo>
                  <a:pt x="337" y="322"/>
                </a:lnTo>
                <a:lnTo>
                  <a:pt x="345" y="330"/>
                </a:lnTo>
                <a:lnTo>
                  <a:pt x="353" y="338"/>
                </a:lnTo>
                <a:lnTo>
                  <a:pt x="362" y="347"/>
                </a:lnTo>
                <a:lnTo>
                  <a:pt x="372" y="355"/>
                </a:lnTo>
                <a:lnTo>
                  <a:pt x="382" y="362"/>
                </a:lnTo>
                <a:lnTo>
                  <a:pt x="386" y="365"/>
                </a:lnTo>
                <a:lnTo>
                  <a:pt x="392" y="367"/>
                </a:lnTo>
                <a:lnTo>
                  <a:pt x="392" y="367"/>
                </a:lnTo>
                <a:lnTo>
                  <a:pt x="398" y="352"/>
                </a:lnTo>
                <a:lnTo>
                  <a:pt x="401" y="339"/>
                </a:lnTo>
                <a:lnTo>
                  <a:pt x="403" y="332"/>
                </a:lnTo>
                <a:lnTo>
                  <a:pt x="404" y="327"/>
                </a:lnTo>
                <a:lnTo>
                  <a:pt x="404" y="327"/>
                </a:lnTo>
                <a:lnTo>
                  <a:pt x="404" y="32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3" name="Freeform 78"/>
          <p:cNvSpPr>
            <a:spLocks/>
          </p:cNvSpPr>
          <p:nvPr/>
        </p:nvSpPr>
        <p:spPr bwMode="auto">
          <a:xfrm>
            <a:off x="866775" y="4116388"/>
            <a:ext cx="219075" cy="276225"/>
          </a:xfrm>
          <a:custGeom>
            <a:avLst/>
            <a:gdLst/>
            <a:ahLst/>
            <a:cxnLst>
              <a:cxn ang="0">
                <a:pos x="204" y="20"/>
              </a:cxn>
              <a:cxn ang="0">
                <a:pos x="210" y="39"/>
              </a:cxn>
              <a:cxn ang="0">
                <a:pos x="214" y="79"/>
              </a:cxn>
              <a:cxn ang="0">
                <a:pos x="219" y="99"/>
              </a:cxn>
              <a:cxn ang="0">
                <a:pos x="225" y="107"/>
              </a:cxn>
              <a:cxn ang="0">
                <a:pos x="246" y="127"/>
              </a:cxn>
              <a:cxn ang="0">
                <a:pos x="258" y="142"/>
              </a:cxn>
              <a:cxn ang="0">
                <a:pos x="263" y="157"/>
              </a:cxn>
              <a:cxn ang="0">
                <a:pos x="263" y="162"/>
              </a:cxn>
              <a:cxn ang="0">
                <a:pos x="263" y="176"/>
              </a:cxn>
              <a:cxn ang="0">
                <a:pos x="265" y="193"/>
              </a:cxn>
              <a:cxn ang="0">
                <a:pos x="268" y="199"/>
              </a:cxn>
              <a:cxn ang="0">
                <a:pos x="250" y="213"/>
              </a:cxn>
              <a:cxn ang="0">
                <a:pos x="237" y="229"/>
              </a:cxn>
              <a:cxn ang="0">
                <a:pos x="226" y="247"/>
              </a:cxn>
              <a:cxn ang="0">
                <a:pos x="219" y="273"/>
              </a:cxn>
              <a:cxn ang="0">
                <a:pos x="218" y="280"/>
              </a:cxn>
              <a:cxn ang="0">
                <a:pos x="212" y="289"/>
              </a:cxn>
              <a:cxn ang="0">
                <a:pos x="203" y="293"/>
              </a:cxn>
              <a:cxn ang="0">
                <a:pos x="187" y="296"/>
              </a:cxn>
              <a:cxn ang="0">
                <a:pos x="171" y="298"/>
              </a:cxn>
              <a:cxn ang="0">
                <a:pos x="163" y="303"/>
              </a:cxn>
              <a:cxn ang="0">
                <a:pos x="158" y="311"/>
              </a:cxn>
              <a:cxn ang="0">
                <a:pos x="157" y="316"/>
              </a:cxn>
              <a:cxn ang="0">
                <a:pos x="149" y="313"/>
              </a:cxn>
              <a:cxn ang="0">
                <a:pos x="142" y="306"/>
              </a:cxn>
              <a:cxn ang="0">
                <a:pos x="131" y="291"/>
              </a:cxn>
              <a:cxn ang="0">
                <a:pos x="124" y="275"/>
              </a:cxn>
              <a:cxn ang="0">
                <a:pos x="118" y="251"/>
              </a:cxn>
              <a:cxn ang="0">
                <a:pos x="109" y="199"/>
              </a:cxn>
              <a:cxn ang="0">
                <a:pos x="102" y="181"/>
              </a:cxn>
              <a:cxn ang="0">
                <a:pos x="101" y="178"/>
              </a:cxn>
              <a:cxn ang="0">
                <a:pos x="92" y="173"/>
              </a:cxn>
              <a:cxn ang="0">
                <a:pos x="78" y="167"/>
              </a:cxn>
              <a:cxn ang="0">
                <a:pos x="59" y="161"/>
              </a:cxn>
              <a:cxn ang="0">
                <a:pos x="58" y="159"/>
              </a:cxn>
              <a:cxn ang="0">
                <a:pos x="55" y="145"/>
              </a:cxn>
              <a:cxn ang="0">
                <a:pos x="48" y="120"/>
              </a:cxn>
              <a:cxn ang="0">
                <a:pos x="39" y="105"/>
              </a:cxn>
              <a:cxn ang="0">
                <a:pos x="31" y="98"/>
              </a:cxn>
              <a:cxn ang="0">
                <a:pos x="20" y="92"/>
              </a:cxn>
              <a:cxn ang="0">
                <a:pos x="6" y="89"/>
              </a:cxn>
              <a:cxn ang="0">
                <a:pos x="0" y="89"/>
              </a:cxn>
              <a:cxn ang="0">
                <a:pos x="29" y="73"/>
              </a:cxn>
              <a:cxn ang="0">
                <a:pos x="46" y="60"/>
              </a:cxn>
              <a:cxn ang="0">
                <a:pos x="56" y="40"/>
              </a:cxn>
              <a:cxn ang="0">
                <a:pos x="58" y="26"/>
              </a:cxn>
              <a:cxn ang="0">
                <a:pos x="73" y="30"/>
              </a:cxn>
              <a:cxn ang="0">
                <a:pos x="90" y="33"/>
              </a:cxn>
              <a:cxn ang="0">
                <a:pos x="95" y="32"/>
              </a:cxn>
              <a:cxn ang="0">
                <a:pos x="103" y="25"/>
              </a:cxn>
              <a:cxn ang="0">
                <a:pos x="111" y="8"/>
              </a:cxn>
              <a:cxn ang="0">
                <a:pos x="120" y="0"/>
              </a:cxn>
              <a:cxn ang="0">
                <a:pos x="126" y="5"/>
              </a:cxn>
              <a:cxn ang="0">
                <a:pos x="140" y="13"/>
              </a:cxn>
              <a:cxn ang="0">
                <a:pos x="156" y="17"/>
              </a:cxn>
              <a:cxn ang="0">
                <a:pos x="187" y="20"/>
              </a:cxn>
              <a:cxn ang="0">
                <a:pos x="195" y="18"/>
              </a:cxn>
              <a:cxn ang="0">
                <a:pos x="204" y="15"/>
              </a:cxn>
              <a:cxn ang="0">
                <a:pos x="204" y="20"/>
              </a:cxn>
            </a:cxnLst>
            <a:rect l="0" t="0" r="r" b="b"/>
            <a:pathLst>
              <a:path w="268" h="316">
                <a:moveTo>
                  <a:pt x="204" y="20"/>
                </a:moveTo>
                <a:lnTo>
                  <a:pt x="204" y="20"/>
                </a:lnTo>
                <a:lnTo>
                  <a:pt x="208" y="29"/>
                </a:lnTo>
                <a:lnTo>
                  <a:pt x="210" y="39"/>
                </a:lnTo>
                <a:lnTo>
                  <a:pt x="212" y="59"/>
                </a:lnTo>
                <a:lnTo>
                  <a:pt x="214" y="79"/>
                </a:lnTo>
                <a:lnTo>
                  <a:pt x="216" y="90"/>
                </a:lnTo>
                <a:lnTo>
                  <a:pt x="219" y="99"/>
                </a:lnTo>
                <a:lnTo>
                  <a:pt x="219" y="99"/>
                </a:lnTo>
                <a:lnTo>
                  <a:pt x="225" y="107"/>
                </a:lnTo>
                <a:lnTo>
                  <a:pt x="231" y="114"/>
                </a:lnTo>
                <a:lnTo>
                  <a:pt x="246" y="127"/>
                </a:lnTo>
                <a:lnTo>
                  <a:pt x="253" y="134"/>
                </a:lnTo>
                <a:lnTo>
                  <a:pt x="258" y="142"/>
                </a:lnTo>
                <a:lnTo>
                  <a:pt x="262" y="151"/>
                </a:lnTo>
                <a:lnTo>
                  <a:pt x="263" y="157"/>
                </a:lnTo>
                <a:lnTo>
                  <a:pt x="263" y="162"/>
                </a:lnTo>
                <a:lnTo>
                  <a:pt x="263" y="162"/>
                </a:lnTo>
                <a:lnTo>
                  <a:pt x="263" y="176"/>
                </a:lnTo>
                <a:lnTo>
                  <a:pt x="263" y="176"/>
                </a:lnTo>
                <a:lnTo>
                  <a:pt x="264" y="188"/>
                </a:lnTo>
                <a:lnTo>
                  <a:pt x="265" y="193"/>
                </a:lnTo>
                <a:lnTo>
                  <a:pt x="268" y="199"/>
                </a:lnTo>
                <a:lnTo>
                  <a:pt x="268" y="199"/>
                </a:lnTo>
                <a:lnTo>
                  <a:pt x="258" y="206"/>
                </a:lnTo>
                <a:lnTo>
                  <a:pt x="250" y="213"/>
                </a:lnTo>
                <a:lnTo>
                  <a:pt x="244" y="221"/>
                </a:lnTo>
                <a:lnTo>
                  <a:pt x="237" y="229"/>
                </a:lnTo>
                <a:lnTo>
                  <a:pt x="231" y="238"/>
                </a:lnTo>
                <a:lnTo>
                  <a:pt x="226" y="247"/>
                </a:lnTo>
                <a:lnTo>
                  <a:pt x="223" y="259"/>
                </a:lnTo>
                <a:lnTo>
                  <a:pt x="219" y="273"/>
                </a:lnTo>
                <a:lnTo>
                  <a:pt x="219" y="273"/>
                </a:lnTo>
                <a:lnTo>
                  <a:pt x="218" y="280"/>
                </a:lnTo>
                <a:lnTo>
                  <a:pt x="216" y="284"/>
                </a:lnTo>
                <a:lnTo>
                  <a:pt x="212" y="289"/>
                </a:lnTo>
                <a:lnTo>
                  <a:pt x="208" y="291"/>
                </a:lnTo>
                <a:lnTo>
                  <a:pt x="203" y="293"/>
                </a:lnTo>
                <a:lnTo>
                  <a:pt x="199" y="295"/>
                </a:lnTo>
                <a:lnTo>
                  <a:pt x="187" y="296"/>
                </a:lnTo>
                <a:lnTo>
                  <a:pt x="176" y="297"/>
                </a:lnTo>
                <a:lnTo>
                  <a:pt x="171" y="298"/>
                </a:lnTo>
                <a:lnTo>
                  <a:pt x="166" y="299"/>
                </a:lnTo>
                <a:lnTo>
                  <a:pt x="163" y="303"/>
                </a:lnTo>
                <a:lnTo>
                  <a:pt x="160" y="306"/>
                </a:lnTo>
                <a:lnTo>
                  <a:pt x="158" y="311"/>
                </a:lnTo>
                <a:lnTo>
                  <a:pt x="157" y="316"/>
                </a:lnTo>
                <a:lnTo>
                  <a:pt x="157" y="316"/>
                </a:lnTo>
                <a:lnTo>
                  <a:pt x="149" y="313"/>
                </a:lnTo>
                <a:lnTo>
                  <a:pt x="149" y="313"/>
                </a:lnTo>
                <a:lnTo>
                  <a:pt x="149" y="313"/>
                </a:lnTo>
                <a:lnTo>
                  <a:pt x="142" y="306"/>
                </a:lnTo>
                <a:lnTo>
                  <a:pt x="135" y="299"/>
                </a:lnTo>
                <a:lnTo>
                  <a:pt x="131" y="291"/>
                </a:lnTo>
                <a:lnTo>
                  <a:pt x="126" y="283"/>
                </a:lnTo>
                <a:lnTo>
                  <a:pt x="124" y="275"/>
                </a:lnTo>
                <a:lnTo>
                  <a:pt x="122" y="267"/>
                </a:lnTo>
                <a:lnTo>
                  <a:pt x="118" y="251"/>
                </a:lnTo>
                <a:lnTo>
                  <a:pt x="112" y="216"/>
                </a:lnTo>
                <a:lnTo>
                  <a:pt x="109" y="199"/>
                </a:lnTo>
                <a:lnTo>
                  <a:pt x="105" y="190"/>
                </a:lnTo>
                <a:lnTo>
                  <a:pt x="102" y="181"/>
                </a:lnTo>
                <a:lnTo>
                  <a:pt x="102" y="181"/>
                </a:lnTo>
                <a:lnTo>
                  <a:pt x="101" y="178"/>
                </a:lnTo>
                <a:lnTo>
                  <a:pt x="99" y="176"/>
                </a:lnTo>
                <a:lnTo>
                  <a:pt x="92" y="173"/>
                </a:lnTo>
                <a:lnTo>
                  <a:pt x="85" y="169"/>
                </a:lnTo>
                <a:lnTo>
                  <a:pt x="78" y="167"/>
                </a:lnTo>
                <a:lnTo>
                  <a:pt x="64" y="163"/>
                </a:lnTo>
                <a:lnTo>
                  <a:pt x="59" y="161"/>
                </a:lnTo>
                <a:lnTo>
                  <a:pt x="58" y="160"/>
                </a:lnTo>
                <a:lnTo>
                  <a:pt x="58" y="159"/>
                </a:lnTo>
                <a:lnTo>
                  <a:pt x="58" y="159"/>
                </a:lnTo>
                <a:lnTo>
                  <a:pt x="55" y="145"/>
                </a:lnTo>
                <a:lnTo>
                  <a:pt x="51" y="132"/>
                </a:lnTo>
                <a:lnTo>
                  <a:pt x="48" y="120"/>
                </a:lnTo>
                <a:lnTo>
                  <a:pt x="42" y="109"/>
                </a:lnTo>
                <a:lnTo>
                  <a:pt x="39" y="105"/>
                </a:lnTo>
                <a:lnTo>
                  <a:pt x="35" y="101"/>
                </a:lnTo>
                <a:lnTo>
                  <a:pt x="31" y="98"/>
                </a:lnTo>
                <a:lnTo>
                  <a:pt x="26" y="94"/>
                </a:lnTo>
                <a:lnTo>
                  <a:pt x="20" y="92"/>
                </a:lnTo>
                <a:lnTo>
                  <a:pt x="13" y="90"/>
                </a:lnTo>
                <a:lnTo>
                  <a:pt x="6" y="89"/>
                </a:lnTo>
                <a:lnTo>
                  <a:pt x="0" y="89"/>
                </a:lnTo>
                <a:lnTo>
                  <a:pt x="0" y="89"/>
                </a:lnTo>
                <a:lnTo>
                  <a:pt x="20" y="78"/>
                </a:lnTo>
                <a:lnTo>
                  <a:pt x="29" y="73"/>
                </a:lnTo>
                <a:lnTo>
                  <a:pt x="39" y="67"/>
                </a:lnTo>
                <a:lnTo>
                  <a:pt x="46" y="60"/>
                </a:lnTo>
                <a:lnTo>
                  <a:pt x="51" y="51"/>
                </a:lnTo>
                <a:lnTo>
                  <a:pt x="56" y="40"/>
                </a:lnTo>
                <a:lnTo>
                  <a:pt x="58" y="26"/>
                </a:lnTo>
                <a:lnTo>
                  <a:pt x="58" y="26"/>
                </a:lnTo>
                <a:lnTo>
                  <a:pt x="65" y="28"/>
                </a:lnTo>
                <a:lnTo>
                  <a:pt x="73" y="30"/>
                </a:lnTo>
                <a:lnTo>
                  <a:pt x="81" y="32"/>
                </a:lnTo>
                <a:lnTo>
                  <a:pt x="90" y="33"/>
                </a:lnTo>
                <a:lnTo>
                  <a:pt x="90" y="33"/>
                </a:lnTo>
                <a:lnTo>
                  <a:pt x="95" y="32"/>
                </a:lnTo>
                <a:lnTo>
                  <a:pt x="100" y="30"/>
                </a:lnTo>
                <a:lnTo>
                  <a:pt x="103" y="25"/>
                </a:lnTo>
                <a:lnTo>
                  <a:pt x="105" y="20"/>
                </a:lnTo>
                <a:lnTo>
                  <a:pt x="111" y="8"/>
                </a:lnTo>
                <a:lnTo>
                  <a:pt x="116" y="3"/>
                </a:lnTo>
                <a:lnTo>
                  <a:pt x="120" y="0"/>
                </a:lnTo>
                <a:lnTo>
                  <a:pt x="120" y="0"/>
                </a:lnTo>
                <a:lnTo>
                  <a:pt x="126" y="5"/>
                </a:lnTo>
                <a:lnTo>
                  <a:pt x="133" y="9"/>
                </a:lnTo>
                <a:lnTo>
                  <a:pt x="140" y="13"/>
                </a:lnTo>
                <a:lnTo>
                  <a:pt x="148" y="15"/>
                </a:lnTo>
                <a:lnTo>
                  <a:pt x="156" y="17"/>
                </a:lnTo>
                <a:lnTo>
                  <a:pt x="166" y="18"/>
                </a:lnTo>
                <a:lnTo>
                  <a:pt x="187" y="20"/>
                </a:lnTo>
                <a:lnTo>
                  <a:pt x="187" y="20"/>
                </a:lnTo>
                <a:lnTo>
                  <a:pt x="195" y="18"/>
                </a:lnTo>
                <a:lnTo>
                  <a:pt x="200" y="17"/>
                </a:lnTo>
                <a:lnTo>
                  <a:pt x="204" y="15"/>
                </a:lnTo>
                <a:lnTo>
                  <a:pt x="204" y="15"/>
                </a:lnTo>
                <a:lnTo>
                  <a:pt x="204" y="20"/>
                </a:lnTo>
                <a:lnTo>
                  <a:pt x="204" y="2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4" name="Freeform 79"/>
          <p:cNvSpPr>
            <a:spLocks/>
          </p:cNvSpPr>
          <p:nvPr/>
        </p:nvSpPr>
        <p:spPr bwMode="auto">
          <a:xfrm>
            <a:off x="679450" y="3924300"/>
            <a:ext cx="287338" cy="290513"/>
          </a:xfrm>
          <a:custGeom>
            <a:avLst/>
            <a:gdLst/>
            <a:ahLst/>
            <a:cxnLst>
              <a:cxn ang="0">
                <a:pos x="194" y="50"/>
              </a:cxn>
              <a:cxn ang="0">
                <a:pos x="187" y="61"/>
              </a:cxn>
              <a:cxn ang="0">
                <a:pos x="179" y="66"/>
              </a:cxn>
              <a:cxn ang="0">
                <a:pos x="163" y="64"/>
              </a:cxn>
              <a:cxn ang="0">
                <a:pos x="144" y="51"/>
              </a:cxn>
              <a:cxn ang="0">
                <a:pos x="117" y="21"/>
              </a:cxn>
              <a:cxn ang="0">
                <a:pos x="96" y="4"/>
              </a:cxn>
              <a:cxn ang="0">
                <a:pos x="84" y="0"/>
              </a:cxn>
              <a:cxn ang="0">
                <a:pos x="75" y="5"/>
              </a:cxn>
              <a:cxn ang="0">
                <a:pos x="72" y="28"/>
              </a:cxn>
              <a:cxn ang="0">
                <a:pos x="72" y="43"/>
              </a:cxn>
              <a:cxn ang="0">
                <a:pos x="62" y="60"/>
              </a:cxn>
              <a:cxn ang="0">
                <a:pos x="23" y="87"/>
              </a:cxn>
              <a:cxn ang="0">
                <a:pos x="7" y="104"/>
              </a:cxn>
              <a:cxn ang="0">
                <a:pos x="0" y="128"/>
              </a:cxn>
              <a:cxn ang="0">
                <a:pos x="2" y="144"/>
              </a:cxn>
              <a:cxn ang="0">
                <a:pos x="11" y="158"/>
              </a:cxn>
              <a:cxn ang="0">
                <a:pos x="29" y="161"/>
              </a:cxn>
              <a:cxn ang="0">
                <a:pos x="46" y="157"/>
              </a:cxn>
              <a:cxn ang="0">
                <a:pos x="55" y="146"/>
              </a:cxn>
              <a:cxn ang="0">
                <a:pos x="83" y="192"/>
              </a:cxn>
              <a:cxn ang="0">
                <a:pos x="95" y="209"/>
              </a:cxn>
              <a:cxn ang="0">
                <a:pos x="134" y="221"/>
              </a:cxn>
              <a:cxn ang="0">
                <a:pos x="153" y="232"/>
              </a:cxn>
              <a:cxn ang="0">
                <a:pos x="161" y="246"/>
              </a:cxn>
              <a:cxn ang="0">
                <a:pos x="161" y="260"/>
              </a:cxn>
              <a:cxn ang="0">
                <a:pos x="147" y="291"/>
              </a:cxn>
              <a:cxn ang="0">
                <a:pos x="147" y="334"/>
              </a:cxn>
              <a:cxn ang="0">
                <a:pos x="149" y="329"/>
              </a:cxn>
              <a:cxn ang="0">
                <a:pos x="168" y="312"/>
              </a:cxn>
              <a:cxn ang="0">
                <a:pos x="171" y="318"/>
              </a:cxn>
              <a:cxn ang="0">
                <a:pos x="183" y="319"/>
              </a:cxn>
              <a:cxn ang="0">
                <a:pos x="217" y="313"/>
              </a:cxn>
              <a:cxn ang="0">
                <a:pos x="239" y="306"/>
              </a:cxn>
              <a:cxn ang="0">
                <a:pos x="266" y="288"/>
              </a:cxn>
              <a:cxn ang="0">
                <a:pos x="283" y="260"/>
              </a:cxn>
              <a:cxn ang="0">
                <a:pos x="286" y="246"/>
              </a:cxn>
              <a:cxn ang="0">
                <a:pos x="309" y="252"/>
              </a:cxn>
              <a:cxn ang="0">
                <a:pos x="323" y="252"/>
              </a:cxn>
              <a:cxn ang="0">
                <a:pos x="333" y="240"/>
              </a:cxn>
              <a:cxn ang="0">
                <a:pos x="348" y="220"/>
              </a:cxn>
              <a:cxn ang="0">
                <a:pos x="340" y="211"/>
              </a:cxn>
              <a:cxn ang="0">
                <a:pos x="330" y="177"/>
              </a:cxn>
              <a:cxn ang="0">
                <a:pos x="331" y="162"/>
              </a:cxn>
              <a:cxn ang="0">
                <a:pos x="345" y="134"/>
              </a:cxn>
              <a:cxn ang="0">
                <a:pos x="348" y="121"/>
              </a:cxn>
              <a:cxn ang="0">
                <a:pos x="339" y="105"/>
              </a:cxn>
              <a:cxn ang="0">
                <a:pos x="323" y="92"/>
              </a:cxn>
              <a:cxn ang="0">
                <a:pos x="318" y="81"/>
              </a:cxn>
              <a:cxn ang="0">
                <a:pos x="328" y="61"/>
              </a:cxn>
              <a:cxn ang="0">
                <a:pos x="328" y="41"/>
              </a:cxn>
              <a:cxn ang="0">
                <a:pos x="304" y="42"/>
              </a:cxn>
              <a:cxn ang="0">
                <a:pos x="262" y="53"/>
              </a:cxn>
              <a:cxn ang="0">
                <a:pos x="238" y="55"/>
              </a:cxn>
              <a:cxn ang="0">
                <a:pos x="213" y="54"/>
              </a:cxn>
              <a:cxn ang="0">
                <a:pos x="202" y="44"/>
              </a:cxn>
              <a:cxn ang="0">
                <a:pos x="201" y="37"/>
              </a:cxn>
            </a:cxnLst>
            <a:rect l="0" t="0" r="r" b="b"/>
            <a:pathLst>
              <a:path w="348" h="334">
                <a:moveTo>
                  <a:pt x="198" y="47"/>
                </a:moveTo>
                <a:lnTo>
                  <a:pt x="198" y="47"/>
                </a:lnTo>
                <a:lnTo>
                  <a:pt x="194" y="50"/>
                </a:lnTo>
                <a:lnTo>
                  <a:pt x="192" y="52"/>
                </a:lnTo>
                <a:lnTo>
                  <a:pt x="188" y="59"/>
                </a:lnTo>
                <a:lnTo>
                  <a:pt x="187" y="61"/>
                </a:lnTo>
                <a:lnTo>
                  <a:pt x="185" y="64"/>
                </a:lnTo>
                <a:lnTo>
                  <a:pt x="183" y="66"/>
                </a:lnTo>
                <a:lnTo>
                  <a:pt x="179" y="66"/>
                </a:lnTo>
                <a:lnTo>
                  <a:pt x="179" y="66"/>
                </a:lnTo>
                <a:lnTo>
                  <a:pt x="171" y="66"/>
                </a:lnTo>
                <a:lnTo>
                  <a:pt x="163" y="64"/>
                </a:lnTo>
                <a:lnTo>
                  <a:pt x="156" y="60"/>
                </a:lnTo>
                <a:lnTo>
                  <a:pt x="149" y="55"/>
                </a:lnTo>
                <a:lnTo>
                  <a:pt x="144" y="51"/>
                </a:lnTo>
                <a:lnTo>
                  <a:pt x="138" y="45"/>
                </a:lnTo>
                <a:lnTo>
                  <a:pt x="127" y="34"/>
                </a:lnTo>
                <a:lnTo>
                  <a:pt x="117" y="21"/>
                </a:lnTo>
                <a:lnTo>
                  <a:pt x="108" y="11"/>
                </a:lnTo>
                <a:lnTo>
                  <a:pt x="102" y="6"/>
                </a:lnTo>
                <a:lnTo>
                  <a:pt x="96" y="4"/>
                </a:lnTo>
                <a:lnTo>
                  <a:pt x="91" y="1"/>
                </a:lnTo>
                <a:lnTo>
                  <a:pt x="84" y="0"/>
                </a:lnTo>
                <a:lnTo>
                  <a:pt x="84" y="0"/>
                </a:lnTo>
                <a:lnTo>
                  <a:pt x="80" y="0"/>
                </a:lnTo>
                <a:lnTo>
                  <a:pt x="78" y="1"/>
                </a:lnTo>
                <a:lnTo>
                  <a:pt x="75" y="5"/>
                </a:lnTo>
                <a:lnTo>
                  <a:pt x="72" y="9"/>
                </a:lnTo>
                <a:lnTo>
                  <a:pt x="71" y="16"/>
                </a:lnTo>
                <a:lnTo>
                  <a:pt x="72" y="28"/>
                </a:lnTo>
                <a:lnTo>
                  <a:pt x="73" y="37"/>
                </a:lnTo>
                <a:lnTo>
                  <a:pt x="73" y="37"/>
                </a:lnTo>
                <a:lnTo>
                  <a:pt x="72" y="43"/>
                </a:lnTo>
                <a:lnTo>
                  <a:pt x="70" y="50"/>
                </a:lnTo>
                <a:lnTo>
                  <a:pt x="66" y="54"/>
                </a:lnTo>
                <a:lnTo>
                  <a:pt x="62" y="60"/>
                </a:lnTo>
                <a:lnTo>
                  <a:pt x="49" y="68"/>
                </a:lnTo>
                <a:lnTo>
                  <a:pt x="37" y="77"/>
                </a:lnTo>
                <a:lnTo>
                  <a:pt x="23" y="87"/>
                </a:lnTo>
                <a:lnTo>
                  <a:pt x="17" y="92"/>
                </a:lnTo>
                <a:lnTo>
                  <a:pt x="11" y="98"/>
                </a:lnTo>
                <a:lnTo>
                  <a:pt x="7" y="104"/>
                </a:lnTo>
                <a:lnTo>
                  <a:pt x="3" y="112"/>
                </a:lnTo>
                <a:lnTo>
                  <a:pt x="1" y="120"/>
                </a:lnTo>
                <a:lnTo>
                  <a:pt x="0" y="128"/>
                </a:lnTo>
                <a:lnTo>
                  <a:pt x="0" y="128"/>
                </a:lnTo>
                <a:lnTo>
                  <a:pt x="0" y="137"/>
                </a:lnTo>
                <a:lnTo>
                  <a:pt x="2" y="144"/>
                </a:lnTo>
                <a:lnTo>
                  <a:pt x="4" y="150"/>
                </a:lnTo>
                <a:lnTo>
                  <a:pt x="8" y="154"/>
                </a:lnTo>
                <a:lnTo>
                  <a:pt x="11" y="158"/>
                </a:lnTo>
                <a:lnTo>
                  <a:pt x="17" y="160"/>
                </a:lnTo>
                <a:lnTo>
                  <a:pt x="23" y="161"/>
                </a:lnTo>
                <a:lnTo>
                  <a:pt x="29" y="161"/>
                </a:lnTo>
                <a:lnTo>
                  <a:pt x="29" y="161"/>
                </a:lnTo>
                <a:lnTo>
                  <a:pt x="39" y="160"/>
                </a:lnTo>
                <a:lnTo>
                  <a:pt x="46" y="157"/>
                </a:lnTo>
                <a:lnTo>
                  <a:pt x="52" y="152"/>
                </a:lnTo>
                <a:lnTo>
                  <a:pt x="55" y="146"/>
                </a:lnTo>
                <a:lnTo>
                  <a:pt x="55" y="146"/>
                </a:lnTo>
                <a:lnTo>
                  <a:pt x="65" y="161"/>
                </a:lnTo>
                <a:lnTo>
                  <a:pt x="75" y="177"/>
                </a:lnTo>
                <a:lnTo>
                  <a:pt x="83" y="192"/>
                </a:lnTo>
                <a:lnTo>
                  <a:pt x="92" y="205"/>
                </a:lnTo>
                <a:lnTo>
                  <a:pt x="92" y="205"/>
                </a:lnTo>
                <a:lnTo>
                  <a:pt x="95" y="209"/>
                </a:lnTo>
                <a:lnTo>
                  <a:pt x="101" y="211"/>
                </a:lnTo>
                <a:lnTo>
                  <a:pt x="111" y="215"/>
                </a:lnTo>
                <a:lnTo>
                  <a:pt x="134" y="221"/>
                </a:lnTo>
                <a:lnTo>
                  <a:pt x="145" y="226"/>
                </a:lnTo>
                <a:lnTo>
                  <a:pt x="149" y="228"/>
                </a:lnTo>
                <a:lnTo>
                  <a:pt x="153" y="232"/>
                </a:lnTo>
                <a:lnTo>
                  <a:pt x="156" y="236"/>
                </a:lnTo>
                <a:lnTo>
                  <a:pt x="160" y="241"/>
                </a:lnTo>
                <a:lnTo>
                  <a:pt x="161" y="246"/>
                </a:lnTo>
                <a:lnTo>
                  <a:pt x="161" y="253"/>
                </a:lnTo>
                <a:lnTo>
                  <a:pt x="161" y="253"/>
                </a:lnTo>
                <a:lnTo>
                  <a:pt x="161" y="260"/>
                </a:lnTo>
                <a:lnTo>
                  <a:pt x="159" y="267"/>
                </a:lnTo>
                <a:lnTo>
                  <a:pt x="154" y="280"/>
                </a:lnTo>
                <a:lnTo>
                  <a:pt x="147" y="291"/>
                </a:lnTo>
                <a:lnTo>
                  <a:pt x="142" y="302"/>
                </a:lnTo>
                <a:lnTo>
                  <a:pt x="142" y="302"/>
                </a:lnTo>
                <a:lnTo>
                  <a:pt x="147" y="334"/>
                </a:lnTo>
                <a:lnTo>
                  <a:pt x="147" y="334"/>
                </a:lnTo>
                <a:lnTo>
                  <a:pt x="147" y="334"/>
                </a:lnTo>
                <a:lnTo>
                  <a:pt x="149" y="329"/>
                </a:lnTo>
                <a:lnTo>
                  <a:pt x="154" y="324"/>
                </a:lnTo>
                <a:lnTo>
                  <a:pt x="161" y="318"/>
                </a:lnTo>
                <a:lnTo>
                  <a:pt x="168" y="312"/>
                </a:lnTo>
                <a:lnTo>
                  <a:pt x="168" y="312"/>
                </a:lnTo>
                <a:lnTo>
                  <a:pt x="169" y="316"/>
                </a:lnTo>
                <a:lnTo>
                  <a:pt x="171" y="318"/>
                </a:lnTo>
                <a:lnTo>
                  <a:pt x="176" y="319"/>
                </a:lnTo>
                <a:lnTo>
                  <a:pt x="183" y="319"/>
                </a:lnTo>
                <a:lnTo>
                  <a:pt x="183" y="319"/>
                </a:lnTo>
                <a:lnTo>
                  <a:pt x="194" y="319"/>
                </a:lnTo>
                <a:lnTo>
                  <a:pt x="206" y="316"/>
                </a:lnTo>
                <a:lnTo>
                  <a:pt x="217" y="313"/>
                </a:lnTo>
                <a:lnTo>
                  <a:pt x="231" y="312"/>
                </a:lnTo>
                <a:lnTo>
                  <a:pt x="231" y="312"/>
                </a:lnTo>
                <a:lnTo>
                  <a:pt x="239" y="306"/>
                </a:lnTo>
                <a:lnTo>
                  <a:pt x="248" y="299"/>
                </a:lnTo>
                <a:lnTo>
                  <a:pt x="257" y="294"/>
                </a:lnTo>
                <a:lnTo>
                  <a:pt x="266" y="288"/>
                </a:lnTo>
                <a:lnTo>
                  <a:pt x="272" y="280"/>
                </a:lnTo>
                <a:lnTo>
                  <a:pt x="279" y="271"/>
                </a:lnTo>
                <a:lnTo>
                  <a:pt x="283" y="260"/>
                </a:lnTo>
                <a:lnTo>
                  <a:pt x="285" y="253"/>
                </a:lnTo>
                <a:lnTo>
                  <a:pt x="286" y="246"/>
                </a:lnTo>
                <a:lnTo>
                  <a:pt x="286" y="246"/>
                </a:lnTo>
                <a:lnTo>
                  <a:pt x="293" y="248"/>
                </a:lnTo>
                <a:lnTo>
                  <a:pt x="301" y="250"/>
                </a:lnTo>
                <a:lnTo>
                  <a:pt x="309" y="252"/>
                </a:lnTo>
                <a:lnTo>
                  <a:pt x="318" y="253"/>
                </a:lnTo>
                <a:lnTo>
                  <a:pt x="318" y="253"/>
                </a:lnTo>
                <a:lnTo>
                  <a:pt x="323" y="252"/>
                </a:lnTo>
                <a:lnTo>
                  <a:pt x="328" y="250"/>
                </a:lnTo>
                <a:lnTo>
                  <a:pt x="331" y="245"/>
                </a:lnTo>
                <a:lnTo>
                  <a:pt x="333" y="240"/>
                </a:lnTo>
                <a:lnTo>
                  <a:pt x="339" y="228"/>
                </a:lnTo>
                <a:lnTo>
                  <a:pt x="344" y="223"/>
                </a:lnTo>
                <a:lnTo>
                  <a:pt x="348" y="220"/>
                </a:lnTo>
                <a:lnTo>
                  <a:pt x="348" y="220"/>
                </a:lnTo>
                <a:lnTo>
                  <a:pt x="344" y="215"/>
                </a:lnTo>
                <a:lnTo>
                  <a:pt x="340" y="211"/>
                </a:lnTo>
                <a:lnTo>
                  <a:pt x="335" y="199"/>
                </a:lnTo>
                <a:lnTo>
                  <a:pt x="331" y="184"/>
                </a:lnTo>
                <a:lnTo>
                  <a:pt x="330" y="177"/>
                </a:lnTo>
                <a:lnTo>
                  <a:pt x="330" y="169"/>
                </a:lnTo>
                <a:lnTo>
                  <a:pt x="330" y="169"/>
                </a:lnTo>
                <a:lnTo>
                  <a:pt x="331" y="162"/>
                </a:lnTo>
                <a:lnTo>
                  <a:pt x="332" y="157"/>
                </a:lnTo>
                <a:lnTo>
                  <a:pt x="339" y="145"/>
                </a:lnTo>
                <a:lnTo>
                  <a:pt x="345" y="134"/>
                </a:lnTo>
                <a:lnTo>
                  <a:pt x="347" y="128"/>
                </a:lnTo>
                <a:lnTo>
                  <a:pt x="348" y="121"/>
                </a:lnTo>
                <a:lnTo>
                  <a:pt x="348" y="121"/>
                </a:lnTo>
                <a:lnTo>
                  <a:pt x="347" y="115"/>
                </a:lnTo>
                <a:lnTo>
                  <a:pt x="344" y="110"/>
                </a:lnTo>
                <a:lnTo>
                  <a:pt x="339" y="105"/>
                </a:lnTo>
                <a:lnTo>
                  <a:pt x="333" y="102"/>
                </a:lnTo>
                <a:lnTo>
                  <a:pt x="328" y="97"/>
                </a:lnTo>
                <a:lnTo>
                  <a:pt x="323" y="92"/>
                </a:lnTo>
                <a:lnTo>
                  <a:pt x="320" y="87"/>
                </a:lnTo>
                <a:lnTo>
                  <a:pt x="318" y="81"/>
                </a:lnTo>
                <a:lnTo>
                  <a:pt x="318" y="81"/>
                </a:lnTo>
                <a:lnTo>
                  <a:pt x="320" y="76"/>
                </a:lnTo>
                <a:lnTo>
                  <a:pt x="322" y="72"/>
                </a:lnTo>
                <a:lnTo>
                  <a:pt x="328" y="61"/>
                </a:lnTo>
                <a:lnTo>
                  <a:pt x="330" y="54"/>
                </a:lnTo>
                <a:lnTo>
                  <a:pt x="330" y="49"/>
                </a:lnTo>
                <a:lnTo>
                  <a:pt x="328" y="41"/>
                </a:lnTo>
                <a:lnTo>
                  <a:pt x="323" y="34"/>
                </a:lnTo>
                <a:lnTo>
                  <a:pt x="323" y="34"/>
                </a:lnTo>
                <a:lnTo>
                  <a:pt x="304" y="42"/>
                </a:lnTo>
                <a:lnTo>
                  <a:pt x="283" y="49"/>
                </a:lnTo>
                <a:lnTo>
                  <a:pt x="272" y="51"/>
                </a:lnTo>
                <a:lnTo>
                  <a:pt x="262" y="53"/>
                </a:lnTo>
                <a:lnTo>
                  <a:pt x="251" y="54"/>
                </a:lnTo>
                <a:lnTo>
                  <a:pt x="238" y="55"/>
                </a:lnTo>
                <a:lnTo>
                  <a:pt x="238" y="55"/>
                </a:lnTo>
                <a:lnTo>
                  <a:pt x="225" y="55"/>
                </a:lnTo>
                <a:lnTo>
                  <a:pt x="218" y="55"/>
                </a:lnTo>
                <a:lnTo>
                  <a:pt x="213" y="54"/>
                </a:lnTo>
                <a:lnTo>
                  <a:pt x="208" y="52"/>
                </a:lnTo>
                <a:lnTo>
                  <a:pt x="205" y="49"/>
                </a:lnTo>
                <a:lnTo>
                  <a:pt x="202" y="44"/>
                </a:lnTo>
                <a:lnTo>
                  <a:pt x="201" y="37"/>
                </a:lnTo>
                <a:lnTo>
                  <a:pt x="201" y="37"/>
                </a:lnTo>
                <a:lnTo>
                  <a:pt x="201" y="37"/>
                </a:lnTo>
                <a:lnTo>
                  <a:pt x="198" y="47"/>
                </a:lnTo>
                <a:lnTo>
                  <a:pt x="198" y="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5" name="Freeform 80"/>
          <p:cNvSpPr>
            <a:spLocks/>
          </p:cNvSpPr>
          <p:nvPr/>
        </p:nvSpPr>
        <p:spPr bwMode="auto">
          <a:xfrm>
            <a:off x="995363" y="4289425"/>
            <a:ext cx="236537" cy="247650"/>
          </a:xfrm>
          <a:custGeom>
            <a:avLst/>
            <a:gdLst/>
            <a:ahLst/>
            <a:cxnLst>
              <a:cxn ang="0">
                <a:pos x="116" y="9"/>
              </a:cxn>
              <a:cxn ang="0">
                <a:pos x="131" y="33"/>
              </a:cxn>
              <a:cxn ang="0">
                <a:pos x="148" y="44"/>
              </a:cxn>
              <a:cxn ang="0">
                <a:pos x="173" y="44"/>
              </a:cxn>
              <a:cxn ang="0">
                <a:pos x="174" y="31"/>
              </a:cxn>
              <a:cxn ang="0">
                <a:pos x="181" y="17"/>
              </a:cxn>
              <a:cxn ang="0">
                <a:pos x="192" y="10"/>
              </a:cxn>
              <a:cxn ang="0">
                <a:pos x="235" y="7"/>
              </a:cxn>
              <a:cxn ang="0">
                <a:pos x="228" y="29"/>
              </a:cxn>
              <a:cxn ang="0">
                <a:pos x="228" y="42"/>
              </a:cxn>
              <a:cxn ang="0">
                <a:pos x="234" y="53"/>
              </a:cxn>
              <a:cxn ang="0">
                <a:pos x="245" y="59"/>
              </a:cxn>
              <a:cxn ang="0">
                <a:pos x="275" y="59"/>
              </a:cxn>
              <a:cxn ang="0">
                <a:pos x="281" y="60"/>
              </a:cxn>
              <a:cxn ang="0">
                <a:pos x="288" y="69"/>
              </a:cxn>
              <a:cxn ang="0">
                <a:pos x="289" y="101"/>
              </a:cxn>
              <a:cxn ang="0">
                <a:pos x="268" y="124"/>
              </a:cxn>
              <a:cxn ang="0">
                <a:pos x="233" y="153"/>
              </a:cxn>
              <a:cxn ang="0">
                <a:pos x="219" y="174"/>
              </a:cxn>
              <a:cxn ang="0">
                <a:pos x="217" y="183"/>
              </a:cxn>
              <a:cxn ang="0">
                <a:pos x="217" y="256"/>
              </a:cxn>
              <a:cxn ang="0">
                <a:pos x="209" y="275"/>
              </a:cxn>
              <a:cxn ang="0">
                <a:pos x="183" y="283"/>
              </a:cxn>
              <a:cxn ang="0">
                <a:pos x="162" y="279"/>
              </a:cxn>
              <a:cxn ang="0">
                <a:pos x="133" y="260"/>
              </a:cxn>
              <a:cxn ang="0">
                <a:pos x="114" y="235"/>
              </a:cxn>
              <a:cxn ang="0">
                <a:pos x="112" y="220"/>
              </a:cxn>
              <a:cxn ang="0">
                <a:pos x="112" y="199"/>
              </a:cxn>
              <a:cxn ang="0">
                <a:pos x="99" y="191"/>
              </a:cxn>
              <a:cxn ang="0">
                <a:pos x="77" y="170"/>
              </a:cxn>
              <a:cxn ang="0">
                <a:pos x="62" y="157"/>
              </a:cxn>
              <a:cxn ang="0">
                <a:pos x="40" y="153"/>
              </a:cxn>
              <a:cxn ang="0">
                <a:pos x="16" y="150"/>
              </a:cxn>
              <a:cxn ang="0">
                <a:pos x="7" y="143"/>
              </a:cxn>
              <a:cxn ang="0">
                <a:pos x="0" y="127"/>
              </a:cxn>
              <a:cxn ang="0">
                <a:pos x="1" y="112"/>
              </a:cxn>
              <a:cxn ang="0">
                <a:pos x="9" y="100"/>
              </a:cxn>
              <a:cxn ang="0">
                <a:pos x="30" y="97"/>
              </a:cxn>
              <a:cxn ang="0">
                <a:pos x="51" y="92"/>
              </a:cxn>
              <a:cxn ang="0">
                <a:pos x="61" y="81"/>
              </a:cxn>
              <a:cxn ang="0">
                <a:pos x="66" y="60"/>
              </a:cxn>
              <a:cxn ang="0">
                <a:pos x="80" y="30"/>
              </a:cxn>
              <a:cxn ang="0">
                <a:pos x="106" y="0"/>
              </a:cxn>
              <a:cxn ang="0">
                <a:pos x="114" y="4"/>
              </a:cxn>
            </a:cxnLst>
            <a:rect l="0" t="0" r="r" b="b"/>
            <a:pathLst>
              <a:path w="290" h="283">
                <a:moveTo>
                  <a:pt x="114" y="4"/>
                </a:moveTo>
                <a:lnTo>
                  <a:pt x="114" y="4"/>
                </a:lnTo>
                <a:lnTo>
                  <a:pt x="116" y="9"/>
                </a:lnTo>
                <a:lnTo>
                  <a:pt x="119" y="15"/>
                </a:lnTo>
                <a:lnTo>
                  <a:pt x="127" y="28"/>
                </a:lnTo>
                <a:lnTo>
                  <a:pt x="131" y="33"/>
                </a:lnTo>
                <a:lnTo>
                  <a:pt x="136" y="38"/>
                </a:lnTo>
                <a:lnTo>
                  <a:pt x="142" y="42"/>
                </a:lnTo>
                <a:lnTo>
                  <a:pt x="148" y="44"/>
                </a:lnTo>
                <a:lnTo>
                  <a:pt x="148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37"/>
                </a:lnTo>
                <a:lnTo>
                  <a:pt x="174" y="31"/>
                </a:lnTo>
                <a:lnTo>
                  <a:pt x="176" y="25"/>
                </a:lnTo>
                <a:lnTo>
                  <a:pt x="179" y="21"/>
                </a:lnTo>
                <a:lnTo>
                  <a:pt x="181" y="17"/>
                </a:lnTo>
                <a:lnTo>
                  <a:pt x="184" y="14"/>
                </a:lnTo>
                <a:lnTo>
                  <a:pt x="189" y="12"/>
                </a:lnTo>
                <a:lnTo>
                  <a:pt x="192" y="10"/>
                </a:lnTo>
                <a:lnTo>
                  <a:pt x="203" y="8"/>
                </a:lnTo>
                <a:lnTo>
                  <a:pt x="213" y="7"/>
                </a:lnTo>
                <a:lnTo>
                  <a:pt x="235" y="7"/>
                </a:lnTo>
                <a:lnTo>
                  <a:pt x="235" y="7"/>
                </a:lnTo>
                <a:lnTo>
                  <a:pt x="230" y="22"/>
                </a:lnTo>
                <a:lnTo>
                  <a:pt x="228" y="29"/>
                </a:lnTo>
                <a:lnTo>
                  <a:pt x="228" y="37"/>
                </a:lnTo>
                <a:lnTo>
                  <a:pt x="228" y="37"/>
                </a:lnTo>
                <a:lnTo>
                  <a:pt x="228" y="42"/>
                </a:lnTo>
                <a:lnTo>
                  <a:pt x="229" y="46"/>
                </a:lnTo>
                <a:lnTo>
                  <a:pt x="232" y="50"/>
                </a:lnTo>
                <a:lnTo>
                  <a:pt x="234" y="53"/>
                </a:lnTo>
                <a:lnTo>
                  <a:pt x="236" y="55"/>
                </a:lnTo>
                <a:lnTo>
                  <a:pt x="241" y="58"/>
                </a:lnTo>
                <a:lnTo>
                  <a:pt x="245" y="59"/>
                </a:lnTo>
                <a:lnTo>
                  <a:pt x="250" y="59"/>
                </a:lnTo>
                <a:lnTo>
                  <a:pt x="250" y="59"/>
                </a:lnTo>
                <a:lnTo>
                  <a:pt x="275" y="59"/>
                </a:lnTo>
                <a:lnTo>
                  <a:pt x="275" y="59"/>
                </a:lnTo>
                <a:lnTo>
                  <a:pt x="279" y="59"/>
                </a:lnTo>
                <a:lnTo>
                  <a:pt x="281" y="60"/>
                </a:lnTo>
                <a:lnTo>
                  <a:pt x="283" y="61"/>
                </a:lnTo>
                <a:lnTo>
                  <a:pt x="286" y="63"/>
                </a:lnTo>
                <a:lnTo>
                  <a:pt x="288" y="69"/>
                </a:lnTo>
                <a:lnTo>
                  <a:pt x="289" y="76"/>
                </a:lnTo>
                <a:lnTo>
                  <a:pt x="289" y="92"/>
                </a:lnTo>
                <a:lnTo>
                  <a:pt x="289" y="101"/>
                </a:lnTo>
                <a:lnTo>
                  <a:pt x="290" y="109"/>
                </a:lnTo>
                <a:lnTo>
                  <a:pt x="290" y="109"/>
                </a:lnTo>
                <a:lnTo>
                  <a:pt x="268" y="124"/>
                </a:lnTo>
                <a:lnTo>
                  <a:pt x="256" y="132"/>
                </a:lnTo>
                <a:lnTo>
                  <a:pt x="244" y="143"/>
                </a:lnTo>
                <a:lnTo>
                  <a:pt x="233" y="153"/>
                </a:lnTo>
                <a:lnTo>
                  <a:pt x="225" y="163"/>
                </a:lnTo>
                <a:lnTo>
                  <a:pt x="221" y="168"/>
                </a:lnTo>
                <a:lnTo>
                  <a:pt x="219" y="174"/>
                </a:lnTo>
                <a:lnTo>
                  <a:pt x="217" y="178"/>
                </a:lnTo>
                <a:lnTo>
                  <a:pt x="217" y="183"/>
                </a:lnTo>
                <a:lnTo>
                  <a:pt x="217" y="183"/>
                </a:lnTo>
                <a:lnTo>
                  <a:pt x="217" y="235"/>
                </a:lnTo>
                <a:lnTo>
                  <a:pt x="217" y="235"/>
                </a:lnTo>
                <a:lnTo>
                  <a:pt x="217" y="256"/>
                </a:lnTo>
                <a:lnTo>
                  <a:pt x="214" y="264"/>
                </a:lnTo>
                <a:lnTo>
                  <a:pt x="212" y="271"/>
                </a:lnTo>
                <a:lnTo>
                  <a:pt x="209" y="275"/>
                </a:lnTo>
                <a:lnTo>
                  <a:pt x="203" y="280"/>
                </a:lnTo>
                <a:lnTo>
                  <a:pt x="195" y="282"/>
                </a:lnTo>
                <a:lnTo>
                  <a:pt x="183" y="283"/>
                </a:lnTo>
                <a:lnTo>
                  <a:pt x="183" y="283"/>
                </a:lnTo>
                <a:lnTo>
                  <a:pt x="174" y="282"/>
                </a:lnTo>
                <a:lnTo>
                  <a:pt x="162" y="279"/>
                </a:lnTo>
                <a:lnTo>
                  <a:pt x="152" y="274"/>
                </a:lnTo>
                <a:lnTo>
                  <a:pt x="142" y="267"/>
                </a:lnTo>
                <a:lnTo>
                  <a:pt x="133" y="260"/>
                </a:lnTo>
                <a:lnTo>
                  <a:pt x="125" y="252"/>
                </a:lnTo>
                <a:lnTo>
                  <a:pt x="119" y="243"/>
                </a:lnTo>
                <a:lnTo>
                  <a:pt x="114" y="235"/>
                </a:lnTo>
                <a:lnTo>
                  <a:pt x="114" y="235"/>
                </a:lnTo>
                <a:lnTo>
                  <a:pt x="113" y="227"/>
                </a:lnTo>
                <a:lnTo>
                  <a:pt x="112" y="220"/>
                </a:lnTo>
                <a:lnTo>
                  <a:pt x="113" y="208"/>
                </a:lnTo>
                <a:lnTo>
                  <a:pt x="113" y="204"/>
                </a:lnTo>
                <a:lnTo>
                  <a:pt x="112" y="199"/>
                </a:lnTo>
                <a:lnTo>
                  <a:pt x="107" y="195"/>
                </a:lnTo>
                <a:lnTo>
                  <a:pt x="99" y="191"/>
                </a:lnTo>
                <a:lnTo>
                  <a:pt x="99" y="191"/>
                </a:lnTo>
                <a:lnTo>
                  <a:pt x="93" y="188"/>
                </a:lnTo>
                <a:lnTo>
                  <a:pt x="88" y="183"/>
                </a:lnTo>
                <a:lnTo>
                  <a:pt x="77" y="170"/>
                </a:lnTo>
                <a:lnTo>
                  <a:pt x="73" y="165"/>
                </a:lnTo>
                <a:lnTo>
                  <a:pt x="67" y="160"/>
                </a:lnTo>
                <a:lnTo>
                  <a:pt x="62" y="157"/>
                </a:lnTo>
                <a:lnTo>
                  <a:pt x="55" y="154"/>
                </a:lnTo>
                <a:lnTo>
                  <a:pt x="55" y="154"/>
                </a:lnTo>
                <a:lnTo>
                  <a:pt x="40" y="153"/>
                </a:lnTo>
                <a:lnTo>
                  <a:pt x="27" y="152"/>
                </a:lnTo>
                <a:lnTo>
                  <a:pt x="22" y="152"/>
                </a:lnTo>
                <a:lnTo>
                  <a:pt x="16" y="150"/>
                </a:lnTo>
                <a:lnTo>
                  <a:pt x="12" y="147"/>
                </a:lnTo>
                <a:lnTo>
                  <a:pt x="7" y="143"/>
                </a:lnTo>
                <a:lnTo>
                  <a:pt x="7" y="143"/>
                </a:lnTo>
                <a:lnTo>
                  <a:pt x="4" y="137"/>
                </a:lnTo>
                <a:lnTo>
                  <a:pt x="1" y="131"/>
                </a:lnTo>
                <a:lnTo>
                  <a:pt x="0" y="127"/>
                </a:lnTo>
                <a:lnTo>
                  <a:pt x="0" y="117"/>
                </a:lnTo>
                <a:lnTo>
                  <a:pt x="0" y="117"/>
                </a:lnTo>
                <a:lnTo>
                  <a:pt x="1" y="112"/>
                </a:lnTo>
                <a:lnTo>
                  <a:pt x="3" y="107"/>
                </a:lnTo>
                <a:lnTo>
                  <a:pt x="6" y="104"/>
                </a:lnTo>
                <a:lnTo>
                  <a:pt x="9" y="100"/>
                </a:lnTo>
                <a:lnTo>
                  <a:pt x="14" y="99"/>
                </a:lnTo>
                <a:lnTo>
                  <a:pt x="19" y="98"/>
                </a:lnTo>
                <a:lnTo>
                  <a:pt x="30" y="97"/>
                </a:lnTo>
                <a:lnTo>
                  <a:pt x="42" y="96"/>
                </a:lnTo>
                <a:lnTo>
                  <a:pt x="46" y="94"/>
                </a:lnTo>
                <a:lnTo>
                  <a:pt x="51" y="92"/>
                </a:lnTo>
                <a:lnTo>
                  <a:pt x="55" y="90"/>
                </a:lnTo>
                <a:lnTo>
                  <a:pt x="59" y="85"/>
                </a:lnTo>
                <a:lnTo>
                  <a:pt x="61" y="81"/>
                </a:lnTo>
                <a:lnTo>
                  <a:pt x="62" y="74"/>
                </a:lnTo>
                <a:lnTo>
                  <a:pt x="62" y="74"/>
                </a:lnTo>
                <a:lnTo>
                  <a:pt x="66" y="60"/>
                </a:lnTo>
                <a:lnTo>
                  <a:pt x="69" y="48"/>
                </a:lnTo>
                <a:lnTo>
                  <a:pt x="74" y="39"/>
                </a:lnTo>
                <a:lnTo>
                  <a:pt x="80" y="30"/>
                </a:lnTo>
                <a:lnTo>
                  <a:pt x="85" y="22"/>
                </a:lnTo>
                <a:lnTo>
                  <a:pt x="91" y="14"/>
                </a:lnTo>
                <a:lnTo>
                  <a:pt x="106" y="0"/>
                </a:lnTo>
                <a:lnTo>
                  <a:pt x="106" y="0"/>
                </a:lnTo>
                <a:lnTo>
                  <a:pt x="114" y="4"/>
                </a:lnTo>
                <a:lnTo>
                  <a:pt x="114" y="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6" name="Freeform 81"/>
          <p:cNvSpPr>
            <a:spLocks/>
          </p:cNvSpPr>
          <p:nvPr/>
        </p:nvSpPr>
        <p:spPr bwMode="auto">
          <a:xfrm>
            <a:off x="1662113" y="4733925"/>
            <a:ext cx="349250" cy="323850"/>
          </a:xfrm>
          <a:custGeom>
            <a:avLst/>
            <a:gdLst/>
            <a:ahLst/>
            <a:cxnLst>
              <a:cxn ang="0">
                <a:pos x="123" y="367"/>
              </a:cxn>
              <a:cxn ang="0">
                <a:pos x="155" y="359"/>
              </a:cxn>
              <a:cxn ang="0">
                <a:pos x="189" y="351"/>
              </a:cxn>
              <a:cxn ang="0">
                <a:pos x="205" y="339"/>
              </a:cxn>
              <a:cxn ang="0">
                <a:pos x="242" y="297"/>
              </a:cxn>
              <a:cxn ang="0">
                <a:pos x="266" y="282"/>
              </a:cxn>
              <a:cxn ang="0">
                <a:pos x="279" y="279"/>
              </a:cxn>
              <a:cxn ang="0">
                <a:pos x="300" y="275"/>
              </a:cxn>
              <a:cxn ang="0">
                <a:pos x="315" y="263"/>
              </a:cxn>
              <a:cxn ang="0">
                <a:pos x="338" y="230"/>
              </a:cxn>
              <a:cxn ang="0">
                <a:pos x="352" y="209"/>
              </a:cxn>
              <a:cxn ang="0">
                <a:pos x="368" y="195"/>
              </a:cxn>
              <a:cxn ang="0">
                <a:pos x="388" y="185"/>
              </a:cxn>
              <a:cxn ang="0">
                <a:pos x="401" y="174"/>
              </a:cxn>
              <a:cxn ang="0">
                <a:pos x="405" y="159"/>
              </a:cxn>
              <a:cxn ang="0">
                <a:pos x="410" y="128"/>
              </a:cxn>
              <a:cxn ang="0">
                <a:pos x="417" y="120"/>
              </a:cxn>
              <a:cxn ang="0">
                <a:pos x="426" y="118"/>
              </a:cxn>
              <a:cxn ang="0">
                <a:pos x="398" y="71"/>
              </a:cxn>
              <a:cxn ang="0">
                <a:pos x="361" y="18"/>
              </a:cxn>
              <a:cxn ang="0">
                <a:pos x="354" y="27"/>
              </a:cxn>
              <a:cxn ang="0">
                <a:pos x="352" y="41"/>
              </a:cxn>
              <a:cxn ang="0">
                <a:pos x="320" y="40"/>
              </a:cxn>
              <a:cxn ang="0">
                <a:pos x="298" y="30"/>
              </a:cxn>
              <a:cxn ang="0">
                <a:pos x="277" y="9"/>
              </a:cxn>
              <a:cxn ang="0">
                <a:pos x="269" y="13"/>
              </a:cxn>
              <a:cxn ang="0">
                <a:pos x="253" y="44"/>
              </a:cxn>
              <a:cxn ang="0">
                <a:pos x="224" y="61"/>
              </a:cxn>
              <a:cxn ang="0">
                <a:pos x="207" y="62"/>
              </a:cxn>
              <a:cxn ang="0">
                <a:pos x="172" y="45"/>
              </a:cxn>
              <a:cxn ang="0">
                <a:pos x="117" y="16"/>
              </a:cxn>
              <a:cxn ang="0">
                <a:pos x="92" y="9"/>
              </a:cxn>
              <a:cxn ang="0">
                <a:pos x="81" y="9"/>
              </a:cxn>
              <a:cxn ang="0">
                <a:pos x="70" y="17"/>
              </a:cxn>
              <a:cxn ang="0">
                <a:pos x="66" y="34"/>
              </a:cxn>
              <a:cxn ang="0">
                <a:pos x="39" y="29"/>
              </a:cxn>
              <a:cxn ang="0">
                <a:pos x="28" y="32"/>
              </a:cxn>
              <a:cxn ang="0">
                <a:pos x="18" y="56"/>
              </a:cxn>
              <a:cxn ang="0">
                <a:pos x="18" y="69"/>
              </a:cxn>
              <a:cxn ang="0">
                <a:pos x="24" y="93"/>
              </a:cxn>
              <a:cxn ang="0">
                <a:pos x="24" y="113"/>
              </a:cxn>
              <a:cxn ang="0">
                <a:pos x="13" y="128"/>
              </a:cxn>
              <a:cxn ang="0">
                <a:pos x="1" y="140"/>
              </a:cxn>
              <a:cxn ang="0">
                <a:pos x="0" y="154"/>
              </a:cxn>
              <a:cxn ang="0">
                <a:pos x="7" y="172"/>
              </a:cxn>
              <a:cxn ang="0">
                <a:pos x="43" y="209"/>
              </a:cxn>
              <a:cxn ang="0">
                <a:pos x="59" y="224"/>
              </a:cxn>
              <a:cxn ang="0">
                <a:pos x="82" y="275"/>
              </a:cxn>
              <a:cxn ang="0">
                <a:pos x="101" y="332"/>
              </a:cxn>
              <a:cxn ang="0">
                <a:pos x="117" y="365"/>
              </a:cxn>
            </a:cxnLst>
            <a:rect l="0" t="0" r="r" b="b"/>
            <a:pathLst>
              <a:path w="426" h="372">
                <a:moveTo>
                  <a:pt x="114" y="372"/>
                </a:moveTo>
                <a:lnTo>
                  <a:pt x="114" y="372"/>
                </a:lnTo>
                <a:lnTo>
                  <a:pt x="123" y="367"/>
                </a:lnTo>
                <a:lnTo>
                  <a:pt x="134" y="363"/>
                </a:lnTo>
                <a:lnTo>
                  <a:pt x="144" y="361"/>
                </a:lnTo>
                <a:lnTo>
                  <a:pt x="155" y="359"/>
                </a:lnTo>
                <a:lnTo>
                  <a:pt x="167" y="357"/>
                </a:lnTo>
                <a:lnTo>
                  <a:pt x="178" y="354"/>
                </a:lnTo>
                <a:lnTo>
                  <a:pt x="189" y="351"/>
                </a:lnTo>
                <a:lnTo>
                  <a:pt x="198" y="346"/>
                </a:lnTo>
                <a:lnTo>
                  <a:pt x="198" y="346"/>
                </a:lnTo>
                <a:lnTo>
                  <a:pt x="205" y="339"/>
                </a:lnTo>
                <a:lnTo>
                  <a:pt x="213" y="329"/>
                </a:lnTo>
                <a:lnTo>
                  <a:pt x="231" y="307"/>
                </a:lnTo>
                <a:lnTo>
                  <a:pt x="242" y="297"/>
                </a:lnTo>
                <a:lnTo>
                  <a:pt x="253" y="288"/>
                </a:lnTo>
                <a:lnTo>
                  <a:pt x="259" y="284"/>
                </a:lnTo>
                <a:lnTo>
                  <a:pt x="266" y="282"/>
                </a:lnTo>
                <a:lnTo>
                  <a:pt x="273" y="281"/>
                </a:lnTo>
                <a:lnTo>
                  <a:pt x="279" y="279"/>
                </a:lnTo>
                <a:lnTo>
                  <a:pt x="279" y="279"/>
                </a:lnTo>
                <a:lnTo>
                  <a:pt x="287" y="279"/>
                </a:lnTo>
                <a:lnTo>
                  <a:pt x="293" y="277"/>
                </a:lnTo>
                <a:lnTo>
                  <a:pt x="300" y="275"/>
                </a:lnTo>
                <a:lnTo>
                  <a:pt x="306" y="271"/>
                </a:lnTo>
                <a:lnTo>
                  <a:pt x="311" y="268"/>
                </a:lnTo>
                <a:lnTo>
                  <a:pt x="315" y="263"/>
                </a:lnTo>
                <a:lnTo>
                  <a:pt x="323" y="253"/>
                </a:lnTo>
                <a:lnTo>
                  <a:pt x="331" y="242"/>
                </a:lnTo>
                <a:lnTo>
                  <a:pt x="338" y="230"/>
                </a:lnTo>
                <a:lnTo>
                  <a:pt x="345" y="218"/>
                </a:lnTo>
                <a:lnTo>
                  <a:pt x="352" y="209"/>
                </a:lnTo>
                <a:lnTo>
                  <a:pt x="352" y="209"/>
                </a:lnTo>
                <a:lnTo>
                  <a:pt x="357" y="204"/>
                </a:lnTo>
                <a:lnTo>
                  <a:pt x="363" y="199"/>
                </a:lnTo>
                <a:lnTo>
                  <a:pt x="368" y="195"/>
                </a:lnTo>
                <a:lnTo>
                  <a:pt x="375" y="193"/>
                </a:lnTo>
                <a:lnTo>
                  <a:pt x="381" y="190"/>
                </a:lnTo>
                <a:lnTo>
                  <a:pt x="388" y="185"/>
                </a:lnTo>
                <a:lnTo>
                  <a:pt x="395" y="181"/>
                </a:lnTo>
                <a:lnTo>
                  <a:pt x="401" y="174"/>
                </a:lnTo>
                <a:lnTo>
                  <a:pt x="401" y="174"/>
                </a:lnTo>
                <a:lnTo>
                  <a:pt x="402" y="170"/>
                </a:lnTo>
                <a:lnTo>
                  <a:pt x="403" y="167"/>
                </a:lnTo>
                <a:lnTo>
                  <a:pt x="405" y="159"/>
                </a:lnTo>
                <a:lnTo>
                  <a:pt x="406" y="140"/>
                </a:lnTo>
                <a:lnTo>
                  <a:pt x="407" y="131"/>
                </a:lnTo>
                <a:lnTo>
                  <a:pt x="410" y="128"/>
                </a:lnTo>
                <a:lnTo>
                  <a:pt x="411" y="124"/>
                </a:lnTo>
                <a:lnTo>
                  <a:pt x="413" y="122"/>
                </a:lnTo>
                <a:lnTo>
                  <a:pt x="417" y="120"/>
                </a:lnTo>
                <a:lnTo>
                  <a:pt x="421" y="118"/>
                </a:lnTo>
                <a:lnTo>
                  <a:pt x="426" y="118"/>
                </a:lnTo>
                <a:lnTo>
                  <a:pt x="426" y="118"/>
                </a:lnTo>
                <a:lnTo>
                  <a:pt x="419" y="108"/>
                </a:lnTo>
                <a:lnTo>
                  <a:pt x="412" y="97"/>
                </a:lnTo>
                <a:lnTo>
                  <a:pt x="398" y="71"/>
                </a:lnTo>
                <a:lnTo>
                  <a:pt x="371" y="15"/>
                </a:lnTo>
                <a:lnTo>
                  <a:pt x="371" y="15"/>
                </a:lnTo>
                <a:lnTo>
                  <a:pt x="361" y="18"/>
                </a:lnTo>
                <a:lnTo>
                  <a:pt x="359" y="21"/>
                </a:lnTo>
                <a:lnTo>
                  <a:pt x="356" y="24"/>
                </a:lnTo>
                <a:lnTo>
                  <a:pt x="354" y="27"/>
                </a:lnTo>
                <a:lnTo>
                  <a:pt x="353" y="31"/>
                </a:lnTo>
                <a:lnTo>
                  <a:pt x="352" y="41"/>
                </a:lnTo>
                <a:lnTo>
                  <a:pt x="352" y="41"/>
                </a:lnTo>
                <a:lnTo>
                  <a:pt x="327" y="41"/>
                </a:lnTo>
                <a:lnTo>
                  <a:pt x="327" y="41"/>
                </a:lnTo>
                <a:lnTo>
                  <a:pt x="320" y="40"/>
                </a:lnTo>
                <a:lnTo>
                  <a:pt x="312" y="38"/>
                </a:lnTo>
                <a:lnTo>
                  <a:pt x="305" y="34"/>
                </a:lnTo>
                <a:lnTo>
                  <a:pt x="298" y="30"/>
                </a:lnTo>
                <a:lnTo>
                  <a:pt x="290" y="24"/>
                </a:lnTo>
                <a:lnTo>
                  <a:pt x="283" y="17"/>
                </a:lnTo>
                <a:lnTo>
                  <a:pt x="277" y="9"/>
                </a:lnTo>
                <a:lnTo>
                  <a:pt x="272" y="0"/>
                </a:lnTo>
                <a:lnTo>
                  <a:pt x="272" y="0"/>
                </a:lnTo>
                <a:lnTo>
                  <a:pt x="269" y="13"/>
                </a:lnTo>
                <a:lnTo>
                  <a:pt x="266" y="24"/>
                </a:lnTo>
                <a:lnTo>
                  <a:pt x="260" y="34"/>
                </a:lnTo>
                <a:lnTo>
                  <a:pt x="253" y="44"/>
                </a:lnTo>
                <a:lnTo>
                  <a:pt x="245" y="52"/>
                </a:lnTo>
                <a:lnTo>
                  <a:pt x="235" y="57"/>
                </a:lnTo>
                <a:lnTo>
                  <a:pt x="224" y="61"/>
                </a:lnTo>
                <a:lnTo>
                  <a:pt x="213" y="63"/>
                </a:lnTo>
                <a:lnTo>
                  <a:pt x="213" y="63"/>
                </a:lnTo>
                <a:lnTo>
                  <a:pt x="207" y="62"/>
                </a:lnTo>
                <a:lnTo>
                  <a:pt x="201" y="60"/>
                </a:lnTo>
                <a:lnTo>
                  <a:pt x="188" y="54"/>
                </a:lnTo>
                <a:lnTo>
                  <a:pt x="172" y="45"/>
                </a:lnTo>
                <a:lnTo>
                  <a:pt x="154" y="36"/>
                </a:lnTo>
                <a:lnTo>
                  <a:pt x="136" y="25"/>
                </a:lnTo>
                <a:lnTo>
                  <a:pt x="117" y="16"/>
                </a:lnTo>
                <a:lnTo>
                  <a:pt x="109" y="13"/>
                </a:lnTo>
                <a:lnTo>
                  <a:pt x="100" y="10"/>
                </a:lnTo>
                <a:lnTo>
                  <a:pt x="92" y="9"/>
                </a:lnTo>
                <a:lnTo>
                  <a:pt x="84" y="8"/>
                </a:lnTo>
                <a:lnTo>
                  <a:pt x="84" y="8"/>
                </a:lnTo>
                <a:lnTo>
                  <a:pt x="81" y="9"/>
                </a:lnTo>
                <a:lnTo>
                  <a:pt x="77" y="10"/>
                </a:lnTo>
                <a:lnTo>
                  <a:pt x="74" y="14"/>
                </a:lnTo>
                <a:lnTo>
                  <a:pt x="70" y="17"/>
                </a:lnTo>
                <a:lnTo>
                  <a:pt x="67" y="25"/>
                </a:lnTo>
                <a:lnTo>
                  <a:pt x="66" y="34"/>
                </a:lnTo>
                <a:lnTo>
                  <a:pt x="66" y="34"/>
                </a:lnTo>
                <a:lnTo>
                  <a:pt x="55" y="33"/>
                </a:lnTo>
                <a:lnTo>
                  <a:pt x="46" y="31"/>
                </a:lnTo>
                <a:lnTo>
                  <a:pt x="39" y="29"/>
                </a:lnTo>
                <a:lnTo>
                  <a:pt x="32" y="26"/>
                </a:lnTo>
                <a:lnTo>
                  <a:pt x="32" y="26"/>
                </a:lnTo>
                <a:lnTo>
                  <a:pt x="28" y="32"/>
                </a:lnTo>
                <a:lnTo>
                  <a:pt x="23" y="40"/>
                </a:lnTo>
                <a:lnTo>
                  <a:pt x="20" y="50"/>
                </a:lnTo>
                <a:lnTo>
                  <a:pt x="18" y="56"/>
                </a:lnTo>
                <a:lnTo>
                  <a:pt x="18" y="63"/>
                </a:lnTo>
                <a:lnTo>
                  <a:pt x="18" y="63"/>
                </a:lnTo>
                <a:lnTo>
                  <a:pt x="18" y="69"/>
                </a:lnTo>
                <a:lnTo>
                  <a:pt x="20" y="75"/>
                </a:lnTo>
                <a:lnTo>
                  <a:pt x="22" y="85"/>
                </a:lnTo>
                <a:lnTo>
                  <a:pt x="24" y="93"/>
                </a:lnTo>
                <a:lnTo>
                  <a:pt x="25" y="103"/>
                </a:lnTo>
                <a:lnTo>
                  <a:pt x="25" y="103"/>
                </a:lnTo>
                <a:lnTo>
                  <a:pt x="24" y="113"/>
                </a:lnTo>
                <a:lnTo>
                  <a:pt x="22" y="120"/>
                </a:lnTo>
                <a:lnTo>
                  <a:pt x="17" y="124"/>
                </a:lnTo>
                <a:lnTo>
                  <a:pt x="13" y="128"/>
                </a:lnTo>
                <a:lnTo>
                  <a:pt x="8" y="131"/>
                </a:lnTo>
                <a:lnTo>
                  <a:pt x="4" y="136"/>
                </a:lnTo>
                <a:lnTo>
                  <a:pt x="1" y="140"/>
                </a:lnTo>
                <a:lnTo>
                  <a:pt x="0" y="147"/>
                </a:lnTo>
                <a:lnTo>
                  <a:pt x="0" y="147"/>
                </a:lnTo>
                <a:lnTo>
                  <a:pt x="0" y="154"/>
                </a:lnTo>
                <a:lnTo>
                  <a:pt x="1" y="161"/>
                </a:lnTo>
                <a:lnTo>
                  <a:pt x="4" y="167"/>
                </a:lnTo>
                <a:lnTo>
                  <a:pt x="7" y="172"/>
                </a:lnTo>
                <a:lnTo>
                  <a:pt x="15" y="183"/>
                </a:lnTo>
                <a:lnTo>
                  <a:pt x="23" y="193"/>
                </a:lnTo>
                <a:lnTo>
                  <a:pt x="43" y="209"/>
                </a:lnTo>
                <a:lnTo>
                  <a:pt x="52" y="217"/>
                </a:lnTo>
                <a:lnTo>
                  <a:pt x="59" y="224"/>
                </a:lnTo>
                <a:lnTo>
                  <a:pt x="59" y="224"/>
                </a:lnTo>
                <a:lnTo>
                  <a:pt x="68" y="239"/>
                </a:lnTo>
                <a:lnTo>
                  <a:pt x="75" y="256"/>
                </a:lnTo>
                <a:lnTo>
                  <a:pt x="82" y="275"/>
                </a:lnTo>
                <a:lnTo>
                  <a:pt x="88" y="294"/>
                </a:lnTo>
                <a:lnTo>
                  <a:pt x="94" y="314"/>
                </a:lnTo>
                <a:lnTo>
                  <a:pt x="101" y="332"/>
                </a:lnTo>
                <a:lnTo>
                  <a:pt x="108" y="350"/>
                </a:lnTo>
                <a:lnTo>
                  <a:pt x="117" y="365"/>
                </a:lnTo>
                <a:lnTo>
                  <a:pt x="117" y="365"/>
                </a:lnTo>
                <a:lnTo>
                  <a:pt x="114" y="372"/>
                </a:lnTo>
                <a:lnTo>
                  <a:pt x="114" y="37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7" name="Freeform 82"/>
          <p:cNvSpPr>
            <a:spLocks/>
          </p:cNvSpPr>
          <p:nvPr/>
        </p:nvSpPr>
        <p:spPr bwMode="auto">
          <a:xfrm>
            <a:off x="1563688" y="4545013"/>
            <a:ext cx="322262" cy="292100"/>
          </a:xfrm>
          <a:custGeom>
            <a:avLst/>
            <a:gdLst/>
            <a:ahLst/>
            <a:cxnLst>
              <a:cxn ang="0">
                <a:pos x="132" y="333"/>
              </a:cxn>
              <a:cxn ang="0">
                <a:pos x="63" y="318"/>
              </a:cxn>
              <a:cxn ang="0">
                <a:pos x="12" y="296"/>
              </a:cxn>
              <a:cxn ang="0">
                <a:pos x="0" y="283"/>
              </a:cxn>
              <a:cxn ang="0">
                <a:pos x="4" y="271"/>
              </a:cxn>
              <a:cxn ang="0">
                <a:pos x="22" y="252"/>
              </a:cxn>
              <a:cxn ang="0">
                <a:pos x="56" y="220"/>
              </a:cxn>
              <a:cxn ang="0">
                <a:pos x="66" y="202"/>
              </a:cxn>
              <a:cxn ang="0">
                <a:pos x="66" y="188"/>
              </a:cxn>
              <a:cxn ang="0">
                <a:pos x="58" y="178"/>
              </a:cxn>
              <a:cxn ang="0">
                <a:pos x="50" y="168"/>
              </a:cxn>
              <a:cxn ang="0">
                <a:pos x="50" y="154"/>
              </a:cxn>
              <a:cxn ang="0">
                <a:pos x="61" y="131"/>
              </a:cxn>
              <a:cxn ang="0">
                <a:pos x="67" y="107"/>
              </a:cxn>
              <a:cxn ang="0">
                <a:pos x="65" y="85"/>
              </a:cxn>
              <a:cxn ang="0">
                <a:pos x="58" y="71"/>
              </a:cxn>
              <a:cxn ang="0">
                <a:pos x="48" y="66"/>
              </a:cxn>
              <a:cxn ang="0">
                <a:pos x="48" y="44"/>
              </a:cxn>
              <a:cxn ang="0">
                <a:pos x="74" y="44"/>
              </a:cxn>
              <a:cxn ang="0">
                <a:pos x="99" y="57"/>
              </a:cxn>
              <a:cxn ang="0">
                <a:pos x="122" y="63"/>
              </a:cxn>
              <a:cxn ang="0">
                <a:pos x="130" y="61"/>
              </a:cxn>
              <a:cxn ang="0">
                <a:pos x="142" y="49"/>
              </a:cxn>
              <a:cxn ang="0">
                <a:pos x="147" y="20"/>
              </a:cxn>
              <a:cxn ang="0">
                <a:pos x="149" y="3"/>
              </a:cxn>
              <a:cxn ang="0">
                <a:pos x="174" y="36"/>
              </a:cxn>
              <a:cxn ang="0">
                <a:pos x="201" y="64"/>
              </a:cxn>
              <a:cxn ang="0">
                <a:pos x="210" y="70"/>
              </a:cxn>
              <a:cxn ang="0">
                <a:pos x="236" y="74"/>
              </a:cxn>
              <a:cxn ang="0">
                <a:pos x="266" y="74"/>
              </a:cxn>
              <a:cxn ang="0">
                <a:pos x="277" y="82"/>
              </a:cxn>
              <a:cxn ang="0">
                <a:pos x="289" y="111"/>
              </a:cxn>
              <a:cxn ang="0">
                <a:pos x="299" y="122"/>
              </a:cxn>
              <a:cxn ang="0">
                <a:pos x="308" y="125"/>
              </a:cxn>
              <a:cxn ang="0">
                <a:pos x="352" y="122"/>
              </a:cxn>
              <a:cxn ang="0">
                <a:pos x="364" y="124"/>
              </a:cxn>
              <a:cxn ang="0">
                <a:pos x="367" y="145"/>
              </a:cxn>
              <a:cxn ang="0">
                <a:pos x="367" y="157"/>
              </a:cxn>
              <a:cxn ang="0">
                <a:pos x="375" y="186"/>
              </a:cxn>
              <a:cxn ang="0">
                <a:pos x="394" y="216"/>
              </a:cxn>
              <a:cxn ang="0">
                <a:pos x="382" y="250"/>
              </a:cxn>
              <a:cxn ang="0">
                <a:pos x="357" y="273"/>
              </a:cxn>
              <a:cxn ang="0">
                <a:pos x="335" y="279"/>
              </a:cxn>
              <a:cxn ang="0">
                <a:pos x="310" y="270"/>
              </a:cxn>
              <a:cxn ang="0">
                <a:pos x="258" y="241"/>
              </a:cxn>
              <a:cxn ang="0">
                <a:pos x="222" y="226"/>
              </a:cxn>
              <a:cxn ang="0">
                <a:pos x="206" y="224"/>
              </a:cxn>
              <a:cxn ang="0">
                <a:pos x="196" y="230"/>
              </a:cxn>
              <a:cxn ang="0">
                <a:pos x="188" y="250"/>
              </a:cxn>
              <a:cxn ang="0">
                <a:pos x="168" y="247"/>
              </a:cxn>
              <a:cxn ang="0">
                <a:pos x="154" y="242"/>
              </a:cxn>
              <a:cxn ang="0">
                <a:pos x="142" y="266"/>
              </a:cxn>
              <a:cxn ang="0">
                <a:pos x="140" y="279"/>
              </a:cxn>
              <a:cxn ang="0">
                <a:pos x="144" y="301"/>
              </a:cxn>
              <a:cxn ang="0">
                <a:pos x="147" y="319"/>
              </a:cxn>
              <a:cxn ang="0">
                <a:pos x="151" y="332"/>
              </a:cxn>
              <a:cxn ang="0">
                <a:pos x="147" y="334"/>
              </a:cxn>
            </a:cxnLst>
            <a:rect l="0" t="0" r="r" b="b"/>
            <a:pathLst>
              <a:path w="394" h="334">
                <a:moveTo>
                  <a:pt x="147" y="334"/>
                </a:moveTo>
                <a:lnTo>
                  <a:pt x="147" y="334"/>
                </a:lnTo>
                <a:lnTo>
                  <a:pt x="132" y="333"/>
                </a:lnTo>
                <a:lnTo>
                  <a:pt x="113" y="330"/>
                </a:lnTo>
                <a:lnTo>
                  <a:pt x="89" y="324"/>
                </a:lnTo>
                <a:lnTo>
                  <a:pt x="63" y="318"/>
                </a:lnTo>
                <a:lnTo>
                  <a:pt x="39" y="310"/>
                </a:lnTo>
                <a:lnTo>
                  <a:pt x="20" y="301"/>
                </a:lnTo>
                <a:lnTo>
                  <a:pt x="12" y="296"/>
                </a:lnTo>
                <a:lnTo>
                  <a:pt x="6" y="292"/>
                </a:lnTo>
                <a:lnTo>
                  <a:pt x="2" y="287"/>
                </a:lnTo>
                <a:lnTo>
                  <a:pt x="0" y="283"/>
                </a:lnTo>
                <a:lnTo>
                  <a:pt x="0" y="283"/>
                </a:lnTo>
                <a:lnTo>
                  <a:pt x="1" y="277"/>
                </a:lnTo>
                <a:lnTo>
                  <a:pt x="4" y="271"/>
                </a:lnTo>
                <a:lnTo>
                  <a:pt x="7" y="265"/>
                </a:lnTo>
                <a:lnTo>
                  <a:pt x="10" y="261"/>
                </a:lnTo>
                <a:lnTo>
                  <a:pt x="22" y="252"/>
                </a:lnTo>
                <a:lnTo>
                  <a:pt x="33" y="241"/>
                </a:lnTo>
                <a:lnTo>
                  <a:pt x="46" y="232"/>
                </a:lnTo>
                <a:lnTo>
                  <a:pt x="56" y="220"/>
                </a:lnTo>
                <a:lnTo>
                  <a:pt x="60" y="215"/>
                </a:lnTo>
                <a:lnTo>
                  <a:pt x="63" y="209"/>
                </a:lnTo>
                <a:lnTo>
                  <a:pt x="66" y="202"/>
                </a:lnTo>
                <a:lnTo>
                  <a:pt x="67" y="195"/>
                </a:lnTo>
                <a:lnTo>
                  <a:pt x="67" y="195"/>
                </a:lnTo>
                <a:lnTo>
                  <a:pt x="66" y="188"/>
                </a:lnTo>
                <a:lnTo>
                  <a:pt x="63" y="185"/>
                </a:lnTo>
                <a:lnTo>
                  <a:pt x="61" y="181"/>
                </a:lnTo>
                <a:lnTo>
                  <a:pt x="58" y="178"/>
                </a:lnTo>
                <a:lnTo>
                  <a:pt x="54" y="176"/>
                </a:lnTo>
                <a:lnTo>
                  <a:pt x="51" y="172"/>
                </a:lnTo>
                <a:lnTo>
                  <a:pt x="50" y="168"/>
                </a:lnTo>
                <a:lnTo>
                  <a:pt x="48" y="162"/>
                </a:lnTo>
                <a:lnTo>
                  <a:pt x="48" y="162"/>
                </a:lnTo>
                <a:lnTo>
                  <a:pt x="50" y="154"/>
                </a:lnTo>
                <a:lnTo>
                  <a:pt x="51" y="148"/>
                </a:lnTo>
                <a:lnTo>
                  <a:pt x="58" y="136"/>
                </a:lnTo>
                <a:lnTo>
                  <a:pt x="61" y="131"/>
                </a:lnTo>
                <a:lnTo>
                  <a:pt x="63" y="124"/>
                </a:lnTo>
                <a:lnTo>
                  <a:pt x="66" y="116"/>
                </a:lnTo>
                <a:lnTo>
                  <a:pt x="67" y="107"/>
                </a:lnTo>
                <a:lnTo>
                  <a:pt x="67" y="107"/>
                </a:lnTo>
                <a:lnTo>
                  <a:pt x="66" y="92"/>
                </a:lnTo>
                <a:lnTo>
                  <a:pt x="65" y="85"/>
                </a:lnTo>
                <a:lnTo>
                  <a:pt x="63" y="79"/>
                </a:lnTo>
                <a:lnTo>
                  <a:pt x="60" y="74"/>
                </a:lnTo>
                <a:lnTo>
                  <a:pt x="58" y="71"/>
                </a:lnTo>
                <a:lnTo>
                  <a:pt x="53" y="67"/>
                </a:lnTo>
                <a:lnTo>
                  <a:pt x="48" y="66"/>
                </a:lnTo>
                <a:lnTo>
                  <a:pt x="48" y="66"/>
                </a:lnTo>
                <a:lnTo>
                  <a:pt x="48" y="44"/>
                </a:lnTo>
                <a:lnTo>
                  <a:pt x="48" y="44"/>
                </a:lnTo>
                <a:lnTo>
                  <a:pt x="48" y="44"/>
                </a:lnTo>
                <a:lnTo>
                  <a:pt x="67" y="44"/>
                </a:lnTo>
                <a:lnTo>
                  <a:pt x="67" y="44"/>
                </a:lnTo>
                <a:lnTo>
                  <a:pt x="74" y="44"/>
                </a:lnTo>
                <a:lnTo>
                  <a:pt x="81" y="47"/>
                </a:lnTo>
                <a:lnTo>
                  <a:pt x="93" y="54"/>
                </a:lnTo>
                <a:lnTo>
                  <a:pt x="99" y="57"/>
                </a:lnTo>
                <a:lnTo>
                  <a:pt x="105" y="59"/>
                </a:lnTo>
                <a:lnTo>
                  <a:pt x="113" y="62"/>
                </a:lnTo>
                <a:lnTo>
                  <a:pt x="122" y="63"/>
                </a:lnTo>
                <a:lnTo>
                  <a:pt x="122" y="63"/>
                </a:lnTo>
                <a:lnTo>
                  <a:pt x="127" y="62"/>
                </a:lnTo>
                <a:lnTo>
                  <a:pt x="130" y="61"/>
                </a:lnTo>
                <a:lnTo>
                  <a:pt x="134" y="58"/>
                </a:lnTo>
                <a:lnTo>
                  <a:pt x="137" y="56"/>
                </a:lnTo>
                <a:lnTo>
                  <a:pt x="142" y="49"/>
                </a:lnTo>
                <a:lnTo>
                  <a:pt x="144" y="41"/>
                </a:lnTo>
                <a:lnTo>
                  <a:pt x="146" y="31"/>
                </a:lnTo>
                <a:lnTo>
                  <a:pt x="147" y="20"/>
                </a:lnTo>
                <a:lnTo>
                  <a:pt x="147" y="0"/>
                </a:lnTo>
                <a:lnTo>
                  <a:pt x="147" y="0"/>
                </a:lnTo>
                <a:lnTo>
                  <a:pt x="149" y="3"/>
                </a:lnTo>
                <a:lnTo>
                  <a:pt x="151" y="9"/>
                </a:lnTo>
                <a:lnTo>
                  <a:pt x="161" y="21"/>
                </a:lnTo>
                <a:lnTo>
                  <a:pt x="174" y="36"/>
                </a:lnTo>
                <a:lnTo>
                  <a:pt x="188" y="51"/>
                </a:lnTo>
                <a:lnTo>
                  <a:pt x="188" y="51"/>
                </a:lnTo>
                <a:lnTo>
                  <a:pt x="201" y="64"/>
                </a:lnTo>
                <a:lnTo>
                  <a:pt x="206" y="69"/>
                </a:lnTo>
                <a:lnTo>
                  <a:pt x="210" y="70"/>
                </a:lnTo>
                <a:lnTo>
                  <a:pt x="210" y="70"/>
                </a:lnTo>
                <a:lnTo>
                  <a:pt x="220" y="72"/>
                </a:lnTo>
                <a:lnTo>
                  <a:pt x="228" y="74"/>
                </a:lnTo>
                <a:lnTo>
                  <a:pt x="236" y="74"/>
                </a:lnTo>
                <a:lnTo>
                  <a:pt x="244" y="74"/>
                </a:lnTo>
                <a:lnTo>
                  <a:pt x="259" y="74"/>
                </a:lnTo>
                <a:lnTo>
                  <a:pt x="266" y="74"/>
                </a:lnTo>
                <a:lnTo>
                  <a:pt x="273" y="77"/>
                </a:lnTo>
                <a:lnTo>
                  <a:pt x="273" y="77"/>
                </a:lnTo>
                <a:lnTo>
                  <a:pt x="277" y="82"/>
                </a:lnTo>
                <a:lnTo>
                  <a:pt x="280" y="88"/>
                </a:lnTo>
                <a:lnTo>
                  <a:pt x="285" y="103"/>
                </a:lnTo>
                <a:lnTo>
                  <a:pt x="289" y="111"/>
                </a:lnTo>
                <a:lnTo>
                  <a:pt x="292" y="117"/>
                </a:lnTo>
                <a:lnTo>
                  <a:pt x="296" y="120"/>
                </a:lnTo>
                <a:lnTo>
                  <a:pt x="299" y="122"/>
                </a:lnTo>
                <a:lnTo>
                  <a:pt x="304" y="124"/>
                </a:lnTo>
                <a:lnTo>
                  <a:pt x="308" y="125"/>
                </a:lnTo>
                <a:lnTo>
                  <a:pt x="308" y="125"/>
                </a:lnTo>
                <a:lnTo>
                  <a:pt x="321" y="124"/>
                </a:lnTo>
                <a:lnTo>
                  <a:pt x="334" y="123"/>
                </a:lnTo>
                <a:lnTo>
                  <a:pt x="352" y="122"/>
                </a:lnTo>
                <a:lnTo>
                  <a:pt x="352" y="122"/>
                </a:lnTo>
                <a:lnTo>
                  <a:pt x="360" y="122"/>
                </a:lnTo>
                <a:lnTo>
                  <a:pt x="364" y="124"/>
                </a:lnTo>
                <a:lnTo>
                  <a:pt x="366" y="127"/>
                </a:lnTo>
                <a:lnTo>
                  <a:pt x="367" y="133"/>
                </a:lnTo>
                <a:lnTo>
                  <a:pt x="367" y="145"/>
                </a:lnTo>
                <a:lnTo>
                  <a:pt x="367" y="150"/>
                </a:lnTo>
                <a:lnTo>
                  <a:pt x="367" y="157"/>
                </a:lnTo>
                <a:lnTo>
                  <a:pt x="367" y="157"/>
                </a:lnTo>
                <a:lnTo>
                  <a:pt x="368" y="163"/>
                </a:lnTo>
                <a:lnTo>
                  <a:pt x="369" y="170"/>
                </a:lnTo>
                <a:lnTo>
                  <a:pt x="375" y="186"/>
                </a:lnTo>
                <a:lnTo>
                  <a:pt x="383" y="202"/>
                </a:lnTo>
                <a:lnTo>
                  <a:pt x="394" y="216"/>
                </a:lnTo>
                <a:lnTo>
                  <a:pt x="394" y="216"/>
                </a:lnTo>
                <a:lnTo>
                  <a:pt x="391" y="229"/>
                </a:lnTo>
                <a:lnTo>
                  <a:pt x="388" y="240"/>
                </a:lnTo>
                <a:lnTo>
                  <a:pt x="382" y="250"/>
                </a:lnTo>
                <a:lnTo>
                  <a:pt x="375" y="260"/>
                </a:lnTo>
                <a:lnTo>
                  <a:pt x="367" y="268"/>
                </a:lnTo>
                <a:lnTo>
                  <a:pt x="357" y="273"/>
                </a:lnTo>
                <a:lnTo>
                  <a:pt x="346" y="277"/>
                </a:lnTo>
                <a:lnTo>
                  <a:pt x="335" y="279"/>
                </a:lnTo>
                <a:lnTo>
                  <a:pt x="335" y="279"/>
                </a:lnTo>
                <a:lnTo>
                  <a:pt x="329" y="278"/>
                </a:lnTo>
                <a:lnTo>
                  <a:pt x="323" y="276"/>
                </a:lnTo>
                <a:lnTo>
                  <a:pt x="310" y="270"/>
                </a:lnTo>
                <a:lnTo>
                  <a:pt x="294" y="261"/>
                </a:lnTo>
                <a:lnTo>
                  <a:pt x="276" y="252"/>
                </a:lnTo>
                <a:lnTo>
                  <a:pt x="258" y="241"/>
                </a:lnTo>
                <a:lnTo>
                  <a:pt x="239" y="232"/>
                </a:lnTo>
                <a:lnTo>
                  <a:pt x="231" y="229"/>
                </a:lnTo>
                <a:lnTo>
                  <a:pt x="222" y="226"/>
                </a:lnTo>
                <a:lnTo>
                  <a:pt x="214" y="225"/>
                </a:lnTo>
                <a:lnTo>
                  <a:pt x="206" y="224"/>
                </a:lnTo>
                <a:lnTo>
                  <a:pt x="206" y="224"/>
                </a:lnTo>
                <a:lnTo>
                  <a:pt x="203" y="225"/>
                </a:lnTo>
                <a:lnTo>
                  <a:pt x="199" y="226"/>
                </a:lnTo>
                <a:lnTo>
                  <a:pt x="196" y="230"/>
                </a:lnTo>
                <a:lnTo>
                  <a:pt x="192" y="233"/>
                </a:lnTo>
                <a:lnTo>
                  <a:pt x="189" y="241"/>
                </a:lnTo>
                <a:lnTo>
                  <a:pt x="188" y="250"/>
                </a:lnTo>
                <a:lnTo>
                  <a:pt x="188" y="250"/>
                </a:lnTo>
                <a:lnTo>
                  <a:pt x="177" y="249"/>
                </a:lnTo>
                <a:lnTo>
                  <a:pt x="168" y="247"/>
                </a:lnTo>
                <a:lnTo>
                  <a:pt x="161" y="245"/>
                </a:lnTo>
                <a:lnTo>
                  <a:pt x="154" y="242"/>
                </a:lnTo>
                <a:lnTo>
                  <a:pt x="154" y="242"/>
                </a:lnTo>
                <a:lnTo>
                  <a:pt x="150" y="248"/>
                </a:lnTo>
                <a:lnTo>
                  <a:pt x="145" y="256"/>
                </a:lnTo>
                <a:lnTo>
                  <a:pt x="142" y="266"/>
                </a:lnTo>
                <a:lnTo>
                  <a:pt x="140" y="272"/>
                </a:lnTo>
                <a:lnTo>
                  <a:pt x="140" y="279"/>
                </a:lnTo>
                <a:lnTo>
                  <a:pt x="140" y="279"/>
                </a:lnTo>
                <a:lnTo>
                  <a:pt x="140" y="285"/>
                </a:lnTo>
                <a:lnTo>
                  <a:pt x="142" y="291"/>
                </a:lnTo>
                <a:lnTo>
                  <a:pt x="144" y="301"/>
                </a:lnTo>
                <a:lnTo>
                  <a:pt x="146" y="309"/>
                </a:lnTo>
                <a:lnTo>
                  <a:pt x="147" y="319"/>
                </a:lnTo>
                <a:lnTo>
                  <a:pt x="147" y="319"/>
                </a:lnTo>
                <a:lnTo>
                  <a:pt x="149" y="325"/>
                </a:lnTo>
                <a:lnTo>
                  <a:pt x="151" y="330"/>
                </a:lnTo>
                <a:lnTo>
                  <a:pt x="151" y="332"/>
                </a:lnTo>
                <a:lnTo>
                  <a:pt x="147" y="334"/>
                </a:lnTo>
                <a:lnTo>
                  <a:pt x="147" y="334"/>
                </a:lnTo>
                <a:lnTo>
                  <a:pt x="147" y="33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8" name="Freeform 83"/>
          <p:cNvSpPr>
            <a:spLocks/>
          </p:cNvSpPr>
          <p:nvPr/>
        </p:nvSpPr>
        <p:spPr bwMode="auto">
          <a:xfrm>
            <a:off x="1035050" y="4086225"/>
            <a:ext cx="207963" cy="241300"/>
          </a:xfrm>
          <a:custGeom>
            <a:avLst/>
            <a:gdLst/>
            <a:ahLst/>
            <a:cxnLst>
              <a:cxn ang="0">
                <a:pos x="0" y="52"/>
              </a:cxn>
              <a:cxn ang="0">
                <a:pos x="6" y="71"/>
              </a:cxn>
              <a:cxn ang="0">
                <a:pos x="10" y="111"/>
              </a:cxn>
              <a:cxn ang="0">
                <a:pos x="15" y="131"/>
              </a:cxn>
              <a:cxn ang="0">
                <a:pos x="21" y="139"/>
              </a:cxn>
              <a:cxn ang="0">
                <a:pos x="42" y="159"/>
              </a:cxn>
              <a:cxn ang="0">
                <a:pos x="54" y="174"/>
              </a:cxn>
              <a:cxn ang="0">
                <a:pos x="59" y="189"/>
              </a:cxn>
              <a:cxn ang="0">
                <a:pos x="59" y="194"/>
              </a:cxn>
              <a:cxn ang="0">
                <a:pos x="59" y="208"/>
              </a:cxn>
              <a:cxn ang="0">
                <a:pos x="63" y="226"/>
              </a:cxn>
              <a:cxn ang="0">
                <a:pos x="72" y="246"/>
              </a:cxn>
              <a:cxn ang="0">
                <a:pos x="84" y="263"/>
              </a:cxn>
              <a:cxn ang="0">
                <a:pos x="101" y="275"/>
              </a:cxn>
              <a:cxn ang="0">
                <a:pos x="126" y="275"/>
              </a:cxn>
              <a:cxn ang="0">
                <a:pos x="126" y="275"/>
              </a:cxn>
              <a:cxn ang="0">
                <a:pos x="127" y="262"/>
              </a:cxn>
              <a:cxn ang="0">
                <a:pos x="132" y="252"/>
              </a:cxn>
              <a:cxn ang="0">
                <a:pos x="137" y="245"/>
              </a:cxn>
              <a:cxn ang="0">
                <a:pos x="145" y="241"/>
              </a:cxn>
              <a:cxn ang="0">
                <a:pos x="166" y="238"/>
              </a:cxn>
              <a:cxn ang="0">
                <a:pos x="188" y="238"/>
              </a:cxn>
              <a:cxn ang="0">
                <a:pos x="197" y="207"/>
              </a:cxn>
              <a:cxn ang="0">
                <a:pos x="211" y="172"/>
              </a:cxn>
              <a:cxn ang="0">
                <a:pos x="213" y="169"/>
              </a:cxn>
              <a:cxn ang="0">
                <a:pos x="236" y="131"/>
              </a:cxn>
              <a:cxn ang="0">
                <a:pos x="236" y="142"/>
              </a:cxn>
              <a:cxn ang="0">
                <a:pos x="236" y="131"/>
              </a:cxn>
              <a:cxn ang="0">
                <a:pos x="239" y="122"/>
              </a:cxn>
              <a:cxn ang="0">
                <a:pos x="251" y="105"/>
              </a:cxn>
              <a:cxn ang="0">
                <a:pos x="255" y="95"/>
              </a:cxn>
              <a:cxn ang="0">
                <a:pos x="254" y="86"/>
              </a:cxn>
              <a:cxn ang="0">
                <a:pos x="250" y="71"/>
              </a:cxn>
              <a:cxn ang="0">
                <a:pos x="243" y="61"/>
              </a:cxn>
              <a:cxn ang="0">
                <a:pos x="231" y="47"/>
              </a:cxn>
              <a:cxn ang="0">
                <a:pos x="218" y="34"/>
              </a:cxn>
              <a:cxn ang="0">
                <a:pos x="211" y="23"/>
              </a:cxn>
              <a:cxn ang="0">
                <a:pos x="208" y="8"/>
              </a:cxn>
              <a:cxn ang="0">
                <a:pos x="206" y="0"/>
              </a:cxn>
              <a:cxn ang="0">
                <a:pos x="203" y="0"/>
              </a:cxn>
              <a:cxn ang="0">
                <a:pos x="197" y="3"/>
              </a:cxn>
              <a:cxn ang="0">
                <a:pos x="179" y="15"/>
              </a:cxn>
              <a:cxn ang="0">
                <a:pos x="170" y="17"/>
              </a:cxn>
              <a:cxn ang="0">
                <a:pos x="166" y="17"/>
              </a:cxn>
              <a:cxn ang="0">
                <a:pos x="159" y="12"/>
              </a:cxn>
              <a:cxn ang="0">
                <a:pos x="151" y="8"/>
              </a:cxn>
              <a:cxn ang="0">
                <a:pos x="148" y="7"/>
              </a:cxn>
              <a:cxn ang="0">
                <a:pos x="140" y="11"/>
              </a:cxn>
              <a:cxn ang="0">
                <a:pos x="135" y="19"/>
              </a:cxn>
              <a:cxn ang="0">
                <a:pos x="128" y="29"/>
              </a:cxn>
              <a:cxn ang="0">
                <a:pos x="119" y="32"/>
              </a:cxn>
              <a:cxn ang="0">
                <a:pos x="111" y="31"/>
              </a:cxn>
              <a:cxn ang="0">
                <a:pos x="99" y="23"/>
              </a:cxn>
              <a:cxn ang="0">
                <a:pos x="89" y="12"/>
              </a:cxn>
              <a:cxn ang="0">
                <a:pos x="76" y="4"/>
              </a:cxn>
              <a:cxn ang="0">
                <a:pos x="67" y="3"/>
              </a:cxn>
              <a:cxn ang="0">
                <a:pos x="61" y="3"/>
              </a:cxn>
              <a:cxn ang="0">
                <a:pos x="51" y="6"/>
              </a:cxn>
              <a:cxn ang="0">
                <a:pos x="38" y="14"/>
              </a:cxn>
              <a:cxn ang="0">
                <a:pos x="18" y="35"/>
              </a:cxn>
              <a:cxn ang="0">
                <a:pos x="0" y="47"/>
              </a:cxn>
              <a:cxn ang="0">
                <a:pos x="0" y="52"/>
              </a:cxn>
            </a:cxnLst>
            <a:rect l="0" t="0" r="r" b="b"/>
            <a:pathLst>
              <a:path w="255" h="275">
                <a:moveTo>
                  <a:pt x="0" y="52"/>
                </a:moveTo>
                <a:lnTo>
                  <a:pt x="0" y="52"/>
                </a:lnTo>
                <a:lnTo>
                  <a:pt x="4" y="61"/>
                </a:lnTo>
                <a:lnTo>
                  <a:pt x="6" y="71"/>
                </a:lnTo>
                <a:lnTo>
                  <a:pt x="8" y="91"/>
                </a:lnTo>
                <a:lnTo>
                  <a:pt x="10" y="111"/>
                </a:lnTo>
                <a:lnTo>
                  <a:pt x="12" y="122"/>
                </a:lnTo>
                <a:lnTo>
                  <a:pt x="15" y="131"/>
                </a:lnTo>
                <a:lnTo>
                  <a:pt x="15" y="131"/>
                </a:lnTo>
                <a:lnTo>
                  <a:pt x="21" y="139"/>
                </a:lnTo>
                <a:lnTo>
                  <a:pt x="27" y="146"/>
                </a:lnTo>
                <a:lnTo>
                  <a:pt x="42" y="159"/>
                </a:lnTo>
                <a:lnTo>
                  <a:pt x="49" y="166"/>
                </a:lnTo>
                <a:lnTo>
                  <a:pt x="54" y="174"/>
                </a:lnTo>
                <a:lnTo>
                  <a:pt x="58" y="183"/>
                </a:lnTo>
                <a:lnTo>
                  <a:pt x="59" y="189"/>
                </a:lnTo>
                <a:lnTo>
                  <a:pt x="59" y="194"/>
                </a:lnTo>
                <a:lnTo>
                  <a:pt x="59" y="194"/>
                </a:lnTo>
                <a:lnTo>
                  <a:pt x="59" y="208"/>
                </a:lnTo>
                <a:lnTo>
                  <a:pt x="59" y="208"/>
                </a:lnTo>
                <a:lnTo>
                  <a:pt x="60" y="217"/>
                </a:lnTo>
                <a:lnTo>
                  <a:pt x="63" y="226"/>
                </a:lnTo>
                <a:lnTo>
                  <a:pt x="67" y="237"/>
                </a:lnTo>
                <a:lnTo>
                  <a:pt x="72" y="246"/>
                </a:lnTo>
                <a:lnTo>
                  <a:pt x="78" y="255"/>
                </a:lnTo>
                <a:lnTo>
                  <a:pt x="84" y="263"/>
                </a:lnTo>
                <a:lnTo>
                  <a:pt x="92" y="270"/>
                </a:lnTo>
                <a:lnTo>
                  <a:pt x="101" y="275"/>
                </a:lnTo>
                <a:lnTo>
                  <a:pt x="101" y="275"/>
                </a:lnTo>
                <a:lnTo>
                  <a:pt x="126" y="275"/>
                </a:lnTo>
                <a:lnTo>
                  <a:pt x="126" y="275"/>
                </a:lnTo>
                <a:lnTo>
                  <a:pt x="126" y="275"/>
                </a:lnTo>
                <a:lnTo>
                  <a:pt x="126" y="268"/>
                </a:lnTo>
                <a:lnTo>
                  <a:pt x="127" y="262"/>
                </a:lnTo>
                <a:lnTo>
                  <a:pt x="129" y="256"/>
                </a:lnTo>
                <a:lnTo>
                  <a:pt x="132" y="252"/>
                </a:lnTo>
                <a:lnTo>
                  <a:pt x="134" y="248"/>
                </a:lnTo>
                <a:lnTo>
                  <a:pt x="137" y="245"/>
                </a:lnTo>
                <a:lnTo>
                  <a:pt x="142" y="243"/>
                </a:lnTo>
                <a:lnTo>
                  <a:pt x="145" y="241"/>
                </a:lnTo>
                <a:lnTo>
                  <a:pt x="156" y="239"/>
                </a:lnTo>
                <a:lnTo>
                  <a:pt x="166" y="238"/>
                </a:lnTo>
                <a:lnTo>
                  <a:pt x="188" y="238"/>
                </a:lnTo>
                <a:lnTo>
                  <a:pt x="188" y="238"/>
                </a:lnTo>
                <a:lnTo>
                  <a:pt x="193" y="221"/>
                </a:lnTo>
                <a:lnTo>
                  <a:pt x="197" y="207"/>
                </a:lnTo>
                <a:lnTo>
                  <a:pt x="205" y="185"/>
                </a:lnTo>
                <a:lnTo>
                  <a:pt x="211" y="172"/>
                </a:lnTo>
                <a:lnTo>
                  <a:pt x="213" y="169"/>
                </a:lnTo>
                <a:lnTo>
                  <a:pt x="213" y="169"/>
                </a:lnTo>
                <a:lnTo>
                  <a:pt x="236" y="131"/>
                </a:lnTo>
                <a:lnTo>
                  <a:pt x="236" y="131"/>
                </a:lnTo>
                <a:lnTo>
                  <a:pt x="236" y="131"/>
                </a:lnTo>
                <a:lnTo>
                  <a:pt x="236" y="142"/>
                </a:lnTo>
                <a:lnTo>
                  <a:pt x="236" y="131"/>
                </a:lnTo>
                <a:lnTo>
                  <a:pt x="236" y="131"/>
                </a:lnTo>
                <a:lnTo>
                  <a:pt x="236" y="126"/>
                </a:lnTo>
                <a:lnTo>
                  <a:pt x="239" y="122"/>
                </a:lnTo>
                <a:lnTo>
                  <a:pt x="246" y="114"/>
                </a:lnTo>
                <a:lnTo>
                  <a:pt x="251" y="105"/>
                </a:lnTo>
                <a:lnTo>
                  <a:pt x="254" y="100"/>
                </a:lnTo>
                <a:lnTo>
                  <a:pt x="255" y="95"/>
                </a:lnTo>
                <a:lnTo>
                  <a:pt x="255" y="95"/>
                </a:lnTo>
                <a:lnTo>
                  <a:pt x="254" y="86"/>
                </a:lnTo>
                <a:lnTo>
                  <a:pt x="252" y="78"/>
                </a:lnTo>
                <a:lnTo>
                  <a:pt x="250" y="71"/>
                </a:lnTo>
                <a:lnTo>
                  <a:pt x="247" y="65"/>
                </a:lnTo>
                <a:lnTo>
                  <a:pt x="243" y="61"/>
                </a:lnTo>
                <a:lnTo>
                  <a:pt x="240" y="56"/>
                </a:lnTo>
                <a:lnTo>
                  <a:pt x="231" y="47"/>
                </a:lnTo>
                <a:lnTo>
                  <a:pt x="221" y="39"/>
                </a:lnTo>
                <a:lnTo>
                  <a:pt x="218" y="34"/>
                </a:lnTo>
                <a:lnTo>
                  <a:pt x="214" y="29"/>
                </a:lnTo>
                <a:lnTo>
                  <a:pt x="211" y="23"/>
                </a:lnTo>
                <a:lnTo>
                  <a:pt x="209" y="16"/>
                </a:lnTo>
                <a:lnTo>
                  <a:pt x="208" y="8"/>
                </a:lnTo>
                <a:lnTo>
                  <a:pt x="206" y="0"/>
                </a:lnTo>
                <a:lnTo>
                  <a:pt x="206" y="0"/>
                </a:lnTo>
                <a:lnTo>
                  <a:pt x="203" y="0"/>
                </a:lnTo>
                <a:lnTo>
                  <a:pt x="203" y="0"/>
                </a:lnTo>
                <a:lnTo>
                  <a:pt x="203" y="0"/>
                </a:lnTo>
                <a:lnTo>
                  <a:pt x="197" y="3"/>
                </a:lnTo>
                <a:lnTo>
                  <a:pt x="189" y="10"/>
                </a:lnTo>
                <a:lnTo>
                  <a:pt x="179" y="15"/>
                </a:lnTo>
                <a:lnTo>
                  <a:pt x="174" y="17"/>
                </a:lnTo>
                <a:lnTo>
                  <a:pt x="170" y="17"/>
                </a:lnTo>
                <a:lnTo>
                  <a:pt x="170" y="17"/>
                </a:lnTo>
                <a:lnTo>
                  <a:pt x="166" y="17"/>
                </a:lnTo>
                <a:lnTo>
                  <a:pt x="164" y="16"/>
                </a:lnTo>
                <a:lnTo>
                  <a:pt x="159" y="12"/>
                </a:lnTo>
                <a:lnTo>
                  <a:pt x="155" y="9"/>
                </a:lnTo>
                <a:lnTo>
                  <a:pt x="151" y="8"/>
                </a:lnTo>
                <a:lnTo>
                  <a:pt x="148" y="7"/>
                </a:lnTo>
                <a:lnTo>
                  <a:pt x="148" y="7"/>
                </a:lnTo>
                <a:lnTo>
                  <a:pt x="143" y="8"/>
                </a:lnTo>
                <a:lnTo>
                  <a:pt x="140" y="11"/>
                </a:lnTo>
                <a:lnTo>
                  <a:pt x="137" y="15"/>
                </a:lnTo>
                <a:lnTo>
                  <a:pt x="135" y="19"/>
                </a:lnTo>
                <a:lnTo>
                  <a:pt x="132" y="24"/>
                </a:lnTo>
                <a:lnTo>
                  <a:pt x="128" y="29"/>
                </a:lnTo>
                <a:lnTo>
                  <a:pt x="125" y="31"/>
                </a:lnTo>
                <a:lnTo>
                  <a:pt x="119" y="32"/>
                </a:lnTo>
                <a:lnTo>
                  <a:pt x="119" y="32"/>
                </a:lnTo>
                <a:lnTo>
                  <a:pt x="111" y="31"/>
                </a:lnTo>
                <a:lnTo>
                  <a:pt x="105" y="27"/>
                </a:lnTo>
                <a:lnTo>
                  <a:pt x="99" y="23"/>
                </a:lnTo>
                <a:lnTo>
                  <a:pt x="94" y="17"/>
                </a:lnTo>
                <a:lnTo>
                  <a:pt x="89" y="12"/>
                </a:lnTo>
                <a:lnTo>
                  <a:pt x="83" y="8"/>
                </a:lnTo>
                <a:lnTo>
                  <a:pt x="76" y="4"/>
                </a:lnTo>
                <a:lnTo>
                  <a:pt x="72" y="3"/>
                </a:lnTo>
                <a:lnTo>
                  <a:pt x="67" y="3"/>
                </a:lnTo>
                <a:lnTo>
                  <a:pt x="67" y="3"/>
                </a:lnTo>
                <a:lnTo>
                  <a:pt x="61" y="3"/>
                </a:lnTo>
                <a:lnTo>
                  <a:pt x="56" y="4"/>
                </a:lnTo>
                <a:lnTo>
                  <a:pt x="51" y="6"/>
                </a:lnTo>
                <a:lnTo>
                  <a:pt x="46" y="8"/>
                </a:lnTo>
                <a:lnTo>
                  <a:pt x="38" y="14"/>
                </a:lnTo>
                <a:lnTo>
                  <a:pt x="31" y="21"/>
                </a:lnTo>
                <a:lnTo>
                  <a:pt x="18" y="35"/>
                </a:lnTo>
                <a:lnTo>
                  <a:pt x="10" y="42"/>
                </a:lnTo>
                <a:lnTo>
                  <a:pt x="0" y="47"/>
                </a:lnTo>
                <a:lnTo>
                  <a:pt x="0" y="47"/>
                </a:lnTo>
                <a:lnTo>
                  <a:pt x="0" y="52"/>
                </a:lnTo>
                <a:lnTo>
                  <a:pt x="0" y="5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9" name="Freeform 84"/>
          <p:cNvSpPr>
            <a:spLocks/>
          </p:cNvSpPr>
          <p:nvPr/>
        </p:nvSpPr>
        <p:spPr bwMode="auto">
          <a:xfrm>
            <a:off x="1082675" y="5154613"/>
            <a:ext cx="228600" cy="439737"/>
          </a:xfrm>
          <a:custGeom>
            <a:avLst/>
            <a:gdLst/>
            <a:ahLst/>
            <a:cxnLst>
              <a:cxn ang="0">
                <a:pos x="210" y="123"/>
              </a:cxn>
              <a:cxn ang="0">
                <a:pos x="199" y="99"/>
              </a:cxn>
              <a:cxn ang="0">
                <a:pos x="204" y="78"/>
              </a:cxn>
              <a:cxn ang="0">
                <a:pos x="228" y="54"/>
              </a:cxn>
              <a:cxn ang="0">
                <a:pos x="221" y="31"/>
              </a:cxn>
              <a:cxn ang="0">
                <a:pos x="208" y="7"/>
              </a:cxn>
              <a:cxn ang="0">
                <a:pos x="189" y="0"/>
              </a:cxn>
              <a:cxn ang="0">
                <a:pos x="162" y="6"/>
              </a:cxn>
              <a:cxn ang="0">
                <a:pos x="122" y="3"/>
              </a:cxn>
              <a:cxn ang="0">
                <a:pos x="83" y="0"/>
              </a:cxn>
              <a:cxn ang="0">
                <a:pos x="67" y="12"/>
              </a:cxn>
              <a:cxn ang="0">
                <a:pos x="89" y="85"/>
              </a:cxn>
              <a:cxn ang="0">
                <a:pos x="96" y="143"/>
              </a:cxn>
              <a:cxn ang="0">
                <a:pos x="103" y="183"/>
              </a:cxn>
              <a:cxn ang="0">
                <a:pos x="132" y="198"/>
              </a:cxn>
              <a:cxn ang="0">
                <a:pos x="132" y="221"/>
              </a:cxn>
              <a:cxn ang="0">
                <a:pos x="111" y="250"/>
              </a:cxn>
              <a:cxn ang="0">
                <a:pos x="113" y="270"/>
              </a:cxn>
              <a:cxn ang="0">
                <a:pos x="122" y="319"/>
              </a:cxn>
              <a:cxn ang="0">
                <a:pos x="115" y="328"/>
              </a:cxn>
              <a:cxn ang="0">
                <a:pos x="78" y="348"/>
              </a:cxn>
              <a:cxn ang="0">
                <a:pos x="68" y="346"/>
              </a:cxn>
              <a:cxn ang="0">
                <a:pos x="52" y="338"/>
              </a:cxn>
              <a:cxn ang="0">
                <a:pos x="43" y="342"/>
              </a:cxn>
              <a:cxn ang="0">
                <a:pos x="37" y="360"/>
              </a:cxn>
              <a:cxn ang="0">
                <a:pos x="50" y="390"/>
              </a:cxn>
              <a:cxn ang="0">
                <a:pos x="51" y="406"/>
              </a:cxn>
              <a:cxn ang="0">
                <a:pos x="36" y="425"/>
              </a:cxn>
              <a:cxn ang="0">
                <a:pos x="6" y="444"/>
              </a:cxn>
              <a:cxn ang="0">
                <a:pos x="0" y="459"/>
              </a:cxn>
              <a:cxn ang="0">
                <a:pos x="12" y="474"/>
              </a:cxn>
              <a:cxn ang="0">
                <a:pos x="37" y="489"/>
              </a:cxn>
              <a:cxn ang="0">
                <a:pos x="52" y="493"/>
              </a:cxn>
              <a:cxn ang="0">
                <a:pos x="107" y="504"/>
              </a:cxn>
              <a:cxn ang="0">
                <a:pos x="155" y="502"/>
              </a:cxn>
              <a:cxn ang="0">
                <a:pos x="243" y="503"/>
              </a:cxn>
              <a:cxn ang="0">
                <a:pos x="224" y="481"/>
              </a:cxn>
              <a:cxn ang="0">
                <a:pos x="224" y="412"/>
              </a:cxn>
              <a:cxn ang="0">
                <a:pos x="250" y="426"/>
              </a:cxn>
              <a:cxn ang="0">
                <a:pos x="273" y="441"/>
              </a:cxn>
              <a:cxn ang="0">
                <a:pos x="281" y="399"/>
              </a:cxn>
              <a:cxn ang="0">
                <a:pos x="281" y="322"/>
              </a:cxn>
              <a:cxn ang="0">
                <a:pos x="274" y="268"/>
              </a:cxn>
              <a:cxn ang="0">
                <a:pos x="258" y="245"/>
              </a:cxn>
              <a:cxn ang="0">
                <a:pos x="241" y="238"/>
              </a:cxn>
              <a:cxn ang="0">
                <a:pos x="205" y="226"/>
              </a:cxn>
              <a:cxn ang="0">
                <a:pos x="199" y="206"/>
              </a:cxn>
              <a:cxn ang="0">
                <a:pos x="207" y="181"/>
              </a:cxn>
              <a:cxn ang="0">
                <a:pos x="236" y="147"/>
              </a:cxn>
            </a:cxnLst>
            <a:rect l="0" t="0" r="r" b="b"/>
            <a:pathLst>
              <a:path w="281" h="506">
                <a:moveTo>
                  <a:pt x="224" y="136"/>
                </a:moveTo>
                <a:lnTo>
                  <a:pt x="224" y="136"/>
                </a:lnTo>
                <a:lnTo>
                  <a:pt x="218" y="130"/>
                </a:lnTo>
                <a:lnTo>
                  <a:pt x="210" y="123"/>
                </a:lnTo>
                <a:lnTo>
                  <a:pt x="205" y="119"/>
                </a:lnTo>
                <a:lnTo>
                  <a:pt x="201" y="113"/>
                </a:lnTo>
                <a:lnTo>
                  <a:pt x="199" y="106"/>
                </a:lnTo>
                <a:lnTo>
                  <a:pt x="199" y="99"/>
                </a:lnTo>
                <a:lnTo>
                  <a:pt x="199" y="99"/>
                </a:lnTo>
                <a:lnTo>
                  <a:pt x="199" y="91"/>
                </a:lnTo>
                <a:lnTo>
                  <a:pt x="201" y="84"/>
                </a:lnTo>
                <a:lnTo>
                  <a:pt x="204" y="78"/>
                </a:lnTo>
                <a:lnTo>
                  <a:pt x="208" y="72"/>
                </a:lnTo>
                <a:lnTo>
                  <a:pt x="212" y="68"/>
                </a:lnTo>
                <a:lnTo>
                  <a:pt x="218" y="63"/>
                </a:lnTo>
                <a:lnTo>
                  <a:pt x="228" y="54"/>
                </a:lnTo>
                <a:lnTo>
                  <a:pt x="228" y="54"/>
                </a:lnTo>
                <a:lnTo>
                  <a:pt x="224" y="48"/>
                </a:lnTo>
                <a:lnTo>
                  <a:pt x="222" y="40"/>
                </a:lnTo>
                <a:lnTo>
                  <a:pt x="221" y="31"/>
                </a:lnTo>
                <a:lnTo>
                  <a:pt x="218" y="22"/>
                </a:lnTo>
                <a:lnTo>
                  <a:pt x="214" y="14"/>
                </a:lnTo>
                <a:lnTo>
                  <a:pt x="212" y="9"/>
                </a:lnTo>
                <a:lnTo>
                  <a:pt x="208" y="7"/>
                </a:lnTo>
                <a:lnTo>
                  <a:pt x="205" y="3"/>
                </a:lnTo>
                <a:lnTo>
                  <a:pt x="200" y="1"/>
                </a:lnTo>
                <a:lnTo>
                  <a:pt x="195" y="0"/>
                </a:lnTo>
                <a:lnTo>
                  <a:pt x="189" y="0"/>
                </a:lnTo>
                <a:lnTo>
                  <a:pt x="189" y="0"/>
                </a:lnTo>
                <a:lnTo>
                  <a:pt x="178" y="1"/>
                </a:lnTo>
                <a:lnTo>
                  <a:pt x="172" y="3"/>
                </a:lnTo>
                <a:lnTo>
                  <a:pt x="162" y="6"/>
                </a:lnTo>
                <a:lnTo>
                  <a:pt x="151" y="7"/>
                </a:lnTo>
                <a:lnTo>
                  <a:pt x="151" y="7"/>
                </a:lnTo>
                <a:lnTo>
                  <a:pt x="135" y="6"/>
                </a:lnTo>
                <a:lnTo>
                  <a:pt x="122" y="3"/>
                </a:lnTo>
                <a:lnTo>
                  <a:pt x="108" y="1"/>
                </a:lnTo>
                <a:lnTo>
                  <a:pt x="92" y="0"/>
                </a:lnTo>
                <a:lnTo>
                  <a:pt x="92" y="0"/>
                </a:lnTo>
                <a:lnTo>
                  <a:pt x="83" y="0"/>
                </a:lnTo>
                <a:lnTo>
                  <a:pt x="77" y="2"/>
                </a:lnTo>
                <a:lnTo>
                  <a:pt x="71" y="6"/>
                </a:lnTo>
                <a:lnTo>
                  <a:pt x="67" y="12"/>
                </a:lnTo>
                <a:lnTo>
                  <a:pt x="67" y="12"/>
                </a:lnTo>
                <a:lnTo>
                  <a:pt x="70" y="29"/>
                </a:lnTo>
                <a:lnTo>
                  <a:pt x="74" y="44"/>
                </a:lnTo>
                <a:lnTo>
                  <a:pt x="84" y="71"/>
                </a:lnTo>
                <a:lnTo>
                  <a:pt x="89" y="85"/>
                </a:lnTo>
                <a:lnTo>
                  <a:pt x="92" y="101"/>
                </a:lnTo>
                <a:lnTo>
                  <a:pt x="94" y="120"/>
                </a:lnTo>
                <a:lnTo>
                  <a:pt x="96" y="143"/>
                </a:lnTo>
                <a:lnTo>
                  <a:pt x="96" y="143"/>
                </a:lnTo>
                <a:lnTo>
                  <a:pt x="96" y="155"/>
                </a:lnTo>
                <a:lnTo>
                  <a:pt x="97" y="167"/>
                </a:lnTo>
                <a:lnTo>
                  <a:pt x="99" y="176"/>
                </a:lnTo>
                <a:lnTo>
                  <a:pt x="103" y="183"/>
                </a:lnTo>
                <a:lnTo>
                  <a:pt x="107" y="189"/>
                </a:lnTo>
                <a:lnTo>
                  <a:pt x="113" y="193"/>
                </a:lnTo>
                <a:lnTo>
                  <a:pt x="122" y="196"/>
                </a:lnTo>
                <a:lnTo>
                  <a:pt x="132" y="198"/>
                </a:lnTo>
                <a:lnTo>
                  <a:pt x="132" y="198"/>
                </a:lnTo>
                <a:lnTo>
                  <a:pt x="132" y="221"/>
                </a:lnTo>
                <a:lnTo>
                  <a:pt x="132" y="221"/>
                </a:lnTo>
                <a:lnTo>
                  <a:pt x="132" y="221"/>
                </a:lnTo>
                <a:lnTo>
                  <a:pt x="124" y="230"/>
                </a:lnTo>
                <a:lnTo>
                  <a:pt x="117" y="238"/>
                </a:lnTo>
                <a:lnTo>
                  <a:pt x="113" y="245"/>
                </a:lnTo>
                <a:lnTo>
                  <a:pt x="111" y="250"/>
                </a:lnTo>
                <a:lnTo>
                  <a:pt x="111" y="253"/>
                </a:lnTo>
                <a:lnTo>
                  <a:pt x="111" y="253"/>
                </a:lnTo>
                <a:lnTo>
                  <a:pt x="111" y="262"/>
                </a:lnTo>
                <a:lnTo>
                  <a:pt x="113" y="270"/>
                </a:lnTo>
                <a:lnTo>
                  <a:pt x="116" y="287"/>
                </a:lnTo>
                <a:lnTo>
                  <a:pt x="120" y="301"/>
                </a:lnTo>
                <a:lnTo>
                  <a:pt x="121" y="310"/>
                </a:lnTo>
                <a:lnTo>
                  <a:pt x="122" y="319"/>
                </a:lnTo>
                <a:lnTo>
                  <a:pt x="122" y="319"/>
                </a:lnTo>
                <a:lnTo>
                  <a:pt x="121" y="321"/>
                </a:lnTo>
                <a:lnTo>
                  <a:pt x="120" y="323"/>
                </a:lnTo>
                <a:lnTo>
                  <a:pt x="115" y="328"/>
                </a:lnTo>
                <a:lnTo>
                  <a:pt x="108" y="334"/>
                </a:lnTo>
                <a:lnTo>
                  <a:pt x="100" y="338"/>
                </a:lnTo>
                <a:lnTo>
                  <a:pt x="84" y="345"/>
                </a:lnTo>
                <a:lnTo>
                  <a:pt x="78" y="348"/>
                </a:lnTo>
                <a:lnTo>
                  <a:pt x="74" y="349"/>
                </a:lnTo>
                <a:lnTo>
                  <a:pt x="74" y="349"/>
                </a:lnTo>
                <a:lnTo>
                  <a:pt x="70" y="348"/>
                </a:lnTo>
                <a:lnTo>
                  <a:pt x="68" y="346"/>
                </a:lnTo>
                <a:lnTo>
                  <a:pt x="63" y="343"/>
                </a:lnTo>
                <a:lnTo>
                  <a:pt x="59" y="339"/>
                </a:lnTo>
                <a:lnTo>
                  <a:pt x="55" y="338"/>
                </a:lnTo>
                <a:lnTo>
                  <a:pt x="52" y="338"/>
                </a:lnTo>
                <a:lnTo>
                  <a:pt x="52" y="338"/>
                </a:lnTo>
                <a:lnTo>
                  <a:pt x="48" y="338"/>
                </a:lnTo>
                <a:lnTo>
                  <a:pt x="45" y="339"/>
                </a:lnTo>
                <a:lnTo>
                  <a:pt x="43" y="342"/>
                </a:lnTo>
                <a:lnTo>
                  <a:pt x="40" y="345"/>
                </a:lnTo>
                <a:lnTo>
                  <a:pt x="38" y="352"/>
                </a:lnTo>
                <a:lnTo>
                  <a:pt x="37" y="360"/>
                </a:lnTo>
                <a:lnTo>
                  <a:pt x="37" y="360"/>
                </a:lnTo>
                <a:lnTo>
                  <a:pt x="38" y="365"/>
                </a:lnTo>
                <a:lnTo>
                  <a:pt x="39" y="371"/>
                </a:lnTo>
                <a:lnTo>
                  <a:pt x="45" y="380"/>
                </a:lnTo>
                <a:lnTo>
                  <a:pt x="50" y="390"/>
                </a:lnTo>
                <a:lnTo>
                  <a:pt x="51" y="395"/>
                </a:lnTo>
                <a:lnTo>
                  <a:pt x="52" y="400"/>
                </a:lnTo>
                <a:lnTo>
                  <a:pt x="52" y="400"/>
                </a:lnTo>
                <a:lnTo>
                  <a:pt x="51" y="406"/>
                </a:lnTo>
                <a:lnTo>
                  <a:pt x="50" y="411"/>
                </a:lnTo>
                <a:lnTo>
                  <a:pt x="47" y="415"/>
                </a:lnTo>
                <a:lnTo>
                  <a:pt x="44" y="419"/>
                </a:lnTo>
                <a:lnTo>
                  <a:pt x="36" y="425"/>
                </a:lnTo>
                <a:lnTo>
                  <a:pt x="27" y="429"/>
                </a:lnTo>
                <a:lnTo>
                  <a:pt x="17" y="435"/>
                </a:lnTo>
                <a:lnTo>
                  <a:pt x="8" y="441"/>
                </a:lnTo>
                <a:lnTo>
                  <a:pt x="6" y="444"/>
                </a:lnTo>
                <a:lnTo>
                  <a:pt x="2" y="449"/>
                </a:lnTo>
                <a:lnTo>
                  <a:pt x="1" y="453"/>
                </a:lnTo>
                <a:lnTo>
                  <a:pt x="0" y="459"/>
                </a:lnTo>
                <a:lnTo>
                  <a:pt x="0" y="459"/>
                </a:lnTo>
                <a:lnTo>
                  <a:pt x="1" y="463"/>
                </a:lnTo>
                <a:lnTo>
                  <a:pt x="2" y="465"/>
                </a:lnTo>
                <a:lnTo>
                  <a:pt x="6" y="471"/>
                </a:lnTo>
                <a:lnTo>
                  <a:pt x="12" y="474"/>
                </a:lnTo>
                <a:lnTo>
                  <a:pt x="17" y="478"/>
                </a:lnTo>
                <a:lnTo>
                  <a:pt x="30" y="483"/>
                </a:lnTo>
                <a:lnTo>
                  <a:pt x="35" y="486"/>
                </a:lnTo>
                <a:lnTo>
                  <a:pt x="37" y="489"/>
                </a:lnTo>
                <a:lnTo>
                  <a:pt x="37" y="489"/>
                </a:lnTo>
                <a:lnTo>
                  <a:pt x="52" y="493"/>
                </a:lnTo>
                <a:lnTo>
                  <a:pt x="52" y="493"/>
                </a:lnTo>
                <a:lnTo>
                  <a:pt x="52" y="493"/>
                </a:lnTo>
                <a:lnTo>
                  <a:pt x="61" y="493"/>
                </a:lnTo>
                <a:lnTo>
                  <a:pt x="70" y="494"/>
                </a:lnTo>
                <a:lnTo>
                  <a:pt x="89" y="499"/>
                </a:lnTo>
                <a:lnTo>
                  <a:pt x="107" y="504"/>
                </a:lnTo>
                <a:lnTo>
                  <a:pt x="116" y="505"/>
                </a:lnTo>
                <a:lnTo>
                  <a:pt x="126" y="506"/>
                </a:lnTo>
                <a:lnTo>
                  <a:pt x="126" y="506"/>
                </a:lnTo>
                <a:lnTo>
                  <a:pt x="155" y="502"/>
                </a:lnTo>
                <a:lnTo>
                  <a:pt x="185" y="499"/>
                </a:lnTo>
                <a:lnTo>
                  <a:pt x="215" y="501"/>
                </a:lnTo>
                <a:lnTo>
                  <a:pt x="243" y="503"/>
                </a:lnTo>
                <a:lnTo>
                  <a:pt x="243" y="503"/>
                </a:lnTo>
                <a:lnTo>
                  <a:pt x="237" y="496"/>
                </a:lnTo>
                <a:lnTo>
                  <a:pt x="234" y="491"/>
                </a:lnTo>
                <a:lnTo>
                  <a:pt x="230" y="488"/>
                </a:lnTo>
                <a:lnTo>
                  <a:pt x="224" y="481"/>
                </a:lnTo>
                <a:lnTo>
                  <a:pt x="224" y="481"/>
                </a:lnTo>
                <a:lnTo>
                  <a:pt x="224" y="412"/>
                </a:lnTo>
                <a:lnTo>
                  <a:pt x="224" y="412"/>
                </a:lnTo>
                <a:lnTo>
                  <a:pt x="224" y="412"/>
                </a:lnTo>
                <a:lnTo>
                  <a:pt x="234" y="414"/>
                </a:lnTo>
                <a:lnTo>
                  <a:pt x="239" y="418"/>
                </a:lnTo>
                <a:lnTo>
                  <a:pt x="245" y="422"/>
                </a:lnTo>
                <a:lnTo>
                  <a:pt x="250" y="426"/>
                </a:lnTo>
                <a:lnTo>
                  <a:pt x="259" y="434"/>
                </a:lnTo>
                <a:lnTo>
                  <a:pt x="265" y="437"/>
                </a:lnTo>
                <a:lnTo>
                  <a:pt x="273" y="441"/>
                </a:lnTo>
                <a:lnTo>
                  <a:pt x="273" y="441"/>
                </a:lnTo>
                <a:lnTo>
                  <a:pt x="276" y="429"/>
                </a:lnTo>
                <a:lnTo>
                  <a:pt x="279" y="419"/>
                </a:lnTo>
                <a:lnTo>
                  <a:pt x="280" y="409"/>
                </a:lnTo>
                <a:lnTo>
                  <a:pt x="281" y="399"/>
                </a:lnTo>
                <a:lnTo>
                  <a:pt x="281" y="379"/>
                </a:lnTo>
                <a:lnTo>
                  <a:pt x="280" y="353"/>
                </a:lnTo>
                <a:lnTo>
                  <a:pt x="280" y="353"/>
                </a:lnTo>
                <a:lnTo>
                  <a:pt x="281" y="322"/>
                </a:lnTo>
                <a:lnTo>
                  <a:pt x="281" y="307"/>
                </a:lnTo>
                <a:lnTo>
                  <a:pt x="280" y="293"/>
                </a:lnTo>
                <a:lnTo>
                  <a:pt x="277" y="280"/>
                </a:lnTo>
                <a:lnTo>
                  <a:pt x="274" y="268"/>
                </a:lnTo>
                <a:lnTo>
                  <a:pt x="271" y="261"/>
                </a:lnTo>
                <a:lnTo>
                  <a:pt x="267" y="255"/>
                </a:lnTo>
                <a:lnTo>
                  <a:pt x="262" y="251"/>
                </a:lnTo>
                <a:lnTo>
                  <a:pt x="258" y="245"/>
                </a:lnTo>
                <a:lnTo>
                  <a:pt x="258" y="245"/>
                </a:lnTo>
                <a:lnTo>
                  <a:pt x="254" y="243"/>
                </a:lnTo>
                <a:lnTo>
                  <a:pt x="250" y="242"/>
                </a:lnTo>
                <a:lnTo>
                  <a:pt x="241" y="238"/>
                </a:lnTo>
                <a:lnTo>
                  <a:pt x="221" y="234"/>
                </a:lnTo>
                <a:lnTo>
                  <a:pt x="213" y="230"/>
                </a:lnTo>
                <a:lnTo>
                  <a:pt x="208" y="228"/>
                </a:lnTo>
                <a:lnTo>
                  <a:pt x="205" y="226"/>
                </a:lnTo>
                <a:lnTo>
                  <a:pt x="203" y="222"/>
                </a:lnTo>
                <a:lnTo>
                  <a:pt x="200" y="217"/>
                </a:lnTo>
                <a:lnTo>
                  <a:pt x="199" y="212"/>
                </a:lnTo>
                <a:lnTo>
                  <a:pt x="199" y="206"/>
                </a:lnTo>
                <a:lnTo>
                  <a:pt x="199" y="206"/>
                </a:lnTo>
                <a:lnTo>
                  <a:pt x="200" y="196"/>
                </a:lnTo>
                <a:lnTo>
                  <a:pt x="203" y="188"/>
                </a:lnTo>
                <a:lnTo>
                  <a:pt x="207" y="181"/>
                </a:lnTo>
                <a:lnTo>
                  <a:pt x="213" y="175"/>
                </a:lnTo>
                <a:lnTo>
                  <a:pt x="226" y="162"/>
                </a:lnTo>
                <a:lnTo>
                  <a:pt x="231" y="155"/>
                </a:lnTo>
                <a:lnTo>
                  <a:pt x="236" y="147"/>
                </a:lnTo>
                <a:lnTo>
                  <a:pt x="236" y="147"/>
                </a:lnTo>
                <a:lnTo>
                  <a:pt x="224" y="136"/>
                </a:lnTo>
                <a:lnTo>
                  <a:pt x="224" y="13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0" name="Freeform 85"/>
          <p:cNvSpPr>
            <a:spLocks/>
          </p:cNvSpPr>
          <p:nvPr/>
        </p:nvSpPr>
        <p:spPr bwMode="auto">
          <a:xfrm>
            <a:off x="614363" y="4759325"/>
            <a:ext cx="455612" cy="550863"/>
          </a:xfrm>
          <a:custGeom>
            <a:avLst/>
            <a:gdLst/>
            <a:ahLst/>
            <a:cxnLst>
              <a:cxn ang="0">
                <a:pos x="482" y="35"/>
              </a:cxn>
              <a:cxn ang="0">
                <a:pos x="448" y="33"/>
              </a:cxn>
              <a:cxn ang="0">
                <a:pos x="404" y="3"/>
              </a:cxn>
              <a:cxn ang="0">
                <a:pos x="375" y="2"/>
              </a:cxn>
              <a:cxn ang="0">
                <a:pos x="375" y="33"/>
              </a:cxn>
              <a:cxn ang="0">
                <a:pos x="323" y="52"/>
              </a:cxn>
              <a:cxn ang="0">
                <a:pos x="311" y="78"/>
              </a:cxn>
              <a:cxn ang="0">
                <a:pos x="283" y="85"/>
              </a:cxn>
              <a:cxn ang="0">
                <a:pos x="261" y="110"/>
              </a:cxn>
              <a:cxn ang="0">
                <a:pos x="235" y="164"/>
              </a:cxn>
              <a:cxn ang="0">
                <a:pos x="199" y="179"/>
              </a:cxn>
              <a:cxn ang="0">
                <a:pos x="170" y="161"/>
              </a:cxn>
              <a:cxn ang="0">
                <a:pos x="124" y="122"/>
              </a:cxn>
              <a:cxn ang="0">
                <a:pos x="108" y="130"/>
              </a:cxn>
              <a:cxn ang="0">
                <a:pos x="86" y="125"/>
              </a:cxn>
              <a:cxn ang="0">
                <a:pos x="59" y="110"/>
              </a:cxn>
              <a:cxn ang="0">
                <a:pos x="12" y="141"/>
              </a:cxn>
              <a:cxn ang="0">
                <a:pos x="44" y="177"/>
              </a:cxn>
              <a:cxn ang="0">
                <a:pos x="89" y="202"/>
              </a:cxn>
              <a:cxn ang="0">
                <a:pos x="85" y="221"/>
              </a:cxn>
              <a:cxn ang="0">
                <a:pos x="25" y="244"/>
              </a:cxn>
              <a:cxn ang="0">
                <a:pos x="71" y="277"/>
              </a:cxn>
              <a:cxn ang="0">
                <a:pos x="120" y="309"/>
              </a:cxn>
              <a:cxn ang="0">
                <a:pos x="114" y="340"/>
              </a:cxn>
              <a:cxn ang="0">
                <a:pos x="97" y="382"/>
              </a:cxn>
              <a:cxn ang="0">
                <a:pos x="116" y="417"/>
              </a:cxn>
              <a:cxn ang="0">
                <a:pos x="137" y="449"/>
              </a:cxn>
              <a:cxn ang="0">
                <a:pos x="130" y="498"/>
              </a:cxn>
              <a:cxn ang="0">
                <a:pos x="150" y="500"/>
              </a:cxn>
              <a:cxn ang="0">
                <a:pos x="174" y="516"/>
              </a:cxn>
              <a:cxn ang="0">
                <a:pos x="199" y="499"/>
              </a:cxn>
              <a:cxn ang="0">
                <a:pos x="230" y="513"/>
              </a:cxn>
              <a:cxn ang="0">
                <a:pos x="250" y="504"/>
              </a:cxn>
              <a:cxn ang="0">
                <a:pos x="273" y="484"/>
              </a:cxn>
              <a:cxn ang="0">
                <a:pos x="288" y="526"/>
              </a:cxn>
              <a:cxn ang="0">
                <a:pos x="327" y="576"/>
              </a:cxn>
              <a:cxn ang="0">
                <a:pos x="345" y="620"/>
              </a:cxn>
              <a:cxn ang="0">
                <a:pos x="379" y="630"/>
              </a:cxn>
              <a:cxn ang="0">
                <a:pos x="398" y="628"/>
              </a:cxn>
              <a:cxn ang="0">
                <a:pos x="407" y="606"/>
              </a:cxn>
              <a:cxn ang="0">
                <a:pos x="420" y="584"/>
              </a:cxn>
              <a:cxn ang="0">
                <a:pos x="494" y="557"/>
              </a:cxn>
              <a:cxn ang="0">
                <a:pos x="518" y="516"/>
              </a:cxn>
              <a:cxn ang="0">
                <a:pos x="501" y="492"/>
              </a:cxn>
              <a:cxn ang="0">
                <a:pos x="482" y="503"/>
              </a:cxn>
              <a:cxn ang="0">
                <a:pos x="471" y="489"/>
              </a:cxn>
              <a:cxn ang="0">
                <a:pos x="467" y="481"/>
              </a:cxn>
              <a:cxn ang="0">
                <a:pos x="448" y="460"/>
              </a:cxn>
              <a:cxn ang="0">
                <a:pos x="412" y="408"/>
              </a:cxn>
              <a:cxn ang="0">
                <a:pos x="422" y="360"/>
              </a:cxn>
              <a:cxn ang="0">
                <a:pos x="414" y="331"/>
              </a:cxn>
              <a:cxn ang="0">
                <a:pos x="394" y="305"/>
              </a:cxn>
              <a:cxn ang="0">
                <a:pos x="421" y="272"/>
              </a:cxn>
              <a:cxn ang="0">
                <a:pos x="458" y="266"/>
              </a:cxn>
              <a:cxn ang="0">
                <a:pos x="503" y="275"/>
              </a:cxn>
              <a:cxn ang="0">
                <a:pos x="516" y="252"/>
              </a:cxn>
              <a:cxn ang="0">
                <a:pos x="516" y="172"/>
              </a:cxn>
              <a:cxn ang="0">
                <a:pos x="545" y="132"/>
              </a:cxn>
              <a:cxn ang="0">
                <a:pos x="559" y="95"/>
              </a:cxn>
              <a:cxn ang="0">
                <a:pos x="539" y="41"/>
              </a:cxn>
              <a:cxn ang="0">
                <a:pos x="518" y="25"/>
              </a:cxn>
            </a:cxnLst>
            <a:rect l="0" t="0" r="r" b="b"/>
            <a:pathLst>
              <a:path w="559" h="632">
                <a:moveTo>
                  <a:pt x="518" y="25"/>
                </a:moveTo>
                <a:lnTo>
                  <a:pt x="518" y="25"/>
                </a:lnTo>
                <a:lnTo>
                  <a:pt x="512" y="26"/>
                </a:lnTo>
                <a:lnTo>
                  <a:pt x="505" y="27"/>
                </a:lnTo>
                <a:lnTo>
                  <a:pt x="494" y="31"/>
                </a:lnTo>
                <a:lnTo>
                  <a:pt x="482" y="35"/>
                </a:lnTo>
                <a:lnTo>
                  <a:pt x="475" y="37"/>
                </a:lnTo>
                <a:lnTo>
                  <a:pt x="467" y="37"/>
                </a:lnTo>
                <a:lnTo>
                  <a:pt x="467" y="37"/>
                </a:lnTo>
                <a:lnTo>
                  <a:pt x="460" y="37"/>
                </a:lnTo>
                <a:lnTo>
                  <a:pt x="453" y="35"/>
                </a:lnTo>
                <a:lnTo>
                  <a:pt x="448" y="33"/>
                </a:lnTo>
                <a:lnTo>
                  <a:pt x="443" y="31"/>
                </a:lnTo>
                <a:lnTo>
                  <a:pt x="434" y="25"/>
                </a:lnTo>
                <a:lnTo>
                  <a:pt x="426" y="18"/>
                </a:lnTo>
                <a:lnTo>
                  <a:pt x="418" y="11"/>
                </a:lnTo>
                <a:lnTo>
                  <a:pt x="409" y="6"/>
                </a:lnTo>
                <a:lnTo>
                  <a:pt x="404" y="3"/>
                </a:lnTo>
                <a:lnTo>
                  <a:pt x="398" y="1"/>
                </a:lnTo>
                <a:lnTo>
                  <a:pt x="392" y="0"/>
                </a:lnTo>
                <a:lnTo>
                  <a:pt x="386" y="0"/>
                </a:lnTo>
                <a:lnTo>
                  <a:pt x="386" y="0"/>
                </a:lnTo>
                <a:lnTo>
                  <a:pt x="380" y="0"/>
                </a:lnTo>
                <a:lnTo>
                  <a:pt x="375" y="2"/>
                </a:lnTo>
                <a:lnTo>
                  <a:pt x="374" y="6"/>
                </a:lnTo>
                <a:lnTo>
                  <a:pt x="374" y="9"/>
                </a:lnTo>
                <a:lnTo>
                  <a:pt x="375" y="19"/>
                </a:lnTo>
                <a:lnTo>
                  <a:pt x="376" y="26"/>
                </a:lnTo>
                <a:lnTo>
                  <a:pt x="375" y="33"/>
                </a:lnTo>
                <a:lnTo>
                  <a:pt x="375" y="33"/>
                </a:lnTo>
                <a:lnTo>
                  <a:pt x="369" y="40"/>
                </a:lnTo>
                <a:lnTo>
                  <a:pt x="363" y="45"/>
                </a:lnTo>
                <a:lnTo>
                  <a:pt x="353" y="48"/>
                </a:lnTo>
                <a:lnTo>
                  <a:pt x="344" y="50"/>
                </a:lnTo>
                <a:lnTo>
                  <a:pt x="335" y="52"/>
                </a:lnTo>
                <a:lnTo>
                  <a:pt x="323" y="52"/>
                </a:lnTo>
                <a:lnTo>
                  <a:pt x="302" y="52"/>
                </a:lnTo>
                <a:lnTo>
                  <a:pt x="302" y="52"/>
                </a:lnTo>
                <a:lnTo>
                  <a:pt x="303" y="57"/>
                </a:lnTo>
                <a:lnTo>
                  <a:pt x="304" y="63"/>
                </a:lnTo>
                <a:lnTo>
                  <a:pt x="307" y="71"/>
                </a:lnTo>
                <a:lnTo>
                  <a:pt x="311" y="78"/>
                </a:lnTo>
                <a:lnTo>
                  <a:pt x="312" y="83"/>
                </a:lnTo>
                <a:lnTo>
                  <a:pt x="313" y="88"/>
                </a:lnTo>
                <a:lnTo>
                  <a:pt x="313" y="88"/>
                </a:lnTo>
                <a:lnTo>
                  <a:pt x="303" y="88"/>
                </a:lnTo>
                <a:lnTo>
                  <a:pt x="295" y="87"/>
                </a:lnTo>
                <a:lnTo>
                  <a:pt x="283" y="85"/>
                </a:lnTo>
                <a:lnTo>
                  <a:pt x="277" y="84"/>
                </a:lnTo>
                <a:lnTo>
                  <a:pt x="273" y="84"/>
                </a:lnTo>
                <a:lnTo>
                  <a:pt x="268" y="85"/>
                </a:lnTo>
                <a:lnTo>
                  <a:pt x="261" y="88"/>
                </a:lnTo>
                <a:lnTo>
                  <a:pt x="261" y="88"/>
                </a:lnTo>
                <a:lnTo>
                  <a:pt x="261" y="110"/>
                </a:lnTo>
                <a:lnTo>
                  <a:pt x="261" y="110"/>
                </a:lnTo>
                <a:lnTo>
                  <a:pt x="260" y="121"/>
                </a:lnTo>
                <a:lnTo>
                  <a:pt x="257" y="132"/>
                </a:lnTo>
                <a:lnTo>
                  <a:pt x="251" y="144"/>
                </a:lnTo>
                <a:lnTo>
                  <a:pt x="244" y="154"/>
                </a:lnTo>
                <a:lnTo>
                  <a:pt x="235" y="164"/>
                </a:lnTo>
                <a:lnTo>
                  <a:pt x="230" y="169"/>
                </a:lnTo>
                <a:lnTo>
                  <a:pt x="224" y="172"/>
                </a:lnTo>
                <a:lnTo>
                  <a:pt x="219" y="176"/>
                </a:lnTo>
                <a:lnTo>
                  <a:pt x="212" y="178"/>
                </a:lnTo>
                <a:lnTo>
                  <a:pt x="206" y="179"/>
                </a:lnTo>
                <a:lnTo>
                  <a:pt x="199" y="179"/>
                </a:lnTo>
                <a:lnTo>
                  <a:pt x="199" y="179"/>
                </a:lnTo>
                <a:lnTo>
                  <a:pt x="193" y="179"/>
                </a:lnTo>
                <a:lnTo>
                  <a:pt x="189" y="177"/>
                </a:lnTo>
                <a:lnTo>
                  <a:pt x="184" y="175"/>
                </a:lnTo>
                <a:lnTo>
                  <a:pt x="180" y="170"/>
                </a:lnTo>
                <a:lnTo>
                  <a:pt x="170" y="161"/>
                </a:lnTo>
                <a:lnTo>
                  <a:pt x="161" y="151"/>
                </a:lnTo>
                <a:lnTo>
                  <a:pt x="152" y="139"/>
                </a:lnTo>
                <a:lnTo>
                  <a:pt x="142" y="130"/>
                </a:lnTo>
                <a:lnTo>
                  <a:pt x="137" y="126"/>
                </a:lnTo>
                <a:lnTo>
                  <a:pt x="131" y="123"/>
                </a:lnTo>
                <a:lnTo>
                  <a:pt x="124" y="122"/>
                </a:lnTo>
                <a:lnTo>
                  <a:pt x="117" y="121"/>
                </a:lnTo>
                <a:lnTo>
                  <a:pt x="117" y="121"/>
                </a:lnTo>
                <a:lnTo>
                  <a:pt x="116" y="122"/>
                </a:lnTo>
                <a:lnTo>
                  <a:pt x="115" y="123"/>
                </a:lnTo>
                <a:lnTo>
                  <a:pt x="112" y="126"/>
                </a:lnTo>
                <a:lnTo>
                  <a:pt x="108" y="130"/>
                </a:lnTo>
                <a:lnTo>
                  <a:pt x="106" y="131"/>
                </a:lnTo>
                <a:lnTo>
                  <a:pt x="104" y="132"/>
                </a:lnTo>
                <a:lnTo>
                  <a:pt x="104" y="132"/>
                </a:lnTo>
                <a:lnTo>
                  <a:pt x="97" y="131"/>
                </a:lnTo>
                <a:lnTo>
                  <a:pt x="91" y="129"/>
                </a:lnTo>
                <a:lnTo>
                  <a:pt x="86" y="125"/>
                </a:lnTo>
                <a:lnTo>
                  <a:pt x="82" y="121"/>
                </a:lnTo>
                <a:lnTo>
                  <a:pt x="77" y="117"/>
                </a:lnTo>
                <a:lnTo>
                  <a:pt x="71" y="114"/>
                </a:lnTo>
                <a:lnTo>
                  <a:pt x="66" y="111"/>
                </a:lnTo>
                <a:lnTo>
                  <a:pt x="59" y="110"/>
                </a:lnTo>
                <a:lnTo>
                  <a:pt x="59" y="110"/>
                </a:lnTo>
                <a:lnTo>
                  <a:pt x="51" y="111"/>
                </a:lnTo>
                <a:lnTo>
                  <a:pt x="43" y="115"/>
                </a:lnTo>
                <a:lnTo>
                  <a:pt x="33" y="121"/>
                </a:lnTo>
                <a:lnTo>
                  <a:pt x="25" y="126"/>
                </a:lnTo>
                <a:lnTo>
                  <a:pt x="18" y="134"/>
                </a:lnTo>
                <a:lnTo>
                  <a:pt x="12" y="141"/>
                </a:lnTo>
                <a:lnTo>
                  <a:pt x="0" y="154"/>
                </a:lnTo>
                <a:lnTo>
                  <a:pt x="0" y="154"/>
                </a:lnTo>
                <a:lnTo>
                  <a:pt x="12" y="163"/>
                </a:lnTo>
                <a:lnTo>
                  <a:pt x="23" y="169"/>
                </a:lnTo>
                <a:lnTo>
                  <a:pt x="33" y="174"/>
                </a:lnTo>
                <a:lnTo>
                  <a:pt x="44" y="177"/>
                </a:lnTo>
                <a:lnTo>
                  <a:pt x="62" y="183"/>
                </a:lnTo>
                <a:lnTo>
                  <a:pt x="69" y="185"/>
                </a:lnTo>
                <a:lnTo>
                  <a:pt x="74" y="187"/>
                </a:lnTo>
                <a:lnTo>
                  <a:pt x="74" y="187"/>
                </a:lnTo>
                <a:lnTo>
                  <a:pt x="85" y="198"/>
                </a:lnTo>
                <a:lnTo>
                  <a:pt x="89" y="202"/>
                </a:lnTo>
                <a:lnTo>
                  <a:pt x="91" y="207"/>
                </a:lnTo>
                <a:lnTo>
                  <a:pt x="92" y="210"/>
                </a:lnTo>
                <a:lnTo>
                  <a:pt x="92" y="214"/>
                </a:lnTo>
                <a:lnTo>
                  <a:pt x="91" y="216"/>
                </a:lnTo>
                <a:lnTo>
                  <a:pt x="89" y="218"/>
                </a:lnTo>
                <a:lnTo>
                  <a:pt x="85" y="221"/>
                </a:lnTo>
                <a:lnTo>
                  <a:pt x="81" y="223"/>
                </a:lnTo>
                <a:lnTo>
                  <a:pt x="67" y="224"/>
                </a:lnTo>
                <a:lnTo>
                  <a:pt x="48" y="223"/>
                </a:lnTo>
                <a:lnTo>
                  <a:pt x="27" y="221"/>
                </a:lnTo>
                <a:lnTo>
                  <a:pt x="27" y="221"/>
                </a:lnTo>
                <a:lnTo>
                  <a:pt x="25" y="244"/>
                </a:lnTo>
                <a:lnTo>
                  <a:pt x="24" y="258"/>
                </a:lnTo>
                <a:lnTo>
                  <a:pt x="27" y="272"/>
                </a:lnTo>
                <a:lnTo>
                  <a:pt x="27" y="272"/>
                </a:lnTo>
                <a:lnTo>
                  <a:pt x="40" y="271"/>
                </a:lnTo>
                <a:lnTo>
                  <a:pt x="55" y="274"/>
                </a:lnTo>
                <a:lnTo>
                  <a:pt x="71" y="277"/>
                </a:lnTo>
                <a:lnTo>
                  <a:pt x="86" y="283"/>
                </a:lnTo>
                <a:lnTo>
                  <a:pt x="100" y="291"/>
                </a:lnTo>
                <a:lnTo>
                  <a:pt x="107" y="294"/>
                </a:lnTo>
                <a:lnTo>
                  <a:pt x="112" y="299"/>
                </a:lnTo>
                <a:lnTo>
                  <a:pt x="116" y="304"/>
                </a:lnTo>
                <a:lnTo>
                  <a:pt x="120" y="309"/>
                </a:lnTo>
                <a:lnTo>
                  <a:pt x="121" y="314"/>
                </a:lnTo>
                <a:lnTo>
                  <a:pt x="122" y="320"/>
                </a:lnTo>
                <a:lnTo>
                  <a:pt x="122" y="320"/>
                </a:lnTo>
                <a:lnTo>
                  <a:pt x="121" y="327"/>
                </a:lnTo>
                <a:lnTo>
                  <a:pt x="119" y="333"/>
                </a:lnTo>
                <a:lnTo>
                  <a:pt x="114" y="340"/>
                </a:lnTo>
                <a:lnTo>
                  <a:pt x="109" y="346"/>
                </a:lnTo>
                <a:lnTo>
                  <a:pt x="105" y="353"/>
                </a:lnTo>
                <a:lnTo>
                  <a:pt x="100" y="361"/>
                </a:lnTo>
                <a:lnTo>
                  <a:pt x="98" y="370"/>
                </a:lnTo>
                <a:lnTo>
                  <a:pt x="97" y="382"/>
                </a:lnTo>
                <a:lnTo>
                  <a:pt x="97" y="382"/>
                </a:lnTo>
                <a:lnTo>
                  <a:pt x="97" y="388"/>
                </a:lnTo>
                <a:lnTo>
                  <a:pt x="98" y="393"/>
                </a:lnTo>
                <a:lnTo>
                  <a:pt x="100" y="398"/>
                </a:lnTo>
                <a:lnTo>
                  <a:pt x="102" y="403"/>
                </a:lnTo>
                <a:lnTo>
                  <a:pt x="109" y="411"/>
                </a:lnTo>
                <a:lnTo>
                  <a:pt x="116" y="417"/>
                </a:lnTo>
                <a:lnTo>
                  <a:pt x="124" y="424"/>
                </a:lnTo>
                <a:lnTo>
                  <a:pt x="130" y="431"/>
                </a:lnTo>
                <a:lnTo>
                  <a:pt x="135" y="439"/>
                </a:lnTo>
                <a:lnTo>
                  <a:pt x="136" y="444"/>
                </a:lnTo>
                <a:lnTo>
                  <a:pt x="137" y="449"/>
                </a:lnTo>
                <a:lnTo>
                  <a:pt x="137" y="449"/>
                </a:lnTo>
                <a:lnTo>
                  <a:pt x="136" y="461"/>
                </a:lnTo>
                <a:lnTo>
                  <a:pt x="134" y="474"/>
                </a:lnTo>
                <a:lnTo>
                  <a:pt x="130" y="487"/>
                </a:lnTo>
                <a:lnTo>
                  <a:pt x="129" y="499"/>
                </a:lnTo>
                <a:lnTo>
                  <a:pt x="129" y="499"/>
                </a:lnTo>
                <a:lnTo>
                  <a:pt x="130" y="498"/>
                </a:lnTo>
                <a:lnTo>
                  <a:pt x="132" y="498"/>
                </a:lnTo>
                <a:lnTo>
                  <a:pt x="136" y="499"/>
                </a:lnTo>
                <a:lnTo>
                  <a:pt x="140" y="499"/>
                </a:lnTo>
                <a:lnTo>
                  <a:pt x="140" y="499"/>
                </a:lnTo>
                <a:lnTo>
                  <a:pt x="145" y="500"/>
                </a:lnTo>
                <a:lnTo>
                  <a:pt x="150" y="500"/>
                </a:lnTo>
                <a:lnTo>
                  <a:pt x="154" y="503"/>
                </a:lnTo>
                <a:lnTo>
                  <a:pt x="158" y="505"/>
                </a:lnTo>
                <a:lnTo>
                  <a:pt x="166" y="512"/>
                </a:lnTo>
                <a:lnTo>
                  <a:pt x="174" y="521"/>
                </a:lnTo>
                <a:lnTo>
                  <a:pt x="174" y="521"/>
                </a:lnTo>
                <a:lnTo>
                  <a:pt x="174" y="516"/>
                </a:lnTo>
                <a:lnTo>
                  <a:pt x="176" y="512"/>
                </a:lnTo>
                <a:lnTo>
                  <a:pt x="178" y="508"/>
                </a:lnTo>
                <a:lnTo>
                  <a:pt x="182" y="505"/>
                </a:lnTo>
                <a:lnTo>
                  <a:pt x="186" y="503"/>
                </a:lnTo>
                <a:lnTo>
                  <a:pt x="190" y="500"/>
                </a:lnTo>
                <a:lnTo>
                  <a:pt x="199" y="499"/>
                </a:lnTo>
                <a:lnTo>
                  <a:pt x="199" y="499"/>
                </a:lnTo>
                <a:lnTo>
                  <a:pt x="205" y="500"/>
                </a:lnTo>
                <a:lnTo>
                  <a:pt x="209" y="501"/>
                </a:lnTo>
                <a:lnTo>
                  <a:pt x="218" y="507"/>
                </a:lnTo>
                <a:lnTo>
                  <a:pt x="226" y="512"/>
                </a:lnTo>
                <a:lnTo>
                  <a:pt x="230" y="513"/>
                </a:lnTo>
                <a:lnTo>
                  <a:pt x="236" y="514"/>
                </a:lnTo>
                <a:lnTo>
                  <a:pt x="236" y="514"/>
                </a:lnTo>
                <a:lnTo>
                  <a:pt x="241" y="513"/>
                </a:lnTo>
                <a:lnTo>
                  <a:pt x="244" y="511"/>
                </a:lnTo>
                <a:lnTo>
                  <a:pt x="247" y="508"/>
                </a:lnTo>
                <a:lnTo>
                  <a:pt x="250" y="504"/>
                </a:lnTo>
                <a:lnTo>
                  <a:pt x="253" y="495"/>
                </a:lnTo>
                <a:lnTo>
                  <a:pt x="255" y="489"/>
                </a:lnTo>
                <a:lnTo>
                  <a:pt x="258" y="484"/>
                </a:lnTo>
                <a:lnTo>
                  <a:pt x="258" y="484"/>
                </a:lnTo>
                <a:lnTo>
                  <a:pt x="273" y="484"/>
                </a:lnTo>
                <a:lnTo>
                  <a:pt x="273" y="484"/>
                </a:lnTo>
                <a:lnTo>
                  <a:pt x="273" y="484"/>
                </a:lnTo>
                <a:lnTo>
                  <a:pt x="273" y="492"/>
                </a:lnTo>
                <a:lnTo>
                  <a:pt x="275" y="500"/>
                </a:lnTo>
                <a:lnTo>
                  <a:pt x="276" y="507"/>
                </a:lnTo>
                <a:lnTo>
                  <a:pt x="280" y="514"/>
                </a:lnTo>
                <a:lnTo>
                  <a:pt x="288" y="526"/>
                </a:lnTo>
                <a:lnTo>
                  <a:pt x="296" y="536"/>
                </a:lnTo>
                <a:lnTo>
                  <a:pt x="314" y="556"/>
                </a:lnTo>
                <a:lnTo>
                  <a:pt x="322" y="566"/>
                </a:lnTo>
                <a:lnTo>
                  <a:pt x="325" y="572"/>
                </a:lnTo>
                <a:lnTo>
                  <a:pt x="327" y="576"/>
                </a:lnTo>
                <a:lnTo>
                  <a:pt x="327" y="576"/>
                </a:lnTo>
                <a:lnTo>
                  <a:pt x="329" y="584"/>
                </a:lnTo>
                <a:lnTo>
                  <a:pt x="331" y="592"/>
                </a:lnTo>
                <a:lnTo>
                  <a:pt x="334" y="607"/>
                </a:lnTo>
                <a:lnTo>
                  <a:pt x="336" y="613"/>
                </a:lnTo>
                <a:lnTo>
                  <a:pt x="339" y="617"/>
                </a:lnTo>
                <a:lnTo>
                  <a:pt x="345" y="620"/>
                </a:lnTo>
                <a:lnTo>
                  <a:pt x="353" y="621"/>
                </a:lnTo>
                <a:lnTo>
                  <a:pt x="353" y="621"/>
                </a:lnTo>
                <a:lnTo>
                  <a:pt x="358" y="621"/>
                </a:lnTo>
                <a:lnTo>
                  <a:pt x="363" y="622"/>
                </a:lnTo>
                <a:lnTo>
                  <a:pt x="372" y="626"/>
                </a:lnTo>
                <a:lnTo>
                  <a:pt x="379" y="630"/>
                </a:lnTo>
                <a:lnTo>
                  <a:pt x="382" y="632"/>
                </a:lnTo>
                <a:lnTo>
                  <a:pt x="386" y="632"/>
                </a:lnTo>
                <a:lnTo>
                  <a:pt x="386" y="632"/>
                </a:lnTo>
                <a:lnTo>
                  <a:pt x="391" y="632"/>
                </a:lnTo>
                <a:lnTo>
                  <a:pt x="395" y="630"/>
                </a:lnTo>
                <a:lnTo>
                  <a:pt x="398" y="628"/>
                </a:lnTo>
                <a:lnTo>
                  <a:pt x="400" y="626"/>
                </a:lnTo>
                <a:lnTo>
                  <a:pt x="403" y="623"/>
                </a:lnTo>
                <a:lnTo>
                  <a:pt x="404" y="619"/>
                </a:lnTo>
                <a:lnTo>
                  <a:pt x="405" y="610"/>
                </a:lnTo>
                <a:lnTo>
                  <a:pt x="405" y="610"/>
                </a:lnTo>
                <a:lnTo>
                  <a:pt x="407" y="606"/>
                </a:lnTo>
                <a:lnTo>
                  <a:pt x="409" y="603"/>
                </a:lnTo>
                <a:lnTo>
                  <a:pt x="410" y="596"/>
                </a:lnTo>
                <a:lnTo>
                  <a:pt x="411" y="592"/>
                </a:lnTo>
                <a:lnTo>
                  <a:pt x="412" y="589"/>
                </a:lnTo>
                <a:lnTo>
                  <a:pt x="415" y="585"/>
                </a:lnTo>
                <a:lnTo>
                  <a:pt x="420" y="584"/>
                </a:lnTo>
                <a:lnTo>
                  <a:pt x="420" y="584"/>
                </a:lnTo>
                <a:lnTo>
                  <a:pt x="437" y="577"/>
                </a:lnTo>
                <a:lnTo>
                  <a:pt x="456" y="573"/>
                </a:lnTo>
                <a:lnTo>
                  <a:pt x="472" y="567"/>
                </a:lnTo>
                <a:lnTo>
                  <a:pt x="487" y="560"/>
                </a:lnTo>
                <a:lnTo>
                  <a:pt x="494" y="557"/>
                </a:lnTo>
                <a:lnTo>
                  <a:pt x="499" y="552"/>
                </a:lnTo>
                <a:lnTo>
                  <a:pt x="505" y="546"/>
                </a:lnTo>
                <a:lnTo>
                  <a:pt x="510" y="541"/>
                </a:lnTo>
                <a:lnTo>
                  <a:pt x="513" y="534"/>
                </a:lnTo>
                <a:lnTo>
                  <a:pt x="516" y="526"/>
                </a:lnTo>
                <a:lnTo>
                  <a:pt x="518" y="516"/>
                </a:lnTo>
                <a:lnTo>
                  <a:pt x="518" y="506"/>
                </a:lnTo>
                <a:lnTo>
                  <a:pt x="518" y="506"/>
                </a:lnTo>
                <a:lnTo>
                  <a:pt x="518" y="492"/>
                </a:lnTo>
                <a:lnTo>
                  <a:pt x="518" y="492"/>
                </a:lnTo>
                <a:lnTo>
                  <a:pt x="501" y="492"/>
                </a:lnTo>
                <a:lnTo>
                  <a:pt x="501" y="492"/>
                </a:lnTo>
                <a:lnTo>
                  <a:pt x="501" y="492"/>
                </a:lnTo>
                <a:lnTo>
                  <a:pt x="496" y="497"/>
                </a:lnTo>
                <a:lnTo>
                  <a:pt x="494" y="500"/>
                </a:lnTo>
                <a:lnTo>
                  <a:pt x="490" y="503"/>
                </a:lnTo>
                <a:lnTo>
                  <a:pt x="482" y="503"/>
                </a:lnTo>
                <a:lnTo>
                  <a:pt x="482" y="503"/>
                </a:lnTo>
                <a:lnTo>
                  <a:pt x="479" y="503"/>
                </a:lnTo>
                <a:lnTo>
                  <a:pt x="475" y="501"/>
                </a:lnTo>
                <a:lnTo>
                  <a:pt x="473" y="499"/>
                </a:lnTo>
                <a:lnTo>
                  <a:pt x="472" y="497"/>
                </a:lnTo>
                <a:lnTo>
                  <a:pt x="471" y="492"/>
                </a:lnTo>
                <a:lnTo>
                  <a:pt x="471" y="489"/>
                </a:lnTo>
                <a:lnTo>
                  <a:pt x="471" y="489"/>
                </a:lnTo>
                <a:lnTo>
                  <a:pt x="471" y="489"/>
                </a:lnTo>
                <a:lnTo>
                  <a:pt x="470" y="489"/>
                </a:lnTo>
                <a:lnTo>
                  <a:pt x="467" y="487"/>
                </a:lnTo>
                <a:lnTo>
                  <a:pt x="467" y="481"/>
                </a:lnTo>
                <a:lnTo>
                  <a:pt x="467" y="481"/>
                </a:lnTo>
                <a:lnTo>
                  <a:pt x="464" y="467"/>
                </a:lnTo>
                <a:lnTo>
                  <a:pt x="464" y="467"/>
                </a:lnTo>
                <a:lnTo>
                  <a:pt x="464" y="467"/>
                </a:lnTo>
                <a:lnTo>
                  <a:pt x="460" y="466"/>
                </a:lnTo>
                <a:lnTo>
                  <a:pt x="456" y="465"/>
                </a:lnTo>
                <a:lnTo>
                  <a:pt x="448" y="460"/>
                </a:lnTo>
                <a:lnTo>
                  <a:pt x="440" y="453"/>
                </a:lnTo>
                <a:lnTo>
                  <a:pt x="430" y="445"/>
                </a:lnTo>
                <a:lnTo>
                  <a:pt x="423" y="436"/>
                </a:lnTo>
                <a:lnTo>
                  <a:pt x="418" y="427"/>
                </a:lnTo>
                <a:lnTo>
                  <a:pt x="413" y="416"/>
                </a:lnTo>
                <a:lnTo>
                  <a:pt x="412" y="408"/>
                </a:lnTo>
                <a:lnTo>
                  <a:pt x="412" y="408"/>
                </a:lnTo>
                <a:lnTo>
                  <a:pt x="412" y="400"/>
                </a:lnTo>
                <a:lnTo>
                  <a:pt x="413" y="393"/>
                </a:lnTo>
                <a:lnTo>
                  <a:pt x="418" y="381"/>
                </a:lnTo>
                <a:lnTo>
                  <a:pt x="421" y="367"/>
                </a:lnTo>
                <a:lnTo>
                  <a:pt x="422" y="360"/>
                </a:lnTo>
                <a:lnTo>
                  <a:pt x="423" y="353"/>
                </a:lnTo>
                <a:lnTo>
                  <a:pt x="423" y="353"/>
                </a:lnTo>
                <a:lnTo>
                  <a:pt x="422" y="348"/>
                </a:lnTo>
                <a:lnTo>
                  <a:pt x="422" y="344"/>
                </a:lnTo>
                <a:lnTo>
                  <a:pt x="419" y="337"/>
                </a:lnTo>
                <a:lnTo>
                  <a:pt x="414" y="331"/>
                </a:lnTo>
                <a:lnTo>
                  <a:pt x="409" y="325"/>
                </a:lnTo>
                <a:lnTo>
                  <a:pt x="403" y="321"/>
                </a:lnTo>
                <a:lnTo>
                  <a:pt x="398" y="316"/>
                </a:lnTo>
                <a:lnTo>
                  <a:pt x="395" y="312"/>
                </a:lnTo>
                <a:lnTo>
                  <a:pt x="394" y="305"/>
                </a:lnTo>
                <a:lnTo>
                  <a:pt x="394" y="305"/>
                </a:lnTo>
                <a:lnTo>
                  <a:pt x="394" y="301"/>
                </a:lnTo>
                <a:lnTo>
                  <a:pt x="395" y="298"/>
                </a:lnTo>
                <a:lnTo>
                  <a:pt x="399" y="291"/>
                </a:lnTo>
                <a:lnTo>
                  <a:pt x="405" y="284"/>
                </a:lnTo>
                <a:lnTo>
                  <a:pt x="412" y="278"/>
                </a:lnTo>
                <a:lnTo>
                  <a:pt x="421" y="272"/>
                </a:lnTo>
                <a:lnTo>
                  <a:pt x="429" y="268"/>
                </a:lnTo>
                <a:lnTo>
                  <a:pt x="437" y="266"/>
                </a:lnTo>
                <a:lnTo>
                  <a:pt x="445" y="264"/>
                </a:lnTo>
                <a:lnTo>
                  <a:pt x="445" y="264"/>
                </a:lnTo>
                <a:lnTo>
                  <a:pt x="451" y="264"/>
                </a:lnTo>
                <a:lnTo>
                  <a:pt x="458" y="266"/>
                </a:lnTo>
                <a:lnTo>
                  <a:pt x="470" y="270"/>
                </a:lnTo>
                <a:lnTo>
                  <a:pt x="480" y="274"/>
                </a:lnTo>
                <a:lnTo>
                  <a:pt x="487" y="275"/>
                </a:lnTo>
                <a:lnTo>
                  <a:pt x="494" y="276"/>
                </a:lnTo>
                <a:lnTo>
                  <a:pt x="494" y="276"/>
                </a:lnTo>
                <a:lnTo>
                  <a:pt x="503" y="275"/>
                </a:lnTo>
                <a:lnTo>
                  <a:pt x="506" y="272"/>
                </a:lnTo>
                <a:lnTo>
                  <a:pt x="509" y="271"/>
                </a:lnTo>
                <a:lnTo>
                  <a:pt x="511" y="269"/>
                </a:lnTo>
                <a:lnTo>
                  <a:pt x="513" y="266"/>
                </a:lnTo>
                <a:lnTo>
                  <a:pt x="516" y="260"/>
                </a:lnTo>
                <a:lnTo>
                  <a:pt x="516" y="252"/>
                </a:lnTo>
                <a:lnTo>
                  <a:pt x="516" y="243"/>
                </a:lnTo>
                <a:lnTo>
                  <a:pt x="514" y="224"/>
                </a:lnTo>
                <a:lnTo>
                  <a:pt x="514" y="224"/>
                </a:lnTo>
                <a:lnTo>
                  <a:pt x="514" y="179"/>
                </a:lnTo>
                <a:lnTo>
                  <a:pt x="514" y="179"/>
                </a:lnTo>
                <a:lnTo>
                  <a:pt x="516" y="172"/>
                </a:lnTo>
                <a:lnTo>
                  <a:pt x="517" y="167"/>
                </a:lnTo>
                <a:lnTo>
                  <a:pt x="519" y="161"/>
                </a:lnTo>
                <a:lnTo>
                  <a:pt x="521" y="156"/>
                </a:lnTo>
                <a:lnTo>
                  <a:pt x="529" y="148"/>
                </a:lnTo>
                <a:lnTo>
                  <a:pt x="537" y="140"/>
                </a:lnTo>
                <a:lnTo>
                  <a:pt x="545" y="132"/>
                </a:lnTo>
                <a:lnTo>
                  <a:pt x="552" y="123"/>
                </a:lnTo>
                <a:lnTo>
                  <a:pt x="555" y="117"/>
                </a:lnTo>
                <a:lnTo>
                  <a:pt x="557" y="111"/>
                </a:lnTo>
                <a:lnTo>
                  <a:pt x="558" y="104"/>
                </a:lnTo>
                <a:lnTo>
                  <a:pt x="559" y="95"/>
                </a:lnTo>
                <a:lnTo>
                  <a:pt x="559" y="95"/>
                </a:lnTo>
                <a:lnTo>
                  <a:pt x="558" y="86"/>
                </a:lnTo>
                <a:lnTo>
                  <a:pt x="556" y="78"/>
                </a:lnTo>
                <a:lnTo>
                  <a:pt x="552" y="70"/>
                </a:lnTo>
                <a:lnTo>
                  <a:pt x="548" y="63"/>
                </a:lnTo>
                <a:lnTo>
                  <a:pt x="541" y="48"/>
                </a:lnTo>
                <a:lnTo>
                  <a:pt x="539" y="41"/>
                </a:lnTo>
                <a:lnTo>
                  <a:pt x="537" y="33"/>
                </a:lnTo>
                <a:lnTo>
                  <a:pt x="537" y="33"/>
                </a:lnTo>
                <a:lnTo>
                  <a:pt x="531" y="29"/>
                </a:lnTo>
                <a:lnTo>
                  <a:pt x="525" y="26"/>
                </a:lnTo>
                <a:lnTo>
                  <a:pt x="518" y="25"/>
                </a:lnTo>
                <a:lnTo>
                  <a:pt x="518" y="25"/>
                </a:lnTo>
                <a:lnTo>
                  <a:pt x="518" y="2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1" name="Freeform 86"/>
          <p:cNvSpPr>
            <a:spLocks/>
          </p:cNvSpPr>
          <p:nvPr/>
        </p:nvSpPr>
        <p:spPr bwMode="auto">
          <a:xfrm>
            <a:off x="733425" y="4346575"/>
            <a:ext cx="250825" cy="352425"/>
          </a:xfrm>
          <a:custGeom>
            <a:avLst/>
            <a:gdLst/>
            <a:ahLst/>
            <a:cxnLst>
              <a:cxn ang="0">
                <a:pos x="204" y="393"/>
              </a:cxn>
              <a:cxn ang="0">
                <a:pos x="214" y="366"/>
              </a:cxn>
              <a:cxn ang="0">
                <a:pos x="241" y="337"/>
              </a:cxn>
              <a:cxn ang="0">
                <a:pos x="267" y="310"/>
              </a:cxn>
              <a:cxn ang="0">
                <a:pos x="279" y="285"/>
              </a:cxn>
              <a:cxn ang="0">
                <a:pos x="279" y="269"/>
              </a:cxn>
              <a:cxn ang="0">
                <a:pos x="273" y="253"/>
              </a:cxn>
              <a:cxn ang="0">
                <a:pos x="276" y="248"/>
              </a:cxn>
              <a:cxn ang="0">
                <a:pos x="296" y="229"/>
              </a:cxn>
              <a:cxn ang="0">
                <a:pos x="296" y="223"/>
              </a:cxn>
              <a:cxn ang="0">
                <a:pos x="273" y="202"/>
              </a:cxn>
              <a:cxn ang="0">
                <a:pos x="274" y="195"/>
              </a:cxn>
              <a:cxn ang="0">
                <a:pos x="287" y="184"/>
              </a:cxn>
              <a:cxn ang="0">
                <a:pos x="286" y="175"/>
              </a:cxn>
              <a:cxn ang="0">
                <a:pos x="283" y="165"/>
              </a:cxn>
              <a:cxn ang="0">
                <a:pos x="297" y="140"/>
              </a:cxn>
              <a:cxn ang="0">
                <a:pos x="289" y="117"/>
              </a:cxn>
              <a:cxn ang="0">
                <a:pos x="239" y="103"/>
              </a:cxn>
              <a:cxn ang="0">
                <a:pos x="166" y="81"/>
              </a:cxn>
              <a:cxn ang="0">
                <a:pos x="157" y="77"/>
              </a:cxn>
              <a:cxn ang="0">
                <a:pos x="140" y="50"/>
              </a:cxn>
              <a:cxn ang="0">
                <a:pos x="125" y="30"/>
              </a:cxn>
              <a:cxn ang="0">
                <a:pos x="111" y="26"/>
              </a:cxn>
              <a:cxn ang="0">
                <a:pos x="85" y="26"/>
              </a:cxn>
              <a:cxn ang="0">
                <a:pos x="71" y="20"/>
              </a:cxn>
              <a:cxn ang="0">
                <a:pos x="59" y="4"/>
              </a:cxn>
              <a:cxn ang="0">
                <a:pos x="51" y="4"/>
              </a:cxn>
              <a:cxn ang="0">
                <a:pos x="42" y="20"/>
              </a:cxn>
              <a:cxn ang="0">
                <a:pos x="34" y="40"/>
              </a:cxn>
              <a:cxn ang="0">
                <a:pos x="26" y="49"/>
              </a:cxn>
              <a:cxn ang="0">
                <a:pos x="5" y="65"/>
              </a:cxn>
              <a:cxn ang="0">
                <a:pos x="0" y="77"/>
              </a:cxn>
              <a:cxn ang="0">
                <a:pos x="3" y="93"/>
              </a:cxn>
              <a:cxn ang="0">
                <a:pos x="11" y="102"/>
              </a:cxn>
              <a:cxn ang="0">
                <a:pos x="36" y="112"/>
              </a:cxn>
              <a:cxn ang="0">
                <a:pos x="45" y="127"/>
              </a:cxn>
              <a:cxn ang="0">
                <a:pos x="49" y="153"/>
              </a:cxn>
              <a:cxn ang="0">
                <a:pos x="53" y="173"/>
              </a:cxn>
              <a:cxn ang="0">
                <a:pos x="66" y="184"/>
              </a:cxn>
              <a:cxn ang="0">
                <a:pos x="105" y="194"/>
              </a:cxn>
              <a:cxn ang="0">
                <a:pos x="119" y="203"/>
              </a:cxn>
              <a:cxn ang="0">
                <a:pos x="121" y="209"/>
              </a:cxn>
              <a:cxn ang="0">
                <a:pos x="120" y="262"/>
              </a:cxn>
              <a:cxn ang="0">
                <a:pos x="120" y="285"/>
              </a:cxn>
              <a:cxn ang="0">
                <a:pos x="126" y="298"/>
              </a:cxn>
              <a:cxn ang="0">
                <a:pos x="138" y="309"/>
              </a:cxn>
              <a:cxn ang="0">
                <a:pos x="155" y="314"/>
              </a:cxn>
              <a:cxn ang="0">
                <a:pos x="163" y="323"/>
              </a:cxn>
              <a:cxn ang="0">
                <a:pos x="203" y="405"/>
              </a:cxn>
            </a:cxnLst>
            <a:rect l="0" t="0" r="r" b="b"/>
            <a:pathLst>
              <a:path w="305" h="405">
                <a:moveTo>
                  <a:pt x="203" y="405"/>
                </a:moveTo>
                <a:lnTo>
                  <a:pt x="203" y="405"/>
                </a:lnTo>
                <a:lnTo>
                  <a:pt x="204" y="393"/>
                </a:lnTo>
                <a:lnTo>
                  <a:pt x="206" y="383"/>
                </a:lnTo>
                <a:lnTo>
                  <a:pt x="210" y="374"/>
                </a:lnTo>
                <a:lnTo>
                  <a:pt x="214" y="366"/>
                </a:lnTo>
                <a:lnTo>
                  <a:pt x="220" y="358"/>
                </a:lnTo>
                <a:lnTo>
                  <a:pt x="227" y="351"/>
                </a:lnTo>
                <a:lnTo>
                  <a:pt x="241" y="337"/>
                </a:lnTo>
                <a:lnTo>
                  <a:pt x="256" y="324"/>
                </a:lnTo>
                <a:lnTo>
                  <a:pt x="262" y="317"/>
                </a:lnTo>
                <a:lnTo>
                  <a:pt x="267" y="310"/>
                </a:lnTo>
                <a:lnTo>
                  <a:pt x="273" y="302"/>
                </a:lnTo>
                <a:lnTo>
                  <a:pt x="276" y="294"/>
                </a:lnTo>
                <a:lnTo>
                  <a:pt x="279" y="285"/>
                </a:lnTo>
                <a:lnTo>
                  <a:pt x="280" y="276"/>
                </a:lnTo>
                <a:lnTo>
                  <a:pt x="280" y="276"/>
                </a:lnTo>
                <a:lnTo>
                  <a:pt x="279" y="269"/>
                </a:lnTo>
                <a:lnTo>
                  <a:pt x="276" y="263"/>
                </a:lnTo>
                <a:lnTo>
                  <a:pt x="274" y="259"/>
                </a:lnTo>
                <a:lnTo>
                  <a:pt x="273" y="253"/>
                </a:lnTo>
                <a:lnTo>
                  <a:pt x="273" y="253"/>
                </a:lnTo>
                <a:lnTo>
                  <a:pt x="273" y="251"/>
                </a:lnTo>
                <a:lnTo>
                  <a:pt x="276" y="248"/>
                </a:lnTo>
                <a:lnTo>
                  <a:pt x="283" y="241"/>
                </a:lnTo>
                <a:lnTo>
                  <a:pt x="293" y="233"/>
                </a:lnTo>
                <a:lnTo>
                  <a:pt x="296" y="229"/>
                </a:lnTo>
                <a:lnTo>
                  <a:pt x="298" y="224"/>
                </a:lnTo>
                <a:lnTo>
                  <a:pt x="298" y="224"/>
                </a:lnTo>
                <a:lnTo>
                  <a:pt x="296" y="223"/>
                </a:lnTo>
                <a:lnTo>
                  <a:pt x="293" y="221"/>
                </a:lnTo>
                <a:lnTo>
                  <a:pt x="283" y="213"/>
                </a:lnTo>
                <a:lnTo>
                  <a:pt x="273" y="202"/>
                </a:lnTo>
                <a:lnTo>
                  <a:pt x="273" y="202"/>
                </a:lnTo>
                <a:lnTo>
                  <a:pt x="273" y="199"/>
                </a:lnTo>
                <a:lnTo>
                  <a:pt x="274" y="195"/>
                </a:lnTo>
                <a:lnTo>
                  <a:pt x="278" y="192"/>
                </a:lnTo>
                <a:lnTo>
                  <a:pt x="282" y="188"/>
                </a:lnTo>
                <a:lnTo>
                  <a:pt x="287" y="184"/>
                </a:lnTo>
                <a:lnTo>
                  <a:pt x="287" y="184"/>
                </a:lnTo>
                <a:lnTo>
                  <a:pt x="287" y="179"/>
                </a:lnTo>
                <a:lnTo>
                  <a:pt x="286" y="175"/>
                </a:lnTo>
                <a:lnTo>
                  <a:pt x="283" y="170"/>
                </a:lnTo>
                <a:lnTo>
                  <a:pt x="283" y="165"/>
                </a:lnTo>
                <a:lnTo>
                  <a:pt x="283" y="165"/>
                </a:lnTo>
                <a:lnTo>
                  <a:pt x="285" y="161"/>
                </a:lnTo>
                <a:lnTo>
                  <a:pt x="290" y="152"/>
                </a:lnTo>
                <a:lnTo>
                  <a:pt x="297" y="140"/>
                </a:lnTo>
                <a:lnTo>
                  <a:pt x="305" y="125"/>
                </a:lnTo>
                <a:lnTo>
                  <a:pt x="305" y="125"/>
                </a:lnTo>
                <a:lnTo>
                  <a:pt x="289" y="117"/>
                </a:lnTo>
                <a:lnTo>
                  <a:pt x="272" y="111"/>
                </a:lnTo>
                <a:lnTo>
                  <a:pt x="256" y="107"/>
                </a:lnTo>
                <a:lnTo>
                  <a:pt x="239" y="103"/>
                </a:lnTo>
                <a:lnTo>
                  <a:pt x="203" y="94"/>
                </a:lnTo>
                <a:lnTo>
                  <a:pt x="184" y="88"/>
                </a:lnTo>
                <a:lnTo>
                  <a:pt x="166" y="81"/>
                </a:lnTo>
                <a:lnTo>
                  <a:pt x="166" y="81"/>
                </a:lnTo>
                <a:lnTo>
                  <a:pt x="161" y="79"/>
                </a:lnTo>
                <a:lnTo>
                  <a:pt x="157" y="77"/>
                </a:lnTo>
                <a:lnTo>
                  <a:pt x="151" y="69"/>
                </a:lnTo>
                <a:lnTo>
                  <a:pt x="145" y="60"/>
                </a:lnTo>
                <a:lnTo>
                  <a:pt x="140" y="50"/>
                </a:lnTo>
                <a:lnTo>
                  <a:pt x="135" y="41"/>
                </a:lnTo>
                <a:lnTo>
                  <a:pt x="128" y="33"/>
                </a:lnTo>
                <a:lnTo>
                  <a:pt x="125" y="30"/>
                </a:lnTo>
                <a:lnTo>
                  <a:pt x="121" y="27"/>
                </a:lnTo>
                <a:lnTo>
                  <a:pt x="117" y="26"/>
                </a:lnTo>
                <a:lnTo>
                  <a:pt x="111" y="26"/>
                </a:lnTo>
                <a:lnTo>
                  <a:pt x="111" y="26"/>
                </a:lnTo>
                <a:lnTo>
                  <a:pt x="85" y="26"/>
                </a:lnTo>
                <a:lnTo>
                  <a:pt x="85" y="26"/>
                </a:lnTo>
                <a:lnTo>
                  <a:pt x="79" y="25"/>
                </a:lnTo>
                <a:lnTo>
                  <a:pt x="74" y="23"/>
                </a:lnTo>
                <a:lnTo>
                  <a:pt x="71" y="20"/>
                </a:lnTo>
                <a:lnTo>
                  <a:pt x="68" y="17"/>
                </a:lnTo>
                <a:lnTo>
                  <a:pt x="62" y="9"/>
                </a:lnTo>
                <a:lnTo>
                  <a:pt x="59" y="4"/>
                </a:lnTo>
                <a:lnTo>
                  <a:pt x="56" y="0"/>
                </a:lnTo>
                <a:lnTo>
                  <a:pt x="56" y="0"/>
                </a:lnTo>
                <a:lnTo>
                  <a:pt x="51" y="4"/>
                </a:lnTo>
                <a:lnTo>
                  <a:pt x="48" y="9"/>
                </a:lnTo>
                <a:lnTo>
                  <a:pt x="44" y="15"/>
                </a:lnTo>
                <a:lnTo>
                  <a:pt x="42" y="20"/>
                </a:lnTo>
                <a:lnTo>
                  <a:pt x="38" y="31"/>
                </a:lnTo>
                <a:lnTo>
                  <a:pt x="36" y="35"/>
                </a:lnTo>
                <a:lnTo>
                  <a:pt x="34" y="40"/>
                </a:lnTo>
                <a:lnTo>
                  <a:pt x="34" y="40"/>
                </a:lnTo>
                <a:lnTo>
                  <a:pt x="30" y="46"/>
                </a:lnTo>
                <a:lnTo>
                  <a:pt x="26" y="49"/>
                </a:lnTo>
                <a:lnTo>
                  <a:pt x="14" y="57"/>
                </a:lnTo>
                <a:lnTo>
                  <a:pt x="8" y="61"/>
                </a:lnTo>
                <a:lnTo>
                  <a:pt x="5" y="65"/>
                </a:lnTo>
                <a:lnTo>
                  <a:pt x="1" y="71"/>
                </a:lnTo>
                <a:lnTo>
                  <a:pt x="0" y="77"/>
                </a:lnTo>
                <a:lnTo>
                  <a:pt x="0" y="77"/>
                </a:lnTo>
                <a:lnTo>
                  <a:pt x="0" y="84"/>
                </a:lnTo>
                <a:lnTo>
                  <a:pt x="1" y="88"/>
                </a:lnTo>
                <a:lnTo>
                  <a:pt x="3" y="93"/>
                </a:lnTo>
                <a:lnTo>
                  <a:pt x="5" y="96"/>
                </a:lnTo>
                <a:lnTo>
                  <a:pt x="7" y="100"/>
                </a:lnTo>
                <a:lnTo>
                  <a:pt x="11" y="102"/>
                </a:lnTo>
                <a:lnTo>
                  <a:pt x="16" y="106"/>
                </a:lnTo>
                <a:lnTo>
                  <a:pt x="30" y="110"/>
                </a:lnTo>
                <a:lnTo>
                  <a:pt x="36" y="112"/>
                </a:lnTo>
                <a:lnTo>
                  <a:pt x="41" y="117"/>
                </a:lnTo>
                <a:lnTo>
                  <a:pt x="41" y="117"/>
                </a:lnTo>
                <a:lnTo>
                  <a:pt x="45" y="127"/>
                </a:lnTo>
                <a:lnTo>
                  <a:pt x="48" y="135"/>
                </a:lnTo>
                <a:lnTo>
                  <a:pt x="49" y="145"/>
                </a:lnTo>
                <a:lnTo>
                  <a:pt x="49" y="153"/>
                </a:lnTo>
                <a:lnTo>
                  <a:pt x="50" y="161"/>
                </a:lnTo>
                <a:lnTo>
                  <a:pt x="51" y="168"/>
                </a:lnTo>
                <a:lnTo>
                  <a:pt x="53" y="173"/>
                </a:lnTo>
                <a:lnTo>
                  <a:pt x="59" y="179"/>
                </a:lnTo>
                <a:lnTo>
                  <a:pt x="59" y="179"/>
                </a:lnTo>
                <a:lnTo>
                  <a:pt x="66" y="184"/>
                </a:lnTo>
                <a:lnTo>
                  <a:pt x="75" y="186"/>
                </a:lnTo>
                <a:lnTo>
                  <a:pt x="96" y="192"/>
                </a:lnTo>
                <a:lnTo>
                  <a:pt x="105" y="194"/>
                </a:lnTo>
                <a:lnTo>
                  <a:pt x="114" y="199"/>
                </a:lnTo>
                <a:lnTo>
                  <a:pt x="117" y="201"/>
                </a:lnTo>
                <a:lnTo>
                  <a:pt x="119" y="203"/>
                </a:lnTo>
                <a:lnTo>
                  <a:pt x="121" y="206"/>
                </a:lnTo>
                <a:lnTo>
                  <a:pt x="121" y="209"/>
                </a:lnTo>
                <a:lnTo>
                  <a:pt x="121" y="209"/>
                </a:lnTo>
                <a:lnTo>
                  <a:pt x="121" y="249"/>
                </a:lnTo>
                <a:lnTo>
                  <a:pt x="121" y="249"/>
                </a:lnTo>
                <a:lnTo>
                  <a:pt x="120" y="262"/>
                </a:lnTo>
                <a:lnTo>
                  <a:pt x="119" y="274"/>
                </a:lnTo>
                <a:lnTo>
                  <a:pt x="119" y="279"/>
                </a:lnTo>
                <a:lnTo>
                  <a:pt x="120" y="285"/>
                </a:lnTo>
                <a:lnTo>
                  <a:pt x="122" y="291"/>
                </a:lnTo>
                <a:lnTo>
                  <a:pt x="126" y="298"/>
                </a:lnTo>
                <a:lnTo>
                  <a:pt x="126" y="298"/>
                </a:lnTo>
                <a:lnTo>
                  <a:pt x="129" y="303"/>
                </a:lnTo>
                <a:lnTo>
                  <a:pt x="134" y="307"/>
                </a:lnTo>
                <a:lnTo>
                  <a:pt x="138" y="309"/>
                </a:lnTo>
                <a:lnTo>
                  <a:pt x="144" y="310"/>
                </a:lnTo>
                <a:lnTo>
                  <a:pt x="149" y="312"/>
                </a:lnTo>
                <a:lnTo>
                  <a:pt x="155" y="314"/>
                </a:lnTo>
                <a:lnTo>
                  <a:pt x="159" y="317"/>
                </a:lnTo>
                <a:lnTo>
                  <a:pt x="163" y="323"/>
                </a:lnTo>
                <a:lnTo>
                  <a:pt x="163" y="323"/>
                </a:lnTo>
                <a:lnTo>
                  <a:pt x="203" y="405"/>
                </a:lnTo>
                <a:lnTo>
                  <a:pt x="203" y="405"/>
                </a:lnTo>
                <a:lnTo>
                  <a:pt x="203" y="40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2" name="Freeform 87"/>
          <p:cNvSpPr>
            <a:spLocks/>
          </p:cNvSpPr>
          <p:nvPr/>
        </p:nvSpPr>
        <p:spPr bwMode="auto">
          <a:xfrm>
            <a:off x="2754313" y="2995613"/>
            <a:ext cx="101600" cy="92075"/>
          </a:xfrm>
          <a:custGeom>
            <a:avLst/>
            <a:gdLst/>
            <a:ahLst/>
            <a:cxnLst>
              <a:cxn ang="0">
                <a:pos x="106" y="55"/>
              </a:cxn>
              <a:cxn ang="0">
                <a:pos x="106" y="55"/>
              </a:cxn>
              <a:cxn ang="0">
                <a:pos x="104" y="54"/>
              </a:cxn>
              <a:cxn ang="0">
                <a:pos x="102" y="53"/>
              </a:cxn>
              <a:cxn ang="0">
                <a:pos x="99" y="47"/>
              </a:cxn>
              <a:cxn ang="0">
                <a:pos x="89" y="30"/>
              </a:cxn>
              <a:cxn ang="0">
                <a:pos x="77" y="0"/>
              </a:cxn>
              <a:cxn ang="0">
                <a:pos x="77" y="0"/>
              </a:cxn>
              <a:cxn ang="0">
                <a:pos x="63" y="2"/>
              </a:cxn>
              <a:cxn ang="0">
                <a:pos x="50" y="7"/>
              </a:cxn>
              <a:cxn ang="0">
                <a:pos x="38" y="12"/>
              </a:cxn>
              <a:cxn ang="0">
                <a:pos x="25" y="20"/>
              </a:cxn>
              <a:cxn ang="0">
                <a:pos x="20" y="25"/>
              </a:cxn>
              <a:cxn ang="0">
                <a:pos x="15" y="30"/>
              </a:cxn>
              <a:cxn ang="0">
                <a:pos x="10" y="35"/>
              </a:cxn>
              <a:cxn ang="0">
                <a:pos x="7" y="42"/>
              </a:cxn>
              <a:cxn ang="0">
                <a:pos x="3" y="49"/>
              </a:cxn>
              <a:cxn ang="0">
                <a:pos x="1" y="56"/>
              </a:cxn>
              <a:cxn ang="0">
                <a:pos x="0" y="64"/>
              </a:cxn>
              <a:cxn ang="0">
                <a:pos x="0" y="73"/>
              </a:cxn>
              <a:cxn ang="0">
                <a:pos x="0" y="73"/>
              </a:cxn>
              <a:cxn ang="0">
                <a:pos x="0" y="87"/>
              </a:cxn>
              <a:cxn ang="0">
                <a:pos x="0" y="93"/>
              </a:cxn>
              <a:cxn ang="0">
                <a:pos x="2" y="97"/>
              </a:cxn>
              <a:cxn ang="0">
                <a:pos x="3" y="102"/>
              </a:cxn>
              <a:cxn ang="0">
                <a:pos x="7" y="104"/>
              </a:cxn>
              <a:cxn ang="0">
                <a:pos x="11" y="106"/>
              </a:cxn>
              <a:cxn ang="0">
                <a:pos x="17" y="107"/>
              </a:cxn>
              <a:cxn ang="0">
                <a:pos x="17" y="107"/>
              </a:cxn>
              <a:cxn ang="0">
                <a:pos x="25" y="106"/>
              </a:cxn>
              <a:cxn ang="0">
                <a:pos x="32" y="104"/>
              </a:cxn>
              <a:cxn ang="0">
                <a:pos x="45" y="101"/>
              </a:cxn>
              <a:cxn ang="0">
                <a:pos x="55" y="96"/>
              </a:cxn>
              <a:cxn ang="0">
                <a:pos x="60" y="95"/>
              </a:cxn>
              <a:cxn ang="0">
                <a:pos x="65" y="95"/>
              </a:cxn>
              <a:cxn ang="0">
                <a:pos x="65" y="95"/>
              </a:cxn>
              <a:cxn ang="0">
                <a:pos x="106" y="95"/>
              </a:cxn>
              <a:cxn ang="0">
                <a:pos x="106" y="95"/>
              </a:cxn>
              <a:cxn ang="0">
                <a:pos x="110" y="95"/>
              </a:cxn>
              <a:cxn ang="0">
                <a:pos x="116" y="93"/>
              </a:cxn>
              <a:cxn ang="0">
                <a:pos x="119" y="92"/>
              </a:cxn>
              <a:cxn ang="0">
                <a:pos x="122" y="89"/>
              </a:cxn>
              <a:cxn ang="0">
                <a:pos x="123" y="85"/>
              </a:cxn>
              <a:cxn ang="0">
                <a:pos x="124" y="80"/>
              </a:cxn>
              <a:cxn ang="0">
                <a:pos x="124" y="80"/>
              </a:cxn>
              <a:cxn ang="0">
                <a:pos x="124" y="76"/>
              </a:cxn>
              <a:cxn ang="0">
                <a:pos x="122" y="72"/>
              </a:cxn>
              <a:cxn ang="0">
                <a:pos x="118" y="63"/>
              </a:cxn>
              <a:cxn ang="0">
                <a:pos x="111" y="57"/>
              </a:cxn>
              <a:cxn ang="0">
                <a:pos x="109" y="55"/>
              </a:cxn>
              <a:cxn ang="0">
                <a:pos x="106" y="55"/>
              </a:cxn>
              <a:cxn ang="0">
                <a:pos x="106" y="55"/>
              </a:cxn>
              <a:cxn ang="0">
                <a:pos x="106" y="55"/>
              </a:cxn>
            </a:cxnLst>
            <a:rect l="0" t="0" r="r" b="b"/>
            <a:pathLst>
              <a:path w="124" h="107">
                <a:moveTo>
                  <a:pt x="106" y="55"/>
                </a:moveTo>
                <a:lnTo>
                  <a:pt x="106" y="55"/>
                </a:lnTo>
                <a:lnTo>
                  <a:pt x="104" y="54"/>
                </a:lnTo>
                <a:lnTo>
                  <a:pt x="102" y="53"/>
                </a:lnTo>
                <a:lnTo>
                  <a:pt x="99" y="47"/>
                </a:lnTo>
                <a:lnTo>
                  <a:pt x="89" y="30"/>
                </a:lnTo>
                <a:lnTo>
                  <a:pt x="77" y="0"/>
                </a:lnTo>
                <a:lnTo>
                  <a:pt x="77" y="0"/>
                </a:lnTo>
                <a:lnTo>
                  <a:pt x="63" y="2"/>
                </a:lnTo>
                <a:lnTo>
                  <a:pt x="50" y="7"/>
                </a:lnTo>
                <a:lnTo>
                  <a:pt x="38" y="12"/>
                </a:lnTo>
                <a:lnTo>
                  <a:pt x="25" y="20"/>
                </a:lnTo>
                <a:lnTo>
                  <a:pt x="20" y="25"/>
                </a:lnTo>
                <a:lnTo>
                  <a:pt x="15" y="30"/>
                </a:lnTo>
                <a:lnTo>
                  <a:pt x="10" y="35"/>
                </a:lnTo>
                <a:lnTo>
                  <a:pt x="7" y="42"/>
                </a:lnTo>
                <a:lnTo>
                  <a:pt x="3" y="49"/>
                </a:lnTo>
                <a:lnTo>
                  <a:pt x="1" y="56"/>
                </a:lnTo>
                <a:lnTo>
                  <a:pt x="0" y="64"/>
                </a:lnTo>
                <a:lnTo>
                  <a:pt x="0" y="73"/>
                </a:lnTo>
                <a:lnTo>
                  <a:pt x="0" y="73"/>
                </a:lnTo>
                <a:lnTo>
                  <a:pt x="0" y="87"/>
                </a:lnTo>
                <a:lnTo>
                  <a:pt x="0" y="93"/>
                </a:lnTo>
                <a:lnTo>
                  <a:pt x="2" y="97"/>
                </a:lnTo>
                <a:lnTo>
                  <a:pt x="3" y="102"/>
                </a:lnTo>
                <a:lnTo>
                  <a:pt x="7" y="104"/>
                </a:lnTo>
                <a:lnTo>
                  <a:pt x="11" y="106"/>
                </a:lnTo>
                <a:lnTo>
                  <a:pt x="17" y="107"/>
                </a:lnTo>
                <a:lnTo>
                  <a:pt x="17" y="107"/>
                </a:lnTo>
                <a:lnTo>
                  <a:pt x="25" y="106"/>
                </a:lnTo>
                <a:lnTo>
                  <a:pt x="32" y="104"/>
                </a:lnTo>
                <a:lnTo>
                  <a:pt x="45" y="101"/>
                </a:lnTo>
                <a:lnTo>
                  <a:pt x="55" y="96"/>
                </a:lnTo>
                <a:lnTo>
                  <a:pt x="60" y="95"/>
                </a:lnTo>
                <a:lnTo>
                  <a:pt x="65" y="95"/>
                </a:lnTo>
                <a:lnTo>
                  <a:pt x="65" y="95"/>
                </a:lnTo>
                <a:lnTo>
                  <a:pt x="106" y="95"/>
                </a:lnTo>
                <a:lnTo>
                  <a:pt x="106" y="95"/>
                </a:lnTo>
                <a:lnTo>
                  <a:pt x="110" y="95"/>
                </a:lnTo>
                <a:lnTo>
                  <a:pt x="116" y="93"/>
                </a:lnTo>
                <a:lnTo>
                  <a:pt x="119" y="92"/>
                </a:lnTo>
                <a:lnTo>
                  <a:pt x="122" y="89"/>
                </a:lnTo>
                <a:lnTo>
                  <a:pt x="123" y="85"/>
                </a:lnTo>
                <a:lnTo>
                  <a:pt x="124" y="80"/>
                </a:lnTo>
                <a:lnTo>
                  <a:pt x="124" y="80"/>
                </a:lnTo>
                <a:lnTo>
                  <a:pt x="124" y="76"/>
                </a:lnTo>
                <a:lnTo>
                  <a:pt x="122" y="72"/>
                </a:lnTo>
                <a:lnTo>
                  <a:pt x="118" y="63"/>
                </a:lnTo>
                <a:lnTo>
                  <a:pt x="111" y="57"/>
                </a:lnTo>
                <a:lnTo>
                  <a:pt x="109" y="55"/>
                </a:lnTo>
                <a:lnTo>
                  <a:pt x="106" y="55"/>
                </a:lnTo>
                <a:lnTo>
                  <a:pt x="106" y="55"/>
                </a:lnTo>
                <a:lnTo>
                  <a:pt x="106" y="5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3" name="Freeform 88"/>
          <p:cNvSpPr>
            <a:spLocks/>
          </p:cNvSpPr>
          <p:nvPr/>
        </p:nvSpPr>
        <p:spPr bwMode="auto">
          <a:xfrm>
            <a:off x="1857375" y="3890963"/>
            <a:ext cx="571500" cy="715962"/>
          </a:xfrm>
          <a:custGeom>
            <a:avLst/>
            <a:gdLst/>
            <a:ahLst/>
            <a:cxnLst>
              <a:cxn ang="0">
                <a:pos x="638" y="327"/>
              </a:cxn>
              <a:cxn ang="0">
                <a:pos x="687" y="359"/>
              </a:cxn>
              <a:cxn ang="0">
                <a:pos x="698" y="395"/>
              </a:cxn>
              <a:cxn ang="0">
                <a:pos x="660" y="435"/>
              </a:cxn>
              <a:cxn ang="0">
                <a:pos x="623" y="477"/>
              </a:cxn>
              <a:cxn ang="0">
                <a:pos x="618" y="565"/>
              </a:cxn>
              <a:cxn ang="0">
                <a:pos x="592" y="585"/>
              </a:cxn>
              <a:cxn ang="0">
                <a:pos x="554" y="588"/>
              </a:cxn>
              <a:cxn ang="0">
                <a:pos x="459" y="533"/>
              </a:cxn>
              <a:cxn ang="0">
                <a:pos x="428" y="557"/>
              </a:cxn>
              <a:cxn ang="0">
                <a:pos x="395" y="630"/>
              </a:cxn>
              <a:cxn ang="0">
                <a:pos x="363" y="637"/>
              </a:cxn>
              <a:cxn ang="0">
                <a:pos x="345" y="624"/>
              </a:cxn>
              <a:cxn ang="0">
                <a:pos x="317" y="639"/>
              </a:cxn>
              <a:cxn ang="0">
                <a:pos x="307" y="698"/>
              </a:cxn>
              <a:cxn ang="0">
                <a:pos x="287" y="729"/>
              </a:cxn>
              <a:cxn ang="0">
                <a:pos x="259" y="761"/>
              </a:cxn>
              <a:cxn ang="0">
                <a:pos x="259" y="807"/>
              </a:cxn>
              <a:cxn ang="0">
                <a:pos x="237" y="801"/>
              </a:cxn>
              <a:cxn ang="0">
                <a:pos x="195" y="701"/>
              </a:cxn>
              <a:cxn ang="0">
                <a:pos x="211" y="674"/>
              </a:cxn>
              <a:cxn ang="0">
                <a:pos x="206" y="647"/>
              </a:cxn>
              <a:cxn ang="0">
                <a:pos x="198" y="607"/>
              </a:cxn>
              <a:cxn ang="0">
                <a:pos x="182" y="591"/>
              </a:cxn>
              <a:cxn ang="0">
                <a:pos x="163" y="570"/>
              </a:cxn>
              <a:cxn ang="0">
                <a:pos x="146" y="554"/>
              </a:cxn>
              <a:cxn ang="0">
                <a:pos x="119" y="539"/>
              </a:cxn>
              <a:cxn ang="0">
                <a:pos x="67" y="531"/>
              </a:cxn>
              <a:cxn ang="0">
                <a:pos x="27" y="507"/>
              </a:cxn>
              <a:cxn ang="0">
                <a:pos x="1" y="485"/>
              </a:cxn>
              <a:cxn ang="0">
                <a:pos x="20" y="447"/>
              </a:cxn>
              <a:cxn ang="0">
                <a:pos x="59" y="426"/>
              </a:cxn>
              <a:cxn ang="0">
                <a:pos x="92" y="441"/>
              </a:cxn>
              <a:cxn ang="0">
                <a:pos x="122" y="426"/>
              </a:cxn>
              <a:cxn ang="0">
                <a:pos x="136" y="404"/>
              </a:cxn>
              <a:cxn ang="0">
                <a:pos x="74" y="324"/>
              </a:cxn>
              <a:cxn ang="0">
                <a:pos x="99" y="302"/>
              </a:cxn>
              <a:cxn ang="0">
                <a:pos x="118" y="280"/>
              </a:cxn>
              <a:cxn ang="0">
                <a:pos x="202" y="282"/>
              </a:cxn>
              <a:cxn ang="0">
                <a:pos x="233" y="257"/>
              </a:cxn>
              <a:cxn ang="0">
                <a:pos x="257" y="140"/>
              </a:cxn>
              <a:cxn ang="0">
                <a:pos x="328" y="20"/>
              </a:cxn>
              <a:cxn ang="0">
                <a:pos x="357" y="8"/>
              </a:cxn>
              <a:cxn ang="0">
                <a:pos x="396" y="5"/>
              </a:cxn>
              <a:cxn ang="0">
                <a:pos x="412" y="28"/>
              </a:cxn>
              <a:cxn ang="0">
                <a:pos x="419" y="74"/>
              </a:cxn>
              <a:cxn ang="0">
                <a:pos x="380" y="170"/>
              </a:cxn>
              <a:cxn ang="0">
                <a:pos x="356" y="199"/>
              </a:cxn>
              <a:cxn ang="0">
                <a:pos x="352" y="226"/>
              </a:cxn>
              <a:cxn ang="0">
                <a:pos x="357" y="283"/>
              </a:cxn>
              <a:cxn ang="0">
                <a:pos x="370" y="304"/>
              </a:cxn>
              <a:cxn ang="0">
                <a:pos x="389" y="334"/>
              </a:cxn>
              <a:cxn ang="0">
                <a:pos x="415" y="321"/>
              </a:cxn>
              <a:cxn ang="0">
                <a:pos x="454" y="292"/>
              </a:cxn>
              <a:cxn ang="0">
                <a:pos x="504" y="297"/>
              </a:cxn>
              <a:cxn ang="0">
                <a:pos x="540" y="287"/>
              </a:cxn>
              <a:cxn ang="0">
                <a:pos x="550" y="317"/>
              </a:cxn>
              <a:cxn ang="0">
                <a:pos x="577" y="313"/>
              </a:cxn>
              <a:cxn ang="0">
                <a:pos x="607" y="297"/>
              </a:cxn>
            </a:cxnLst>
            <a:rect l="0" t="0" r="r" b="b"/>
            <a:pathLst>
              <a:path w="699" h="820">
                <a:moveTo>
                  <a:pt x="625" y="297"/>
                </a:moveTo>
                <a:lnTo>
                  <a:pt x="625" y="297"/>
                </a:lnTo>
                <a:lnTo>
                  <a:pt x="626" y="307"/>
                </a:lnTo>
                <a:lnTo>
                  <a:pt x="629" y="315"/>
                </a:lnTo>
                <a:lnTo>
                  <a:pt x="633" y="321"/>
                </a:lnTo>
                <a:lnTo>
                  <a:pt x="638" y="327"/>
                </a:lnTo>
                <a:lnTo>
                  <a:pt x="643" y="332"/>
                </a:lnTo>
                <a:lnTo>
                  <a:pt x="649" y="336"/>
                </a:lnTo>
                <a:lnTo>
                  <a:pt x="663" y="343"/>
                </a:lnTo>
                <a:lnTo>
                  <a:pt x="676" y="350"/>
                </a:lnTo>
                <a:lnTo>
                  <a:pt x="681" y="355"/>
                </a:lnTo>
                <a:lnTo>
                  <a:pt x="687" y="359"/>
                </a:lnTo>
                <a:lnTo>
                  <a:pt x="692" y="364"/>
                </a:lnTo>
                <a:lnTo>
                  <a:pt x="695" y="371"/>
                </a:lnTo>
                <a:lnTo>
                  <a:pt x="698" y="378"/>
                </a:lnTo>
                <a:lnTo>
                  <a:pt x="699" y="386"/>
                </a:lnTo>
                <a:lnTo>
                  <a:pt x="699" y="386"/>
                </a:lnTo>
                <a:lnTo>
                  <a:pt x="698" y="395"/>
                </a:lnTo>
                <a:lnTo>
                  <a:pt x="695" y="403"/>
                </a:lnTo>
                <a:lnTo>
                  <a:pt x="692" y="410"/>
                </a:lnTo>
                <a:lnTo>
                  <a:pt x="686" y="416"/>
                </a:lnTo>
                <a:lnTo>
                  <a:pt x="680" y="422"/>
                </a:lnTo>
                <a:lnTo>
                  <a:pt x="675" y="426"/>
                </a:lnTo>
                <a:lnTo>
                  <a:pt x="660" y="435"/>
                </a:lnTo>
                <a:lnTo>
                  <a:pt x="646" y="445"/>
                </a:lnTo>
                <a:lnTo>
                  <a:pt x="639" y="450"/>
                </a:lnTo>
                <a:lnTo>
                  <a:pt x="633" y="455"/>
                </a:lnTo>
                <a:lnTo>
                  <a:pt x="629" y="462"/>
                </a:lnTo>
                <a:lnTo>
                  <a:pt x="625" y="469"/>
                </a:lnTo>
                <a:lnTo>
                  <a:pt x="623" y="477"/>
                </a:lnTo>
                <a:lnTo>
                  <a:pt x="622" y="485"/>
                </a:lnTo>
                <a:lnTo>
                  <a:pt x="622" y="485"/>
                </a:lnTo>
                <a:lnTo>
                  <a:pt x="622" y="559"/>
                </a:lnTo>
                <a:lnTo>
                  <a:pt x="622" y="559"/>
                </a:lnTo>
                <a:lnTo>
                  <a:pt x="618" y="565"/>
                </a:lnTo>
                <a:lnTo>
                  <a:pt x="618" y="565"/>
                </a:lnTo>
                <a:lnTo>
                  <a:pt x="618" y="565"/>
                </a:lnTo>
                <a:lnTo>
                  <a:pt x="612" y="568"/>
                </a:lnTo>
                <a:lnTo>
                  <a:pt x="607" y="571"/>
                </a:lnTo>
                <a:lnTo>
                  <a:pt x="602" y="575"/>
                </a:lnTo>
                <a:lnTo>
                  <a:pt x="596" y="579"/>
                </a:lnTo>
                <a:lnTo>
                  <a:pt x="592" y="585"/>
                </a:lnTo>
                <a:lnTo>
                  <a:pt x="588" y="592"/>
                </a:lnTo>
                <a:lnTo>
                  <a:pt x="584" y="599"/>
                </a:lnTo>
                <a:lnTo>
                  <a:pt x="580" y="607"/>
                </a:lnTo>
                <a:lnTo>
                  <a:pt x="580" y="607"/>
                </a:lnTo>
                <a:lnTo>
                  <a:pt x="569" y="599"/>
                </a:lnTo>
                <a:lnTo>
                  <a:pt x="554" y="588"/>
                </a:lnTo>
                <a:lnTo>
                  <a:pt x="520" y="564"/>
                </a:lnTo>
                <a:lnTo>
                  <a:pt x="503" y="553"/>
                </a:lnTo>
                <a:lnTo>
                  <a:pt x="487" y="542"/>
                </a:lnTo>
                <a:lnTo>
                  <a:pt x="472" y="535"/>
                </a:lnTo>
                <a:lnTo>
                  <a:pt x="465" y="533"/>
                </a:lnTo>
                <a:lnTo>
                  <a:pt x="459" y="533"/>
                </a:lnTo>
                <a:lnTo>
                  <a:pt x="459" y="533"/>
                </a:lnTo>
                <a:lnTo>
                  <a:pt x="451" y="534"/>
                </a:lnTo>
                <a:lnTo>
                  <a:pt x="444" y="538"/>
                </a:lnTo>
                <a:lnTo>
                  <a:pt x="439" y="542"/>
                </a:lnTo>
                <a:lnTo>
                  <a:pt x="433" y="549"/>
                </a:lnTo>
                <a:lnTo>
                  <a:pt x="428" y="557"/>
                </a:lnTo>
                <a:lnTo>
                  <a:pt x="425" y="567"/>
                </a:lnTo>
                <a:lnTo>
                  <a:pt x="417" y="586"/>
                </a:lnTo>
                <a:lnTo>
                  <a:pt x="409" y="606"/>
                </a:lnTo>
                <a:lnTo>
                  <a:pt x="405" y="615"/>
                </a:lnTo>
                <a:lnTo>
                  <a:pt x="400" y="623"/>
                </a:lnTo>
                <a:lnTo>
                  <a:pt x="395" y="630"/>
                </a:lnTo>
                <a:lnTo>
                  <a:pt x="388" y="634"/>
                </a:lnTo>
                <a:lnTo>
                  <a:pt x="380" y="638"/>
                </a:lnTo>
                <a:lnTo>
                  <a:pt x="372" y="639"/>
                </a:lnTo>
                <a:lnTo>
                  <a:pt x="372" y="639"/>
                </a:lnTo>
                <a:lnTo>
                  <a:pt x="366" y="639"/>
                </a:lnTo>
                <a:lnTo>
                  <a:pt x="363" y="637"/>
                </a:lnTo>
                <a:lnTo>
                  <a:pt x="360" y="634"/>
                </a:lnTo>
                <a:lnTo>
                  <a:pt x="358" y="632"/>
                </a:lnTo>
                <a:lnTo>
                  <a:pt x="356" y="630"/>
                </a:lnTo>
                <a:lnTo>
                  <a:pt x="354" y="626"/>
                </a:lnTo>
                <a:lnTo>
                  <a:pt x="350" y="625"/>
                </a:lnTo>
                <a:lnTo>
                  <a:pt x="345" y="624"/>
                </a:lnTo>
                <a:lnTo>
                  <a:pt x="345" y="624"/>
                </a:lnTo>
                <a:lnTo>
                  <a:pt x="340" y="626"/>
                </a:lnTo>
                <a:lnTo>
                  <a:pt x="329" y="631"/>
                </a:lnTo>
                <a:lnTo>
                  <a:pt x="320" y="636"/>
                </a:lnTo>
                <a:lnTo>
                  <a:pt x="318" y="638"/>
                </a:lnTo>
                <a:lnTo>
                  <a:pt x="317" y="639"/>
                </a:lnTo>
                <a:lnTo>
                  <a:pt x="317" y="639"/>
                </a:lnTo>
                <a:lnTo>
                  <a:pt x="314" y="646"/>
                </a:lnTo>
                <a:lnTo>
                  <a:pt x="312" y="653"/>
                </a:lnTo>
                <a:lnTo>
                  <a:pt x="311" y="670"/>
                </a:lnTo>
                <a:lnTo>
                  <a:pt x="310" y="689"/>
                </a:lnTo>
                <a:lnTo>
                  <a:pt x="307" y="698"/>
                </a:lnTo>
                <a:lnTo>
                  <a:pt x="305" y="706"/>
                </a:lnTo>
                <a:lnTo>
                  <a:pt x="305" y="706"/>
                </a:lnTo>
                <a:lnTo>
                  <a:pt x="304" y="712"/>
                </a:lnTo>
                <a:lnTo>
                  <a:pt x="302" y="715"/>
                </a:lnTo>
                <a:lnTo>
                  <a:pt x="295" y="723"/>
                </a:lnTo>
                <a:lnTo>
                  <a:pt x="287" y="729"/>
                </a:lnTo>
                <a:lnTo>
                  <a:pt x="279" y="735"/>
                </a:lnTo>
                <a:lnTo>
                  <a:pt x="271" y="741"/>
                </a:lnTo>
                <a:lnTo>
                  <a:pt x="267" y="745"/>
                </a:lnTo>
                <a:lnTo>
                  <a:pt x="264" y="750"/>
                </a:lnTo>
                <a:lnTo>
                  <a:pt x="261" y="755"/>
                </a:lnTo>
                <a:lnTo>
                  <a:pt x="259" y="761"/>
                </a:lnTo>
                <a:lnTo>
                  <a:pt x="258" y="768"/>
                </a:lnTo>
                <a:lnTo>
                  <a:pt x="257" y="775"/>
                </a:lnTo>
                <a:lnTo>
                  <a:pt x="257" y="775"/>
                </a:lnTo>
                <a:lnTo>
                  <a:pt x="258" y="785"/>
                </a:lnTo>
                <a:lnTo>
                  <a:pt x="259" y="796"/>
                </a:lnTo>
                <a:lnTo>
                  <a:pt x="259" y="807"/>
                </a:lnTo>
                <a:lnTo>
                  <a:pt x="257" y="820"/>
                </a:lnTo>
                <a:lnTo>
                  <a:pt x="257" y="820"/>
                </a:lnTo>
                <a:lnTo>
                  <a:pt x="252" y="817"/>
                </a:lnTo>
                <a:lnTo>
                  <a:pt x="248" y="813"/>
                </a:lnTo>
                <a:lnTo>
                  <a:pt x="242" y="808"/>
                </a:lnTo>
                <a:lnTo>
                  <a:pt x="237" y="801"/>
                </a:lnTo>
                <a:lnTo>
                  <a:pt x="227" y="785"/>
                </a:lnTo>
                <a:lnTo>
                  <a:pt x="217" y="767"/>
                </a:lnTo>
                <a:lnTo>
                  <a:pt x="209" y="747"/>
                </a:lnTo>
                <a:lnTo>
                  <a:pt x="202" y="729"/>
                </a:lnTo>
                <a:lnTo>
                  <a:pt x="197" y="713"/>
                </a:lnTo>
                <a:lnTo>
                  <a:pt x="195" y="701"/>
                </a:lnTo>
                <a:lnTo>
                  <a:pt x="195" y="701"/>
                </a:lnTo>
                <a:lnTo>
                  <a:pt x="196" y="695"/>
                </a:lnTo>
                <a:lnTo>
                  <a:pt x="198" y="690"/>
                </a:lnTo>
                <a:lnTo>
                  <a:pt x="200" y="685"/>
                </a:lnTo>
                <a:lnTo>
                  <a:pt x="204" y="680"/>
                </a:lnTo>
                <a:lnTo>
                  <a:pt x="211" y="674"/>
                </a:lnTo>
                <a:lnTo>
                  <a:pt x="212" y="669"/>
                </a:lnTo>
                <a:lnTo>
                  <a:pt x="213" y="666"/>
                </a:lnTo>
                <a:lnTo>
                  <a:pt x="213" y="666"/>
                </a:lnTo>
                <a:lnTo>
                  <a:pt x="213" y="661"/>
                </a:lnTo>
                <a:lnTo>
                  <a:pt x="211" y="656"/>
                </a:lnTo>
                <a:lnTo>
                  <a:pt x="206" y="647"/>
                </a:lnTo>
                <a:lnTo>
                  <a:pt x="200" y="639"/>
                </a:lnTo>
                <a:lnTo>
                  <a:pt x="199" y="636"/>
                </a:lnTo>
                <a:lnTo>
                  <a:pt x="198" y="632"/>
                </a:lnTo>
                <a:lnTo>
                  <a:pt x="198" y="632"/>
                </a:lnTo>
                <a:lnTo>
                  <a:pt x="198" y="607"/>
                </a:lnTo>
                <a:lnTo>
                  <a:pt x="198" y="607"/>
                </a:lnTo>
                <a:lnTo>
                  <a:pt x="195" y="606"/>
                </a:lnTo>
                <a:lnTo>
                  <a:pt x="191" y="606"/>
                </a:lnTo>
                <a:lnTo>
                  <a:pt x="188" y="603"/>
                </a:lnTo>
                <a:lnTo>
                  <a:pt x="187" y="602"/>
                </a:lnTo>
                <a:lnTo>
                  <a:pt x="183" y="596"/>
                </a:lnTo>
                <a:lnTo>
                  <a:pt x="182" y="591"/>
                </a:lnTo>
                <a:lnTo>
                  <a:pt x="181" y="579"/>
                </a:lnTo>
                <a:lnTo>
                  <a:pt x="180" y="573"/>
                </a:lnTo>
                <a:lnTo>
                  <a:pt x="179" y="571"/>
                </a:lnTo>
                <a:lnTo>
                  <a:pt x="176" y="570"/>
                </a:lnTo>
                <a:lnTo>
                  <a:pt x="176" y="570"/>
                </a:lnTo>
                <a:lnTo>
                  <a:pt x="163" y="570"/>
                </a:lnTo>
                <a:lnTo>
                  <a:pt x="163" y="570"/>
                </a:lnTo>
                <a:lnTo>
                  <a:pt x="158" y="569"/>
                </a:lnTo>
                <a:lnTo>
                  <a:pt x="156" y="568"/>
                </a:lnTo>
                <a:lnTo>
                  <a:pt x="153" y="565"/>
                </a:lnTo>
                <a:lnTo>
                  <a:pt x="151" y="562"/>
                </a:lnTo>
                <a:lnTo>
                  <a:pt x="146" y="554"/>
                </a:lnTo>
                <a:lnTo>
                  <a:pt x="143" y="550"/>
                </a:lnTo>
                <a:lnTo>
                  <a:pt x="139" y="548"/>
                </a:lnTo>
                <a:lnTo>
                  <a:pt x="139" y="548"/>
                </a:lnTo>
                <a:lnTo>
                  <a:pt x="134" y="544"/>
                </a:lnTo>
                <a:lnTo>
                  <a:pt x="127" y="541"/>
                </a:lnTo>
                <a:lnTo>
                  <a:pt x="119" y="539"/>
                </a:lnTo>
                <a:lnTo>
                  <a:pt x="111" y="539"/>
                </a:lnTo>
                <a:lnTo>
                  <a:pt x="93" y="538"/>
                </a:lnTo>
                <a:lnTo>
                  <a:pt x="83" y="537"/>
                </a:lnTo>
                <a:lnTo>
                  <a:pt x="74" y="533"/>
                </a:lnTo>
                <a:lnTo>
                  <a:pt x="74" y="533"/>
                </a:lnTo>
                <a:lnTo>
                  <a:pt x="67" y="531"/>
                </a:lnTo>
                <a:lnTo>
                  <a:pt x="60" y="529"/>
                </a:lnTo>
                <a:lnTo>
                  <a:pt x="55" y="526"/>
                </a:lnTo>
                <a:lnTo>
                  <a:pt x="51" y="523"/>
                </a:lnTo>
                <a:lnTo>
                  <a:pt x="42" y="515"/>
                </a:lnTo>
                <a:lnTo>
                  <a:pt x="35" y="511"/>
                </a:lnTo>
                <a:lnTo>
                  <a:pt x="27" y="507"/>
                </a:lnTo>
                <a:lnTo>
                  <a:pt x="27" y="507"/>
                </a:lnTo>
                <a:lnTo>
                  <a:pt x="23" y="507"/>
                </a:lnTo>
                <a:lnTo>
                  <a:pt x="19" y="504"/>
                </a:lnTo>
                <a:lnTo>
                  <a:pt x="11" y="498"/>
                </a:lnTo>
                <a:lnTo>
                  <a:pt x="4" y="488"/>
                </a:lnTo>
                <a:lnTo>
                  <a:pt x="1" y="485"/>
                </a:lnTo>
                <a:lnTo>
                  <a:pt x="0" y="481"/>
                </a:lnTo>
                <a:lnTo>
                  <a:pt x="0" y="481"/>
                </a:lnTo>
                <a:lnTo>
                  <a:pt x="1" y="475"/>
                </a:lnTo>
                <a:lnTo>
                  <a:pt x="6" y="465"/>
                </a:lnTo>
                <a:lnTo>
                  <a:pt x="12" y="456"/>
                </a:lnTo>
                <a:lnTo>
                  <a:pt x="20" y="447"/>
                </a:lnTo>
                <a:lnTo>
                  <a:pt x="29" y="439"/>
                </a:lnTo>
                <a:lnTo>
                  <a:pt x="39" y="433"/>
                </a:lnTo>
                <a:lnTo>
                  <a:pt x="50" y="428"/>
                </a:lnTo>
                <a:lnTo>
                  <a:pt x="54" y="427"/>
                </a:lnTo>
                <a:lnTo>
                  <a:pt x="59" y="426"/>
                </a:lnTo>
                <a:lnTo>
                  <a:pt x="59" y="426"/>
                </a:lnTo>
                <a:lnTo>
                  <a:pt x="65" y="427"/>
                </a:lnTo>
                <a:lnTo>
                  <a:pt x="68" y="428"/>
                </a:lnTo>
                <a:lnTo>
                  <a:pt x="76" y="434"/>
                </a:lnTo>
                <a:lnTo>
                  <a:pt x="83" y="439"/>
                </a:lnTo>
                <a:lnTo>
                  <a:pt x="88" y="441"/>
                </a:lnTo>
                <a:lnTo>
                  <a:pt x="92" y="441"/>
                </a:lnTo>
                <a:lnTo>
                  <a:pt x="92" y="441"/>
                </a:lnTo>
                <a:lnTo>
                  <a:pt x="97" y="440"/>
                </a:lnTo>
                <a:lnTo>
                  <a:pt x="103" y="439"/>
                </a:lnTo>
                <a:lnTo>
                  <a:pt x="112" y="432"/>
                </a:lnTo>
                <a:lnTo>
                  <a:pt x="116" y="428"/>
                </a:lnTo>
                <a:lnTo>
                  <a:pt x="122" y="426"/>
                </a:lnTo>
                <a:lnTo>
                  <a:pt x="129" y="424"/>
                </a:lnTo>
                <a:lnTo>
                  <a:pt x="136" y="423"/>
                </a:lnTo>
                <a:lnTo>
                  <a:pt x="136" y="423"/>
                </a:lnTo>
                <a:lnTo>
                  <a:pt x="136" y="404"/>
                </a:lnTo>
                <a:lnTo>
                  <a:pt x="136" y="404"/>
                </a:lnTo>
                <a:lnTo>
                  <a:pt x="136" y="404"/>
                </a:lnTo>
                <a:lnTo>
                  <a:pt x="122" y="388"/>
                </a:lnTo>
                <a:lnTo>
                  <a:pt x="100" y="363"/>
                </a:lnTo>
                <a:lnTo>
                  <a:pt x="82" y="338"/>
                </a:lnTo>
                <a:lnTo>
                  <a:pt x="76" y="328"/>
                </a:lnTo>
                <a:lnTo>
                  <a:pt x="74" y="324"/>
                </a:lnTo>
                <a:lnTo>
                  <a:pt x="74" y="324"/>
                </a:lnTo>
                <a:lnTo>
                  <a:pt x="76" y="320"/>
                </a:lnTo>
                <a:lnTo>
                  <a:pt x="81" y="317"/>
                </a:lnTo>
                <a:lnTo>
                  <a:pt x="92" y="309"/>
                </a:lnTo>
                <a:lnTo>
                  <a:pt x="92" y="309"/>
                </a:lnTo>
                <a:lnTo>
                  <a:pt x="96" y="305"/>
                </a:lnTo>
                <a:lnTo>
                  <a:pt x="99" y="302"/>
                </a:lnTo>
                <a:lnTo>
                  <a:pt x="104" y="293"/>
                </a:lnTo>
                <a:lnTo>
                  <a:pt x="106" y="288"/>
                </a:lnTo>
                <a:lnTo>
                  <a:pt x="110" y="285"/>
                </a:lnTo>
                <a:lnTo>
                  <a:pt x="113" y="281"/>
                </a:lnTo>
                <a:lnTo>
                  <a:pt x="118" y="280"/>
                </a:lnTo>
                <a:lnTo>
                  <a:pt x="118" y="280"/>
                </a:lnTo>
                <a:lnTo>
                  <a:pt x="129" y="279"/>
                </a:lnTo>
                <a:lnTo>
                  <a:pt x="145" y="281"/>
                </a:lnTo>
                <a:lnTo>
                  <a:pt x="164" y="282"/>
                </a:lnTo>
                <a:lnTo>
                  <a:pt x="183" y="283"/>
                </a:lnTo>
                <a:lnTo>
                  <a:pt x="192" y="283"/>
                </a:lnTo>
                <a:lnTo>
                  <a:pt x="202" y="282"/>
                </a:lnTo>
                <a:lnTo>
                  <a:pt x="210" y="281"/>
                </a:lnTo>
                <a:lnTo>
                  <a:pt x="218" y="279"/>
                </a:lnTo>
                <a:lnTo>
                  <a:pt x="223" y="275"/>
                </a:lnTo>
                <a:lnTo>
                  <a:pt x="228" y="271"/>
                </a:lnTo>
                <a:lnTo>
                  <a:pt x="232" y="265"/>
                </a:lnTo>
                <a:lnTo>
                  <a:pt x="233" y="257"/>
                </a:lnTo>
                <a:lnTo>
                  <a:pt x="233" y="257"/>
                </a:lnTo>
                <a:lnTo>
                  <a:pt x="233" y="234"/>
                </a:lnTo>
                <a:lnTo>
                  <a:pt x="236" y="213"/>
                </a:lnTo>
                <a:lnTo>
                  <a:pt x="241" y="195"/>
                </a:lnTo>
                <a:lnTo>
                  <a:pt x="245" y="176"/>
                </a:lnTo>
                <a:lnTo>
                  <a:pt x="257" y="140"/>
                </a:lnTo>
                <a:lnTo>
                  <a:pt x="261" y="119"/>
                </a:lnTo>
                <a:lnTo>
                  <a:pt x="265" y="96"/>
                </a:lnTo>
                <a:lnTo>
                  <a:pt x="265" y="96"/>
                </a:lnTo>
                <a:lnTo>
                  <a:pt x="287" y="68"/>
                </a:lnTo>
                <a:lnTo>
                  <a:pt x="307" y="43"/>
                </a:lnTo>
                <a:lnTo>
                  <a:pt x="328" y="20"/>
                </a:lnTo>
                <a:lnTo>
                  <a:pt x="339" y="10"/>
                </a:lnTo>
                <a:lnTo>
                  <a:pt x="350" y="0"/>
                </a:lnTo>
                <a:lnTo>
                  <a:pt x="350" y="0"/>
                </a:lnTo>
                <a:lnTo>
                  <a:pt x="351" y="4"/>
                </a:lnTo>
                <a:lnTo>
                  <a:pt x="354" y="6"/>
                </a:lnTo>
                <a:lnTo>
                  <a:pt x="357" y="8"/>
                </a:lnTo>
                <a:lnTo>
                  <a:pt x="359" y="8"/>
                </a:lnTo>
                <a:lnTo>
                  <a:pt x="367" y="8"/>
                </a:lnTo>
                <a:lnTo>
                  <a:pt x="375" y="7"/>
                </a:lnTo>
                <a:lnTo>
                  <a:pt x="385" y="6"/>
                </a:lnTo>
                <a:lnTo>
                  <a:pt x="393" y="5"/>
                </a:lnTo>
                <a:lnTo>
                  <a:pt x="396" y="5"/>
                </a:lnTo>
                <a:lnTo>
                  <a:pt x="400" y="6"/>
                </a:lnTo>
                <a:lnTo>
                  <a:pt x="402" y="8"/>
                </a:lnTo>
                <a:lnTo>
                  <a:pt x="404" y="12"/>
                </a:lnTo>
                <a:lnTo>
                  <a:pt x="404" y="12"/>
                </a:lnTo>
                <a:lnTo>
                  <a:pt x="410" y="20"/>
                </a:lnTo>
                <a:lnTo>
                  <a:pt x="412" y="28"/>
                </a:lnTo>
                <a:lnTo>
                  <a:pt x="415" y="37"/>
                </a:lnTo>
                <a:lnTo>
                  <a:pt x="415" y="45"/>
                </a:lnTo>
                <a:lnTo>
                  <a:pt x="415" y="61"/>
                </a:lnTo>
                <a:lnTo>
                  <a:pt x="416" y="68"/>
                </a:lnTo>
                <a:lnTo>
                  <a:pt x="419" y="74"/>
                </a:lnTo>
                <a:lnTo>
                  <a:pt x="419" y="74"/>
                </a:lnTo>
                <a:lnTo>
                  <a:pt x="410" y="86"/>
                </a:lnTo>
                <a:lnTo>
                  <a:pt x="403" y="99"/>
                </a:lnTo>
                <a:lnTo>
                  <a:pt x="397" y="113"/>
                </a:lnTo>
                <a:lnTo>
                  <a:pt x="393" y="128"/>
                </a:lnTo>
                <a:lnTo>
                  <a:pt x="385" y="157"/>
                </a:lnTo>
                <a:lnTo>
                  <a:pt x="380" y="170"/>
                </a:lnTo>
                <a:lnTo>
                  <a:pt x="375" y="180"/>
                </a:lnTo>
                <a:lnTo>
                  <a:pt x="375" y="180"/>
                </a:lnTo>
                <a:lnTo>
                  <a:pt x="372" y="185"/>
                </a:lnTo>
                <a:lnTo>
                  <a:pt x="368" y="189"/>
                </a:lnTo>
                <a:lnTo>
                  <a:pt x="359" y="196"/>
                </a:lnTo>
                <a:lnTo>
                  <a:pt x="356" y="199"/>
                </a:lnTo>
                <a:lnTo>
                  <a:pt x="352" y="204"/>
                </a:lnTo>
                <a:lnTo>
                  <a:pt x="350" y="210"/>
                </a:lnTo>
                <a:lnTo>
                  <a:pt x="350" y="217"/>
                </a:lnTo>
                <a:lnTo>
                  <a:pt x="350" y="217"/>
                </a:lnTo>
                <a:lnTo>
                  <a:pt x="350" y="223"/>
                </a:lnTo>
                <a:lnTo>
                  <a:pt x="352" y="226"/>
                </a:lnTo>
                <a:lnTo>
                  <a:pt x="356" y="229"/>
                </a:lnTo>
                <a:lnTo>
                  <a:pt x="359" y="233"/>
                </a:lnTo>
                <a:lnTo>
                  <a:pt x="368" y="236"/>
                </a:lnTo>
                <a:lnTo>
                  <a:pt x="375" y="239"/>
                </a:lnTo>
                <a:lnTo>
                  <a:pt x="375" y="239"/>
                </a:lnTo>
                <a:lnTo>
                  <a:pt x="357" y="283"/>
                </a:lnTo>
                <a:lnTo>
                  <a:pt x="357" y="283"/>
                </a:lnTo>
                <a:lnTo>
                  <a:pt x="357" y="283"/>
                </a:lnTo>
                <a:lnTo>
                  <a:pt x="360" y="286"/>
                </a:lnTo>
                <a:lnTo>
                  <a:pt x="363" y="288"/>
                </a:lnTo>
                <a:lnTo>
                  <a:pt x="366" y="296"/>
                </a:lnTo>
                <a:lnTo>
                  <a:pt x="370" y="304"/>
                </a:lnTo>
                <a:lnTo>
                  <a:pt x="372" y="313"/>
                </a:lnTo>
                <a:lnTo>
                  <a:pt x="375" y="321"/>
                </a:lnTo>
                <a:lnTo>
                  <a:pt x="380" y="328"/>
                </a:lnTo>
                <a:lnTo>
                  <a:pt x="382" y="331"/>
                </a:lnTo>
                <a:lnTo>
                  <a:pt x="385" y="333"/>
                </a:lnTo>
                <a:lnTo>
                  <a:pt x="389" y="334"/>
                </a:lnTo>
                <a:lnTo>
                  <a:pt x="393" y="335"/>
                </a:lnTo>
                <a:lnTo>
                  <a:pt x="393" y="335"/>
                </a:lnTo>
                <a:lnTo>
                  <a:pt x="397" y="334"/>
                </a:lnTo>
                <a:lnTo>
                  <a:pt x="401" y="333"/>
                </a:lnTo>
                <a:lnTo>
                  <a:pt x="408" y="328"/>
                </a:lnTo>
                <a:lnTo>
                  <a:pt x="415" y="321"/>
                </a:lnTo>
                <a:lnTo>
                  <a:pt x="421" y="312"/>
                </a:lnTo>
                <a:lnTo>
                  <a:pt x="428" y="304"/>
                </a:lnTo>
                <a:lnTo>
                  <a:pt x="436" y="297"/>
                </a:lnTo>
                <a:lnTo>
                  <a:pt x="442" y="295"/>
                </a:lnTo>
                <a:lnTo>
                  <a:pt x="447" y="293"/>
                </a:lnTo>
                <a:lnTo>
                  <a:pt x="454" y="292"/>
                </a:lnTo>
                <a:lnTo>
                  <a:pt x="459" y="290"/>
                </a:lnTo>
                <a:lnTo>
                  <a:pt x="459" y="290"/>
                </a:lnTo>
                <a:lnTo>
                  <a:pt x="470" y="292"/>
                </a:lnTo>
                <a:lnTo>
                  <a:pt x="480" y="294"/>
                </a:lnTo>
                <a:lnTo>
                  <a:pt x="492" y="296"/>
                </a:lnTo>
                <a:lnTo>
                  <a:pt x="504" y="297"/>
                </a:lnTo>
                <a:lnTo>
                  <a:pt x="504" y="297"/>
                </a:lnTo>
                <a:lnTo>
                  <a:pt x="510" y="297"/>
                </a:lnTo>
                <a:lnTo>
                  <a:pt x="515" y="296"/>
                </a:lnTo>
                <a:lnTo>
                  <a:pt x="524" y="294"/>
                </a:lnTo>
                <a:lnTo>
                  <a:pt x="531" y="290"/>
                </a:lnTo>
                <a:lnTo>
                  <a:pt x="540" y="287"/>
                </a:lnTo>
                <a:lnTo>
                  <a:pt x="540" y="287"/>
                </a:lnTo>
                <a:lnTo>
                  <a:pt x="541" y="298"/>
                </a:lnTo>
                <a:lnTo>
                  <a:pt x="542" y="304"/>
                </a:lnTo>
                <a:lnTo>
                  <a:pt x="545" y="309"/>
                </a:lnTo>
                <a:lnTo>
                  <a:pt x="547" y="313"/>
                </a:lnTo>
                <a:lnTo>
                  <a:pt x="550" y="317"/>
                </a:lnTo>
                <a:lnTo>
                  <a:pt x="554" y="319"/>
                </a:lnTo>
                <a:lnTo>
                  <a:pt x="559" y="320"/>
                </a:lnTo>
                <a:lnTo>
                  <a:pt x="559" y="320"/>
                </a:lnTo>
                <a:lnTo>
                  <a:pt x="565" y="319"/>
                </a:lnTo>
                <a:lnTo>
                  <a:pt x="571" y="317"/>
                </a:lnTo>
                <a:lnTo>
                  <a:pt x="577" y="313"/>
                </a:lnTo>
                <a:lnTo>
                  <a:pt x="581" y="309"/>
                </a:lnTo>
                <a:lnTo>
                  <a:pt x="587" y="305"/>
                </a:lnTo>
                <a:lnTo>
                  <a:pt x="593" y="301"/>
                </a:lnTo>
                <a:lnTo>
                  <a:pt x="599" y="298"/>
                </a:lnTo>
                <a:lnTo>
                  <a:pt x="607" y="297"/>
                </a:lnTo>
                <a:lnTo>
                  <a:pt x="607" y="297"/>
                </a:lnTo>
                <a:lnTo>
                  <a:pt x="625" y="297"/>
                </a:lnTo>
                <a:lnTo>
                  <a:pt x="625" y="29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4" name="Freeform 89"/>
          <p:cNvSpPr>
            <a:spLocks/>
          </p:cNvSpPr>
          <p:nvPr/>
        </p:nvSpPr>
        <p:spPr bwMode="auto">
          <a:xfrm>
            <a:off x="3587750" y="4668838"/>
            <a:ext cx="901700" cy="735012"/>
          </a:xfrm>
          <a:custGeom>
            <a:avLst/>
            <a:gdLst/>
            <a:ahLst/>
            <a:cxnLst>
              <a:cxn ang="0">
                <a:pos x="748" y="769"/>
              </a:cxn>
              <a:cxn ang="0">
                <a:pos x="779" y="761"/>
              </a:cxn>
              <a:cxn ang="0">
                <a:pos x="821" y="723"/>
              </a:cxn>
              <a:cxn ang="0">
                <a:pos x="853" y="716"/>
              </a:cxn>
              <a:cxn ang="0">
                <a:pos x="885" y="713"/>
              </a:cxn>
              <a:cxn ang="0">
                <a:pos x="922" y="729"/>
              </a:cxn>
              <a:cxn ang="0">
                <a:pos x="958" y="723"/>
              </a:cxn>
              <a:cxn ang="0">
                <a:pos x="978" y="727"/>
              </a:cxn>
              <a:cxn ang="0">
                <a:pos x="1021" y="703"/>
              </a:cxn>
              <a:cxn ang="0">
                <a:pos x="1046" y="637"/>
              </a:cxn>
              <a:cxn ang="0">
                <a:pos x="1074" y="595"/>
              </a:cxn>
              <a:cxn ang="0">
                <a:pos x="1102" y="556"/>
              </a:cxn>
              <a:cxn ang="0">
                <a:pos x="1087" y="518"/>
              </a:cxn>
              <a:cxn ang="0">
                <a:pos x="1018" y="492"/>
              </a:cxn>
              <a:cxn ang="0">
                <a:pos x="1003" y="451"/>
              </a:cxn>
              <a:cxn ang="0">
                <a:pos x="1035" y="388"/>
              </a:cxn>
              <a:cxn ang="0">
                <a:pos x="1051" y="353"/>
              </a:cxn>
              <a:cxn ang="0">
                <a:pos x="1038" y="330"/>
              </a:cxn>
              <a:cxn ang="0">
                <a:pos x="991" y="309"/>
              </a:cxn>
              <a:cxn ang="0">
                <a:pos x="958" y="257"/>
              </a:cxn>
              <a:cxn ang="0">
                <a:pos x="915" y="222"/>
              </a:cxn>
              <a:cxn ang="0">
                <a:pos x="870" y="206"/>
              </a:cxn>
              <a:cxn ang="0">
                <a:pos x="798" y="218"/>
              </a:cxn>
              <a:cxn ang="0">
                <a:pos x="768" y="206"/>
              </a:cxn>
              <a:cxn ang="0">
                <a:pos x="763" y="129"/>
              </a:cxn>
              <a:cxn ang="0">
                <a:pos x="743" y="85"/>
              </a:cxn>
              <a:cxn ang="0">
                <a:pos x="722" y="62"/>
              </a:cxn>
              <a:cxn ang="0">
                <a:pos x="680" y="35"/>
              </a:cxn>
              <a:cxn ang="0">
                <a:pos x="645" y="43"/>
              </a:cxn>
              <a:cxn ang="0">
                <a:pos x="592" y="87"/>
              </a:cxn>
              <a:cxn ang="0">
                <a:pos x="555" y="85"/>
              </a:cxn>
              <a:cxn ang="0">
                <a:pos x="491" y="49"/>
              </a:cxn>
              <a:cxn ang="0">
                <a:pos x="425" y="43"/>
              </a:cxn>
              <a:cxn ang="0">
                <a:pos x="371" y="20"/>
              </a:cxn>
              <a:cxn ang="0">
                <a:pos x="273" y="6"/>
              </a:cxn>
              <a:cxn ang="0">
                <a:pos x="226" y="6"/>
              </a:cxn>
              <a:cxn ang="0">
                <a:pos x="186" y="62"/>
              </a:cxn>
              <a:cxn ang="0">
                <a:pos x="150" y="151"/>
              </a:cxn>
              <a:cxn ang="0">
                <a:pos x="112" y="177"/>
              </a:cxn>
              <a:cxn ang="0">
                <a:pos x="73" y="206"/>
              </a:cxn>
              <a:cxn ang="0">
                <a:pos x="46" y="273"/>
              </a:cxn>
              <a:cxn ang="0">
                <a:pos x="26" y="306"/>
              </a:cxn>
              <a:cxn ang="0">
                <a:pos x="25" y="326"/>
              </a:cxn>
              <a:cxn ang="0">
                <a:pos x="0" y="365"/>
              </a:cxn>
              <a:cxn ang="0">
                <a:pos x="21" y="414"/>
              </a:cxn>
              <a:cxn ang="0">
                <a:pos x="38" y="501"/>
              </a:cxn>
              <a:cxn ang="0">
                <a:pos x="86" y="530"/>
              </a:cxn>
              <a:cxn ang="0">
                <a:pos x="191" y="556"/>
              </a:cxn>
              <a:cxn ang="0">
                <a:pos x="286" y="593"/>
              </a:cxn>
              <a:cxn ang="0">
                <a:pos x="327" y="624"/>
              </a:cxn>
              <a:cxn ang="0">
                <a:pos x="349" y="680"/>
              </a:cxn>
              <a:cxn ang="0">
                <a:pos x="418" y="688"/>
              </a:cxn>
              <a:cxn ang="0">
                <a:pos x="472" y="716"/>
              </a:cxn>
              <a:cxn ang="0">
                <a:pos x="523" y="727"/>
              </a:cxn>
              <a:cxn ang="0">
                <a:pos x="580" y="710"/>
              </a:cxn>
              <a:cxn ang="0">
                <a:pos x="598" y="724"/>
              </a:cxn>
              <a:cxn ang="0">
                <a:pos x="590" y="755"/>
              </a:cxn>
              <a:cxn ang="0">
                <a:pos x="596" y="782"/>
              </a:cxn>
              <a:cxn ang="0">
                <a:pos x="605" y="813"/>
              </a:cxn>
              <a:cxn ang="0">
                <a:pos x="621" y="843"/>
              </a:cxn>
              <a:cxn ang="0">
                <a:pos x="632" y="814"/>
              </a:cxn>
              <a:cxn ang="0">
                <a:pos x="698" y="791"/>
              </a:cxn>
            </a:cxnLst>
            <a:rect l="0" t="0" r="r" b="b"/>
            <a:pathLst>
              <a:path w="1102" h="843">
                <a:moveTo>
                  <a:pt x="698" y="784"/>
                </a:moveTo>
                <a:lnTo>
                  <a:pt x="698" y="784"/>
                </a:lnTo>
                <a:lnTo>
                  <a:pt x="713" y="779"/>
                </a:lnTo>
                <a:lnTo>
                  <a:pt x="726" y="775"/>
                </a:lnTo>
                <a:lnTo>
                  <a:pt x="741" y="770"/>
                </a:lnTo>
                <a:lnTo>
                  <a:pt x="748" y="769"/>
                </a:lnTo>
                <a:lnTo>
                  <a:pt x="756" y="769"/>
                </a:lnTo>
                <a:lnTo>
                  <a:pt x="756" y="769"/>
                </a:lnTo>
                <a:lnTo>
                  <a:pt x="763" y="768"/>
                </a:lnTo>
                <a:lnTo>
                  <a:pt x="769" y="767"/>
                </a:lnTo>
                <a:lnTo>
                  <a:pt x="775" y="764"/>
                </a:lnTo>
                <a:lnTo>
                  <a:pt x="779" y="761"/>
                </a:lnTo>
                <a:lnTo>
                  <a:pt x="789" y="754"/>
                </a:lnTo>
                <a:lnTo>
                  <a:pt x="798" y="745"/>
                </a:lnTo>
                <a:lnTo>
                  <a:pt x="805" y="737"/>
                </a:lnTo>
                <a:lnTo>
                  <a:pt x="813" y="729"/>
                </a:lnTo>
                <a:lnTo>
                  <a:pt x="817" y="725"/>
                </a:lnTo>
                <a:lnTo>
                  <a:pt x="821" y="723"/>
                </a:lnTo>
                <a:lnTo>
                  <a:pt x="825" y="722"/>
                </a:lnTo>
                <a:lnTo>
                  <a:pt x="830" y="721"/>
                </a:lnTo>
                <a:lnTo>
                  <a:pt x="830" y="721"/>
                </a:lnTo>
                <a:lnTo>
                  <a:pt x="837" y="721"/>
                </a:lnTo>
                <a:lnTo>
                  <a:pt x="843" y="719"/>
                </a:lnTo>
                <a:lnTo>
                  <a:pt x="853" y="716"/>
                </a:lnTo>
                <a:lnTo>
                  <a:pt x="863" y="711"/>
                </a:lnTo>
                <a:lnTo>
                  <a:pt x="870" y="710"/>
                </a:lnTo>
                <a:lnTo>
                  <a:pt x="877" y="710"/>
                </a:lnTo>
                <a:lnTo>
                  <a:pt x="877" y="710"/>
                </a:lnTo>
                <a:lnTo>
                  <a:pt x="882" y="710"/>
                </a:lnTo>
                <a:lnTo>
                  <a:pt x="885" y="713"/>
                </a:lnTo>
                <a:lnTo>
                  <a:pt x="892" y="718"/>
                </a:lnTo>
                <a:lnTo>
                  <a:pt x="898" y="724"/>
                </a:lnTo>
                <a:lnTo>
                  <a:pt x="900" y="726"/>
                </a:lnTo>
                <a:lnTo>
                  <a:pt x="904" y="729"/>
                </a:lnTo>
                <a:lnTo>
                  <a:pt x="904" y="729"/>
                </a:lnTo>
                <a:lnTo>
                  <a:pt x="922" y="729"/>
                </a:lnTo>
                <a:lnTo>
                  <a:pt x="922" y="714"/>
                </a:lnTo>
                <a:lnTo>
                  <a:pt x="947" y="714"/>
                </a:lnTo>
                <a:lnTo>
                  <a:pt x="947" y="714"/>
                </a:lnTo>
                <a:lnTo>
                  <a:pt x="947" y="714"/>
                </a:lnTo>
                <a:lnTo>
                  <a:pt x="952" y="717"/>
                </a:lnTo>
                <a:lnTo>
                  <a:pt x="958" y="723"/>
                </a:lnTo>
                <a:lnTo>
                  <a:pt x="960" y="724"/>
                </a:lnTo>
                <a:lnTo>
                  <a:pt x="964" y="726"/>
                </a:lnTo>
                <a:lnTo>
                  <a:pt x="968" y="727"/>
                </a:lnTo>
                <a:lnTo>
                  <a:pt x="973" y="729"/>
                </a:lnTo>
                <a:lnTo>
                  <a:pt x="973" y="729"/>
                </a:lnTo>
                <a:lnTo>
                  <a:pt x="978" y="727"/>
                </a:lnTo>
                <a:lnTo>
                  <a:pt x="984" y="726"/>
                </a:lnTo>
                <a:lnTo>
                  <a:pt x="992" y="724"/>
                </a:lnTo>
                <a:lnTo>
                  <a:pt x="999" y="718"/>
                </a:lnTo>
                <a:lnTo>
                  <a:pt x="1006" y="714"/>
                </a:lnTo>
                <a:lnTo>
                  <a:pt x="1013" y="708"/>
                </a:lnTo>
                <a:lnTo>
                  <a:pt x="1021" y="703"/>
                </a:lnTo>
                <a:lnTo>
                  <a:pt x="1033" y="700"/>
                </a:lnTo>
                <a:lnTo>
                  <a:pt x="1038" y="699"/>
                </a:lnTo>
                <a:lnTo>
                  <a:pt x="1046" y="699"/>
                </a:lnTo>
                <a:lnTo>
                  <a:pt x="1046" y="699"/>
                </a:lnTo>
                <a:lnTo>
                  <a:pt x="1046" y="637"/>
                </a:lnTo>
                <a:lnTo>
                  <a:pt x="1046" y="637"/>
                </a:lnTo>
                <a:lnTo>
                  <a:pt x="1048" y="630"/>
                </a:lnTo>
                <a:lnTo>
                  <a:pt x="1049" y="623"/>
                </a:lnTo>
                <a:lnTo>
                  <a:pt x="1051" y="617"/>
                </a:lnTo>
                <a:lnTo>
                  <a:pt x="1056" y="612"/>
                </a:lnTo>
                <a:lnTo>
                  <a:pt x="1064" y="603"/>
                </a:lnTo>
                <a:lnTo>
                  <a:pt x="1074" y="595"/>
                </a:lnTo>
                <a:lnTo>
                  <a:pt x="1084" y="586"/>
                </a:lnTo>
                <a:lnTo>
                  <a:pt x="1089" y="581"/>
                </a:lnTo>
                <a:lnTo>
                  <a:pt x="1094" y="577"/>
                </a:lnTo>
                <a:lnTo>
                  <a:pt x="1097" y="571"/>
                </a:lnTo>
                <a:lnTo>
                  <a:pt x="1099" y="564"/>
                </a:lnTo>
                <a:lnTo>
                  <a:pt x="1102" y="556"/>
                </a:lnTo>
                <a:lnTo>
                  <a:pt x="1102" y="548"/>
                </a:lnTo>
                <a:lnTo>
                  <a:pt x="1102" y="548"/>
                </a:lnTo>
                <a:lnTo>
                  <a:pt x="1100" y="539"/>
                </a:lnTo>
                <a:lnTo>
                  <a:pt x="1097" y="530"/>
                </a:lnTo>
                <a:lnTo>
                  <a:pt x="1092" y="524"/>
                </a:lnTo>
                <a:lnTo>
                  <a:pt x="1087" y="518"/>
                </a:lnTo>
                <a:lnTo>
                  <a:pt x="1079" y="515"/>
                </a:lnTo>
                <a:lnTo>
                  <a:pt x="1071" y="511"/>
                </a:lnTo>
                <a:lnTo>
                  <a:pt x="1052" y="505"/>
                </a:lnTo>
                <a:lnTo>
                  <a:pt x="1034" y="500"/>
                </a:lnTo>
                <a:lnTo>
                  <a:pt x="1026" y="496"/>
                </a:lnTo>
                <a:lnTo>
                  <a:pt x="1018" y="492"/>
                </a:lnTo>
                <a:lnTo>
                  <a:pt x="1012" y="487"/>
                </a:lnTo>
                <a:lnTo>
                  <a:pt x="1006" y="479"/>
                </a:lnTo>
                <a:lnTo>
                  <a:pt x="1004" y="471"/>
                </a:lnTo>
                <a:lnTo>
                  <a:pt x="1003" y="460"/>
                </a:lnTo>
                <a:lnTo>
                  <a:pt x="1003" y="460"/>
                </a:lnTo>
                <a:lnTo>
                  <a:pt x="1003" y="451"/>
                </a:lnTo>
                <a:lnTo>
                  <a:pt x="1005" y="442"/>
                </a:lnTo>
                <a:lnTo>
                  <a:pt x="1007" y="434"/>
                </a:lnTo>
                <a:lnTo>
                  <a:pt x="1010" y="426"/>
                </a:lnTo>
                <a:lnTo>
                  <a:pt x="1018" y="412"/>
                </a:lnTo>
                <a:lnTo>
                  <a:pt x="1027" y="400"/>
                </a:lnTo>
                <a:lnTo>
                  <a:pt x="1035" y="388"/>
                </a:lnTo>
                <a:lnTo>
                  <a:pt x="1043" y="376"/>
                </a:lnTo>
                <a:lnTo>
                  <a:pt x="1046" y="371"/>
                </a:lnTo>
                <a:lnTo>
                  <a:pt x="1049" y="365"/>
                </a:lnTo>
                <a:lnTo>
                  <a:pt x="1050" y="359"/>
                </a:lnTo>
                <a:lnTo>
                  <a:pt x="1051" y="353"/>
                </a:lnTo>
                <a:lnTo>
                  <a:pt x="1051" y="353"/>
                </a:lnTo>
                <a:lnTo>
                  <a:pt x="1050" y="348"/>
                </a:lnTo>
                <a:lnTo>
                  <a:pt x="1049" y="343"/>
                </a:lnTo>
                <a:lnTo>
                  <a:pt x="1048" y="339"/>
                </a:lnTo>
                <a:lnTo>
                  <a:pt x="1045" y="335"/>
                </a:lnTo>
                <a:lnTo>
                  <a:pt x="1042" y="333"/>
                </a:lnTo>
                <a:lnTo>
                  <a:pt x="1038" y="330"/>
                </a:lnTo>
                <a:lnTo>
                  <a:pt x="1031" y="327"/>
                </a:lnTo>
                <a:lnTo>
                  <a:pt x="1013" y="321"/>
                </a:lnTo>
                <a:lnTo>
                  <a:pt x="1004" y="318"/>
                </a:lnTo>
                <a:lnTo>
                  <a:pt x="996" y="313"/>
                </a:lnTo>
                <a:lnTo>
                  <a:pt x="996" y="313"/>
                </a:lnTo>
                <a:lnTo>
                  <a:pt x="991" y="309"/>
                </a:lnTo>
                <a:lnTo>
                  <a:pt x="987" y="302"/>
                </a:lnTo>
                <a:lnTo>
                  <a:pt x="977" y="287"/>
                </a:lnTo>
                <a:lnTo>
                  <a:pt x="970" y="272"/>
                </a:lnTo>
                <a:lnTo>
                  <a:pt x="966" y="258"/>
                </a:lnTo>
                <a:lnTo>
                  <a:pt x="966" y="258"/>
                </a:lnTo>
                <a:lnTo>
                  <a:pt x="958" y="257"/>
                </a:lnTo>
                <a:lnTo>
                  <a:pt x="951" y="255"/>
                </a:lnTo>
                <a:lnTo>
                  <a:pt x="945" y="252"/>
                </a:lnTo>
                <a:lnTo>
                  <a:pt x="939" y="249"/>
                </a:lnTo>
                <a:lnTo>
                  <a:pt x="931" y="241"/>
                </a:lnTo>
                <a:lnTo>
                  <a:pt x="924" y="230"/>
                </a:lnTo>
                <a:lnTo>
                  <a:pt x="915" y="222"/>
                </a:lnTo>
                <a:lnTo>
                  <a:pt x="911" y="218"/>
                </a:lnTo>
                <a:lnTo>
                  <a:pt x="905" y="214"/>
                </a:lnTo>
                <a:lnTo>
                  <a:pt x="899" y="211"/>
                </a:lnTo>
                <a:lnTo>
                  <a:pt x="891" y="208"/>
                </a:lnTo>
                <a:lnTo>
                  <a:pt x="882" y="207"/>
                </a:lnTo>
                <a:lnTo>
                  <a:pt x="870" y="206"/>
                </a:lnTo>
                <a:lnTo>
                  <a:pt x="870" y="206"/>
                </a:lnTo>
                <a:lnTo>
                  <a:pt x="859" y="207"/>
                </a:lnTo>
                <a:lnTo>
                  <a:pt x="848" y="208"/>
                </a:lnTo>
                <a:lnTo>
                  <a:pt x="828" y="212"/>
                </a:lnTo>
                <a:lnTo>
                  <a:pt x="808" y="217"/>
                </a:lnTo>
                <a:lnTo>
                  <a:pt x="798" y="218"/>
                </a:lnTo>
                <a:lnTo>
                  <a:pt x="786" y="218"/>
                </a:lnTo>
                <a:lnTo>
                  <a:pt x="786" y="218"/>
                </a:lnTo>
                <a:lnTo>
                  <a:pt x="779" y="217"/>
                </a:lnTo>
                <a:lnTo>
                  <a:pt x="775" y="214"/>
                </a:lnTo>
                <a:lnTo>
                  <a:pt x="771" y="211"/>
                </a:lnTo>
                <a:lnTo>
                  <a:pt x="768" y="206"/>
                </a:lnTo>
                <a:lnTo>
                  <a:pt x="766" y="200"/>
                </a:lnTo>
                <a:lnTo>
                  <a:pt x="764" y="196"/>
                </a:lnTo>
                <a:lnTo>
                  <a:pt x="763" y="189"/>
                </a:lnTo>
                <a:lnTo>
                  <a:pt x="763" y="189"/>
                </a:lnTo>
                <a:lnTo>
                  <a:pt x="763" y="129"/>
                </a:lnTo>
                <a:lnTo>
                  <a:pt x="763" y="129"/>
                </a:lnTo>
                <a:lnTo>
                  <a:pt x="762" y="120"/>
                </a:lnTo>
                <a:lnTo>
                  <a:pt x="760" y="112"/>
                </a:lnTo>
                <a:lnTo>
                  <a:pt x="755" y="105"/>
                </a:lnTo>
                <a:lnTo>
                  <a:pt x="751" y="98"/>
                </a:lnTo>
                <a:lnTo>
                  <a:pt x="746" y="92"/>
                </a:lnTo>
                <a:lnTo>
                  <a:pt x="743" y="85"/>
                </a:lnTo>
                <a:lnTo>
                  <a:pt x="739" y="77"/>
                </a:lnTo>
                <a:lnTo>
                  <a:pt x="738" y="67"/>
                </a:lnTo>
                <a:lnTo>
                  <a:pt x="738" y="67"/>
                </a:lnTo>
                <a:lnTo>
                  <a:pt x="733" y="67"/>
                </a:lnTo>
                <a:lnTo>
                  <a:pt x="729" y="66"/>
                </a:lnTo>
                <a:lnTo>
                  <a:pt x="722" y="62"/>
                </a:lnTo>
                <a:lnTo>
                  <a:pt x="714" y="57"/>
                </a:lnTo>
                <a:lnTo>
                  <a:pt x="707" y="51"/>
                </a:lnTo>
                <a:lnTo>
                  <a:pt x="700" y="45"/>
                </a:lnTo>
                <a:lnTo>
                  <a:pt x="693" y="39"/>
                </a:lnTo>
                <a:lnTo>
                  <a:pt x="685" y="36"/>
                </a:lnTo>
                <a:lnTo>
                  <a:pt x="680" y="35"/>
                </a:lnTo>
                <a:lnTo>
                  <a:pt x="676" y="35"/>
                </a:lnTo>
                <a:lnTo>
                  <a:pt x="676" y="35"/>
                </a:lnTo>
                <a:lnTo>
                  <a:pt x="667" y="35"/>
                </a:lnTo>
                <a:lnTo>
                  <a:pt x="659" y="37"/>
                </a:lnTo>
                <a:lnTo>
                  <a:pt x="652" y="39"/>
                </a:lnTo>
                <a:lnTo>
                  <a:pt x="645" y="43"/>
                </a:lnTo>
                <a:lnTo>
                  <a:pt x="633" y="52"/>
                </a:lnTo>
                <a:lnTo>
                  <a:pt x="622" y="61"/>
                </a:lnTo>
                <a:lnTo>
                  <a:pt x="613" y="72"/>
                </a:lnTo>
                <a:lnTo>
                  <a:pt x="602" y="81"/>
                </a:lnTo>
                <a:lnTo>
                  <a:pt x="598" y="84"/>
                </a:lnTo>
                <a:lnTo>
                  <a:pt x="592" y="87"/>
                </a:lnTo>
                <a:lnTo>
                  <a:pt x="586" y="89"/>
                </a:lnTo>
                <a:lnTo>
                  <a:pt x="580" y="89"/>
                </a:lnTo>
                <a:lnTo>
                  <a:pt x="580" y="89"/>
                </a:lnTo>
                <a:lnTo>
                  <a:pt x="571" y="89"/>
                </a:lnTo>
                <a:lnTo>
                  <a:pt x="563" y="87"/>
                </a:lnTo>
                <a:lnTo>
                  <a:pt x="555" y="85"/>
                </a:lnTo>
                <a:lnTo>
                  <a:pt x="548" y="82"/>
                </a:lnTo>
                <a:lnTo>
                  <a:pt x="535" y="75"/>
                </a:lnTo>
                <a:lnTo>
                  <a:pt x="524" y="67"/>
                </a:lnTo>
                <a:lnTo>
                  <a:pt x="512" y="59"/>
                </a:lnTo>
                <a:lnTo>
                  <a:pt x="499" y="52"/>
                </a:lnTo>
                <a:lnTo>
                  <a:pt x="491" y="49"/>
                </a:lnTo>
                <a:lnTo>
                  <a:pt x="483" y="46"/>
                </a:lnTo>
                <a:lnTo>
                  <a:pt x="473" y="45"/>
                </a:lnTo>
                <a:lnTo>
                  <a:pt x="463" y="45"/>
                </a:lnTo>
                <a:lnTo>
                  <a:pt x="463" y="45"/>
                </a:lnTo>
                <a:lnTo>
                  <a:pt x="436" y="44"/>
                </a:lnTo>
                <a:lnTo>
                  <a:pt x="425" y="43"/>
                </a:lnTo>
                <a:lnTo>
                  <a:pt x="412" y="40"/>
                </a:lnTo>
                <a:lnTo>
                  <a:pt x="402" y="37"/>
                </a:lnTo>
                <a:lnTo>
                  <a:pt x="392" y="32"/>
                </a:lnTo>
                <a:lnTo>
                  <a:pt x="381" y="27"/>
                </a:lnTo>
                <a:lnTo>
                  <a:pt x="371" y="20"/>
                </a:lnTo>
                <a:lnTo>
                  <a:pt x="371" y="20"/>
                </a:lnTo>
                <a:lnTo>
                  <a:pt x="309" y="20"/>
                </a:lnTo>
                <a:lnTo>
                  <a:pt x="309" y="20"/>
                </a:lnTo>
                <a:lnTo>
                  <a:pt x="309" y="20"/>
                </a:lnTo>
                <a:lnTo>
                  <a:pt x="296" y="15"/>
                </a:lnTo>
                <a:lnTo>
                  <a:pt x="281" y="8"/>
                </a:lnTo>
                <a:lnTo>
                  <a:pt x="273" y="6"/>
                </a:lnTo>
                <a:lnTo>
                  <a:pt x="264" y="4"/>
                </a:lnTo>
                <a:lnTo>
                  <a:pt x="255" y="1"/>
                </a:lnTo>
                <a:lnTo>
                  <a:pt x="245" y="0"/>
                </a:lnTo>
                <a:lnTo>
                  <a:pt x="245" y="0"/>
                </a:lnTo>
                <a:lnTo>
                  <a:pt x="235" y="3"/>
                </a:lnTo>
                <a:lnTo>
                  <a:pt x="226" y="6"/>
                </a:lnTo>
                <a:lnTo>
                  <a:pt x="217" y="12"/>
                </a:lnTo>
                <a:lnTo>
                  <a:pt x="210" y="19"/>
                </a:lnTo>
                <a:lnTo>
                  <a:pt x="203" y="28"/>
                </a:lnTo>
                <a:lnTo>
                  <a:pt x="196" y="39"/>
                </a:lnTo>
                <a:lnTo>
                  <a:pt x="191" y="50"/>
                </a:lnTo>
                <a:lnTo>
                  <a:pt x="186" y="62"/>
                </a:lnTo>
                <a:lnTo>
                  <a:pt x="176" y="88"/>
                </a:lnTo>
                <a:lnTo>
                  <a:pt x="168" y="112"/>
                </a:lnTo>
                <a:lnTo>
                  <a:pt x="159" y="135"/>
                </a:lnTo>
                <a:lnTo>
                  <a:pt x="155" y="144"/>
                </a:lnTo>
                <a:lnTo>
                  <a:pt x="150" y="151"/>
                </a:lnTo>
                <a:lnTo>
                  <a:pt x="150" y="151"/>
                </a:lnTo>
                <a:lnTo>
                  <a:pt x="147" y="157"/>
                </a:lnTo>
                <a:lnTo>
                  <a:pt x="143" y="161"/>
                </a:lnTo>
                <a:lnTo>
                  <a:pt x="138" y="166"/>
                </a:lnTo>
                <a:lnTo>
                  <a:pt x="133" y="169"/>
                </a:lnTo>
                <a:lnTo>
                  <a:pt x="122" y="174"/>
                </a:lnTo>
                <a:lnTo>
                  <a:pt x="112" y="177"/>
                </a:lnTo>
                <a:lnTo>
                  <a:pt x="100" y="182"/>
                </a:lnTo>
                <a:lnTo>
                  <a:pt x="90" y="188"/>
                </a:lnTo>
                <a:lnTo>
                  <a:pt x="86" y="191"/>
                </a:lnTo>
                <a:lnTo>
                  <a:pt x="81" y="195"/>
                </a:lnTo>
                <a:lnTo>
                  <a:pt x="77" y="200"/>
                </a:lnTo>
                <a:lnTo>
                  <a:pt x="73" y="206"/>
                </a:lnTo>
                <a:lnTo>
                  <a:pt x="73" y="206"/>
                </a:lnTo>
                <a:lnTo>
                  <a:pt x="68" y="215"/>
                </a:lnTo>
                <a:lnTo>
                  <a:pt x="65" y="223"/>
                </a:lnTo>
                <a:lnTo>
                  <a:pt x="58" y="243"/>
                </a:lnTo>
                <a:lnTo>
                  <a:pt x="51" y="263"/>
                </a:lnTo>
                <a:lnTo>
                  <a:pt x="46" y="273"/>
                </a:lnTo>
                <a:lnTo>
                  <a:pt x="40" y="283"/>
                </a:lnTo>
                <a:lnTo>
                  <a:pt x="40" y="283"/>
                </a:lnTo>
                <a:lnTo>
                  <a:pt x="14" y="280"/>
                </a:lnTo>
                <a:lnTo>
                  <a:pt x="26" y="306"/>
                </a:lnTo>
                <a:lnTo>
                  <a:pt x="26" y="306"/>
                </a:lnTo>
                <a:lnTo>
                  <a:pt x="26" y="306"/>
                </a:lnTo>
                <a:lnTo>
                  <a:pt x="29" y="306"/>
                </a:lnTo>
                <a:lnTo>
                  <a:pt x="28" y="307"/>
                </a:lnTo>
                <a:lnTo>
                  <a:pt x="27" y="312"/>
                </a:lnTo>
                <a:lnTo>
                  <a:pt x="26" y="320"/>
                </a:lnTo>
                <a:lnTo>
                  <a:pt x="26" y="320"/>
                </a:lnTo>
                <a:lnTo>
                  <a:pt x="25" y="326"/>
                </a:lnTo>
                <a:lnTo>
                  <a:pt x="22" y="330"/>
                </a:lnTo>
                <a:lnTo>
                  <a:pt x="13" y="339"/>
                </a:lnTo>
                <a:lnTo>
                  <a:pt x="8" y="343"/>
                </a:lnTo>
                <a:lnTo>
                  <a:pt x="4" y="349"/>
                </a:lnTo>
                <a:lnTo>
                  <a:pt x="2" y="356"/>
                </a:lnTo>
                <a:lnTo>
                  <a:pt x="0" y="365"/>
                </a:lnTo>
                <a:lnTo>
                  <a:pt x="0" y="365"/>
                </a:lnTo>
                <a:lnTo>
                  <a:pt x="0" y="373"/>
                </a:lnTo>
                <a:lnTo>
                  <a:pt x="4" y="381"/>
                </a:lnTo>
                <a:lnTo>
                  <a:pt x="7" y="390"/>
                </a:lnTo>
                <a:lnTo>
                  <a:pt x="12" y="398"/>
                </a:lnTo>
                <a:lnTo>
                  <a:pt x="21" y="414"/>
                </a:lnTo>
                <a:lnTo>
                  <a:pt x="29" y="427"/>
                </a:lnTo>
                <a:lnTo>
                  <a:pt x="29" y="427"/>
                </a:lnTo>
                <a:lnTo>
                  <a:pt x="29" y="489"/>
                </a:lnTo>
                <a:lnTo>
                  <a:pt x="29" y="489"/>
                </a:lnTo>
                <a:lnTo>
                  <a:pt x="29" y="489"/>
                </a:lnTo>
                <a:lnTo>
                  <a:pt x="38" y="501"/>
                </a:lnTo>
                <a:lnTo>
                  <a:pt x="48" y="516"/>
                </a:lnTo>
                <a:lnTo>
                  <a:pt x="48" y="516"/>
                </a:lnTo>
                <a:lnTo>
                  <a:pt x="84" y="526"/>
                </a:lnTo>
                <a:lnTo>
                  <a:pt x="84" y="526"/>
                </a:lnTo>
                <a:lnTo>
                  <a:pt x="84" y="526"/>
                </a:lnTo>
                <a:lnTo>
                  <a:pt x="86" y="530"/>
                </a:lnTo>
                <a:lnTo>
                  <a:pt x="89" y="532"/>
                </a:lnTo>
                <a:lnTo>
                  <a:pt x="100" y="536"/>
                </a:lnTo>
                <a:lnTo>
                  <a:pt x="115" y="541"/>
                </a:lnTo>
                <a:lnTo>
                  <a:pt x="134" y="546"/>
                </a:lnTo>
                <a:lnTo>
                  <a:pt x="168" y="551"/>
                </a:lnTo>
                <a:lnTo>
                  <a:pt x="191" y="556"/>
                </a:lnTo>
                <a:lnTo>
                  <a:pt x="191" y="556"/>
                </a:lnTo>
                <a:lnTo>
                  <a:pt x="209" y="559"/>
                </a:lnTo>
                <a:lnTo>
                  <a:pt x="226" y="564"/>
                </a:lnTo>
                <a:lnTo>
                  <a:pt x="242" y="570"/>
                </a:lnTo>
                <a:lnTo>
                  <a:pt x="257" y="577"/>
                </a:lnTo>
                <a:lnTo>
                  <a:pt x="286" y="593"/>
                </a:lnTo>
                <a:lnTo>
                  <a:pt x="312" y="607"/>
                </a:lnTo>
                <a:lnTo>
                  <a:pt x="312" y="607"/>
                </a:lnTo>
                <a:lnTo>
                  <a:pt x="317" y="610"/>
                </a:lnTo>
                <a:lnTo>
                  <a:pt x="321" y="615"/>
                </a:lnTo>
                <a:lnTo>
                  <a:pt x="325" y="619"/>
                </a:lnTo>
                <a:lnTo>
                  <a:pt x="327" y="624"/>
                </a:lnTo>
                <a:lnTo>
                  <a:pt x="332" y="633"/>
                </a:lnTo>
                <a:lnTo>
                  <a:pt x="335" y="645"/>
                </a:lnTo>
                <a:lnTo>
                  <a:pt x="338" y="655"/>
                </a:lnTo>
                <a:lnTo>
                  <a:pt x="341" y="665"/>
                </a:lnTo>
                <a:lnTo>
                  <a:pt x="346" y="676"/>
                </a:lnTo>
                <a:lnTo>
                  <a:pt x="349" y="680"/>
                </a:lnTo>
                <a:lnTo>
                  <a:pt x="352" y="684"/>
                </a:lnTo>
                <a:lnTo>
                  <a:pt x="352" y="684"/>
                </a:lnTo>
                <a:lnTo>
                  <a:pt x="358" y="686"/>
                </a:lnTo>
                <a:lnTo>
                  <a:pt x="365" y="688"/>
                </a:lnTo>
                <a:lnTo>
                  <a:pt x="382" y="689"/>
                </a:lnTo>
                <a:lnTo>
                  <a:pt x="418" y="688"/>
                </a:lnTo>
                <a:lnTo>
                  <a:pt x="418" y="688"/>
                </a:lnTo>
                <a:lnTo>
                  <a:pt x="424" y="689"/>
                </a:lnTo>
                <a:lnTo>
                  <a:pt x="430" y="691"/>
                </a:lnTo>
                <a:lnTo>
                  <a:pt x="440" y="696"/>
                </a:lnTo>
                <a:lnTo>
                  <a:pt x="461" y="709"/>
                </a:lnTo>
                <a:lnTo>
                  <a:pt x="472" y="716"/>
                </a:lnTo>
                <a:lnTo>
                  <a:pt x="485" y="723"/>
                </a:lnTo>
                <a:lnTo>
                  <a:pt x="499" y="726"/>
                </a:lnTo>
                <a:lnTo>
                  <a:pt x="506" y="727"/>
                </a:lnTo>
                <a:lnTo>
                  <a:pt x="514" y="729"/>
                </a:lnTo>
                <a:lnTo>
                  <a:pt x="514" y="729"/>
                </a:lnTo>
                <a:lnTo>
                  <a:pt x="523" y="727"/>
                </a:lnTo>
                <a:lnTo>
                  <a:pt x="531" y="725"/>
                </a:lnTo>
                <a:lnTo>
                  <a:pt x="547" y="719"/>
                </a:lnTo>
                <a:lnTo>
                  <a:pt x="563" y="713"/>
                </a:lnTo>
                <a:lnTo>
                  <a:pt x="571" y="710"/>
                </a:lnTo>
                <a:lnTo>
                  <a:pt x="580" y="710"/>
                </a:lnTo>
                <a:lnTo>
                  <a:pt x="580" y="710"/>
                </a:lnTo>
                <a:lnTo>
                  <a:pt x="585" y="710"/>
                </a:lnTo>
                <a:lnTo>
                  <a:pt x="590" y="711"/>
                </a:lnTo>
                <a:lnTo>
                  <a:pt x="593" y="714"/>
                </a:lnTo>
                <a:lnTo>
                  <a:pt x="595" y="717"/>
                </a:lnTo>
                <a:lnTo>
                  <a:pt x="596" y="721"/>
                </a:lnTo>
                <a:lnTo>
                  <a:pt x="598" y="724"/>
                </a:lnTo>
                <a:lnTo>
                  <a:pt x="599" y="732"/>
                </a:lnTo>
                <a:lnTo>
                  <a:pt x="599" y="732"/>
                </a:lnTo>
                <a:lnTo>
                  <a:pt x="598" y="737"/>
                </a:lnTo>
                <a:lnTo>
                  <a:pt x="596" y="740"/>
                </a:lnTo>
                <a:lnTo>
                  <a:pt x="593" y="747"/>
                </a:lnTo>
                <a:lnTo>
                  <a:pt x="590" y="755"/>
                </a:lnTo>
                <a:lnTo>
                  <a:pt x="587" y="760"/>
                </a:lnTo>
                <a:lnTo>
                  <a:pt x="587" y="765"/>
                </a:lnTo>
                <a:lnTo>
                  <a:pt x="587" y="765"/>
                </a:lnTo>
                <a:lnTo>
                  <a:pt x="588" y="770"/>
                </a:lnTo>
                <a:lnTo>
                  <a:pt x="591" y="775"/>
                </a:lnTo>
                <a:lnTo>
                  <a:pt x="596" y="782"/>
                </a:lnTo>
                <a:lnTo>
                  <a:pt x="600" y="786"/>
                </a:lnTo>
                <a:lnTo>
                  <a:pt x="603" y="791"/>
                </a:lnTo>
                <a:lnTo>
                  <a:pt x="606" y="795"/>
                </a:lnTo>
                <a:lnTo>
                  <a:pt x="606" y="801"/>
                </a:lnTo>
                <a:lnTo>
                  <a:pt x="606" y="801"/>
                </a:lnTo>
                <a:lnTo>
                  <a:pt x="605" y="813"/>
                </a:lnTo>
                <a:lnTo>
                  <a:pt x="602" y="822"/>
                </a:lnTo>
                <a:lnTo>
                  <a:pt x="600" y="832"/>
                </a:lnTo>
                <a:lnTo>
                  <a:pt x="599" y="843"/>
                </a:lnTo>
                <a:lnTo>
                  <a:pt x="599" y="843"/>
                </a:lnTo>
                <a:lnTo>
                  <a:pt x="621" y="843"/>
                </a:lnTo>
                <a:lnTo>
                  <a:pt x="621" y="843"/>
                </a:lnTo>
                <a:lnTo>
                  <a:pt x="621" y="843"/>
                </a:lnTo>
                <a:lnTo>
                  <a:pt x="622" y="836"/>
                </a:lnTo>
                <a:lnTo>
                  <a:pt x="623" y="830"/>
                </a:lnTo>
                <a:lnTo>
                  <a:pt x="625" y="824"/>
                </a:lnTo>
                <a:lnTo>
                  <a:pt x="629" y="818"/>
                </a:lnTo>
                <a:lnTo>
                  <a:pt x="632" y="814"/>
                </a:lnTo>
                <a:lnTo>
                  <a:pt x="636" y="810"/>
                </a:lnTo>
                <a:lnTo>
                  <a:pt x="646" y="803"/>
                </a:lnTo>
                <a:lnTo>
                  <a:pt x="656" y="798"/>
                </a:lnTo>
                <a:lnTo>
                  <a:pt x="669" y="794"/>
                </a:lnTo>
                <a:lnTo>
                  <a:pt x="683" y="792"/>
                </a:lnTo>
                <a:lnTo>
                  <a:pt x="698" y="791"/>
                </a:lnTo>
                <a:lnTo>
                  <a:pt x="698" y="791"/>
                </a:lnTo>
                <a:lnTo>
                  <a:pt x="698" y="784"/>
                </a:lnTo>
                <a:lnTo>
                  <a:pt x="698" y="78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5" name="Freeform 90"/>
          <p:cNvSpPr>
            <a:spLocks/>
          </p:cNvSpPr>
          <p:nvPr/>
        </p:nvSpPr>
        <p:spPr bwMode="auto">
          <a:xfrm>
            <a:off x="393700" y="3081338"/>
            <a:ext cx="152400" cy="193675"/>
          </a:xfrm>
          <a:custGeom>
            <a:avLst/>
            <a:gdLst/>
            <a:ahLst/>
            <a:cxnLst>
              <a:cxn ang="0">
                <a:pos x="185" y="147"/>
              </a:cxn>
              <a:cxn ang="0">
                <a:pos x="185" y="147"/>
              </a:cxn>
              <a:cxn ang="0">
                <a:pos x="185" y="155"/>
              </a:cxn>
              <a:cxn ang="0">
                <a:pos x="183" y="163"/>
              </a:cxn>
              <a:cxn ang="0">
                <a:pos x="180" y="169"/>
              </a:cxn>
              <a:cxn ang="0">
                <a:pos x="177" y="175"/>
              </a:cxn>
              <a:cxn ang="0">
                <a:pos x="174" y="180"/>
              </a:cxn>
              <a:cxn ang="0">
                <a:pos x="169" y="184"/>
              </a:cxn>
              <a:cxn ang="0">
                <a:pos x="159" y="191"/>
              </a:cxn>
              <a:cxn ang="0">
                <a:pos x="148" y="196"/>
              </a:cxn>
              <a:cxn ang="0">
                <a:pos x="137" y="202"/>
              </a:cxn>
              <a:cxn ang="0">
                <a:pos x="126" y="207"/>
              </a:cxn>
              <a:cxn ang="0">
                <a:pos x="118" y="214"/>
              </a:cxn>
              <a:cxn ang="0">
                <a:pos x="118" y="214"/>
              </a:cxn>
              <a:cxn ang="0">
                <a:pos x="111" y="221"/>
              </a:cxn>
              <a:cxn ang="0">
                <a:pos x="111" y="221"/>
              </a:cxn>
              <a:cxn ang="0">
                <a:pos x="111" y="221"/>
              </a:cxn>
              <a:cxn ang="0">
                <a:pos x="100" y="201"/>
              </a:cxn>
              <a:cxn ang="0">
                <a:pos x="86" y="181"/>
              </a:cxn>
              <a:cxn ang="0">
                <a:pos x="57" y="141"/>
              </a:cxn>
              <a:cxn ang="0">
                <a:pos x="42" y="120"/>
              </a:cxn>
              <a:cxn ang="0">
                <a:pos x="29" y="99"/>
              </a:cxn>
              <a:cxn ang="0">
                <a:pos x="16" y="76"/>
              </a:cxn>
              <a:cxn ang="0">
                <a:pos x="4" y="51"/>
              </a:cxn>
              <a:cxn ang="0">
                <a:pos x="4" y="51"/>
              </a:cxn>
              <a:cxn ang="0">
                <a:pos x="1" y="39"/>
              </a:cxn>
              <a:cxn ang="0">
                <a:pos x="0" y="31"/>
              </a:cxn>
              <a:cxn ang="0">
                <a:pos x="1" y="27"/>
              </a:cxn>
              <a:cxn ang="0">
                <a:pos x="2" y="24"/>
              </a:cxn>
              <a:cxn ang="0">
                <a:pos x="6" y="19"/>
              </a:cxn>
              <a:cxn ang="0">
                <a:pos x="10" y="17"/>
              </a:cxn>
              <a:cxn ang="0">
                <a:pos x="17" y="13"/>
              </a:cxn>
              <a:cxn ang="0">
                <a:pos x="24" y="11"/>
              </a:cxn>
              <a:cxn ang="0">
                <a:pos x="31" y="8"/>
              </a:cxn>
              <a:cxn ang="0">
                <a:pos x="31" y="8"/>
              </a:cxn>
              <a:cxn ang="0">
                <a:pos x="37" y="4"/>
              </a:cxn>
              <a:cxn ang="0">
                <a:pos x="42" y="2"/>
              </a:cxn>
              <a:cxn ang="0">
                <a:pos x="48" y="1"/>
              </a:cxn>
              <a:cxn ang="0">
                <a:pos x="52" y="0"/>
              </a:cxn>
              <a:cxn ang="0">
                <a:pos x="56" y="1"/>
              </a:cxn>
              <a:cxn ang="0">
                <a:pos x="60" y="2"/>
              </a:cxn>
              <a:cxn ang="0">
                <a:pos x="69" y="7"/>
              </a:cxn>
              <a:cxn ang="0">
                <a:pos x="78" y="11"/>
              </a:cxn>
              <a:cxn ang="0">
                <a:pos x="92" y="17"/>
              </a:cxn>
              <a:cxn ang="0">
                <a:pos x="100" y="19"/>
              </a:cxn>
              <a:cxn ang="0">
                <a:pos x="109" y="20"/>
              </a:cxn>
              <a:cxn ang="0">
                <a:pos x="121" y="22"/>
              </a:cxn>
              <a:cxn ang="0">
                <a:pos x="133" y="22"/>
              </a:cxn>
              <a:cxn ang="0">
                <a:pos x="133" y="22"/>
              </a:cxn>
              <a:cxn ang="0">
                <a:pos x="160" y="66"/>
              </a:cxn>
              <a:cxn ang="0">
                <a:pos x="160" y="66"/>
              </a:cxn>
              <a:cxn ang="0">
                <a:pos x="168" y="84"/>
              </a:cxn>
              <a:cxn ang="0">
                <a:pos x="175" y="102"/>
              </a:cxn>
              <a:cxn ang="0">
                <a:pos x="182" y="123"/>
              </a:cxn>
              <a:cxn ang="0">
                <a:pos x="185" y="147"/>
              </a:cxn>
              <a:cxn ang="0">
                <a:pos x="185" y="147"/>
              </a:cxn>
              <a:cxn ang="0">
                <a:pos x="185" y="147"/>
              </a:cxn>
            </a:cxnLst>
            <a:rect l="0" t="0" r="r" b="b"/>
            <a:pathLst>
              <a:path w="185" h="221">
                <a:moveTo>
                  <a:pt x="185" y="147"/>
                </a:moveTo>
                <a:lnTo>
                  <a:pt x="185" y="147"/>
                </a:lnTo>
                <a:lnTo>
                  <a:pt x="185" y="155"/>
                </a:lnTo>
                <a:lnTo>
                  <a:pt x="183" y="163"/>
                </a:lnTo>
                <a:lnTo>
                  <a:pt x="180" y="169"/>
                </a:lnTo>
                <a:lnTo>
                  <a:pt x="177" y="175"/>
                </a:lnTo>
                <a:lnTo>
                  <a:pt x="174" y="180"/>
                </a:lnTo>
                <a:lnTo>
                  <a:pt x="169" y="184"/>
                </a:lnTo>
                <a:lnTo>
                  <a:pt x="159" y="191"/>
                </a:lnTo>
                <a:lnTo>
                  <a:pt x="148" y="196"/>
                </a:lnTo>
                <a:lnTo>
                  <a:pt x="137" y="202"/>
                </a:lnTo>
                <a:lnTo>
                  <a:pt x="126" y="207"/>
                </a:lnTo>
                <a:lnTo>
                  <a:pt x="118" y="214"/>
                </a:lnTo>
                <a:lnTo>
                  <a:pt x="118" y="214"/>
                </a:lnTo>
                <a:lnTo>
                  <a:pt x="111" y="221"/>
                </a:lnTo>
                <a:lnTo>
                  <a:pt x="111" y="221"/>
                </a:lnTo>
                <a:lnTo>
                  <a:pt x="111" y="221"/>
                </a:lnTo>
                <a:lnTo>
                  <a:pt x="100" y="201"/>
                </a:lnTo>
                <a:lnTo>
                  <a:pt x="86" y="181"/>
                </a:lnTo>
                <a:lnTo>
                  <a:pt x="57" y="141"/>
                </a:lnTo>
                <a:lnTo>
                  <a:pt x="42" y="120"/>
                </a:lnTo>
                <a:lnTo>
                  <a:pt x="29" y="99"/>
                </a:lnTo>
                <a:lnTo>
                  <a:pt x="16" y="76"/>
                </a:lnTo>
                <a:lnTo>
                  <a:pt x="4" y="51"/>
                </a:lnTo>
                <a:lnTo>
                  <a:pt x="4" y="51"/>
                </a:lnTo>
                <a:lnTo>
                  <a:pt x="1" y="39"/>
                </a:lnTo>
                <a:lnTo>
                  <a:pt x="0" y="31"/>
                </a:lnTo>
                <a:lnTo>
                  <a:pt x="1" y="27"/>
                </a:lnTo>
                <a:lnTo>
                  <a:pt x="2" y="24"/>
                </a:lnTo>
                <a:lnTo>
                  <a:pt x="6" y="19"/>
                </a:lnTo>
                <a:lnTo>
                  <a:pt x="10" y="17"/>
                </a:lnTo>
                <a:lnTo>
                  <a:pt x="17" y="13"/>
                </a:lnTo>
                <a:lnTo>
                  <a:pt x="24" y="11"/>
                </a:lnTo>
                <a:lnTo>
                  <a:pt x="31" y="8"/>
                </a:lnTo>
                <a:lnTo>
                  <a:pt x="31" y="8"/>
                </a:lnTo>
                <a:lnTo>
                  <a:pt x="37" y="4"/>
                </a:lnTo>
                <a:lnTo>
                  <a:pt x="42" y="2"/>
                </a:lnTo>
                <a:lnTo>
                  <a:pt x="48" y="1"/>
                </a:lnTo>
                <a:lnTo>
                  <a:pt x="52" y="0"/>
                </a:lnTo>
                <a:lnTo>
                  <a:pt x="56" y="1"/>
                </a:lnTo>
                <a:lnTo>
                  <a:pt x="60" y="2"/>
                </a:lnTo>
                <a:lnTo>
                  <a:pt x="69" y="7"/>
                </a:lnTo>
                <a:lnTo>
                  <a:pt x="78" y="11"/>
                </a:lnTo>
                <a:lnTo>
                  <a:pt x="92" y="17"/>
                </a:lnTo>
                <a:lnTo>
                  <a:pt x="100" y="19"/>
                </a:lnTo>
                <a:lnTo>
                  <a:pt x="109" y="20"/>
                </a:lnTo>
                <a:lnTo>
                  <a:pt x="121" y="22"/>
                </a:lnTo>
                <a:lnTo>
                  <a:pt x="133" y="22"/>
                </a:lnTo>
                <a:lnTo>
                  <a:pt x="133" y="22"/>
                </a:lnTo>
                <a:lnTo>
                  <a:pt x="160" y="66"/>
                </a:lnTo>
                <a:lnTo>
                  <a:pt x="160" y="66"/>
                </a:lnTo>
                <a:lnTo>
                  <a:pt x="168" y="84"/>
                </a:lnTo>
                <a:lnTo>
                  <a:pt x="175" y="102"/>
                </a:lnTo>
                <a:lnTo>
                  <a:pt x="182" y="123"/>
                </a:lnTo>
                <a:lnTo>
                  <a:pt x="185" y="147"/>
                </a:lnTo>
                <a:lnTo>
                  <a:pt x="185" y="147"/>
                </a:lnTo>
                <a:lnTo>
                  <a:pt x="185" y="1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6" name="Freeform 91"/>
          <p:cNvSpPr>
            <a:spLocks/>
          </p:cNvSpPr>
          <p:nvPr/>
        </p:nvSpPr>
        <p:spPr bwMode="auto">
          <a:xfrm>
            <a:off x="739775" y="4197350"/>
            <a:ext cx="265113" cy="260350"/>
          </a:xfrm>
          <a:custGeom>
            <a:avLst/>
            <a:gdLst/>
            <a:ahLst/>
            <a:cxnLst>
              <a:cxn ang="0">
                <a:pos x="312" y="234"/>
              </a:cxn>
              <a:cxn ang="0">
                <a:pos x="319" y="250"/>
              </a:cxn>
              <a:cxn ang="0">
                <a:pos x="321" y="254"/>
              </a:cxn>
              <a:cxn ang="0">
                <a:pos x="324" y="258"/>
              </a:cxn>
              <a:cxn ang="0">
                <a:pos x="317" y="279"/>
              </a:cxn>
              <a:cxn ang="0">
                <a:pos x="301" y="302"/>
              </a:cxn>
              <a:cxn ang="0">
                <a:pos x="231" y="277"/>
              </a:cxn>
              <a:cxn ang="0">
                <a:pos x="158" y="254"/>
              </a:cxn>
              <a:cxn ang="0">
                <a:pos x="149" y="250"/>
              </a:cxn>
              <a:cxn ang="0">
                <a:pos x="132" y="223"/>
              </a:cxn>
              <a:cxn ang="0">
                <a:pos x="117" y="203"/>
              </a:cxn>
              <a:cxn ang="0">
                <a:pos x="103" y="199"/>
              </a:cxn>
              <a:cxn ang="0">
                <a:pos x="77" y="199"/>
              </a:cxn>
              <a:cxn ang="0">
                <a:pos x="61" y="195"/>
              </a:cxn>
              <a:cxn ang="0">
                <a:pos x="44" y="177"/>
              </a:cxn>
              <a:cxn ang="0">
                <a:pos x="43" y="167"/>
              </a:cxn>
              <a:cxn ang="0">
                <a:pos x="43" y="140"/>
              </a:cxn>
              <a:cxn ang="0">
                <a:pos x="36" y="129"/>
              </a:cxn>
              <a:cxn ang="0">
                <a:pos x="14" y="108"/>
              </a:cxn>
              <a:cxn ang="0">
                <a:pos x="2" y="88"/>
              </a:cxn>
              <a:cxn ang="0">
                <a:pos x="2" y="70"/>
              </a:cxn>
              <a:cxn ang="0">
                <a:pos x="16" y="47"/>
              </a:cxn>
              <a:cxn ang="0">
                <a:pos x="41" y="30"/>
              </a:cxn>
              <a:cxn ang="0">
                <a:pos x="52" y="31"/>
              </a:cxn>
              <a:cxn ang="0">
                <a:pos x="59" y="37"/>
              </a:cxn>
              <a:cxn ang="0">
                <a:pos x="67" y="32"/>
              </a:cxn>
              <a:cxn ang="0">
                <a:pos x="90" y="5"/>
              </a:cxn>
              <a:cxn ang="0">
                <a:pos x="96" y="4"/>
              </a:cxn>
              <a:cxn ang="0">
                <a:pos x="110" y="7"/>
              </a:cxn>
              <a:cxn ang="0">
                <a:pos x="132" y="4"/>
              </a:cxn>
              <a:cxn ang="0">
                <a:pos x="155" y="0"/>
              </a:cxn>
              <a:cxn ang="0">
                <a:pos x="182" y="5"/>
              </a:cxn>
              <a:cxn ang="0">
                <a:pos x="196" y="14"/>
              </a:cxn>
              <a:cxn ang="0">
                <a:pos x="208" y="39"/>
              </a:cxn>
              <a:cxn ang="0">
                <a:pos x="213" y="67"/>
              </a:cxn>
              <a:cxn ang="0">
                <a:pos x="219" y="71"/>
              </a:cxn>
              <a:cxn ang="0">
                <a:pos x="247" y="81"/>
              </a:cxn>
              <a:cxn ang="0">
                <a:pos x="257" y="89"/>
              </a:cxn>
              <a:cxn ang="0">
                <a:pos x="264" y="107"/>
              </a:cxn>
              <a:cxn ang="0">
                <a:pos x="277" y="175"/>
              </a:cxn>
              <a:cxn ang="0">
                <a:pos x="286" y="199"/>
              </a:cxn>
              <a:cxn ang="0">
                <a:pos x="304" y="221"/>
              </a:cxn>
              <a:cxn ang="0">
                <a:pos x="312" y="224"/>
              </a:cxn>
            </a:cxnLst>
            <a:rect l="0" t="0" r="r" b="b"/>
            <a:pathLst>
              <a:path w="324" h="302">
                <a:moveTo>
                  <a:pt x="312" y="224"/>
                </a:moveTo>
                <a:lnTo>
                  <a:pt x="312" y="224"/>
                </a:lnTo>
                <a:lnTo>
                  <a:pt x="312" y="234"/>
                </a:lnTo>
                <a:lnTo>
                  <a:pt x="313" y="238"/>
                </a:lnTo>
                <a:lnTo>
                  <a:pt x="316" y="244"/>
                </a:lnTo>
                <a:lnTo>
                  <a:pt x="319" y="250"/>
                </a:lnTo>
                <a:lnTo>
                  <a:pt x="319" y="250"/>
                </a:lnTo>
                <a:lnTo>
                  <a:pt x="320" y="252"/>
                </a:lnTo>
                <a:lnTo>
                  <a:pt x="321" y="254"/>
                </a:lnTo>
                <a:lnTo>
                  <a:pt x="323" y="256"/>
                </a:lnTo>
                <a:lnTo>
                  <a:pt x="324" y="258"/>
                </a:lnTo>
                <a:lnTo>
                  <a:pt x="324" y="258"/>
                </a:lnTo>
                <a:lnTo>
                  <a:pt x="323" y="262"/>
                </a:lnTo>
                <a:lnTo>
                  <a:pt x="321" y="267"/>
                </a:lnTo>
                <a:lnTo>
                  <a:pt x="317" y="279"/>
                </a:lnTo>
                <a:lnTo>
                  <a:pt x="309" y="290"/>
                </a:lnTo>
                <a:lnTo>
                  <a:pt x="301" y="302"/>
                </a:lnTo>
                <a:lnTo>
                  <a:pt x="301" y="302"/>
                </a:lnTo>
                <a:lnTo>
                  <a:pt x="283" y="294"/>
                </a:lnTo>
                <a:lnTo>
                  <a:pt x="266" y="288"/>
                </a:lnTo>
                <a:lnTo>
                  <a:pt x="231" y="277"/>
                </a:lnTo>
                <a:lnTo>
                  <a:pt x="195" y="267"/>
                </a:lnTo>
                <a:lnTo>
                  <a:pt x="176" y="261"/>
                </a:lnTo>
                <a:lnTo>
                  <a:pt x="158" y="254"/>
                </a:lnTo>
                <a:lnTo>
                  <a:pt x="158" y="254"/>
                </a:lnTo>
                <a:lnTo>
                  <a:pt x="153" y="252"/>
                </a:lnTo>
                <a:lnTo>
                  <a:pt x="149" y="250"/>
                </a:lnTo>
                <a:lnTo>
                  <a:pt x="143" y="242"/>
                </a:lnTo>
                <a:lnTo>
                  <a:pt x="137" y="233"/>
                </a:lnTo>
                <a:lnTo>
                  <a:pt x="132" y="223"/>
                </a:lnTo>
                <a:lnTo>
                  <a:pt x="127" y="214"/>
                </a:lnTo>
                <a:lnTo>
                  <a:pt x="120" y="206"/>
                </a:lnTo>
                <a:lnTo>
                  <a:pt x="117" y="203"/>
                </a:lnTo>
                <a:lnTo>
                  <a:pt x="113" y="200"/>
                </a:lnTo>
                <a:lnTo>
                  <a:pt x="109" y="199"/>
                </a:lnTo>
                <a:lnTo>
                  <a:pt x="103" y="199"/>
                </a:lnTo>
                <a:lnTo>
                  <a:pt x="103" y="199"/>
                </a:lnTo>
                <a:lnTo>
                  <a:pt x="77" y="199"/>
                </a:lnTo>
                <a:lnTo>
                  <a:pt x="77" y="199"/>
                </a:lnTo>
                <a:lnTo>
                  <a:pt x="71" y="198"/>
                </a:lnTo>
                <a:lnTo>
                  <a:pt x="66" y="197"/>
                </a:lnTo>
                <a:lnTo>
                  <a:pt x="61" y="195"/>
                </a:lnTo>
                <a:lnTo>
                  <a:pt x="58" y="192"/>
                </a:lnTo>
                <a:lnTo>
                  <a:pt x="51" y="185"/>
                </a:lnTo>
                <a:lnTo>
                  <a:pt x="44" y="177"/>
                </a:lnTo>
                <a:lnTo>
                  <a:pt x="44" y="177"/>
                </a:lnTo>
                <a:lnTo>
                  <a:pt x="43" y="173"/>
                </a:lnTo>
                <a:lnTo>
                  <a:pt x="43" y="167"/>
                </a:lnTo>
                <a:lnTo>
                  <a:pt x="44" y="154"/>
                </a:lnTo>
                <a:lnTo>
                  <a:pt x="44" y="147"/>
                </a:lnTo>
                <a:lnTo>
                  <a:pt x="43" y="140"/>
                </a:lnTo>
                <a:lnTo>
                  <a:pt x="41" y="135"/>
                </a:lnTo>
                <a:lnTo>
                  <a:pt x="36" y="129"/>
                </a:lnTo>
                <a:lnTo>
                  <a:pt x="36" y="129"/>
                </a:lnTo>
                <a:lnTo>
                  <a:pt x="31" y="123"/>
                </a:lnTo>
                <a:lnTo>
                  <a:pt x="26" y="119"/>
                </a:lnTo>
                <a:lnTo>
                  <a:pt x="14" y="108"/>
                </a:lnTo>
                <a:lnTo>
                  <a:pt x="8" y="102"/>
                </a:lnTo>
                <a:lnTo>
                  <a:pt x="4" y="96"/>
                </a:lnTo>
                <a:lnTo>
                  <a:pt x="2" y="88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5" y="63"/>
                </a:lnTo>
                <a:lnTo>
                  <a:pt x="11" y="55"/>
                </a:lnTo>
                <a:lnTo>
                  <a:pt x="16" y="47"/>
                </a:lnTo>
                <a:lnTo>
                  <a:pt x="25" y="40"/>
                </a:lnTo>
                <a:lnTo>
                  <a:pt x="33" y="35"/>
                </a:lnTo>
                <a:lnTo>
                  <a:pt x="41" y="30"/>
                </a:lnTo>
                <a:lnTo>
                  <a:pt x="48" y="25"/>
                </a:lnTo>
                <a:lnTo>
                  <a:pt x="48" y="25"/>
                </a:lnTo>
                <a:lnTo>
                  <a:pt x="52" y="31"/>
                </a:lnTo>
                <a:lnTo>
                  <a:pt x="56" y="36"/>
                </a:lnTo>
                <a:lnTo>
                  <a:pt x="57" y="37"/>
                </a:lnTo>
                <a:lnTo>
                  <a:pt x="59" y="37"/>
                </a:lnTo>
                <a:lnTo>
                  <a:pt x="59" y="37"/>
                </a:lnTo>
                <a:lnTo>
                  <a:pt x="63" y="36"/>
                </a:lnTo>
                <a:lnTo>
                  <a:pt x="67" y="32"/>
                </a:lnTo>
                <a:lnTo>
                  <a:pt x="75" y="23"/>
                </a:lnTo>
                <a:lnTo>
                  <a:pt x="84" y="10"/>
                </a:lnTo>
                <a:lnTo>
                  <a:pt x="90" y="5"/>
                </a:lnTo>
                <a:lnTo>
                  <a:pt x="95" y="0"/>
                </a:lnTo>
                <a:lnTo>
                  <a:pt x="95" y="0"/>
                </a:lnTo>
                <a:lnTo>
                  <a:pt x="96" y="4"/>
                </a:lnTo>
                <a:lnTo>
                  <a:pt x="98" y="6"/>
                </a:lnTo>
                <a:lnTo>
                  <a:pt x="103" y="7"/>
                </a:lnTo>
                <a:lnTo>
                  <a:pt x="110" y="7"/>
                </a:lnTo>
                <a:lnTo>
                  <a:pt x="110" y="7"/>
                </a:lnTo>
                <a:lnTo>
                  <a:pt x="121" y="7"/>
                </a:lnTo>
                <a:lnTo>
                  <a:pt x="132" y="4"/>
                </a:lnTo>
                <a:lnTo>
                  <a:pt x="143" y="1"/>
                </a:lnTo>
                <a:lnTo>
                  <a:pt x="155" y="0"/>
                </a:lnTo>
                <a:lnTo>
                  <a:pt x="155" y="0"/>
                </a:lnTo>
                <a:lnTo>
                  <a:pt x="170" y="1"/>
                </a:lnTo>
                <a:lnTo>
                  <a:pt x="176" y="4"/>
                </a:lnTo>
                <a:lnTo>
                  <a:pt x="182" y="5"/>
                </a:lnTo>
                <a:lnTo>
                  <a:pt x="187" y="8"/>
                </a:lnTo>
                <a:lnTo>
                  <a:pt x="191" y="10"/>
                </a:lnTo>
                <a:lnTo>
                  <a:pt x="196" y="14"/>
                </a:lnTo>
                <a:lnTo>
                  <a:pt x="198" y="18"/>
                </a:lnTo>
                <a:lnTo>
                  <a:pt x="204" y="28"/>
                </a:lnTo>
                <a:lnTo>
                  <a:pt x="208" y="39"/>
                </a:lnTo>
                <a:lnTo>
                  <a:pt x="210" y="52"/>
                </a:lnTo>
                <a:lnTo>
                  <a:pt x="213" y="67"/>
                </a:lnTo>
                <a:lnTo>
                  <a:pt x="213" y="67"/>
                </a:lnTo>
                <a:lnTo>
                  <a:pt x="213" y="68"/>
                </a:lnTo>
                <a:lnTo>
                  <a:pt x="214" y="69"/>
                </a:lnTo>
                <a:lnTo>
                  <a:pt x="219" y="71"/>
                </a:lnTo>
                <a:lnTo>
                  <a:pt x="233" y="75"/>
                </a:lnTo>
                <a:lnTo>
                  <a:pt x="240" y="77"/>
                </a:lnTo>
                <a:lnTo>
                  <a:pt x="247" y="81"/>
                </a:lnTo>
                <a:lnTo>
                  <a:pt x="254" y="84"/>
                </a:lnTo>
                <a:lnTo>
                  <a:pt x="256" y="86"/>
                </a:lnTo>
                <a:lnTo>
                  <a:pt x="257" y="89"/>
                </a:lnTo>
                <a:lnTo>
                  <a:pt x="257" y="89"/>
                </a:lnTo>
                <a:lnTo>
                  <a:pt x="260" y="98"/>
                </a:lnTo>
                <a:lnTo>
                  <a:pt x="264" y="107"/>
                </a:lnTo>
                <a:lnTo>
                  <a:pt x="267" y="124"/>
                </a:lnTo>
                <a:lnTo>
                  <a:pt x="273" y="159"/>
                </a:lnTo>
                <a:lnTo>
                  <a:pt x="277" y="175"/>
                </a:lnTo>
                <a:lnTo>
                  <a:pt x="279" y="183"/>
                </a:lnTo>
                <a:lnTo>
                  <a:pt x="281" y="191"/>
                </a:lnTo>
                <a:lnTo>
                  <a:pt x="286" y="199"/>
                </a:lnTo>
                <a:lnTo>
                  <a:pt x="290" y="207"/>
                </a:lnTo>
                <a:lnTo>
                  <a:pt x="297" y="214"/>
                </a:lnTo>
                <a:lnTo>
                  <a:pt x="304" y="221"/>
                </a:lnTo>
                <a:lnTo>
                  <a:pt x="304" y="221"/>
                </a:lnTo>
                <a:lnTo>
                  <a:pt x="312" y="224"/>
                </a:lnTo>
                <a:lnTo>
                  <a:pt x="312" y="22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7" name="Freeform 92"/>
          <p:cNvSpPr>
            <a:spLocks/>
          </p:cNvSpPr>
          <p:nvPr/>
        </p:nvSpPr>
        <p:spPr bwMode="auto">
          <a:xfrm>
            <a:off x="3209925" y="3122613"/>
            <a:ext cx="74613" cy="109537"/>
          </a:xfrm>
          <a:custGeom>
            <a:avLst/>
            <a:gdLst/>
            <a:ahLst/>
            <a:cxnLst>
              <a:cxn ang="0">
                <a:pos x="65" y="51"/>
              </a:cxn>
              <a:cxn ang="0">
                <a:pos x="65" y="51"/>
              </a:cxn>
              <a:cxn ang="0">
                <a:pos x="63" y="49"/>
              </a:cxn>
              <a:cxn ang="0">
                <a:pos x="62" y="47"/>
              </a:cxn>
              <a:cxn ang="0">
                <a:pos x="63" y="38"/>
              </a:cxn>
              <a:cxn ang="0">
                <a:pos x="64" y="29"/>
              </a:cxn>
              <a:cxn ang="0">
                <a:pos x="65" y="25"/>
              </a:cxn>
              <a:cxn ang="0">
                <a:pos x="65" y="25"/>
              </a:cxn>
              <a:cxn ang="0">
                <a:pos x="64" y="22"/>
              </a:cxn>
              <a:cxn ang="0">
                <a:pos x="62" y="17"/>
              </a:cxn>
              <a:cxn ang="0">
                <a:pos x="58" y="15"/>
              </a:cxn>
              <a:cxn ang="0">
                <a:pos x="54" y="11"/>
              </a:cxn>
              <a:cxn ang="0">
                <a:pos x="45" y="6"/>
              </a:cxn>
              <a:cxn ang="0">
                <a:pos x="37" y="0"/>
              </a:cxn>
              <a:cxn ang="0">
                <a:pos x="37" y="0"/>
              </a:cxn>
              <a:cxn ang="0">
                <a:pos x="33" y="6"/>
              </a:cxn>
              <a:cxn ang="0">
                <a:pos x="29" y="10"/>
              </a:cxn>
              <a:cxn ang="0">
                <a:pos x="17" y="21"/>
              </a:cxn>
              <a:cxn ang="0">
                <a:pos x="10" y="25"/>
              </a:cxn>
              <a:cxn ang="0">
                <a:pos x="6" y="31"/>
              </a:cxn>
              <a:cxn ang="0">
                <a:pos x="1" y="37"/>
              </a:cxn>
              <a:cxn ang="0">
                <a:pos x="0" y="40"/>
              </a:cxn>
              <a:cxn ang="0">
                <a:pos x="0" y="44"/>
              </a:cxn>
              <a:cxn ang="0">
                <a:pos x="0" y="44"/>
              </a:cxn>
              <a:cxn ang="0">
                <a:pos x="2" y="49"/>
              </a:cxn>
              <a:cxn ang="0">
                <a:pos x="9" y="60"/>
              </a:cxn>
              <a:cxn ang="0">
                <a:pos x="27" y="87"/>
              </a:cxn>
              <a:cxn ang="0">
                <a:pos x="47" y="113"/>
              </a:cxn>
              <a:cxn ang="0">
                <a:pos x="55" y="121"/>
              </a:cxn>
              <a:cxn ang="0">
                <a:pos x="58" y="124"/>
              </a:cxn>
              <a:cxn ang="0">
                <a:pos x="58" y="124"/>
              </a:cxn>
              <a:cxn ang="0">
                <a:pos x="65" y="124"/>
              </a:cxn>
              <a:cxn ang="0">
                <a:pos x="71" y="122"/>
              </a:cxn>
              <a:cxn ang="0">
                <a:pos x="77" y="117"/>
              </a:cxn>
              <a:cxn ang="0">
                <a:pos x="82" y="113"/>
              </a:cxn>
              <a:cxn ang="0">
                <a:pos x="85" y="108"/>
              </a:cxn>
              <a:cxn ang="0">
                <a:pos x="88" y="101"/>
              </a:cxn>
              <a:cxn ang="0">
                <a:pos x="91" y="95"/>
              </a:cxn>
              <a:cxn ang="0">
                <a:pos x="91" y="89"/>
              </a:cxn>
              <a:cxn ang="0">
                <a:pos x="91" y="89"/>
              </a:cxn>
              <a:cxn ang="0">
                <a:pos x="91" y="84"/>
              </a:cxn>
              <a:cxn ang="0">
                <a:pos x="88" y="79"/>
              </a:cxn>
              <a:cxn ang="0">
                <a:pos x="83" y="67"/>
              </a:cxn>
              <a:cxn ang="0">
                <a:pos x="78" y="61"/>
              </a:cxn>
              <a:cxn ang="0">
                <a:pos x="75" y="55"/>
              </a:cxn>
              <a:cxn ang="0">
                <a:pos x="70" y="52"/>
              </a:cxn>
              <a:cxn ang="0">
                <a:pos x="65" y="51"/>
              </a:cxn>
              <a:cxn ang="0">
                <a:pos x="65" y="51"/>
              </a:cxn>
              <a:cxn ang="0">
                <a:pos x="65" y="51"/>
              </a:cxn>
            </a:cxnLst>
            <a:rect l="0" t="0" r="r" b="b"/>
            <a:pathLst>
              <a:path w="91" h="124">
                <a:moveTo>
                  <a:pt x="65" y="51"/>
                </a:moveTo>
                <a:lnTo>
                  <a:pt x="65" y="51"/>
                </a:lnTo>
                <a:lnTo>
                  <a:pt x="63" y="49"/>
                </a:lnTo>
                <a:lnTo>
                  <a:pt x="62" y="47"/>
                </a:lnTo>
                <a:lnTo>
                  <a:pt x="63" y="38"/>
                </a:lnTo>
                <a:lnTo>
                  <a:pt x="64" y="29"/>
                </a:lnTo>
                <a:lnTo>
                  <a:pt x="65" y="25"/>
                </a:lnTo>
                <a:lnTo>
                  <a:pt x="65" y="25"/>
                </a:lnTo>
                <a:lnTo>
                  <a:pt x="64" y="22"/>
                </a:lnTo>
                <a:lnTo>
                  <a:pt x="62" y="17"/>
                </a:lnTo>
                <a:lnTo>
                  <a:pt x="58" y="15"/>
                </a:lnTo>
                <a:lnTo>
                  <a:pt x="54" y="11"/>
                </a:lnTo>
                <a:lnTo>
                  <a:pt x="45" y="6"/>
                </a:lnTo>
                <a:lnTo>
                  <a:pt x="37" y="0"/>
                </a:lnTo>
                <a:lnTo>
                  <a:pt x="37" y="0"/>
                </a:lnTo>
                <a:lnTo>
                  <a:pt x="33" y="6"/>
                </a:lnTo>
                <a:lnTo>
                  <a:pt x="29" y="10"/>
                </a:lnTo>
                <a:lnTo>
                  <a:pt x="17" y="21"/>
                </a:lnTo>
                <a:lnTo>
                  <a:pt x="10" y="25"/>
                </a:lnTo>
                <a:lnTo>
                  <a:pt x="6" y="31"/>
                </a:lnTo>
                <a:lnTo>
                  <a:pt x="1" y="37"/>
                </a:lnTo>
                <a:lnTo>
                  <a:pt x="0" y="40"/>
                </a:lnTo>
                <a:lnTo>
                  <a:pt x="0" y="44"/>
                </a:lnTo>
                <a:lnTo>
                  <a:pt x="0" y="44"/>
                </a:lnTo>
                <a:lnTo>
                  <a:pt x="2" y="49"/>
                </a:lnTo>
                <a:lnTo>
                  <a:pt x="9" y="60"/>
                </a:lnTo>
                <a:lnTo>
                  <a:pt x="27" y="87"/>
                </a:lnTo>
                <a:lnTo>
                  <a:pt x="47" y="113"/>
                </a:lnTo>
                <a:lnTo>
                  <a:pt x="55" y="121"/>
                </a:lnTo>
                <a:lnTo>
                  <a:pt x="58" y="124"/>
                </a:lnTo>
                <a:lnTo>
                  <a:pt x="58" y="124"/>
                </a:lnTo>
                <a:lnTo>
                  <a:pt x="65" y="124"/>
                </a:lnTo>
                <a:lnTo>
                  <a:pt x="71" y="122"/>
                </a:lnTo>
                <a:lnTo>
                  <a:pt x="77" y="117"/>
                </a:lnTo>
                <a:lnTo>
                  <a:pt x="82" y="113"/>
                </a:lnTo>
                <a:lnTo>
                  <a:pt x="85" y="108"/>
                </a:lnTo>
                <a:lnTo>
                  <a:pt x="88" y="101"/>
                </a:lnTo>
                <a:lnTo>
                  <a:pt x="91" y="95"/>
                </a:lnTo>
                <a:lnTo>
                  <a:pt x="91" y="89"/>
                </a:lnTo>
                <a:lnTo>
                  <a:pt x="91" y="89"/>
                </a:lnTo>
                <a:lnTo>
                  <a:pt x="91" y="84"/>
                </a:lnTo>
                <a:lnTo>
                  <a:pt x="88" y="79"/>
                </a:lnTo>
                <a:lnTo>
                  <a:pt x="83" y="67"/>
                </a:lnTo>
                <a:lnTo>
                  <a:pt x="78" y="61"/>
                </a:lnTo>
                <a:lnTo>
                  <a:pt x="75" y="55"/>
                </a:lnTo>
                <a:lnTo>
                  <a:pt x="70" y="52"/>
                </a:lnTo>
                <a:lnTo>
                  <a:pt x="65" y="51"/>
                </a:lnTo>
                <a:lnTo>
                  <a:pt x="65" y="51"/>
                </a:lnTo>
                <a:lnTo>
                  <a:pt x="65" y="5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8" name="Freeform 93"/>
          <p:cNvSpPr>
            <a:spLocks/>
          </p:cNvSpPr>
          <p:nvPr/>
        </p:nvSpPr>
        <p:spPr bwMode="auto">
          <a:xfrm>
            <a:off x="3044825" y="2862263"/>
            <a:ext cx="30163" cy="68262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0" y="15"/>
              </a:cxn>
              <a:cxn ang="0">
                <a:pos x="0" y="7"/>
              </a:cxn>
              <a:cxn ang="0">
                <a:pos x="1" y="3"/>
              </a:cxn>
              <a:cxn ang="0">
                <a:pos x="3" y="2"/>
              </a:cxn>
              <a:cxn ang="0">
                <a:pos x="4" y="1"/>
              </a:cxn>
              <a:cxn ang="0">
                <a:pos x="7" y="1"/>
              </a:cxn>
              <a:cxn ang="0">
                <a:pos x="15" y="0"/>
              </a:cxn>
              <a:cxn ang="0">
                <a:pos x="15" y="0"/>
              </a:cxn>
              <a:cxn ang="0">
                <a:pos x="21" y="1"/>
              </a:cxn>
              <a:cxn ang="0">
                <a:pos x="27" y="3"/>
              </a:cxn>
              <a:cxn ang="0">
                <a:pos x="30" y="6"/>
              </a:cxn>
              <a:cxn ang="0">
                <a:pos x="33" y="10"/>
              </a:cxn>
              <a:cxn ang="0">
                <a:pos x="35" y="15"/>
              </a:cxn>
              <a:cxn ang="0">
                <a:pos x="36" y="21"/>
              </a:cxn>
              <a:cxn ang="0">
                <a:pos x="37" y="33"/>
              </a:cxn>
              <a:cxn ang="0">
                <a:pos x="37" y="33"/>
              </a:cxn>
              <a:cxn ang="0">
                <a:pos x="37" y="70"/>
              </a:cxn>
              <a:cxn ang="0">
                <a:pos x="37" y="70"/>
              </a:cxn>
              <a:cxn ang="0">
                <a:pos x="36" y="72"/>
              </a:cxn>
              <a:cxn ang="0">
                <a:pos x="35" y="74"/>
              </a:cxn>
              <a:cxn ang="0">
                <a:pos x="31" y="76"/>
              </a:cxn>
              <a:cxn ang="0">
                <a:pos x="27" y="77"/>
              </a:cxn>
              <a:cxn ang="0">
                <a:pos x="22" y="77"/>
              </a:cxn>
              <a:cxn ang="0">
                <a:pos x="22" y="77"/>
              </a:cxn>
              <a:cxn ang="0">
                <a:pos x="18" y="77"/>
              </a:cxn>
              <a:cxn ang="0">
                <a:pos x="15" y="76"/>
              </a:cxn>
              <a:cxn ang="0">
                <a:pos x="14" y="75"/>
              </a:cxn>
              <a:cxn ang="0">
                <a:pos x="13" y="72"/>
              </a:cxn>
              <a:cxn ang="0">
                <a:pos x="14" y="67"/>
              </a:cxn>
              <a:cxn ang="0">
                <a:pos x="15" y="59"/>
              </a:cxn>
              <a:cxn ang="0">
                <a:pos x="15" y="59"/>
              </a:cxn>
              <a:cxn ang="0">
                <a:pos x="14" y="53"/>
              </a:cxn>
              <a:cxn ang="0">
                <a:pos x="13" y="48"/>
              </a:cxn>
              <a:cxn ang="0">
                <a:pos x="8" y="38"/>
              </a:cxn>
              <a:cxn ang="0">
                <a:pos x="3" y="28"/>
              </a:cxn>
              <a:cxn ang="0">
                <a:pos x="1" y="21"/>
              </a:cxn>
              <a:cxn ang="0">
                <a:pos x="0" y="15"/>
              </a:cxn>
              <a:cxn ang="0">
                <a:pos x="0" y="15"/>
              </a:cxn>
              <a:cxn ang="0">
                <a:pos x="0" y="15"/>
              </a:cxn>
            </a:cxnLst>
            <a:rect l="0" t="0" r="r" b="b"/>
            <a:pathLst>
              <a:path w="37" h="77">
                <a:moveTo>
                  <a:pt x="0" y="15"/>
                </a:moveTo>
                <a:lnTo>
                  <a:pt x="0" y="15"/>
                </a:lnTo>
                <a:lnTo>
                  <a:pt x="0" y="7"/>
                </a:lnTo>
                <a:lnTo>
                  <a:pt x="1" y="3"/>
                </a:lnTo>
                <a:lnTo>
                  <a:pt x="3" y="2"/>
                </a:lnTo>
                <a:lnTo>
                  <a:pt x="4" y="1"/>
                </a:lnTo>
                <a:lnTo>
                  <a:pt x="7" y="1"/>
                </a:lnTo>
                <a:lnTo>
                  <a:pt x="15" y="0"/>
                </a:lnTo>
                <a:lnTo>
                  <a:pt x="15" y="0"/>
                </a:lnTo>
                <a:lnTo>
                  <a:pt x="21" y="1"/>
                </a:lnTo>
                <a:lnTo>
                  <a:pt x="27" y="3"/>
                </a:lnTo>
                <a:lnTo>
                  <a:pt x="30" y="6"/>
                </a:lnTo>
                <a:lnTo>
                  <a:pt x="33" y="10"/>
                </a:lnTo>
                <a:lnTo>
                  <a:pt x="35" y="15"/>
                </a:lnTo>
                <a:lnTo>
                  <a:pt x="36" y="21"/>
                </a:lnTo>
                <a:lnTo>
                  <a:pt x="37" y="33"/>
                </a:lnTo>
                <a:lnTo>
                  <a:pt x="37" y="33"/>
                </a:lnTo>
                <a:lnTo>
                  <a:pt x="37" y="70"/>
                </a:lnTo>
                <a:lnTo>
                  <a:pt x="37" y="70"/>
                </a:lnTo>
                <a:lnTo>
                  <a:pt x="36" y="72"/>
                </a:lnTo>
                <a:lnTo>
                  <a:pt x="35" y="74"/>
                </a:lnTo>
                <a:lnTo>
                  <a:pt x="31" y="76"/>
                </a:lnTo>
                <a:lnTo>
                  <a:pt x="27" y="77"/>
                </a:lnTo>
                <a:lnTo>
                  <a:pt x="22" y="77"/>
                </a:lnTo>
                <a:lnTo>
                  <a:pt x="22" y="77"/>
                </a:lnTo>
                <a:lnTo>
                  <a:pt x="18" y="77"/>
                </a:lnTo>
                <a:lnTo>
                  <a:pt x="15" y="76"/>
                </a:lnTo>
                <a:lnTo>
                  <a:pt x="14" y="75"/>
                </a:lnTo>
                <a:lnTo>
                  <a:pt x="13" y="72"/>
                </a:lnTo>
                <a:lnTo>
                  <a:pt x="14" y="67"/>
                </a:lnTo>
                <a:lnTo>
                  <a:pt x="15" y="59"/>
                </a:lnTo>
                <a:lnTo>
                  <a:pt x="15" y="59"/>
                </a:lnTo>
                <a:lnTo>
                  <a:pt x="14" y="53"/>
                </a:lnTo>
                <a:lnTo>
                  <a:pt x="13" y="48"/>
                </a:lnTo>
                <a:lnTo>
                  <a:pt x="8" y="38"/>
                </a:lnTo>
                <a:lnTo>
                  <a:pt x="3" y="28"/>
                </a:lnTo>
                <a:lnTo>
                  <a:pt x="1" y="21"/>
                </a:lnTo>
                <a:lnTo>
                  <a:pt x="0" y="15"/>
                </a:lnTo>
                <a:lnTo>
                  <a:pt x="0" y="15"/>
                </a:lnTo>
                <a:lnTo>
                  <a:pt x="0" y="1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9" name="Freeform 94"/>
          <p:cNvSpPr>
            <a:spLocks/>
          </p:cNvSpPr>
          <p:nvPr/>
        </p:nvSpPr>
        <p:spPr bwMode="auto">
          <a:xfrm>
            <a:off x="3776663" y="2900363"/>
            <a:ext cx="66675" cy="52387"/>
          </a:xfrm>
          <a:custGeom>
            <a:avLst/>
            <a:gdLst/>
            <a:ahLst/>
            <a:cxnLst>
              <a:cxn ang="0">
                <a:pos x="70" y="19"/>
              </a:cxn>
              <a:cxn ang="0">
                <a:pos x="70" y="0"/>
              </a:cxn>
              <a:cxn ang="0">
                <a:pos x="70" y="0"/>
              </a:cxn>
              <a:cxn ang="0">
                <a:pos x="70" y="0"/>
              </a:cxn>
              <a:cxn ang="0">
                <a:pos x="48" y="0"/>
              </a:cxn>
              <a:cxn ang="0">
                <a:pos x="48" y="0"/>
              </a:cxn>
              <a:cxn ang="0">
                <a:pos x="41" y="1"/>
              </a:cxn>
              <a:cxn ang="0">
                <a:pos x="33" y="2"/>
              </a:cxn>
              <a:cxn ang="0">
                <a:pos x="25" y="5"/>
              </a:cxn>
              <a:cxn ang="0">
                <a:pos x="17" y="10"/>
              </a:cxn>
              <a:cxn ang="0">
                <a:pos x="10" y="16"/>
              </a:cxn>
              <a:cxn ang="0">
                <a:pos x="5" y="23"/>
              </a:cxn>
              <a:cxn ang="0">
                <a:pos x="1" y="31"/>
              </a:cxn>
              <a:cxn ang="0">
                <a:pos x="0" y="40"/>
              </a:cxn>
              <a:cxn ang="0">
                <a:pos x="0" y="40"/>
              </a:cxn>
              <a:cxn ang="0">
                <a:pos x="1" y="45"/>
              </a:cxn>
              <a:cxn ang="0">
                <a:pos x="3" y="48"/>
              </a:cxn>
              <a:cxn ang="0">
                <a:pos x="6" y="51"/>
              </a:cxn>
              <a:cxn ang="0">
                <a:pos x="10" y="54"/>
              </a:cxn>
              <a:cxn ang="0">
                <a:pos x="19" y="57"/>
              </a:cxn>
              <a:cxn ang="0">
                <a:pos x="26" y="58"/>
              </a:cxn>
              <a:cxn ang="0">
                <a:pos x="26" y="58"/>
              </a:cxn>
              <a:cxn ang="0">
                <a:pos x="41" y="57"/>
              </a:cxn>
              <a:cxn ang="0">
                <a:pos x="54" y="56"/>
              </a:cxn>
              <a:cxn ang="0">
                <a:pos x="66" y="56"/>
              </a:cxn>
              <a:cxn ang="0">
                <a:pos x="73" y="56"/>
              </a:cxn>
              <a:cxn ang="0">
                <a:pos x="81" y="58"/>
              </a:cxn>
              <a:cxn ang="0">
                <a:pos x="81" y="58"/>
              </a:cxn>
              <a:cxn ang="0">
                <a:pos x="81" y="40"/>
              </a:cxn>
              <a:cxn ang="0">
                <a:pos x="81" y="40"/>
              </a:cxn>
              <a:cxn ang="0">
                <a:pos x="81" y="40"/>
              </a:cxn>
              <a:cxn ang="0">
                <a:pos x="73" y="39"/>
              </a:cxn>
              <a:cxn ang="0">
                <a:pos x="67" y="36"/>
              </a:cxn>
              <a:cxn ang="0">
                <a:pos x="63" y="34"/>
              </a:cxn>
              <a:cxn ang="0">
                <a:pos x="58" y="33"/>
              </a:cxn>
              <a:cxn ang="0">
                <a:pos x="58" y="33"/>
              </a:cxn>
              <a:cxn ang="0">
                <a:pos x="64" y="30"/>
              </a:cxn>
              <a:cxn ang="0">
                <a:pos x="67" y="26"/>
              </a:cxn>
              <a:cxn ang="0">
                <a:pos x="70" y="22"/>
              </a:cxn>
              <a:cxn ang="0">
                <a:pos x="70" y="19"/>
              </a:cxn>
              <a:cxn ang="0">
                <a:pos x="70" y="19"/>
              </a:cxn>
              <a:cxn ang="0">
                <a:pos x="70" y="19"/>
              </a:cxn>
            </a:cxnLst>
            <a:rect l="0" t="0" r="r" b="b"/>
            <a:pathLst>
              <a:path w="81" h="58">
                <a:moveTo>
                  <a:pt x="70" y="19"/>
                </a:moveTo>
                <a:lnTo>
                  <a:pt x="70" y="0"/>
                </a:lnTo>
                <a:lnTo>
                  <a:pt x="70" y="0"/>
                </a:lnTo>
                <a:lnTo>
                  <a:pt x="70" y="0"/>
                </a:lnTo>
                <a:lnTo>
                  <a:pt x="48" y="0"/>
                </a:lnTo>
                <a:lnTo>
                  <a:pt x="48" y="0"/>
                </a:lnTo>
                <a:lnTo>
                  <a:pt x="41" y="1"/>
                </a:lnTo>
                <a:lnTo>
                  <a:pt x="33" y="2"/>
                </a:lnTo>
                <a:lnTo>
                  <a:pt x="25" y="5"/>
                </a:lnTo>
                <a:lnTo>
                  <a:pt x="17" y="10"/>
                </a:lnTo>
                <a:lnTo>
                  <a:pt x="10" y="16"/>
                </a:lnTo>
                <a:lnTo>
                  <a:pt x="5" y="23"/>
                </a:lnTo>
                <a:lnTo>
                  <a:pt x="1" y="31"/>
                </a:lnTo>
                <a:lnTo>
                  <a:pt x="0" y="40"/>
                </a:lnTo>
                <a:lnTo>
                  <a:pt x="0" y="40"/>
                </a:lnTo>
                <a:lnTo>
                  <a:pt x="1" y="45"/>
                </a:lnTo>
                <a:lnTo>
                  <a:pt x="3" y="48"/>
                </a:lnTo>
                <a:lnTo>
                  <a:pt x="6" y="51"/>
                </a:lnTo>
                <a:lnTo>
                  <a:pt x="10" y="54"/>
                </a:lnTo>
                <a:lnTo>
                  <a:pt x="19" y="57"/>
                </a:lnTo>
                <a:lnTo>
                  <a:pt x="26" y="58"/>
                </a:lnTo>
                <a:lnTo>
                  <a:pt x="26" y="58"/>
                </a:lnTo>
                <a:lnTo>
                  <a:pt x="41" y="57"/>
                </a:lnTo>
                <a:lnTo>
                  <a:pt x="54" y="56"/>
                </a:lnTo>
                <a:lnTo>
                  <a:pt x="66" y="56"/>
                </a:lnTo>
                <a:lnTo>
                  <a:pt x="73" y="56"/>
                </a:lnTo>
                <a:lnTo>
                  <a:pt x="81" y="58"/>
                </a:lnTo>
                <a:lnTo>
                  <a:pt x="81" y="58"/>
                </a:lnTo>
                <a:lnTo>
                  <a:pt x="81" y="40"/>
                </a:lnTo>
                <a:lnTo>
                  <a:pt x="81" y="40"/>
                </a:lnTo>
                <a:lnTo>
                  <a:pt x="81" y="40"/>
                </a:lnTo>
                <a:lnTo>
                  <a:pt x="73" y="39"/>
                </a:lnTo>
                <a:lnTo>
                  <a:pt x="67" y="36"/>
                </a:lnTo>
                <a:lnTo>
                  <a:pt x="63" y="34"/>
                </a:lnTo>
                <a:lnTo>
                  <a:pt x="58" y="33"/>
                </a:lnTo>
                <a:lnTo>
                  <a:pt x="58" y="33"/>
                </a:lnTo>
                <a:lnTo>
                  <a:pt x="64" y="30"/>
                </a:lnTo>
                <a:lnTo>
                  <a:pt x="67" y="26"/>
                </a:lnTo>
                <a:lnTo>
                  <a:pt x="70" y="22"/>
                </a:lnTo>
                <a:lnTo>
                  <a:pt x="70" y="19"/>
                </a:lnTo>
                <a:lnTo>
                  <a:pt x="70" y="19"/>
                </a:lnTo>
                <a:lnTo>
                  <a:pt x="70" y="1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0" name="Freeform 95"/>
          <p:cNvSpPr>
            <a:spLocks/>
          </p:cNvSpPr>
          <p:nvPr/>
        </p:nvSpPr>
        <p:spPr bwMode="auto">
          <a:xfrm>
            <a:off x="3925888" y="2984500"/>
            <a:ext cx="31750" cy="254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2"/>
              </a:cxn>
              <a:cxn ang="0">
                <a:pos x="0" y="22"/>
              </a:cxn>
              <a:cxn ang="0">
                <a:pos x="0" y="22"/>
              </a:cxn>
              <a:cxn ang="0">
                <a:pos x="3" y="25"/>
              </a:cxn>
              <a:cxn ang="0">
                <a:pos x="8" y="27"/>
              </a:cxn>
              <a:cxn ang="0">
                <a:pos x="12" y="28"/>
              </a:cxn>
              <a:cxn ang="0">
                <a:pos x="18" y="27"/>
              </a:cxn>
              <a:cxn ang="0">
                <a:pos x="24" y="25"/>
              </a:cxn>
              <a:cxn ang="0">
                <a:pos x="28" y="22"/>
              </a:cxn>
              <a:cxn ang="0">
                <a:pos x="33" y="17"/>
              </a:cxn>
              <a:cxn ang="0">
                <a:pos x="36" y="12"/>
              </a:cxn>
              <a:cxn ang="0">
                <a:pos x="36" y="12"/>
              </a:cxn>
              <a:cxn ang="0">
                <a:pos x="31" y="12"/>
              </a:cxn>
              <a:cxn ang="0">
                <a:pos x="25" y="11"/>
              </a:cxn>
              <a:cxn ang="0">
                <a:pos x="17" y="7"/>
              </a:cxn>
              <a:cxn ang="0">
                <a:pos x="9" y="4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36" h="28">
                <a:moveTo>
                  <a:pt x="0" y="0"/>
                </a:moveTo>
                <a:lnTo>
                  <a:pt x="0" y="22"/>
                </a:lnTo>
                <a:lnTo>
                  <a:pt x="0" y="22"/>
                </a:lnTo>
                <a:lnTo>
                  <a:pt x="0" y="22"/>
                </a:lnTo>
                <a:lnTo>
                  <a:pt x="3" y="25"/>
                </a:lnTo>
                <a:lnTo>
                  <a:pt x="8" y="27"/>
                </a:lnTo>
                <a:lnTo>
                  <a:pt x="12" y="28"/>
                </a:lnTo>
                <a:lnTo>
                  <a:pt x="18" y="27"/>
                </a:lnTo>
                <a:lnTo>
                  <a:pt x="24" y="25"/>
                </a:lnTo>
                <a:lnTo>
                  <a:pt x="28" y="22"/>
                </a:lnTo>
                <a:lnTo>
                  <a:pt x="33" y="17"/>
                </a:lnTo>
                <a:lnTo>
                  <a:pt x="36" y="12"/>
                </a:lnTo>
                <a:lnTo>
                  <a:pt x="36" y="12"/>
                </a:lnTo>
                <a:lnTo>
                  <a:pt x="31" y="12"/>
                </a:lnTo>
                <a:lnTo>
                  <a:pt x="25" y="11"/>
                </a:lnTo>
                <a:lnTo>
                  <a:pt x="17" y="7"/>
                </a:lnTo>
                <a:lnTo>
                  <a:pt x="9" y="4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1" name="Freeform 96"/>
          <p:cNvSpPr>
            <a:spLocks/>
          </p:cNvSpPr>
          <p:nvPr/>
        </p:nvSpPr>
        <p:spPr bwMode="auto">
          <a:xfrm>
            <a:off x="4008438" y="3087688"/>
            <a:ext cx="60325" cy="41275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40" y="0"/>
              </a:cxn>
              <a:cxn ang="0">
                <a:pos x="39" y="2"/>
              </a:cxn>
              <a:cxn ang="0">
                <a:pos x="38" y="5"/>
              </a:cxn>
              <a:cxn ang="0">
                <a:pos x="33" y="10"/>
              </a:cxn>
              <a:cxn ang="0">
                <a:pos x="26" y="12"/>
              </a:cxn>
              <a:cxn ang="0">
                <a:pos x="19" y="16"/>
              </a:cxn>
              <a:cxn ang="0">
                <a:pos x="11" y="18"/>
              </a:cxn>
              <a:cxn ang="0">
                <a:pos x="5" y="22"/>
              </a:cxn>
              <a:cxn ang="0">
                <a:pos x="2" y="26"/>
              </a:cxn>
              <a:cxn ang="0">
                <a:pos x="0" y="30"/>
              </a:cxn>
              <a:cxn ang="0">
                <a:pos x="0" y="32"/>
              </a:cxn>
              <a:cxn ang="0">
                <a:pos x="0" y="32"/>
              </a:cxn>
              <a:cxn ang="0">
                <a:pos x="1" y="37"/>
              </a:cxn>
              <a:cxn ang="0">
                <a:pos x="2" y="39"/>
              </a:cxn>
              <a:cxn ang="0">
                <a:pos x="4" y="42"/>
              </a:cxn>
              <a:cxn ang="0">
                <a:pos x="7" y="43"/>
              </a:cxn>
              <a:cxn ang="0">
                <a:pos x="12" y="46"/>
              </a:cxn>
              <a:cxn ang="0">
                <a:pos x="19" y="47"/>
              </a:cxn>
              <a:cxn ang="0">
                <a:pos x="19" y="47"/>
              </a:cxn>
              <a:cxn ang="0">
                <a:pos x="24" y="46"/>
              </a:cxn>
              <a:cxn ang="0">
                <a:pos x="32" y="43"/>
              </a:cxn>
              <a:cxn ang="0">
                <a:pos x="50" y="34"/>
              </a:cxn>
              <a:cxn ang="0">
                <a:pos x="58" y="30"/>
              </a:cxn>
              <a:cxn ang="0">
                <a:pos x="66" y="24"/>
              </a:cxn>
              <a:cxn ang="0">
                <a:pos x="71" y="18"/>
              </a:cxn>
              <a:cxn ang="0">
                <a:pos x="73" y="16"/>
              </a:cxn>
              <a:cxn ang="0">
                <a:pos x="73" y="14"/>
              </a:cxn>
              <a:cxn ang="0">
                <a:pos x="73" y="14"/>
              </a:cxn>
              <a:cxn ang="0">
                <a:pos x="72" y="11"/>
              </a:cxn>
              <a:cxn ang="0">
                <a:pos x="70" y="9"/>
              </a:cxn>
              <a:cxn ang="0">
                <a:pos x="66" y="5"/>
              </a:cxn>
              <a:cxn ang="0">
                <a:pos x="61" y="4"/>
              </a:cxn>
              <a:cxn ang="0">
                <a:pos x="50" y="1"/>
              </a:cxn>
              <a:cxn ang="0">
                <a:pos x="40" y="0"/>
              </a:cxn>
              <a:cxn ang="0">
                <a:pos x="40" y="0"/>
              </a:cxn>
              <a:cxn ang="0">
                <a:pos x="40" y="0"/>
              </a:cxn>
            </a:cxnLst>
            <a:rect l="0" t="0" r="r" b="b"/>
            <a:pathLst>
              <a:path w="73" h="47">
                <a:moveTo>
                  <a:pt x="40" y="0"/>
                </a:moveTo>
                <a:lnTo>
                  <a:pt x="40" y="0"/>
                </a:lnTo>
                <a:lnTo>
                  <a:pt x="39" y="2"/>
                </a:lnTo>
                <a:lnTo>
                  <a:pt x="38" y="5"/>
                </a:lnTo>
                <a:lnTo>
                  <a:pt x="33" y="10"/>
                </a:lnTo>
                <a:lnTo>
                  <a:pt x="26" y="12"/>
                </a:lnTo>
                <a:lnTo>
                  <a:pt x="19" y="16"/>
                </a:lnTo>
                <a:lnTo>
                  <a:pt x="11" y="18"/>
                </a:lnTo>
                <a:lnTo>
                  <a:pt x="5" y="22"/>
                </a:lnTo>
                <a:lnTo>
                  <a:pt x="2" y="26"/>
                </a:lnTo>
                <a:lnTo>
                  <a:pt x="0" y="30"/>
                </a:lnTo>
                <a:lnTo>
                  <a:pt x="0" y="32"/>
                </a:lnTo>
                <a:lnTo>
                  <a:pt x="0" y="32"/>
                </a:lnTo>
                <a:lnTo>
                  <a:pt x="1" y="37"/>
                </a:lnTo>
                <a:lnTo>
                  <a:pt x="2" y="39"/>
                </a:lnTo>
                <a:lnTo>
                  <a:pt x="4" y="42"/>
                </a:lnTo>
                <a:lnTo>
                  <a:pt x="7" y="43"/>
                </a:lnTo>
                <a:lnTo>
                  <a:pt x="12" y="46"/>
                </a:lnTo>
                <a:lnTo>
                  <a:pt x="19" y="47"/>
                </a:lnTo>
                <a:lnTo>
                  <a:pt x="19" y="47"/>
                </a:lnTo>
                <a:lnTo>
                  <a:pt x="24" y="46"/>
                </a:lnTo>
                <a:lnTo>
                  <a:pt x="32" y="43"/>
                </a:lnTo>
                <a:lnTo>
                  <a:pt x="50" y="34"/>
                </a:lnTo>
                <a:lnTo>
                  <a:pt x="58" y="30"/>
                </a:lnTo>
                <a:lnTo>
                  <a:pt x="66" y="24"/>
                </a:lnTo>
                <a:lnTo>
                  <a:pt x="71" y="18"/>
                </a:lnTo>
                <a:lnTo>
                  <a:pt x="73" y="16"/>
                </a:lnTo>
                <a:lnTo>
                  <a:pt x="73" y="14"/>
                </a:lnTo>
                <a:lnTo>
                  <a:pt x="73" y="14"/>
                </a:lnTo>
                <a:lnTo>
                  <a:pt x="72" y="11"/>
                </a:lnTo>
                <a:lnTo>
                  <a:pt x="70" y="9"/>
                </a:lnTo>
                <a:lnTo>
                  <a:pt x="66" y="5"/>
                </a:lnTo>
                <a:lnTo>
                  <a:pt x="61" y="4"/>
                </a:lnTo>
                <a:lnTo>
                  <a:pt x="50" y="1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2" name="Freeform 97"/>
          <p:cNvSpPr>
            <a:spLocks/>
          </p:cNvSpPr>
          <p:nvPr/>
        </p:nvSpPr>
        <p:spPr bwMode="auto">
          <a:xfrm>
            <a:off x="7902575" y="4197350"/>
            <a:ext cx="714375" cy="825500"/>
          </a:xfrm>
          <a:custGeom>
            <a:avLst/>
            <a:gdLst/>
            <a:ahLst/>
            <a:cxnLst>
              <a:cxn ang="0">
                <a:pos x="136" y="279"/>
              </a:cxn>
              <a:cxn ang="0">
                <a:pos x="106" y="224"/>
              </a:cxn>
              <a:cxn ang="0">
                <a:pos x="87" y="184"/>
              </a:cxn>
              <a:cxn ang="0">
                <a:pos x="34" y="127"/>
              </a:cxn>
              <a:cxn ang="0">
                <a:pos x="0" y="91"/>
              </a:cxn>
              <a:cxn ang="0">
                <a:pos x="6" y="85"/>
              </a:cxn>
              <a:cxn ang="0">
                <a:pos x="38" y="84"/>
              </a:cxn>
              <a:cxn ang="0">
                <a:pos x="56" y="70"/>
              </a:cxn>
              <a:cxn ang="0">
                <a:pos x="44" y="31"/>
              </a:cxn>
              <a:cxn ang="0">
                <a:pos x="39" y="0"/>
              </a:cxn>
              <a:cxn ang="0">
                <a:pos x="102" y="29"/>
              </a:cxn>
              <a:cxn ang="0">
                <a:pos x="158" y="71"/>
              </a:cxn>
              <a:cxn ang="0">
                <a:pos x="239" y="169"/>
              </a:cxn>
              <a:cxn ang="0">
                <a:pos x="297" y="231"/>
              </a:cxn>
              <a:cxn ang="0">
                <a:pos x="396" y="299"/>
              </a:cxn>
              <a:cxn ang="0">
                <a:pos x="547" y="372"/>
              </a:cxn>
              <a:cxn ang="0">
                <a:pos x="599" y="401"/>
              </a:cxn>
              <a:cxn ang="0">
                <a:pos x="670" y="449"/>
              </a:cxn>
              <a:cxn ang="0">
                <a:pos x="676" y="467"/>
              </a:cxn>
              <a:cxn ang="0">
                <a:pos x="623" y="455"/>
              </a:cxn>
              <a:cxn ang="0">
                <a:pos x="565" y="437"/>
              </a:cxn>
              <a:cxn ang="0">
                <a:pos x="541" y="443"/>
              </a:cxn>
              <a:cxn ang="0">
                <a:pos x="532" y="459"/>
              </a:cxn>
              <a:cxn ang="0">
                <a:pos x="534" y="547"/>
              </a:cxn>
              <a:cxn ang="0">
                <a:pos x="555" y="583"/>
              </a:cxn>
              <a:cxn ang="0">
                <a:pos x="576" y="635"/>
              </a:cxn>
              <a:cxn ang="0">
                <a:pos x="591" y="655"/>
              </a:cxn>
              <a:cxn ang="0">
                <a:pos x="618" y="693"/>
              </a:cxn>
              <a:cxn ang="0">
                <a:pos x="654" y="716"/>
              </a:cxn>
              <a:cxn ang="0">
                <a:pos x="739" y="739"/>
              </a:cxn>
              <a:cxn ang="0">
                <a:pos x="821" y="761"/>
              </a:cxn>
              <a:cxn ang="0">
                <a:pos x="852" y="783"/>
              </a:cxn>
              <a:cxn ang="0">
                <a:pos x="874" y="819"/>
              </a:cxn>
              <a:cxn ang="0">
                <a:pos x="829" y="801"/>
              </a:cxn>
              <a:cxn ang="0">
                <a:pos x="797" y="791"/>
              </a:cxn>
              <a:cxn ang="0">
                <a:pos x="771" y="795"/>
              </a:cxn>
              <a:cxn ang="0">
                <a:pos x="738" y="823"/>
              </a:cxn>
              <a:cxn ang="0">
                <a:pos x="736" y="838"/>
              </a:cxn>
              <a:cxn ang="0">
                <a:pos x="762" y="895"/>
              </a:cxn>
              <a:cxn ang="0">
                <a:pos x="782" y="948"/>
              </a:cxn>
              <a:cxn ang="0">
                <a:pos x="744" y="924"/>
              </a:cxn>
              <a:cxn ang="0">
                <a:pos x="676" y="854"/>
              </a:cxn>
              <a:cxn ang="0">
                <a:pos x="601" y="742"/>
              </a:cxn>
              <a:cxn ang="0">
                <a:pos x="538" y="674"/>
              </a:cxn>
              <a:cxn ang="0">
                <a:pos x="491" y="646"/>
              </a:cxn>
              <a:cxn ang="0">
                <a:pos x="451" y="587"/>
              </a:cxn>
              <a:cxn ang="0">
                <a:pos x="382" y="474"/>
              </a:cxn>
              <a:cxn ang="0">
                <a:pos x="298" y="375"/>
              </a:cxn>
              <a:cxn ang="0">
                <a:pos x="220" y="315"/>
              </a:cxn>
              <a:cxn ang="0">
                <a:pos x="178" y="299"/>
              </a:cxn>
              <a:cxn ang="0">
                <a:pos x="150" y="298"/>
              </a:cxn>
            </a:cxnLst>
            <a:rect l="0" t="0" r="r" b="b"/>
            <a:pathLst>
              <a:path w="874" h="948">
                <a:moveTo>
                  <a:pt x="150" y="298"/>
                </a:moveTo>
                <a:lnTo>
                  <a:pt x="150" y="298"/>
                </a:lnTo>
                <a:lnTo>
                  <a:pt x="142" y="288"/>
                </a:lnTo>
                <a:lnTo>
                  <a:pt x="136" y="279"/>
                </a:lnTo>
                <a:lnTo>
                  <a:pt x="127" y="261"/>
                </a:lnTo>
                <a:lnTo>
                  <a:pt x="119" y="244"/>
                </a:lnTo>
                <a:lnTo>
                  <a:pt x="113" y="235"/>
                </a:lnTo>
                <a:lnTo>
                  <a:pt x="106" y="224"/>
                </a:lnTo>
                <a:lnTo>
                  <a:pt x="106" y="224"/>
                </a:lnTo>
                <a:lnTo>
                  <a:pt x="102" y="211"/>
                </a:lnTo>
                <a:lnTo>
                  <a:pt x="95" y="198"/>
                </a:lnTo>
                <a:lnTo>
                  <a:pt x="87" y="184"/>
                </a:lnTo>
                <a:lnTo>
                  <a:pt x="77" y="172"/>
                </a:lnTo>
                <a:lnTo>
                  <a:pt x="67" y="160"/>
                </a:lnTo>
                <a:lnTo>
                  <a:pt x="56" y="149"/>
                </a:lnTo>
                <a:lnTo>
                  <a:pt x="34" y="127"/>
                </a:lnTo>
                <a:lnTo>
                  <a:pt x="15" y="109"/>
                </a:lnTo>
                <a:lnTo>
                  <a:pt x="7" y="102"/>
                </a:lnTo>
                <a:lnTo>
                  <a:pt x="3" y="96"/>
                </a:lnTo>
                <a:lnTo>
                  <a:pt x="0" y="91"/>
                </a:lnTo>
                <a:lnTo>
                  <a:pt x="0" y="89"/>
                </a:lnTo>
                <a:lnTo>
                  <a:pt x="1" y="88"/>
                </a:lnTo>
                <a:lnTo>
                  <a:pt x="3" y="86"/>
                </a:lnTo>
                <a:lnTo>
                  <a:pt x="6" y="85"/>
                </a:lnTo>
                <a:lnTo>
                  <a:pt x="14" y="84"/>
                </a:lnTo>
                <a:lnTo>
                  <a:pt x="14" y="84"/>
                </a:lnTo>
                <a:lnTo>
                  <a:pt x="28" y="85"/>
                </a:lnTo>
                <a:lnTo>
                  <a:pt x="38" y="84"/>
                </a:lnTo>
                <a:lnTo>
                  <a:pt x="45" y="82"/>
                </a:lnTo>
                <a:lnTo>
                  <a:pt x="51" y="78"/>
                </a:lnTo>
                <a:lnTo>
                  <a:pt x="54" y="75"/>
                </a:lnTo>
                <a:lnTo>
                  <a:pt x="56" y="70"/>
                </a:lnTo>
                <a:lnTo>
                  <a:pt x="56" y="65"/>
                </a:lnTo>
                <a:lnTo>
                  <a:pt x="54" y="59"/>
                </a:lnTo>
                <a:lnTo>
                  <a:pt x="50" y="46"/>
                </a:lnTo>
                <a:lnTo>
                  <a:pt x="44" y="31"/>
                </a:lnTo>
                <a:lnTo>
                  <a:pt x="41" y="23"/>
                </a:lnTo>
                <a:lnTo>
                  <a:pt x="39" y="16"/>
                </a:lnTo>
                <a:lnTo>
                  <a:pt x="38" y="8"/>
                </a:lnTo>
                <a:lnTo>
                  <a:pt x="39" y="0"/>
                </a:lnTo>
                <a:lnTo>
                  <a:pt x="39" y="0"/>
                </a:lnTo>
                <a:lnTo>
                  <a:pt x="62" y="10"/>
                </a:lnTo>
                <a:lnTo>
                  <a:pt x="83" y="20"/>
                </a:lnTo>
                <a:lnTo>
                  <a:pt x="102" y="29"/>
                </a:lnTo>
                <a:lnTo>
                  <a:pt x="118" y="39"/>
                </a:lnTo>
                <a:lnTo>
                  <a:pt x="133" y="50"/>
                </a:lnTo>
                <a:lnTo>
                  <a:pt x="145" y="60"/>
                </a:lnTo>
                <a:lnTo>
                  <a:pt x="158" y="71"/>
                </a:lnTo>
                <a:lnTo>
                  <a:pt x="168" y="83"/>
                </a:lnTo>
                <a:lnTo>
                  <a:pt x="190" y="107"/>
                </a:lnTo>
                <a:lnTo>
                  <a:pt x="213" y="136"/>
                </a:lnTo>
                <a:lnTo>
                  <a:pt x="239" y="169"/>
                </a:lnTo>
                <a:lnTo>
                  <a:pt x="271" y="206"/>
                </a:lnTo>
                <a:lnTo>
                  <a:pt x="271" y="206"/>
                </a:lnTo>
                <a:lnTo>
                  <a:pt x="283" y="219"/>
                </a:lnTo>
                <a:lnTo>
                  <a:pt x="297" y="231"/>
                </a:lnTo>
                <a:lnTo>
                  <a:pt x="312" y="244"/>
                </a:lnTo>
                <a:lnTo>
                  <a:pt x="328" y="256"/>
                </a:lnTo>
                <a:lnTo>
                  <a:pt x="362" y="279"/>
                </a:lnTo>
                <a:lnTo>
                  <a:pt x="396" y="299"/>
                </a:lnTo>
                <a:lnTo>
                  <a:pt x="433" y="320"/>
                </a:lnTo>
                <a:lnTo>
                  <a:pt x="471" y="338"/>
                </a:lnTo>
                <a:lnTo>
                  <a:pt x="509" y="356"/>
                </a:lnTo>
                <a:lnTo>
                  <a:pt x="547" y="372"/>
                </a:lnTo>
                <a:lnTo>
                  <a:pt x="547" y="372"/>
                </a:lnTo>
                <a:lnTo>
                  <a:pt x="568" y="381"/>
                </a:lnTo>
                <a:lnTo>
                  <a:pt x="584" y="391"/>
                </a:lnTo>
                <a:lnTo>
                  <a:pt x="599" y="401"/>
                </a:lnTo>
                <a:lnTo>
                  <a:pt x="612" y="412"/>
                </a:lnTo>
                <a:lnTo>
                  <a:pt x="629" y="424"/>
                </a:lnTo>
                <a:lnTo>
                  <a:pt x="647" y="435"/>
                </a:lnTo>
                <a:lnTo>
                  <a:pt x="670" y="449"/>
                </a:lnTo>
                <a:lnTo>
                  <a:pt x="701" y="464"/>
                </a:lnTo>
                <a:lnTo>
                  <a:pt x="701" y="464"/>
                </a:lnTo>
                <a:lnTo>
                  <a:pt x="688" y="466"/>
                </a:lnTo>
                <a:lnTo>
                  <a:pt x="676" y="467"/>
                </a:lnTo>
                <a:lnTo>
                  <a:pt x="662" y="466"/>
                </a:lnTo>
                <a:lnTo>
                  <a:pt x="649" y="463"/>
                </a:lnTo>
                <a:lnTo>
                  <a:pt x="636" y="459"/>
                </a:lnTo>
                <a:lnTo>
                  <a:pt x="623" y="455"/>
                </a:lnTo>
                <a:lnTo>
                  <a:pt x="599" y="447"/>
                </a:lnTo>
                <a:lnTo>
                  <a:pt x="587" y="442"/>
                </a:lnTo>
                <a:lnTo>
                  <a:pt x="576" y="439"/>
                </a:lnTo>
                <a:lnTo>
                  <a:pt x="565" y="437"/>
                </a:lnTo>
                <a:lnTo>
                  <a:pt x="557" y="437"/>
                </a:lnTo>
                <a:lnTo>
                  <a:pt x="548" y="439"/>
                </a:lnTo>
                <a:lnTo>
                  <a:pt x="545" y="441"/>
                </a:lnTo>
                <a:lnTo>
                  <a:pt x="541" y="443"/>
                </a:lnTo>
                <a:lnTo>
                  <a:pt x="539" y="445"/>
                </a:lnTo>
                <a:lnTo>
                  <a:pt x="537" y="450"/>
                </a:lnTo>
                <a:lnTo>
                  <a:pt x="532" y="459"/>
                </a:lnTo>
                <a:lnTo>
                  <a:pt x="532" y="459"/>
                </a:lnTo>
                <a:lnTo>
                  <a:pt x="527" y="540"/>
                </a:lnTo>
                <a:lnTo>
                  <a:pt x="527" y="540"/>
                </a:lnTo>
                <a:lnTo>
                  <a:pt x="527" y="540"/>
                </a:lnTo>
                <a:lnTo>
                  <a:pt x="534" y="547"/>
                </a:lnTo>
                <a:lnTo>
                  <a:pt x="540" y="554"/>
                </a:lnTo>
                <a:lnTo>
                  <a:pt x="545" y="560"/>
                </a:lnTo>
                <a:lnTo>
                  <a:pt x="548" y="567"/>
                </a:lnTo>
                <a:lnTo>
                  <a:pt x="555" y="583"/>
                </a:lnTo>
                <a:lnTo>
                  <a:pt x="561" y="598"/>
                </a:lnTo>
                <a:lnTo>
                  <a:pt x="565" y="615"/>
                </a:lnTo>
                <a:lnTo>
                  <a:pt x="572" y="628"/>
                </a:lnTo>
                <a:lnTo>
                  <a:pt x="576" y="635"/>
                </a:lnTo>
                <a:lnTo>
                  <a:pt x="580" y="642"/>
                </a:lnTo>
                <a:lnTo>
                  <a:pt x="585" y="649"/>
                </a:lnTo>
                <a:lnTo>
                  <a:pt x="591" y="655"/>
                </a:lnTo>
                <a:lnTo>
                  <a:pt x="591" y="655"/>
                </a:lnTo>
                <a:lnTo>
                  <a:pt x="596" y="665"/>
                </a:lnTo>
                <a:lnTo>
                  <a:pt x="603" y="676"/>
                </a:lnTo>
                <a:lnTo>
                  <a:pt x="610" y="685"/>
                </a:lnTo>
                <a:lnTo>
                  <a:pt x="618" y="693"/>
                </a:lnTo>
                <a:lnTo>
                  <a:pt x="626" y="700"/>
                </a:lnTo>
                <a:lnTo>
                  <a:pt x="636" y="705"/>
                </a:lnTo>
                <a:lnTo>
                  <a:pt x="645" y="711"/>
                </a:lnTo>
                <a:lnTo>
                  <a:pt x="654" y="716"/>
                </a:lnTo>
                <a:lnTo>
                  <a:pt x="675" y="724"/>
                </a:lnTo>
                <a:lnTo>
                  <a:pt x="695" y="730"/>
                </a:lnTo>
                <a:lnTo>
                  <a:pt x="717" y="734"/>
                </a:lnTo>
                <a:lnTo>
                  <a:pt x="739" y="739"/>
                </a:lnTo>
                <a:lnTo>
                  <a:pt x="761" y="742"/>
                </a:lnTo>
                <a:lnTo>
                  <a:pt x="782" y="747"/>
                </a:lnTo>
                <a:lnTo>
                  <a:pt x="802" y="753"/>
                </a:lnTo>
                <a:lnTo>
                  <a:pt x="821" y="761"/>
                </a:lnTo>
                <a:lnTo>
                  <a:pt x="829" y="765"/>
                </a:lnTo>
                <a:lnTo>
                  <a:pt x="837" y="770"/>
                </a:lnTo>
                <a:lnTo>
                  <a:pt x="845" y="776"/>
                </a:lnTo>
                <a:lnTo>
                  <a:pt x="852" y="783"/>
                </a:lnTo>
                <a:lnTo>
                  <a:pt x="859" y="791"/>
                </a:lnTo>
                <a:lnTo>
                  <a:pt x="864" y="799"/>
                </a:lnTo>
                <a:lnTo>
                  <a:pt x="869" y="809"/>
                </a:lnTo>
                <a:lnTo>
                  <a:pt x="874" y="819"/>
                </a:lnTo>
                <a:lnTo>
                  <a:pt x="874" y="819"/>
                </a:lnTo>
                <a:lnTo>
                  <a:pt x="860" y="815"/>
                </a:lnTo>
                <a:lnTo>
                  <a:pt x="848" y="810"/>
                </a:lnTo>
                <a:lnTo>
                  <a:pt x="829" y="801"/>
                </a:lnTo>
                <a:lnTo>
                  <a:pt x="821" y="796"/>
                </a:lnTo>
                <a:lnTo>
                  <a:pt x="814" y="793"/>
                </a:lnTo>
                <a:lnTo>
                  <a:pt x="806" y="791"/>
                </a:lnTo>
                <a:lnTo>
                  <a:pt x="797" y="791"/>
                </a:lnTo>
                <a:lnTo>
                  <a:pt x="797" y="791"/>
                </a:lnTo>
                <a:lnTo>
                  <a:pt x="787" y="791"/>
                </a:lnTo>
                <a:lnTo>
                  <a:pt x="779" y="793"/>
                </a:lnTo>
                <a:lnTo>
                  <a:pt x="771" y="795"/>
                </a:lnTo>
                <a:lnTo>
                  <a:pt x="764" y="800"/>
                </a:lnTo>
                <a:lnTo>
                  <a:pt x="757" y="804"/>
                </a:lnTo>
                <a:lnTo>
                  <a:pt x="751" y="810"/>
                </a:lnTo>
                <a:lnTo>
                  <a:pt x="738" y="823"/>
                </a:lnTo>
                <a:lnTo>
                  <a:pt x="738" y="823"/>
                </a:lnTo>
                <a:lnTo>
                  <a:pt x="736" y="827"/>
                </a:lnTo>
                <a:lnTo>
                  <a:pt x="736" y="832"/>
                </a:lnTo>
                <a:lnTo>
                  <a:pt x="736" y="838"/>
                </a:lnTo>
                <a:lnTo>
                  <a:pt x="738" y="845"/>
                </a:lnTo>
                <a:lnTo>
                  <a:pt x="744" y="860"/>
                </a:lnTo>
                <a:lnTo>
                  <a:pt x="753" y="877"/>
                </a:lnTo>
                <a:lnTo>
                  <a:pt x="762" y="895"/>
                </a:lnTo>
                <a:lnTo>
                  <a:pt x="771" y="914"/>
                </a:lnTo>
                <a:lnTo>
                  <a:pt x="778" y="932"/>
                </a:lnTo>
                <a:lnTo>
                  <a:pt x="780" y="940"/>
                </a:lnTo>
                <a:lnTo>
                  <a:pt x="782" y="948"/>
                </a:lnTo>
                <a:lnTo>
                  <a:pt x="782" y="948"/>
                </a:lnTo>
                <a:lnTo>
                  <a:pt x="769" y="941"/>
                </a:lnTo>
                <a:lnTo>
                  <a:pt x="756" y="933"/>
                </a:lnTo>
                <a:lnTo>
                  <a:pt x="744" y="924"/>
                </a:lnTo>
                <a:lnTo>
                  <a:pt x="732" y="915"/>
                </a:lnTo>
                <a:lnTo>
                  <a:pt x="711" y="896"/>
                </a:lnTo>
                <a:lnTo>
                  <a:pt x="693" y="876"/>
                </a:lnTo>
                <a:lnTo>
                  <a:pt x="676" y="854"/>
                </a:lnTo>
                <a:lnTo>
                  <a:pt x="661" y="832"/>
                </a:lnTo>
                <a:lnTo>
                  <a:pt x="631" y="787"/>
                </a:lnTo>
                <a:lnTo>
                  <a:pt x="616" y="764"/>
                </a:lnTo>
                <a:lnTo>
                  <a:pt x="601" y="742"/>
                </a:lnTo>
                <a:lnTo>
                  <a:pt x="585" y="722"/>
                </a:lnTo>
                <a:lnTo>
                  <a:pt x="568" y="702"/>
                </a:lnTo>
                <a:lnTo>
                  <a:pt x="548" y="684"/>
                </a:lnTo>
                <a:lnTo>
                  <a:pt x="538" y="674"/>
                </a:lnTo>
                <a:lnTo>
                  <a:pt x="527" y="666"/>
                </a:lnTo>
                <a:lnTo>
                  <a:pt x="516" y="659"/>
                </a:lnTo>
                <a:lnTo>
                  <a:pt x="503" y="653"/>
                </a:lnTo>
                <a:lnTo>
                  <a:pt x="491" y="646"/>
                </a:lnTo>
                <a:lnTo>
                  <a:pt x="477" y="640"/>
                </a:lnTo>
                <a:lnTo>
                  <a:pt x="477" y="640"/>
                </a:lnTo>
                <a:lnTo>
                  <a:pt x="465" y="613"/>
                </a:lnTo>
                <a:lnTo>
                  <a:pt x="451" y="587"/>
                </a:lnTo>
                <a:lnTo>
                  <a:pt x="436" y="558"/>
                </a:lnTo>
                <a:lnTo>
                  <a:pt x="420" y="531"/>
                </a:lnTo>
                <a:lnTo>
                  <a:pt x="402" y="503"/>
                </a:lnTo>
                <a:lnTo>
                  <a:pt x="382" y="474"/>
                </a:lnTo>
                <a:lnTo>
                  <a:pt x="363" y="448"/>
                </a:lnTo>
                <a:lnTo>
                  <a:pt x="341" y="422"/>
                </a:lnTo>
                <a:lnTo>
                  <a:pt x="320" y="397"/>
                </a:lnTo>
                <a:lnTo>
                  <a:pt x="298" y="375"/>
                </a:lnTo>
                <a:lnTo>
                  <a:pt x="275" y="354"/>
                </a:lnTo>
                <a:lnTo>
                  <a:pt x="253" y="337"/>
                </a:lnTo>
                <a:lnTo>
                  <a:pt x="232" y="322"/>
                </a:lnTo>
                <a:lnTo>
                  <a:pt x="220" y="315"/>
                </a:lnTo>
                <a:lnTo>
                  <a:pt x="210" y="310"/>
                </a:lnTo>
                <a:lnTo>
                  <a:pt x="198" y="306"/>
                </a:lnTo>
                <a:lnTo>
                  <a:pt x="188" y="302"/>
                </a:lnTo>
                <a:lnTo>
                  <a:pt x="178" y="299"/>
                </a:lnTo>
                <a:lnTo>
                  <a:pt x="168" y="298"/>
                </a:lnTo>
                <a:lnTo>
                  <a:pt x="168" y="298"/>
                </a:lnTo>
                <a:lnTo>
                  <a:pt x="150" y="298"/>
                </a:lnTo>
                <a:lnTo>
                  <a:pt x="150" y="29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" name="Freeform 98"/>
          <p:cNvSpPr>
            <a:spLocks/>
          </p:cNvSpPr>
          <p:nvPr/>
        </p:nvSpPr>
        <p:spPr bwMode="auto">
          <a:xfrm>
            <a:off x="7142163" y="736600"/>
            <a:ext cx="1152525" cy="2725738"/>
          </a:xfrm>
          <a:custGeom>
            <a:avLst/>
            <a:gdLst/>
            <a:ahLst/>
            <a:cxnLst>
              <a:cxn ang="0">
                <a:pos x="305" y="1897"/>
              </a:cxn>
              <a:cxn ang="0">
                <a:pos x="235" y="1990"/>
              </a:cxn>
              <a:cxn ang="0">
                <a:pos x="212" y="2080"/>
              </a:cxn>
              <a:cxn ang="0">
                <a:pos x="233" y="2157"/>
              </a:cxn>
              <a:cxn ang="0">
                <a:pos x="295" y="2300"/>
              </a:cxn>
              <a:cxn ang="0">
                <a:pos x="246" y="2439"/>
              </a:cxn>
              <a:cxn ang="0">
                <a:pos x="167" y="2480"/>
              </a:cxn>
              <a:cxn ang="0">
                <a:pos x="162" y="2567"/>
              </a:cxn>
              <a:cxn ang="0">
                <a:pos x="86" y="2679"/>
              </a:cxn>
              <a:cxn ang="0">
                <a:pos x="199" y="2853"/>
              </a:cxn>
              <a:cxn ang="0">
                <a:pos x="255" y="2945"/>
              </a:cxn>
              <a:cxn ang="0">
                <a:pos x="427" y="2957"/>
              </a:cxn>
              <a:cxn ang="0">
                <a:pos x="454" y="3091"/>
              </a:cxn>
              <a:cxn ang="0">
                <a:pos x="585" y="3075"/>
              </a:cxn>
              <a:cxn ang="0">
                <a:pos x="684" y="3085"/>
              </a:cxn>
              <a:cxn ang="0">
                <a:pos x="731" y="2922"/>
              </a:cxn>
              <a:cxn ang="0">
                <a:pos x="882" y="2908"/>
              </a:cxn>
              <a:cxn ang="0">
                <a:pos x="974" y="2774"/>
              </a:cxn>
              <a:cxn ang="0">
                <a:pos x="1023" y="2621"/>
              </a:cxn>
              <a:cxn ang="0">
                <a:pos x="888" y="2471"/>
              </a:cxn>
              <a:cxn ang="0">
                <a:pos x="883" y="2168"/>
              </a:cxn>
              <a:cxn ang="0">
                <a:pos x="952" y="2127"/>
              </a:cxn>
              <a:cxn ang="0">
                <a:pos x="1064" y="2201"/>
              </a:cxn>
              <a:cxn ang="0">
                <a:pos x="1052" y="2076"/>
              </a:cxn>
              <a:cxn ang="0">
                <a:pos x="1027" y="1976"/>
              </a:cxn>
              <a:cxn ang="0">
                <a:pos x="967" y="1966"/>
              </a:cxn>
              <a:cxn ang="0">
                <a:pos x="858" y="1882"/>
              </a:cxn>
              <a:cxn ang="0">
                <a:pos x="724" y="1764"/>
              </a:cxn>
              <a:cxn ang="0">
                <a:pos x="661" y="1706"/>
              </a:cxn>
              <a:cxn ang="0">
                <a:pos x="715" y="1605"/>
              </a:cxn>
              <a:cxn ang="0">
                <a:pos x="914" y="1426"/>
              </a:cxn>
              <a:cxn ang="0">
                <a:pos x="1020" y="1468"/>
              </a:cxn>
              <a:cxn ang="0">
                <a:pos x="1205" y="1440"/>
              </a:cxn>
              <a:cxn ang="0">
                <a:pos x="1267" y="1240"/>
              </a:cxn>
              <a:cxn ang="0">
                <a:pos x="1367" y="1180"/>
              </a:cxn>
              <a:cxn ang="0">
                <a:pos x="1411" y="857"/>
              </a:cxn>
              <a:cxn ang="0">
                <a:pos x="1266" y="796"/>
              </a:cxn>
              <a:cxn ang="0">
                <a:pos x="1012" y="908"/>
              </a:cxn>
              <a:cxn ang="0">
                <a:pos x="1061" y="800"/>
              </a:cxn>
              <a:cxn ang="0">
                <a:pos x="1012" y="623"/>
              </a:cxn>
              <a:cxn ang="0">
                <a:pos x="888" y="546"/>
              </a:cxn>
              <a:cxn ang="0">
                <a:pos x="1014" y="463"/>
              </a:cxn>
              <a:cxn ang="0">
                <a:pos x="1138" y="393"/>
              </a:cxn>
              <a:cxn ang="0">
                <a:pos x="1262" y="254"/>
              </a:cxn>
              <a:cxn ang="0">
                <a:pos x="1163" y="188"/>
              </a:cxn>
              <a:cxn ang="0">
                <a:pos x="1072" y="155"/>
              </a:cxn>
              <a:cxn ang="0">
                <a:pos x="955" y="38"/>
              </a:cxn>
              <a:cxn ang="0">
                <a:pos x="919" y="217"/>
              </a:cxn>
              <a:cxn ang="0">
                <a:pos x="850" y="275"/>
              </a:cxn>
              <a:cxn ang="0">
                <a:pos x="460" y="475"/>
              </a:cxn>
              <a:cxn ang="0">
                <a:pos x="145" y="912"/>
              </a:cxn>
              <a:cxn ang="0">
                <a:pos x="295" y="961"/>
              </a:cxn>
              <a:cxn ang="0">
                <a:pos x="257" y="1052"/>
              </a:cxn>
              <a:cxn ang="0">
                <a:pos x="121" y="1058"/>
              </a:cxn>
              <a:cxn ang="0">
                <a:pos x="33" y="1266"/>
              </a:cxn>
              <a:cxn ang="0">
                <a:pos x="34" y="1364"/>
              </a:cxn>
              <a:cxn ang="0">
                <a:pos x="155" y="1485"/>
              </a:cxn>
              <a:cxn ang="0">
                <a:pos x="82" y="1643"/>
              </a:cxn>
              <a:cxn ang="0">
                <a:pos x="122" y="1739"/>
              </a:cxn>
              <a:cxn ang="0">
                <a:pos x="257" y="1762"/>
              </a:cxn>
            </a:cxnLst>
            <a:rect l="0" t="0" r="r" b="b"/>
            <a:pathLst>
              <a:path w="1411" h="3127">
                <a:moveTo>
                  <a:pt x="302" y="1820"/>
                </a:moveTo>
                <a:lnTo>
                  <a:pt x="302" y="1820"/>
                </a:lnTo>
                <a:lnTo>
                  <a:pt x="302" y="1820"/>
                </a:lnTo>
                <a:lnTo>
                  <a:pt x="302" y="1820"/>
                </a:lnTo>
                <a:lnTo>
                  <a:pt x="308" y="1825"/>
                </a:lnTo>
                <a:lnTo>
                  <a:pt x="316" y="1835"/>
                </a:lnTo>
                <a:lnTo>
                  <a:pt x="324" y="1844"/>
                </a:lnTo>
                <a:lnTo>
                  <a:pt x="326" y="1848"/>
                </a:lnTo>
                <a:lnTo>
                  <a:pt x="327" y="1852"/>
                </a:lnTo>
                <a:lnTo>
                  <a:pt x="327" y="1852"/>
                </a:lnTo>
                <a:lnTo>
                  <a:pt x="326" y="1859"/>
                </a:lnTo>
                <a:lnTo>
                  <a:pt x="324" y="1865"/>
                </a:lnTo>
                <a:lnTo>
                  <a:pt x="320" y="1869"/>
                </a:lnTo>
                <a:lnTo>
                  <a:pt x="317" y="1875"/>
                </a:lnTo>
                <a:lnTo>
                  <a:pt x="312" y="1880"/>
                </a:lnTo>
                <a:lnTo>
                  <a:pt x="309" y="1884"/>
                </a:lnTo>
                <a:lnTo>
                  <a:pt x="306" y="1890"/>
                </a:lnTo>
                <a:lnTo>
                  <a:pt x="305" y="1897"/>
                </a:lnTo>
                <a:lnTo>
                  <a:pt x="305" y="1897"/>
                </a:lnTo>
                <a:lnTo>
                  <a:pt x="305" y="1937"/>
                </a:lnTo>
                <a:lnTo>
                  <a:pt x="305" y="1937"/>
                </a:lnTo>
                <a:lnTo>
                  <a:pt x="300" y="1938"/>
                </a:lnTo>
                <a:lnTo>
                  <a:pt x="292" y="1938"/>
                </a:lnTo>
                <a:lnTo>
                  <a:pt x="282" y="1937"/>
                </a:lnTo>
                <a:lnTo>
                  <a:pt x="272" y="1937"/>
                </a:lnTo>
                <a:lnTo>
                  <a:pt x="272" y="1937"/>
                </a:lnTo>
                <a:lnTo>
                  <a:pt x="266" y="1938"/>
                </a:lnTo>
                <a:lnTo>
                  <a:pt x="263" y="1941"/>
                </a:lnTo>
                <a:lnTo>
                  <a:pt x="262" y="1944"/>
                </a:lnTo>
                <a:lnTo>
                  <a:pt x="260" y="1949"/>
                </a:lnTo>
                <a:lnTo>
                  <a:pt x="259" y="1959"/>
                </a:lnTo>
                <a:lnTo>
                  <a:pt x="257" y="1965"/>
                </a:lnTo>
                <a:lnTo>
                  <a:pt x="254" y="1970"/>
                </a:lnTo>
                <a:lnTo>
                  <a:pt x="254" y="1970"/>
                </a:lnTo>
                <a:lnTo>
                  <a:pt x="250" y="1976"/>
                </a:lnTo>
                <a:lnTo>
                  <a:pt x="246" y="1981"/>
                </a:lnTo>
                <a:lnTo>
                  <a:pt x="241" y="1985"/>
                </a:lnTo>
                <a:lnTo>
                  <a:pt x="235" y="1990"/>
                </a:lnTo>
                <a:lnTo>
                  <a:pt x="222" y="1997"/>
                </a:lnTo>
                <a:lnTo>
                  <a:pt x="211" y="2004"/>
                </a:lnTo>
                <a:lnTo>
                  <a:pt x="199" y="2011"/>
                </a:lnTo>
                <a:lnTo>
                  <a:pt x="194" y="2015"/>
                </a:lnTo>
                <a:lnTo>
                  <a:pt x="189" y="2020"/>
                </a:lnTo>
                <a:lnTo>
                  <a:pt x="186" y="2025"/>
                </a:lnTo>
                <a:lnTo>
                  <a:pt x="183" y="2030"/>
                </a:lnTo>
                <a:lnTo>
                  <a:pt x="181" y="2036"/>
                </a:lnTo>
                <a:lnTo>
                  <a:pt x="181" y="2043"/>
                </a:lnTo>
                <a:lnTo>
                  <a:pt x="181" y="2043"/>
                </a:lnTo>
                <a:lnTo>
                  <a:pt x="181" y="2048"/>
                </a:lnTo>
                <a:lnTo>
                  <a:pt x="182" y="2051"/>
                </a:lnTo>
                <a:lnTo>
                  <a:pt x="186" y="2057"/>
                </a:lnTo>
                <a:lnTo>
                  <a:pt x="190" y="2061"/>
                </a:lnTo>
                <a:lnTo>
                  <a:pt x="196" y="2065"/>
                </a:lnTo>
                <a:lnTo>
                  <a:pt x="202" y="2068"/>
                </a:lnTo>
                <a:lnTo>
                  <a:pt x="206" y="2072"/>
                </a:lnTo>
                <a:lnTo>
                  <a:pt x="211" y="2076"/>
                </a:lnTo>
                <a:lnTo>
                  <a:pt x="212" y="2080"/>
                </a:lnTo>
                <a:lnTo>
                  <a:pt x="213" y="2083"/>
                </a:lnTo>
                <a:lnTo>
                  <a:pt x="213" y="2083"/>
                </a:lnTo>
                <a:lnTo>
                  <a:pt x="206" y="2089"/>
                </a:lnTo>
                <a:lnTo>
                  <a:pt x="198" y="2097"/>
                </a:lnTo>
                <a:lnTo>
                  <a:pt x="191" y="2107"/>
                </a:lnTo>
                <a:lnTo>
                  <a:pt x="189" y="2112"/>
                </a:lnTo>
                <a:lnTo>
                  <a:pt x="188" y="2117"/>
                </a:lnTo>
                <a:lnTo>
                  <a:pt x="188" y="2117"/>
                </a:lnTo>
                <a:lnTo>
                  <a:pt x="189" y="2122"/>
                </a:lnTo>
                <a:lnTo>
                  <a:pt x="189" y="2127"/>
                </a:lnTo>
                <a:lnTo>
                  <a:pt x="191" y="2132"/>
                </a:lnTo>
                <a:lnTo>
                  <a:pt x="194" y="2135"/>
                </a:lnTo>
                <a:lnTo>
                  <a:pt x="199" y="2140"/>
                </a:lnTo>
                <a:lnTo>
                  <a:pt x="206" y="2142"/>
                </a:lnTo>
                <a:lnTo>
                  <a:pt x="220" y="2148"/>
                </a:lnTo>
                <a:lnTo>
                  <a:pt x="227" y="2151"/>
                </a:lnTo>
                <a:lnTo>
                  <a:pt x="229" y="2153"/>
                </a:lnTo>
                <a:lnTo>
                  <a:pt x="233" y="2157"/>
                </a:lnTo>
                <a:lnTo>
                  <a:pt x="233" y="2157"/>
                </a:lnTo>
                <a:lnTo>
                  <a:pt x="235" y="2165"/>
                </a:lnTo>
                <a:lnTo>
                  <a:pt x="237" y="2174"/>
                </a:lnTo>
                <a:lnTo>
                  <a:pt x="239" y="2184"/>
                </a:lnTo>
                <a:lnTo>
                  <a:pt x="240" y="2196"/>
                </a:lnTo>
                <a:lnTo>
                  <a:pt x="240" y="2217"/>
                </a:lnTo>
                <a:lnTo>
                  <a:pt x="240" y="2235"/>
                </a:lnTo>
                <a:lnTo>
                  <a:pt x="240" y="2235"/>
                </a:lnTo>
                <a:lnTo>
                  <a:pt x="241" y="2239"/>
                </a:lnTo>
                <a:lnTo>
                  <a:pt x="244" y="2242"/>
                </a:lnTo>
                <a:lnTo>
                  <a:pt x="251" y="2248"/>
                </a:lnTo>
                <a:lnTo>
                  <a:pt x="270" y="2260"/>
                </a:lnTo>
                <a:lnTo>
                  <a:pt x="279" y="2266"/>
                </a:lnTo>
                <a:lnTo>
                  <a:pt x="287" y="2274"/>
                </a:lnTo>
                <a:lnTo>
                  <a:pt x="290" y="2279"/>
                </a:lnTo>
                <a:lnTo>
                  <a:pt x="293" y="2285"/>
                </a:lnTo>
                <a:lnTo>
                  <a:pt x="294" y="2290"/>
                </a:lnTo>
                <a:lnTo>
                  <a:pt x="295" y="2297"/>
                </a:lnTo>
                <a:lnTo>
                  <a:pt x="295" y="2297"/>
                </a:lnTo>
                <a:lnTo>
                  <a:pt x="295" y="2300"/>
                </a:lnTo>
                <a:lnTo>
                  <a:pt x="296" y="2302"/>
                </a:lnTo>
                <a:lnTo>
                  <a:pt x="301" y="2309"/>
                </a:lnTo>
                <a:lnTo>
                  <a:pt x="304" y="2315"/>
                </a:lnTo>
                <a:lnTo>
                  <a:pt x="305" y="2319"/>
                </a:lnTo>
                <a:lnTo>
                  <a:pt x="305" y="2323"/>
                </a:lnTo>
                <a:lnTo>
                  <a:pt x="305" y="2323"/>
                </a:lnTo>
                <a:lnTo>
                  <a:pt x="297" y="2327"/>
                </a:lnTo>
                <a:lnTo>
                  <a:pt x="292" y="2334"/>
                </a:lnTo>
                <a:lnTo>
                  <a:pt x="286" y="2342"/>
                </a:lnTo>
                <a:lnTo>
                  <a:pt x="282" y="2350"/>
                </a:lnTo>
                <a:lnTo>
                  <a:pt x="279" y="2359"/>
                </a:lnTo>
                <a:lnTo>
                  <a:pt x="277" y="2370"/>
                </a:lnTo>
                <a:lnTo>
                  <a:pt x="273" y="2389"/>
                </a:lnTo>
                <a:lnTo>
                  <a:pt x="270" y="2409"/>
                </a:lnTo>
                <a:lnTo>
                  <a:pt x="267" y="2418"/>
                </a:lnTo>
                <a:lnTo>
                  <a:pt x="263" y="2425"/>
                </a:lnTo>
                <a:lnTo>
                  <a:pt x="258" y="2432"/>
                </a:lnTo>
                <a:lnTo>
                  <a:pt x="252" y="2436"/>
                </a:lnTo>
                <a:lnTo>
                  <a:pt x="246" y="2439"/>
                </a:lnTo>
                <a:lnTo>
                  <a:pt x="236" y="2440"/>
                </a:lnTo>
                <a:lnTo>
                  <a:pt x="236" y="2440"/>
                </a:lnTo>
                <a:lnTo>
                  <a:pt x="228" y="2440"/>
                </a:lnTo>
                <a:lnTo>
                  <a:pt x="222" y="2439"/>
                </a:lnTo>
                <a:lnTo>
                  <a:pt x="214" y="2435"/>
                </a:lnTo>
                <a:lnTo>
                  <a:pt x="206" y="2431"/>
                </a:lnTo>
                <a:lnTo>
                  <a:pt x="202" y="2430"/>
                </a:lnTo>
                <a:lnTo>
                  <a:pt x="195" y="2430"/>
                </a:lnTo>
                <a:lnTo>
                  <a:pt x="195" y="2430"/>
                </a:lnTo>
                <a:lnTo>
                  <a:pt x="191" y="2431"/>
                </a:lnTo>
                <a:lnTo>
                  <a:pt x="189" y="2433"/>
                </a:lnTo>
                <a:lnTo>
                  <a:pt x="187" y="2438"/>
                </a:lnTo>
                <a:lnTo>
                  <a:pt x="185" y="2442"/>
                </a:lnTo>
                <a:lnTo>
                  <a:pt x="182" y="2454"/>
                </a:lnTo>
                <a:lnTo>
                  <a:pt x="181" y="2462"/>
                </a:lnTo>
                <a:lnTo>
                  <a:pt x="181" y="2462"/>
                </a:lnTo>
                <a:lnTo>
                  <a:pt x="178" y="2468"/>
                </a:lnTo>
                <a:lnTo>
                  <a:pt x="175" y="2472"/>
                </a:lnTo>
                <a:lnTo>
                  <a:pt x="167" y="2480"/>
                </a:lnTo>
                <a:lnTo>
                  <a:pt x="158" y="2487"/>
                </a:lnTo>
                <a:lnTo>
                  <a:pt x="149" y="2493"/>
                </a:lnTo>
                <a:lnTo>
                  <a:pt x="140" y="2500"/>
                </a:lnTo>
                <a:lnTo>
                  <a:pt x="133" y="2507"/>
                </a:lnTo>
                <a:lnTo>
                  <a:pt x="129" y="2510"/>
                </a:lnTo>
                <a:lnTo>
                  <a:pt x="127" y="2515"/>
                </a:lnTo>
                <a:lnTo>
                  <a:pt x="126" y="2519"/>
                </a:lnTo>
                <a:lnTo>
                  <a:pt x="125" y="2524"/>
                </a:lnTo>
                <a:lnTo>
                  <a:pt x="125" y="2524"/>
                </a:lnTo>
                <a:lnTo>
                  <a:pt x="126" y="2527"/>
                </a:lnTo>
                <a:lnTo>
                  <a:pt x="127" y="2531"/>
                </a:lnTo>
                <a:lnTo>
                  <a:pt x="130" y="2535"/>
                </a:lnTo>
                <a:lnTo>
                  <a:pt x="137" y="2540"/>
                </a:lnTo>
                <a:lnTo>
                  <a:pt x="144" y="2544"/>
                </a:lnTo>
                <a:lnTo>
                  <a:pt x="150" y="2549"/>
                </a:lnTo>
                <a:lnTo>
                  <a:pt x="157" y="2555"/>
                </a:lnTo>
                <a:lnTo>
                  <a:pt x="159" y="2558"/>
                </a:lnTo>
                <a:lnTo>
                  <a:pt x="160" y="2562"/>
                </a:lnTo>
                <a:lnTo>
                  <a:pt x="162" y="2567"/>
                </a:lnTo>
                <a:lnTo>
                  <a:pt x="163" y="2572"/>
                </a:lnTo>
                <a:lnTo>
                  <a:pt x="163" y="2572"/>
                </a:lnTo>
                <a:lnTo>
                  <a:pt x="162" y="2580"/>
                </a:lnTo>
                <a:lnTo>
                  <a:pt x="160" y="2585"/>
                </a:lnTo>
                <a:lnTo>
                  <a:pt x="159" y="2588"/>
                </a:lnTo>
                <a:lnTo>
                  <a:pt x="156" y="2590"/>
                </a:lnTo>
                <a:lnTo>
                  <a:pt x="147" y="2592"/>
                </a:lnTo>
                <a:lnTo>
                  <a:pt x="141" y="2592"/>
                </a:lnTo>
                <a:lnTo>
                  <a:pt x="133" y="2594"/>
                </a:lnTo>
                <a:lnTo>
                  <a:pt x="133" y="2594"/>
                </a:lnTo>
                <a:lnTo>
                  <a:pt x="124" y="2600"/>
                </a:lnTo>
                <a:lnTo>
                  <a:pt x="114" y="2608"/>
                </a:lnTo>
                <a:lnTo>
                  <a:pt x="106" y="2617"/>
                </a:lnTo>
                <a:lnTo>
                  <a:pt x="99" y="2629"/>
                </a:lnTo>
                <a:lnTo>
                  <a:pt x="94" y="2640"/>
                </a:lnTo>
                <a:lnTo>
                  <a:pt x="89" y="2653"/>
                </a:lnTo>
                <a:lnTo>
                  <a:pt x="87" y="2667"/>
                </a:lnTo>
                <a:lnTo>
                  <a:pt x="86" y="2679"/>
                </a:lnTo>
                <a:lnTo>
                  <a:pt x="86" y="2679"/>
                </a:lnTo>
                <a:lnTo>
                  <a:pt x="86" y="2693"/>
                </a:lnTo>
                <a:lnTo>
                  <a:pt x="87" y="2706"/>
                </a:lnTo>
                <a:lnTo>
                  <a:pt x="89" y="2717"/>
                </a:lnTo>
                <a:lnTo>
                  <a:pt x="92" y="2728"/>
                </a:lnTo>
                <a:lnTo>
                  <a:pt x="96" y="2737"/>
                </a:lnTo>
                <a:lnTo>
                  <a:pt x="99" y="2746"/>
                </a:lnTo>
                <a:lnTo>
                  <a:pt x="109" y="2761"/>
                </a:lnTo>
                <a:lnTo>
                  <a:pt x="119" y="2776"/>
                </a:lnTo>
                <a:lnTo>
                  <a:pt x="130" y="2791"/>
                </a:lnTo>
                <a:lnTo>
                  <a:pt x="141" y="2805"/>
                </a:lnTo>
                <a:lnTo>
                  <a:pt x="151" y="2822"/>
                </a:lnTo>
                <a:lnTo>
                  <a:pt x="151" y="2822"/>
                </a:lnTo>
                <a:lnTo>
                  <a:pt x="153" y="2825"/>
                </a:lnTo>
                <a:lnTo>
                  <a:pt x="157" y="2829"/>
                </a:lnTo>
                <a:lnTo>
                  <a:pt x="165" y="2835"/>
                </a:lnTo>
                <a:lnTo>
                  <a:pt x="173" y="2839"/>
                </a:lnTo>
                <a:lnTo>
                  <a:pt x="183" y="2844"/>
                </a:lnTo>
                <a:lnTo>
                  <a:pt x="191" y="2848"/>
                </a:lnTo>
                <a:lnTo>
                  <a:pt x="199" y="2853"/>
                </a:lnTo>
                <a:lnTo>
                  <a:pt x="202" y="2857"/>
                </a:lnTo>
                <a:lnTo>
                  <a:pt x="204" y="2861"/>
                </a:lnTo>
                <a:lnTo>
                  <a:pt x="206" y="2865"/>
                </a:lnTo>
                <a:lnTo>
                  <a:pt x="206" y="2870"/>
                </a:lnTo>
                <a:lnTo>
                  <a:pt x="206" y="2870"/>
                </a:lnTo>
                <a:lnTo>
                  <a:pt x="206" y="2896"/>
                </a:lnTo>
                <a:lnTo>
                  <a:pt x="206" y="2896"/>
                </a:lnTo>
                <a:lnTo>
                  <a:pt x="208" y="2901"/>
                </a:lnTo>
                <a:lnTo>
                  <a:pt x="210" y="2907"/>
                </a:lnTo>
                <a:lnTo>
                  <a:pt x="217" y="2919"/>
                </a:lnTo>
                <a:lnTo>
                  <a:pt x="221" y="2926"/>
                </a:lnTo>
                <a:lnTo>
                  <a:pt x="225" y="2932"/>
                </a:lnTo>
                <a:lnTo>
                  <a:pt x="227" y="2941"/>
                </a:lnTo>
                <a:lnTo>
                  <a:pt x="228" y="2951"/>
                </a:lnTo>
                <a:lnTo>
                  <a:pt x="228" y="2951"/>
                </a:lnTo>
                <a:lnTo>
                  <a:pt x="247" y="2951"/>
                </a:lnTo>
                <a:lnTo>
                  <a:pt x="247" y="2951"/>
                </a:lnTo>
                <a:lnTo>
                  <a:pt x="247" y="2951"/>
                </a:lnTo>
                <a:lnTo>
                  <a:pt x="255" y="2945"/>
                </a:lnTo>
                <a:lnTo>
                  <a:pt x="263" y="2937"/>
                </a:lnTo>
                <a:lnTo>
                  <a:pt x="281" y="2919"/>
                </a:lnTo>
                <a:lnTo>
                  <a:pt x="290" y="2909"/>
                </a:lnTo>
                <a:lnTo>
                  <a:pt x="298" y="2903"/>
                </a:lnTo>
                <a:lnTo>
                  <a:pt x="306" y="2897"/>
                </a:lnTo>
                <a:lnTo>
                  <a:pt x="310" y="2896"/>
                </a:lnTo>
                <a:lnTo>
                  <a:pt x="312" y="2896"/>
                </a:lnTo>
                <a:lnTo>
                  <a:pt x="312" y="2896"/>
                </a:lnTo>
                <a:lnTo>
                  <a:pt x="323" y="2896"/>
                </a:lnTo>
                <a:lnTo>
                  <a:pt x="333" y="2898"/>
                </a:lnTo>
                <a:lnTo>
                  <a:pt x="344" y="2901"/>
                </a:lnTo>
                <a:lnTo>
                  <a:pt x="356" y="2905"/>
                </a:lnTo>
                <a:lnTo>
                  <a:pt x="367" y="2911"/>
                </a:lnTo>
                <a:lnTo>
                  <a:pt x="379" y="2916"/>
                </a:lnTo>
                <a:lnTo>
                  <a:pt x="389" y="2923"/>
                </a:lnTo>
                <a:lnTo>
                  <a:pt x="400" y="2930"/>
                </a:lnTo>
                <a:lnTo>
                  <a:pt x="410" y="2938"/>
                </a:lnTo>
                <a:lnTo>
                  <a:pt x="419" y="2947"/>
                </a:lnTo>
                <a:lnTo>
                  <a:pt x="427" y="2957"/>
                </a:lnTo>
                <a:lnTo>
                  <a:pt x="434" y="2967"/>
                </a:lnTo>
                <a:lnTo>
                  <a:pt x="440" y="2977"/>
                </a:lnTo>
                <a:lnTo>
                  <a:pt x="445" y="2988"/>
                </a:lnTo>
                <a:lnTo>
                  <a:pt x="448" y="2998"/>
                </a:lnTo>
                <a:lnTo>
                  <a:pt x="449" y="3010"/>
                </a:lnTo>
                <a:lnTo>
                  <a:pt x="449" y="3010"/>
                </a:lnTo>
                <a:lnTo>
                  <a:pt x="448" y="3014"/>
                </a:lnTo>
                <a:lnTo>
                  <a:pt x="447" y="3020"/>
                </a:lnTo>
                <a:lnTo>
                  <a:pt x="441" y="3028"/>
                </a:lnTo>
                <a:lnTo>
                  <a:pt x="437" y="3038"/>
                </a:lnTo>
                <a:lnTo>
                  <a:pt x="434" y="3044"/>
                </a:lnTo>
                <a:lnTo>
                  <a:pt x="434" y="3050"/>
                </a:lnTo>
                <a:lnTo>
                  <a:pt x="434" y="3050"/>
                </a:lnTo>
                <a:lnTo>
                  <a:pt x="434" y="3060"/>
                </a:lnTo>
                <a:lnTo>
                  <a:pt x="437" y="3069"/>
                </a:lnTo>
                <a:lnTo>
                  <a:pt x="439" y="3077"/>
                </a:lnTo>
                <a:lnTo>
                  <a:pt x="442" y="3083"/>
                </a:lnTo>
                <a:lnTo>
                  <a:pt x="448" y="3088"/>
                </a:lnTo>
                <a:lnTo>
                  <a:pt x="454" y="3091"/>
                </a:lnTo>
                <a:lnTo>
                  <a:pt x="462" y="3094"/>
                </a:lnTo>
                <a:lnTo>
                  <a:pt x="471" y="3095"/>
                </a:lnTo>
                <a:lnTo>
                  <a:pt x="471" y="3095"/>
                </a:lnTo>
                <a:lnTo>
                  <a:pt x="480" y="3094"/>
                </a:lnTo>
                <a:lnTo>
                  <a:pt x="487" y="3090"/>
                </a:lnTo>
                <a:lnTo>
                  <a:pt x="492" y="3085"/>
                </a:lnTo>
                <a:lnTo>
                  <a:pt x="495" y="3081"/>
                </a:lnTo>
                <a:lnTo>
                  <a:pt x="499" y="3076"/>
                </a:lnTo>
                <a:lnTo>
                  <a:pt x="503" y="3073"/>
                </a:lnTo>
                <a:lnTo>
                  <a:pt x="508" y="3069"/>
                </a:lnTo>
                <a:lnTo>
                  <a:pt x="515" y="3068"/>
                </a:lnTo>
                <a:lnTo>
                  <a:pt x="515" y="3068"/>
                </a:lnTo>
                <a:lnTo>
                  <a:pt x="526" y="3069"/>
                </a:lnTo>
                <a:lnTo>
                  <a:pt x="534" y="3072"/>
                </a:lnTo>
                <a:lnTo>
                  <a:pt x="542" y="3074"/>
                </a:lnTo>
                <a:lnTo>
                  <a:pt x="552" y="3075"/>
                </a:lnTo>
                <a:lnTo>
                  <a:pt x="552" y="3075"/>
                </a:lnTo>
                <a:lnTo>
                  <a:pt x="585" y="3075"/>
                </a:lnTo>
                <a:lnTo>
                  <a:pt x="585" y="3075"/>
                </a:lnTo>
                <a:lnTo>
                  <a:pt x="588" y="3076"/>
                </a:lnTo>
                <a:lnTo>
                  <a:pt x="592" y="3077"/>
                </a:lnTo>
                <a:lnTo>
                  <a:pt x="594" y="3079"/>
                </a:lnTo>
                <a:lnTo>
                  <a:pt x="598" y="3082"/>
                </a:lnTo>
                <a:lnTo>
                  <a:pt x="601" y="3089"/>
                </a:lnTo>
                <a:lnTo>
                  <a:pt x="606" y="3097"/>
                </a:lnTo>
                <a:lnTo>
                  <a:pt x="609" y="3105"/>
                </a:lnTo>
                <a:lnTo>
                  <a:pt x="614" y="3113"/>
                </a:lnTo>
                <a:lnTo>
                  <a:pt x="621" y="3119"/>
                </a:lnTo>
                <a:lnTo>
                  <a:pt x="624" y="3122"/>
                </a:lnTo>
                <a:lnTo>
                  <a:pt x="629" y="3123"/>
                </a:lnTo>
                <a:lnTo>
                  <a:pt x="629" y="3123"/>
                </a:lnTo>
                <a:lnTo>
                  <a:pt x="629" y="3123"/>
                </a:lnTo>
                <a:lnTo>
                  <a:pt x="629" y="3127"/>
                </a:lnTo>
                <a:lnTo>
                  <a:pt x="629" y="3127"/>
                </a:lnTo>
                <a:lnTo>
                  <a:pt x="629" y="3127"/>
                </a:lnTo>
                <a:lnTo>
                  <a:pt x="640" y="3118"/>
                </a:lnTo>
                <a:lnTo>
                  <a:pt x="654" y="3107"/>
                </a:lnTo>
                <a:lnTo>
                  <a:pt x="684" y="3085"/>
                </a:lnTo>
                <a:lnTo>
                  <a:pt x="699" y="3073"/>
                </a:lnTo>
                <a:lnTo>
                  <a:pt x="715" y="3060"/>
                </a:lnTo>
                <a:lnTo>
                  <a:pt x="731" y="3044"/>
                </a:lnTo>
                <a:lnTo>
                  <a:pt x="746" y="3028"/>
                </a:lnTo>
                <a:lnTo>
                  <a:pt x="746" y="3028"/>
                </a:lnTo>
                <a:lnTo>
                  <a:pt x="738" y="3019"/>
                </a:lnTo>
                <a:lnTo>
                  <a:pt x="730" y="3010"/>
                </a:lnTo>
                <a:lnTo>
                  <a:pt x="721" y="2998"/>
                </a:lnTo>
                <a:lnTo>
                  <a:pt x="713" y="2984"/>
                </a:lnTo>
                <a:lnTo>
                  <a:pt x="710" y="2977"/>
                </a:lnTo>
                <a:lnTo>
                  <a:pt x="708" y="2970"/>
                </a:lnTo>
                <a:lnTo>
                  <a:pt x="706" y="2964"/>
                </a:lnTo>
                <a:lnTo>
                  <a:pt x="706" y="2957"/>
                </a:lnTo>
                <a:lnTo>
                  <a:pt x="707" y="2950"/>
                </a:lnTo>
                <a:lnTo>
                  <a:pt x="709" y="2943"/>
                </a:lnTo>
                <a:lnTo>
                  <a:pt x="709" y="2943"/>
                </a:lnTo>
                <a:lnTo>
                  <a:pt x="715" y="2936"/>
                </a:lnTo>
                <a:lnTo>
                  <a:pt x="722" y="2929"/>
                </a:lnTo>
                <a:lnTo>
                  <a:pt x="731" y="2922"/>
                </a:lnTo>
                <a:lnTo>
                  <a:pt x="740" y="2915"/>
                </a:lnTo>
                <a:lnTo>
                  <a:pt x="762" y="2903"/>
                </a:lnTo>
                <a:lnTo>
                  <a:pt x="786" y="2889"/>
                </a:lnTo>
                <a:lnTo>
                  <a:pt x="813" y="2875"/>
                </a:lnTo>
                <a:lnTo>
                  <a:pt x="839" y="2860"/>
                </a:lnTo>
                <a:lnTo>
                  <a:pt x="863" y="2844"/>
                </a:lnTo>
                <a:lnTo>
                  <a:pt x="875" y="2836"/>
                </a:lnTo>
                <a:lnTo>
                  <a:pt x="886" y="2827"/>
                </a:lnTo>
                <a:lnTo>
                  <a:pt x="886" y="2827"/>
                </a:lnTo>
                <a:lnTo>
                  <a:pt x="889" y="2827"/>
                </a:lnTo>
                <a:lnTo>
                  <a:pt x="891" y="2828"/>
                </a:lnTo>
                <a:lnTo>
                  <a:pt x="893" y="2830"/>
                </a:lnTo>
                <a:lnTo>
                  <a:pt x="894" y="2832"/>
                </a:lnTo>
                <a:lnTo>
                  <a:pt x="896" y="2838"/>
                </a:lnTo>
                <a:lnTo>
                  <a:pt x="894" y="2845"/>
                </a:lnTo>
                <a:lnTo>
                  <a:pt x="892" y="2863"/>
                </a:lnTo>
                <a:lnTo>
                  <a:pt x="886" y="2883"/>
                </a:lnTo>
                <a:lnTo>
                  <a:pt x="883" y="2901"/>
                </a:lnTo>
                <a:lnTo>
                  <a:pt x="882" y="2908"/>
                </a:lnTo>
                <a:lnTo>
                  <a:pt x="883" y="2915"/>
                </a:lnTo>
                <a:lnTo>
                  <a:pt x="885" y="2919"/>
                </a:lnTo>
                <a:lnTo>
                  <a:pt x="886" y="2921"/>
                </a:lnTo>
                <a:lnTo>
                  <a:pt x="889" y="2921"/>
                </a:lnTo>
                <a:lnTo>
                  <a:pt x="896" y="2921"/>
                </a:lnTo>
                <a:lnTo>
                  <a:pt x="905" y="2917"/>
                </a:lnTo>
                <a:lnTo>
                  <a:pt x="905" y="2917"/>
                </a:lnTo>
                <a:lnTo>
                  <a:pt x="909" y="2905"/>
                </a:lnTo>
                <a:lnTo>
                  <a:pt x="915" y="2893"/>
                </a:lnTo>
                <a:lnTo>
                  <a:pt x="922" y="2882"/>
                </a:lnTo>
                <a:lnTo>
                  <a:pt x="928" y="2871"/>
                </a:lnTo>
                <a:lnTo>
                  <a:pt x="942" y="2853"/>
                </a:lnTo>
                <a:lnTo>
                  <a:pt x="954" y="2836"/>
                </a:lnTo>
                <a:lnTo>
                  <a:pt x="960" y="2827"/>
                </a:lnTo>
                <a:lnTo>
                  <a:pt x="965" y="2817"/>
                </a:lnTo>
                <a:lnTo>
                  <a:pt x="968" y="2808"/>
                </a:lnTo>
                <a:lnTo>
                  <a:pt x="972" y="2798"/>
                </a:lnTo>
                <a:lnTo>
                  <a:pt x="973" y="2786"/>
                </a:lnTo>
                <a:lnTo>
                  <a:pt x="974" y="2774"/>
                </a:lnTo>
                <a:lnTo>
                  <a:pt x="973" y="2760"/>
                </a:lnTo>
                <a:lnTo>
                  <a:pt x="970" y="2745"/>
                </a:lnTo>
                <a:lnTo>
                  <a:pt x="970" y="2745"/>
                </a:lnTo>
                <a:lnTo>
                  <a:pt x="981" y="2729"/>
                </a:lnTo>
                <a:lnTo>
                  <a:pt x="992" y="2715"/>
                </a:lnTo>
                <a:lnTo>
                  <a:pt x="1003" y="2702"/>
                </a:lnTo>
                <a:lnTo>
                  <a:pt x="1013" y="2688"/>
                </a:lnTo>
                <a:lnTo>
                  <a:pt x="1022" y="2675"/>
                </a:lnTo>
                <a:lnTo>
                  <a:pt x="1029" y="2660"/>
                </a:lnTo>
                <a:lnTo>
                  <a:pt x="1031" y="2652"/>
                </a:lnTo>
                <a:lnTo>
                  <a:pt x="1034" y="2644"/>
                </a:lnTo>
                <a:lnTo>
                  <a:pt x="1036" y="2633"/>
                </a:lnTo>
                <a:lnTo>
                  <a:pt x="1037" y="2624"/>
                </a:lnTo>
                <a:lnTo>
                  <a:pt x="1037" y="2624"/>
                </a:lnTo>
                <a:lnTo>
                  <a:pt x="1036" y="2618"/>
                </a:lnTo>
                <a:lnTo>
                  <a:pt x="1035" y="2617"/>
                </a:lnTo>
                <a:lnTo>
                  <a:pt x="1033" y="2617"/>
                </a:lnTo>
                <a:lnTo>
                  <a:pt x="1029" y="2617"/>
                </a:lnTo>
                <a:lnTo>
                  <a:pt x="1023" y="2621"/>
                </a:lnTo>
                <a:lnTo>
                  <a:pt x="1011" y="2633"/>
                </a:lnTo>
                <a:lnTo>
                  <a:pt x="993" y="2648"/>
                </a:lnTo>
                <a:lnTo>
                  <a:pt x="977" y="2664"/>
                </a:lnTo>
                <a:lnTo>
                  <a:pt x="968" y="2672"/>
                </a:lnTo>
                <a:lnTo>
                  <a:pt x="961" y="2678"/>
                </a:lnTo>
                <a:lnTo>
                  <a:pt x="953" y="2682"/>
                </a:lnTo>
                <a:lnTo>
                  <a:pt x="947" y="2684"/>
                </a:lnTo>
                <a:lnTo>
                  <a:pt x="944" y="2684"/>
                </a:lnTo>
                <a:lnTo>
                  <a:pt x="942" y="2683"/>
                </a:lnTo>
                <a:lnTo>
                  <a:pt x="939" y="2682"/>
                </a:lnTo>
                <a:lnTo>
                  <a:pt x="937" y="2679"/>
                </a:lnTo>
                <a:lnTo>
                  <a:pt x="937" y="2679"/>
                </a:lnTo>
                <a:lnTo>
                  <a:pt x="931" y="2667"/>
                </a:lnTo>
                <a:lnTo>
                  <a:pt x="926" y="2651"/>
                </a:lnTo>
                <a:lnTo>
                  <a:pt x="920" y="2632"/>
                </a:lnTo>
                <a:lnTo>
                  <a:pt x="915" y="2611"/>
                </a:lnTo>
                <a:lnTo>
                  <a:pt x="906" y="2567"/>
                </a:lnTo>
                <a:lnTo>
                  <a:pt x="897" y="2518"/>
                </a:lnTo>
                <a:lnTo>
                  <a:pt x="888" y="2471"/>
                </a:lnTo>
                <a:lnTo>
                  <a:pt x="878" y="2428"/>
                </a:lnTo>
                <a:lnTo>
                  <a:pt x="874" y="2411"/>
                </a:lnTo>
                <a:lnTo>
                  <a:pt x="868" y="2395"/>
                </a:lnTo>
                <a:lnTo>
                  <a:pt x="862" y="2382"/>
                </a:lnTo>
                <a:lnTo>
                  <a:pt x="857" y="2374"/>
                </a:lnTo>
                <a:lnTo>
                  <a:pt x="857" y="2374"/>
                </a:lnTo>
                <a:lnTo>
                  <a:pt x="847" y="2363"/>
                </a:lnTo>
                <a:lnTo>
                  <a:pt x="840" y="2352"/>
                </a:lnTo>
                <a:lnTo>
                  <a:pt x="836" y="2341"/>
                </a:lnTo>
                <a:lnTo>
                  <a:pt x="832" y="2328"/>
                </a:lnTo>
                <a:lnTo>
                  <a:pt x="832" y="2317"/>
                </a:lnTo>
                <a:lnTo>
                  <a:pt x="834" y="2304"/>
                </a:lnTo>
                <a:lnTo>
                  <a:pt x="836" y="2292"/>
                </a:lnTo>
                <a:lnTo>
                  <a:pt x="839" y="2278"/>
                </a:lnTo>
                <a:lnTo>
                  <a:pt x="850" y="2251"/>
                </a:lnTo>
                <a:lnTo>
                  <a:pt x="861" y="2224"/>
                </a:lnTo>
                <a:lnTo>
                  <a:pt x="873" y="2196"/>
                </a:lnTo>
                <a:lnTo>
                  <a:pt x="878" y="2182"/>
                </a:lnTo>
                <a:lnTo>
                  <a:pt x="883" y="2168"/>
                </a:lnTo>
                <a:lnTo>
                  <a:pt x="883" y="2168"/>
                </a:lnTo>
                <a:lnTo>
                  <a:pt x="894" y="2171"/>
                </a:lnTo>
                <a:lnTo>
                  <a:pt x="905" y="2171"/>
                </a:lnTo>
                <a:lnTo>
                  <a:pt x="913" y="2170"/>
                </a:lnTo>
                <a:lnTo>
                  <a:pt x="918" y="2165"/>
                </a:lnTo>
                <a:lnTo>
                  <a:pt x="922" y="2159"/>
                </a:lnTo>
                <a:lnTo>
                  <a:pt x="924" y="2153"/>
                </a:lnTo>
                <a:lnTo>
                  <a:pt x="926" y="2145"/>
                </a:lnTo>
                <a:lnTo>
                  <a:pt x="926" y="2137"/>
                </a:lnTo>
                <a:lnTo>
                  <a:pt x="924" y="2121"/>
                </a:lnTo>
                <a:lnTo>
                  <a:pt x="923" y="2107"/>
                </a:lnTo>
                <a:lnTo>
                  <a:pt x="923" y="2103"/>
                </a:lnTo>
                <a:lnTo>
                  <a:pt x="924" y="2099"/>
                </a:lnTo>
                <a:lnTo>
                  <a:pt x="927" y="2097"/>
                </a:lnTo>
                <a:lnTo>
                  <a:pt x="930" y="2098"/>
                </a:lnTo>
                <a:lnTo>
                  <a:pt x="930" y="2098"/>
                </a:lnTo>
                <a:lnTo>
                  <a:pt x="935" y="2103"/>
                </a:lnTo>
                <a:lnTo>
                  <a:pt x="941" y="2110"/>
                </a:lnTo>
                <a:lnTo>
                  <a:pt x="952" y="2127"/>
                </a:lnTo>
                <a:lnTo>
                  <a:pt x="977" y="2171"/>
                </a:lnTo>
                <a:lnTo>
                  <a:pt x="989" y="2190"/>
                </a:lnTo>
                <a:lnTo>
                  <a:pt x="995" y="2198"/>
                </a:lnTo>
                <a:lnTo>
                  <a:pt x="1000" y="2205"/>
                </a:lnTo>
                <a:lnTo>
                  <a:pt x="1005" y="2209"/>
                </a:lnTo>
                <a:lnTo>
                  <a:pt x="1011" y="2211"/>
                </a:lnTo>
                <a:lnTo>
                  <a:pt x="1013" y="2211"/>
                </a:lnTo>
                <a:lnTo>
                  <a:pt x="1014" y="2210"/>
                </a:lnTo>
                <a:lnTo>
                  <a:pt x="1019" y="2205"/>
                </a:lnTo>
                <a:lnTo>
                  <a:pt x="1019" y="2205"/>
                </a:lnTo>
                <a:lnTo>
                  <a:pt x="1025" y="2194"/>
                </a:lnTo>
                <a:lnTo>
                  <a:pt x="1030" y="2186"/>
                </a:lnTo>
                <a:lnTo>
                  <a:pt x="1035" y="2181"/>
                </a:lnTo>
                <a:lnTo>
                  <a:pt x="1039" y="2180"/>
                </a:lnTo>
                <a:lnTo>
                  <a:pt x="1044" y="2180"/>
                </a:lnTo>
                <a:lnTo>
                  <a:pt x="1049" y="2182"/>
                </a:lnTo>
                <a:lnTo>
                  <a:pt x="1052" y="2186"/>
                </a:lnTo>
                <a:lnTo>
                  <a:pt x="1056" y="2190"/>
                </a:lnTo>
                <a:lnTo>
                  <a:pt x="1064" y="2201"/>
                </a:lnTo>
                <a:lnTo>
                  <a:pt x="1071" y="2211"/>
                </a:lnTo>
                <a:lnTo>
                  <a:pt x="1075" y="2214"/>
                </a:lnTo>
                <a:lnTo>
                  <a:pt x="1079" y="2217"/>
                </a:lnTo>
                <a:lnTo>
                  <a:pt x="1083" y="2217"/>
                </a:lnTo>
                <a:lnTo>
                  <a:pt x="1088" y="2216"/>
                </a:lnTo>
                <a:lnTo>
                  <a:pt x="1088" y="2216"/>
                </a:lnTo>
                <a:lnTo>
                  <a:pt x="1092" y="2213"/>
                </a:lnTo>
                <a:lnTo>
                  <a:pt x="1096" y="2210"/>
                </a:lnTo>
                <a:lnTo>
                  <a:pt x="1098" y="2206"/>
                </a:lnTo>
                <a:lnTo>
                  <a:pt x="1099" y="2203"/>
                </a:lnTo>
                <a:lnTo>
                  <a:pt x="1100" y="2198"/>
                </a:lnTo>
                <a:lnTo>
                  <a:pt x="1102" y="2195"/>
                </a:lnTo>
                <a:lnTo>
                  <a:pt x="1099" y="2184"/>
                </a:lnTo>
                <a:lnTo>
                  <a:pt x="1096" y="2173"/>
                </a:lnTo>
                <a:lnTo>
                  <a:pt x="1091" y="2161"/>
                </a:lnTo>
                <a:lnTo>
                  <a:pt x="1077" y="2135"/>
                </a:lnTo>
                <a:lnTo>
                  <a:pt x="1064" y="2106"/>
                </a:lnTo>
                <a:lnTo>
                  <a:pt x="1057" y="2091"/>
                </a:lnTo>
                <a:lnTo>
                  <a:pt x="1052" y="2076"/>
                </a:lnTo>
                <a:lnTo>
                  <a:pt x="1049" y="2061"/>
                </a:lnTo>
                <a:lnTo>
                  <a:pt x="1046" y="2046"/>
                </a:lnTo>
                <a:lnTo>
                  <a:pt x="1046" y="2038"/>
                </a:lnTo>
                <a:lnTo>
                  <a:pt x="1048" y="2031"/>
                </a:lnTo>
                <a:lnTo>
                  <a:pt x="1049" y="2025"/>
                </a:lnTo>
                <a:lnTo>
                  <a:pt x="1051" y="2018"/>
                </a:lnTo>
                <a:lnTo>
                  <a:pt x="1051" y="2018"/>
                </a:lnTo>
                <a:lnTo>
                  <a:pt x="1054" y="2010"/>
                </a:lnTo>
                <a:lnTo>
                  <a:pt x="1057" y="2002"/>
                </a:lnTo>
                <a:lnTo>
                  <a:pt x="1058" y="1993"/>
                </a:lnTo>
                <a:lnTo>
                  <a:pt x="1059" y="1985"/>
                </a:lnTo>
                <a:lnTo>
                  <a:pt x="1058" y="1969"/>
                </a:lnTo>
                <a:lnTo>
                  <a:pt x="1054" y="1955"/>
                </a:lnTo>
                <a:lnTo>
                  <a:pt x="1054" y="1955"/>
                </a:lnTo>
                <a:lnTo>
                  <a:pt x="1049" y="1961"/>
                </a:lnTo>
                <a:lnTo>
                  <a:pt x="1042" y="1969"/>
                </a:lnTo>
                <a:lnTo>
                  <a:pt x="1037" y="1972"/>
                </a:lnTo>
                <a:lnTo>
                  <a:pt x="1033" y="1975"/>
                </a:lnTo>
                <a:lnTo>
                  <a:pt x="1027" y="1976"/>
                </a:lnTo>
                <a:lnTo>
                  <a:pt x="1022" y="1977"/>
                </a:lnTo>
                <a:lnTo>
                  <a:pt x="1022" y="1977"/>
                </a:lnTo>
                <a:lnTo>
                  <a:pt x="1018" y="1976"/>
                </a:lnTo>
                <a:lnTo>
                  <a:pt x="1013" y="1975"/>
                </a:lnTo>
                <a:lnTo>
                  <a:pt x="1008" y="1973"/>
                </a:lnTo>
                <a:lnTo>
                  <a:pt x="1005" y="1970"/>
                </a:lnTo>
                <a:lnTo>
                  <a:pt x="1002" y="1967"/>
                </a:lnTo>
                <a:lnTo>
                  <a:pt x="998" y="1964"/>
                </a:lnTo>
                <a:lnTo>
                  <a:pt x="997" y="1959"/>
                </a:lnTo>
                <a:lnTo>
                  <a:pt x="996" y="1955"/>
                </a:lnTo>
                <a:lnTo>
                  <a:pt x="996" y="1955"/>
                </a:lnTo>
                <a:lnTo>
                  <a:pt x="992" y="1955"/>
                </a:lnTo>
                <a:lnTo>
                  <a:pt x="989" y="1957"/>
                </a:lnTo>
                <a:lnTo>
                  <a:pt x="984" y="1961"/>
                </a:lnTo>
                <a:lnTo>
                  <a:pt x="978" y="1965"/>
                </a:lnTo>
                <a:lnTo>
                  <a:pt x="975" y="1966"/>
                </a:lnTo>
                <a:lnTo>
                  <a:pt x="970" y="1967"/>
                </a:lnTo>
                <a:lnTo>
                  <a:pt x="970" y="1967"/>
                </a:lnTo>
                <a:lnTo>
                  <a:pt x="967" y="1966"/>
                </a:lnTo>
                <a:lnTo>
                  <a:pt x="965" y="1964"/>
                </a:lnTo>
                <a:lnTo>
                  <a:pt x="962" y="1960"/>
                </a:lnTo>
                <a:lnTo>
                  <a:pt x="960" y="1955"/>
                </a:lnTo>
                <a:lnTo>
                  <a:pt x="957" y="1944"/>
                </a:lnTo>
                <a:lnTo>
                  <a:pt x="953" y="1931"/>
                </a:lnTo>
                <a:lnTo>
                  <a:pt x="949" y="1918"/>
                </a:lnTo>
                <a:lnTo>
                  <a:pt x="946" y="1912"/>
                </a:lnTo>
                <a:lnTo>
                  <a:pt x="943" y="1906"/>
                </a:lnTo>
                <a:lnTo>
                  <a:pt x="939" y="1901"/>
                </a:lnTo>
                <a:lnTo>
                  <a:pt x="935" y="1897"/>
                </a:lnTo>
                <a:lnTo>
                  <a:pt x="929" y="1895"/>
                </a:lnTo>
                <a:lnTo>
                  <a:pt x="922" y="1893"/>
                </a:lnTo>
                <a:lnTo>
                  <a:pt x="922" y="1893"/>
                </a:lnTo>
                <a:lnTo>
                  <a:pt x="906" y="1891"/>
                </a:lnTo>
                <a:lnTo>
                  <a:pt x="892" y="1890"/>
                </a:lnTo>
                <a:lnTo>
                  <a:pt x="878" y="1889"/>
                </a:lnTo>
                <a:lnTo>
                  <a:pt x="868" y="1886"/>
                </a:lnTo>
                <a:lnTo>
                  <a:pt x="862" y="1884"/>
                </a:lnTo>
                <a:lnTo>
                  <a:pt x="858" y="1882"/>
                </a:lnTo>
                <a:lnTo>
                  <a:pt x="854" y="1877"/>
                </a:lnTo>
                <a:lnTo>
                  <a:pt x="851" y="1873"/>
                </a:lnTo>
                <a:lnTo>
                  <a:pt x="848" y="1867"/>
                </a:lnTo>
                <a:lnTo>
                  <a:pt x="847" y="1860"/>
                </a:lnTo>
                <a:lnTo>
                  <a:pt x="846" y="1852"/>
                </a:lnTo>
                <a:lnTo>
                  <a:pt x="845" y="1842"/>
                </a:lnTo>
                <a:lnTo>
                  <a:pt x="845" y="1842"/>
                </a:lnTo>
                <a:lnTo>
                  <a:pt x="779" y="1786"/>
                </a:lnTo>
                <a:lnTo>
                  <a:pt x="779" y="1786"/>
                </a:lnTo>
                <a:lnTo>
                  <a:pt x="779" y="1786"/>
                </a:lnTo>
                <a:lnTo>
                  <a:pt x="762" y="1785"/>
                </a:lnTo>
                <a:lnTo>
                  <a:pt x="753" y="1785"/>
                </a:lnTo>
                <a:lnTo>
                  <a:pt x="745" y="1783"/>
                </a:lnTo>
                <a:lnTo>
                  <a:pt x="738" y="1781"/>
                </a:lnTo>
                <a:lnTo>
                  <a:pt x="731" y="1777"/>
                </a:lnTo>
                <a:lnTo>
                  <a:pt x="726" y="1771"/>
                </a:lnTo>
                <a:lnTo>
                  <a:pt x="725" y="1768"/>
                </a:lnTo>
                <a:lnTo>
                  <a:pt x="724" y="1764"/>
                </a:lnTo>
                <a:lnTo>
                  <a:pt x="724" y="1764"/>
                </a:lnTo>
                <a:lnTo>
                  <a:pt x="725" y="1750"/>
                </a:lnTo>
                <a:lnTo>
                  <a:pt x="728" y="1735"/>
                </a:lnTo>
                <a:lnTo>
                  <a:pt x="728" y="1728"/>
                </a:lnTo>
                <a:lnTo>
                  <a:pt x="725" y="1721"/>
                </a:lnTo>
                <a:lnTo>
                  <a:pt x="722" y="1716"/>
                </a:lnTo>
                <a:lnTo>
                  <a:pt x="720" y="1714"/>
                </a:lnTo>
                <a:lnTo>
                  <a:pt x="716" y="1713"/>
                </a:lnTo>
                <a:lnTo>
                  <a:pt x="716" y="1713"/>
                </a:lnTo>
                <a:lnTo>
                  <a:pt x="703" y="1710"/>
                </a:lnTo>
                <a:lnTo>
                  <a:pt x="687" y="1710"/>
                </a:lnTo>
                <a:lnTo>
                  <a:pt x="674" y="1710"/>
                </a:lnTo>
                <a:lnTo>
                  <a:pt x="667" y="1710"/>
                </a:lnTo>
                <a:lnTo>
                  <a:pt x="662" y="1709"/>
                </a:lnTo>
                <a:lnTo>
                  <a:pt x="662" y="1709"/>
                </a:lnTo>
                <a:lnTo>
                  <a:pt x="666" y="1709"/>
                </a:lnTo>
                <a:lnTo>
                  <a:pt x="662" y="1709"/>
                </a:lnTo>
                <a:lnTo>
                  <a:pt x="662" y="1709"/>
                </a:lnTo>
                <a:lnTo>
                  <a:pt x="662" y="1709"/>
                </a:lnTo>
                <a:lnTo>
                  <a:pt x="661" y="1706"/>
                </a:lnTo>
                <a:lnTo>
                  <a:pt x="661" y="1702"/>
                </a:lnTo>
                <a:lnTo>
                  <a:pt x="661" y="1694"/>
                </a:lnTo>
                <a:lnTo>
                  <a:pt x="662" y="1685"/>
                </a:lnTo>
                <a:lnTo>
                  <a:pt x="662" y="1676"/>
                </a:lnTo>
                <a:lnTo>
                  <a:pt x="662" y="1676"/>
                </a:lnTo>
                <a:lnTo>
                  <a:pt x="663" y="1659"/>
                </a:lnTo>
                <a:lnTo>
                  <a:pt x="666" y="1646"/>
                </a:lnTo>
                <a:lnTo>
                  <a:pt x="667" y="1643"/>
                </a:lnTo>
                <a:lnTo>
                  <a:pt x="669" y="1639"/>
                </a:lnTo>
                <a:lnTo>
                  <a:pt x="672" y="1636"/>
                </a:lnTo>
                <a:lnTo>
                  <a:pt x="675" y="1634"/>
                </a:lnTo>
                <a:lnTo>
                  <a:pt x="682" y="1631"/>
                </a:lnTo>
                <a:lnTo>
                  <a:pt x="690" y="1628"/>
                </a:lnTo>
                <a:lnTo>
                  <a:pt x="699" y="1624"/>
                </a:lnTo>
                <a:lnTo>
                  <a:pt x="709" y="1617"/>
                </a:lnTo>
                <a:lnTo>
                  <a:pt x="709" y="1617"/>
                </a:lnTo>
                <a:lnTo>
                  <a:pt x="713" y="1614"/>
                </a:lnTo>
                <a:lnTo>
                  <a:pt x="715" y="1610"/>
                </a:lnTo>
                <a:lnTo>
                  <a:pt x="715" y="1605"/>
                </a:lnTo>
                <a:lnTo>
                  <a:pt x="715" y="1600"/>
                </a:lnTo>
                <a:lnTo>
                  <a:pt x="714" y="1590"/>
                </a:lnTo>
                <a:lnTo>
                  <a:pt x="715" y="1585"/>
                </a:lnTo>
                <a:lnTo>
                  <a:pt x="716" y="1580"/>
                </a:lnTo>
                <a:lnTo>
                  <a:pt x="716" y="1580"/>
                </a:lnTo>
                <a:lnTo>
                  <a:pt x="738" y="1563"/>
                </a:lnTo>
                <a:lnTo>
                  <a:pt x="758" y="1549"/>
                </a:lnTo>
                <a:lnTo>
                  <a:pt x="767" y="1541"/>
                </a:lnTo>
                <a:lnTo>
                  <a:pt x="775" y="1533"/>
                </a:lnTo>
                <a:lnTo>
                  <a:pt x="783" y="1524"/>
                </a:lnTo>
                <a:lnTo>
                  <a:pt x="790" y="1515"/>
                </a:lnTo>
                <a:lnTo>
                  <a:pt x="790" y="1515"/>
                </a:lnTo>
                <a:lnTo>
                  <a:pt x="805" y="1495"/>
                </a:lnTo>
                <a:lnTo>
                  <a:pt x="820" y="1479"/>
                </a:lnTo>
                <a:lnTo>
                  <a:pt x="836" y="1464"/>
                </a:lnTo>
                <a:lnTo>
                  <a:pt x="853" y="1453"/>
                </a:lnTo>
                <a:lnTo>
                  <a:pt x="871" y="1442"/>
                </a:lnTo>
                <a:lnTo>
                  <a:pt x="892" y="1434"/>
                </a:lnTo>
                <a:lnTo>
                  <a:pt x="914" y="1426"/>
                </a:lnTo>
                <a:lnTo>
                  <a:pt x="937" y="1419"/>
                </a:lnTo>
                <a:lnTo>
                  <a:pt x="937" y="1419"/>
                </a:lnTo>
                <a:lnTo>
                  <a:pt x="944" y="1416"/>
                </a:lnTo>
                <a:lnTo>
                  <a:pt x="949" y="1410"/>
                </a:lnTo>
                <a:lnTo>
                  <a:pt x="959" y="1400"/>
                </a:lnTo>
                <a:lnTo>
                  <a:pt x="964" y="1394"/>
                </a:lnTo>
                <a:lnTo>
                  <a:pt x="969" y="1389"/>
                </a:lnTo>
                <a:lnTo>
                  <a:pt x="976" y="1387"/>
                </a:lnTo>
                <a:lnTo>
                  <a:pt x="984" y="1386"/>
                </a:lnTo>
                <a:lnTo>
                  <a:pt x="984" y="1386"/>
                </a:lnTo>
                <a:lnTo>
                  <a:pt x="991" y="1387"/>
                </a:lnTo>
                <a:lnTo>
                  <a:pt x="996" y="1391"/>
                </a:lnTo>
                <a:lnTo>
                  <a:pt x="1000" y="1395"/>
                </a:lnTo>
                <a:lnTo>
                  <a:pt x="1004" y="1402"/>
                </a:lnTo>
                <a:lnTo>
                  <a:pt x="1006" y="1410"/>
                </a:lnTo>
                <a:lnTo>
                  <a:pt x="1008" y="1419"/>
                </a:lnTo>
                <a:lnTo>
                  <a:pt x="1013" y="1439"/>
                </a:lnTo>
                <a:lnTo>
                  <a:pt x="1018" y="1458"/>
                </a:lnTo>
                <a:lnTo>
                  <a:pt x="1020" y="1468"/>
                </a:lnTo>
                <a:lnTo>
                  <a:pt x="1025" y="1476"/>
                </a:lnTo>
                <a:lnTo>
                  <a:pt x="1029" y="1483"/>
                </a:lnTo>
                <a:lnTo>
                  <a:pt x="1035" y="1488"/>
                </a:lnTo>
                <a:lnTo>
                  <a:pt x="1043" y="1492"/>
                </a:lnTo>
                <a:lnTo>
                  <a:pt x="1051" y="1493"/>
                </a:lnTo>
                <a:lnTo>
                  <a:pt x="1051" y="1493"/>
                </a:lnTo>
                <a:lnTo>
                  <a:pt x="1058" y="1492"/>
                </a:lnTo>
                <a:lnTo>
                  <a:pt x="1066" y="1488"/>
                </a:lnTo>
                <a:lnTo>
                  <a:pt x="1074" y="1484"/>
                </a:lnTo>
                <a:lnTo>
                  <a:pt x="1082" y="1479"/>
                </a:lnTo>
                <a:lnTo>
                  <a:pt x="1106" y="1460"/>
                </a:lnTo>
                <a:lnTo>
                  <a:pt x="1106" y="1460"/>
                </a:lnTo>
                <a:lnTo>
                  <a:pt x="1114" y="1455"/>
                </a:lnTo>
                <a:lnTo>
                  <a:pt x="1123" y="1453"/>
                </a:lnTo>
                <a:lnTo>
                  <a:pt x="1143" y="1449"/>
                </a:lnTo>
                <a:lnTo>
                  <a:pt x="1165" y="1447"/>
                </a:lnTo>
                <a:lnTo>
                  <a:pt x="1186" y="1445"/>
                </a:lnTo>
                <a:lnTo>
                  <a:pt x="1196" y="1442"/>
                </a:lnTo>
                <a:lnTo>
                  <a:pt x="1205" y="1440"/>
                </a:lnTo>
                <a:lnTo>
                  <a:pt x="1213" y="1437"/>
                </a:lnTo>
                <a:lnTo>
                  <a:pt x="1220" y="1432"/>
                </a:lnTo>
                <a:lnTo>
                  <a:pt x="1226" y="1425"/>
                </a:lnTo>
                <a:lnTo>
                  <a:pt x="1230" y="1418"/>
                </a:lnTo>
                <a:lnTo>
                  <a:pt x="1234" y="1408"/>
                </a:lnTo>
                <a:lnTo>
                  <a:pt x="1235" y="1396"/>
                </a:lnTo>
                <a:lnTo>
                  <a:pt x="1235" y="1396"/>
                </a:lnTo>
                <a:lnTo>
                  <a:pt x="1235" y="1361"/>
                </a:lnTo>
                <a:lnTo>
                  <a:pt x="1235" y="1361"/>
                </a:lnTo>
                <a:lnTo>
                  <a:pt x="1235" y="1346"/>
                </a:lnTo>
                <a:lnTo>
                  <a:pt x="1237" y="1332"/>
                </a:lnTo>
                <a:lnTo>
                  <a:pt x="1241" y="1319"/>
                </a:lnTo>
                <a:lnTo>
                  <a:pt x="1245" y="1308"/>
                </a:lnTo>
                <a:lnTo>
                  <a:pt x="1255" y="1285"/>
                </a:lnTo>
                <a:lnTo>
                  <a:pt x="1259" y="1273"/>
                </a:lnTo>
                <a:lnTo>
                  <a:pt x="1264" y="1260"/>
                </a:lnTo>
                <a:lnTo>
                  <a:pt x="1264" y="1260"/>
                </a:lnTo>
                <a:lnTo>
                  <a:pt x="1266" y="1250"/>
                </a:lnTo>
                <a:lnTo>
                  <a:pt x="1267" y="1240"/>
                </a:lnTo>
                <a:lnTo>
                  <a:pt x="1270" y="1219"/>
                </a:lnTo>
                <a:lnTo>
                  <a:pt x="1271" y="1210"/>
                </a:lnTo>
                <a:lnTo>
                  <a:pt x="1273" y="1201"/>
                </a:lnTo>
                <a:lnTo>
                  <a:pt x="1277" y="1193"/>
                </a:lnTo>
                <a:lnTo>
                  <a:pt x="1283" y="1183"/>
                </a:lnTo>
                <a:lnTo>
                  <a:pt x="1283" y="1183"/>
                </a:lnTo>
                <a:lnTo>
                  <a:pt x="1296" y="1194"/>
                </a:lnTo>
                <a:lnTo>
                  <a:pt x="1303" y="1197"/>
                </a:lnTo>
                <a:lnTo>
                  <a:pt x="1308" y="1198"/>
                </a:lnTo>
                <a:lnTo>
                  <a:pt x="1312" y="1198"/>
                </a:lnTo>
                <a:lnTo>
                  <a:pt x="1312" y="1198"/>
                </a:lnTo>
                <a:lnTo>
                  <a:pt x="1320" y="1198"/>
                </a:lnTo>
                <a:lnTo>
                  <a:pt x="1326" y="1196"/>
                </a:lnTo>
                <a:lnTo>
                  <a:pt x="1339" y="1189"/>
                </a:lnTo>
                <a:lnTo>
                  <a:pt x="1344" y="1186"/>
                </a:lnTo>
                <a:lnTo>
                  <a:pt x="1351" y="1182"/>
                </a:lnTo>
                <a:lnTo>
                  <a:pt x="1358" y="1180"/>
                </a:lnTo>
                <a:lnTo>
                  <a:pt x="1367" y="1180"/>
                </a:lnTo>
                <a:lnTo>
                  <a:pt x="1367" y="1180"/>
                </a:lnTo>
                <a:lnTo>
                  <a:pt x="1357" y="1134"/>
                </a:lnTo>
                <a:lnTo>
                  <a:pt x="1347" y="1086"/>
                </a:lnTo>
                <a:lnTo>
                  <a:pt x="1338" y="1034"/>
                </a:lnTo>
                <a:lnTo>
                  <a:pt x="1327" y="982"/>
                </a:lnTo>
                <a:lnTo>
                  <a:pt x="1327" y="982"/>
                </a:lnTo>
                <a:lnTo>
                  <a:pt x="1326" y="975"/>
                </a:lnTo>
                <a:lnTo>
                  <a:pt x="1327" y="969"/>
                </a:lnTo>
                <a:lnTo>
                  <a:pt x="1331" y="962"/>
                </a:lnTo>
                <a:lnTo>
                  <a:pt x="1335" y="956"/>
                </a:lnTo>
                <a:lnTo>
                  <a:pt x="1349" y="942"/>
                </a:lnTo>
                <a:lnTo>
                  <a:pt x="1365" y="928"/>
                </a:lnTo>
                <a:lnTo>
                  <a:pt x="1381" y="912"/>
                </a:lnTo>
                <a:lnTo>
                  <a:pt x="1389" y="904"/>
                </a:lnTo>
                <a:lnTo>
                  <a:pt x="1396" y="895"/>
                </a:lnTo>
                <a:lnTo>
                  <a:pt x="1402" y="886"/>
                </a:lnTo>
                <a:lnTo>
                  <a:pt x="1407" y="876"/>
                </a:lnTo>
                <a:lnTo>
                  <a:pt x="1410" y="867"/>
                </a:lnTo>
                <a:lnTo>
                  <a:pt x="1411" y="857"/>
                </a:lnTo>
                <a:lnTo>
                  <a:pt x="1411" y="857"/>
                </a:lnTo>
                <a:lnTo>
                  <a:pt x="1411" y="851"/>
                </a:lnTo>
                <a:lnTo>
                  <a:pt x="1410" y="844"/>
                </a:lnTo>
                <a:lnTo>
                  <a:pt x="1408" y="837"/>
                </a:lnTo>
                <a:lnTo>
                  <a:pt x="1405" y="831"/>
                </a:lnTo>
                <a:lnTo>
                  <a:pt x="1402" y="824"/>
                </a:lnTo>
                <a:lnTo>
                  <a:pt x="1398" y="819"/>
                </a:lnTo>
                <a:lnTo>
                  <a:pt x="1393" y="813"/>
                </a:lnTo>
                <a:lnTo>
                  <a:pt x="1387" y="807"/>
                </a:lnTo>
                <a:lnTo>
                  <a:pt x="1380" y="802"/>
                </a:lnTo>
                <a:lnTo>
                  <a:pt x="1373" y="798"/>
                </a:lnTo>
                <a:lnTo>
                  <a:pt x="1365" y="794"/>
                </a:lnTo>
                <a:lnTo>
                  <a:pt x="1355" y="791"/>
                </a:lnTo>
                <a:lnTo>
                  <a:pt x="1346" y="790"/>
                </a:lnTo>
                <a:lnTo>
                  <a:pt x="1334" y="789"/>
                </a:lnTo>
                <a:lnTo>
                  <a:pt x="1321" y="789"/>
                </a:lnTo>
                <a:lnTo>
                  <a:pt x="1309" y="791"/>
                </a:lnTo>
                <a:lnTo>
                  <a:pt x="1309" y="791"/>
                </a:lnTo>
                <a:lnTo>
                  <a:pt x="1287" y="793"/>
                </a:lnTo>
                <a:lnTo>
                  <a:pt x="1266" y="796"/>
                </a:lnTo>
                <a:lnTo>
                  <a:pt x="1245" y="797"/>
                </a:lnTo>
                <a:lnTo>
                  <a:pt x="1227" y="797"/>
                </a:lnTo>
                <a:lnTo>
                  <a:pt x="1191" y="796"/>
                </a:lnTo>
                <a:lnTo>
                  <a:pt x="1174" y="796"/>
                </a:lnTo>
                <a:lnTo>
                  <a:pt x="1158" y="797"/>
                </a:lnTo>
                <a:lnTo>
                  <a:pt x="1143" y="800"/>
                </a:lnTo>
                <a:lnTo>
                  <a:pt x="1128" y="804"/>
                </a:lnTo>
                <a:lnTo>
                  <a:pt x="1114" y="811"/>
                </a:lnTo>
                <a:lnTo>
                  <a:pt x="1102" y="819"/>
                </a:lnTo>
                <a:lnTo>
                  <a:pt x="1089" y="830"/>
                </a:lnTo>
                <a:lnTo>
                  <a:pt x="1076" y="845"/>
                </a:lnTo>
                <a:lnTo>
                  <a:pt x="1066" y="863"/>
                </a:lnTo>
                <a:lnTo>
                  <a:pt x="1054" y="886"/>
                </a:lnTo>
                <a:lnTo>
                  <a:pt x="1054" y="886"/>
                </a:lnTo>
                <a:lnTo>
                  <a:pt x="1046" y="895"/>
                </a:lnTo>
                <a:lnTo>
                  <a:pt x="1037" y="901"/>
                </a:lnTo>
                <a:lnTo>
                  <a:pt x="1029" y="905"/>
                </a:lnTo>
                <a:lnTo>
                  <a:pt x="1020" y="907"/>
                </a:lnTo>
                <a:lnTo>
                  <a:pt x="1012" y="908"/>
                </a:lnTo>
                <a:lnTo>
                  <a:pt x="1004" y="907"/>
                </a:lnTo>
                <a:lnTo>
                  <a:pt x="997" y="905"/>
                </a:lnTo>
                <a:lnTo>
                  <a:pt x="990" y="901"/>
                </a:lnTo>
                <a:lnTo>
                  <a:pt x="984" y="898"/>
                </a:lnTo>
                <a:lnTo>
                  <a:pt x="981" y="892"/>
                </a:lnTo>
                <a:lnTo>
                  <a:pt x="977" y="888"/>
                </a:lnTo>
                <a:lnTo>
                  <a:pt x="976" y="881"/>
                </a:lnTo>
                <a:lnTo>
                  <a:pt x="976" y="875"/>
                </a:lnTo>
                <a:lnTo>
                  <a:pt x="978" y="869"/>
                </a:lnTo>
                <a:lnTo>
                  <a:pt x="983" y="862"/>
                </a:lnTo>
                <a:lnTo>
                  <a:pt x="989" y="857"/>
                </a:lnTo>
                <a:lnTo>
                  <a:pt x="989" y="857"/>
                </a:lnTo>
                <a:lnTo>
                  <a:pt x="997" y="851"/>
                </a:lnTo>
                <a:lnTo>
                  <a:pt x="1005" y="844"/>
                </a:lnTo>
                <a:lnTo>
                  <a:pt x="1021" y="834"/>
                </a:lnTo>
                <a:lnTo>
                  <a:pt x="1036" y="823"/>
                </a:lnTo>
                <a:lnTo>
                  <a:pt x="1050" y="813"/>
                </a:lnTo>
                <a:lnTo>
                  <a:pt x="1057" y="807"/>
                </a:lnTo>
                <a:lnTo>
                  <a:pt x="1061" y="800"/>
                </a:lnTo>
                <a:lnTo>
                  <a:pt x="1067" y="793"/>
                </a:lnTo>
                <a:lnTo>
                  <a:pt x="1071" y="785"/>
                </a:lnTo>
                <a:lnTo>
                  <a:pt x="1073" y="776"/>
                </a:lnTo>
                <a:lnTo>
                  <a:pt x="1074" y="765"/>
                </a:lnTo>
                <a:lnTo>
                  <a:pt x="1074" y="753"/>
                </a:lnTo>
                <a:lnTo>
                  <a:pt x="1073" y="739"/>
                </a:lnTo>
                <a:lnTo>
                  <a:pt x="1073" y="739"/>
                </a:lnTo>
                <a:lnTo>
                  <a:pt x="1071" y="722"/>
                </a:lnTo>
                <a:lnTo>
                  <a:pt x="1067" y="707"/>
                </a:lnTo>
                <a:lnTo>
                  <a:pt x="1064" y="693"/>
                </a:lnTo>
                <a:lnTo>
                  <a:pt x="1060" y="681"/>
                </a:lnTo>
                <a:lnTo>
                  <a:pt x="1056" y="669"/>
                </a:lnTo>
                <a:lnTo>
                  <a:pt x="1050" y="660"/>
                </a:lnTo>
                <a:lnTo>
                  <a:pt x="1044" y="651"/>
                </a:lnTo>
                <a:lnTo>
                  <a:pt x="1038" y="644"/>
                </a:lnTo>
                <a:lnTo>
                  <a:pt x="1033" y="637"/>
                </a:lnTo>
                <a:lnTo>
                  <a:pt x="1026" y="631"/>
                </a:lnTo>
                <a:lnTo>
                  <a:pt x="1019" y="626"/>
                </a:lnTo>
                <a:lnTo>
                  <a:pt x="1012" y="623"/>
                </a:lnTo>
                <a:lnTo>
                  <a:pt x="997" y="616"/>
                </a:lnTo>
                <a:lnTo>
                  <a:pt x="982" y="613"/>
                </a:lnTo>
                <a:lnTo>
                  <a:pt x="966" y="610"/>
                </a:lnTo>
                <a:lnTo>
                  <a:pt x="951" y="608"/>
                </a:lnTo>
                <a:lnTo>
                  <a:pt x="936" y="607"/>
                </a:lnTo>
                <a:lnTo>
                  <a:pt x="921" y="605"/>
                </a:lnTo>
                <a:lnTo>
                  <a:pt x="908" y="600"/>
                </a:lnTo>
                <a:lnTo>
                  <a:pt x="903" y="598"/>
                </a:lnTo>
                <a:lnTo>
                  <a:pt x="897" y="594"/>
                </a:lnTo>
                <a:lnTo>
                  <a:pt x="891" y="591"/>
                </a:lnTo>
                <a:lnTo>
                  <a:pt x="886" y="586"/>
                </a:lnTo>
                <a:lnTo>
                  <a:pt x="882" y="580"/>
                </a:lnTo>
                <a:lnTo>
                  <a:pt x="878" y="575"/>
                </a:lnTo>
                <a:lnTo>
                  <a:pt x="878" y="575"/>
                </a:lnTo>
                <a:lnTo>
                  <a:pt x="878" y="567"/>
                </a:lnTo>
                <a:lnTo>
                  <a:pt x="880" y="560"/>
                </a:lnTo>
                <a:lnTo>
                  <a:pt x="881" y="554"/>
                </a:lnTo>
                <a:lnTo>
                  <a:pt x="884" y="549"/>
                </a:lnTo>
                <a:lnTo>
                  <a:pt x="888" y="546"/>
                </a:lnTo>
                <a:lnTo>
                  <a:pt x="891" y="542"/>
                </a:lnTo>
                <a:lnTo>
                  <a:pt x="897" y="540"/>
                </a:lnTo>
                <a:lnTo>
                  <a:pt x="901" y="539"/>
                </a:lnTo>
                <a:lnTo>
                  <a:pt x="914" y="537"/>
                </a:lnTo>
                <a:lnTo>
                  <a:pt x="928" y="537"/>
                </a:lnTo>
                <a:lnTo>
                  <a:pt x="958" y="537"/>
                </a:lnTo>
                <a:lnTo>
                  <a:pt x="972" y="537"/>
                </a:lnTo>
                <a:lnTo>
                  <a:pt x="985" y="536"/>
                </a:lnTo>
                <a:lnTo>
                  <a:pt x="998" y="532"/>
                </a:lnTo>
                <a:lnTo>
                  <a:pt x="1003" y="529"/>
                </a:lnTo>
                <a:lnTo>
                  <a:pt x="1007" y="525"/>
                </a:lnTo>
                <a:lnTo>
                  <a:pt x="1012" y="522"/>
                </a:lnTo>
                <a:lnTo>
                  <a:pt x="1015" y="517"/>
                </a:lnTo>
                <a:lnTo>
                  <a:pt x="1018" y="510"/>
                </a:lnTo>
                <a:lnTo>
                  <a:pt x="1019" y="503"/>
                </a:lnTo>
                <a:lnTo>
                  <a:pt x="1019" y="495"/>
                </a:lnTo>
                <a:lnTo>
                  <a:pt x="1019" y="486"/>
                </a:lnTo>
                <a:lnTo>
                  <a:pt x="1018" y="476"/>
                </a:lnTo>
                <a:lnTo>
                  <a:pt x="1014" y="463"/>
                </a:lnTo>
                <a:lnTo>
                  <a:pt x="1014" y="463"/>
                </a:lnTo>
                <a:lnTo>
                  <a:pt x="1013" y="449"/>
                </a:lnTo>
                <a:lnTo>
                  <a:pt x="1013" y="438"/>
                </a:lnTo>
                <a:lnTo>
                  <a:pt x="1013" y="427"/>
                </a:lnTo>
                <a:lnTo>
                  <a:pt x="1015" y="419"/>
                </a:lnTo>
                <a:lnTo>
                  <a:pt x="1018" y="412"/>
                </a:lnTo>
                <a:lnTo>
                  <a:pt x="1020" y="408"/>
                </a:lnTo>
                <a:lnTo>
                  <a:pt x="1025" y="403"/>
                </a:lnTo>
                <a:lnTo>
                  <a:pt x="1028" y="401"/>
                </a:lnTo>
                <a:lnTo>
                  <a:pt x="1033" y="399"/>
                </a:lnTo>
                <a:lnTo>
                  <a:pt x="1038" y="399"/>
                </a:lnTo>
                <a:lnTo>
                  <a:pt x="1049" y="399"/>
                </a:lnTo>
                <a:lnTo>
                  <a:pt x="1069" y="401"/>
                </a:lnTo>
                <a:lnTo>
                  <a:pt x="1069" y="401"/>
                </a:lnTo>
                <a:lnTo>
                  <a:pt x="1090" y="403"/>
                </a:lnTo>
                <a:lnTo>
                  <a:pt x="1106" y="403"/>
                </a:lnTo>
                <a:lnTo>
                  <a:pt x="1120" y="402"/>
                </a:lnTo>
                <a:lnTo>
                  <a:pt x="1130" y="397"/>
                </a:lnTo>
                <a:lnTo>
                  <a:pt x="1138" y="393"/>
                </a:lnTo>
                <a:lnTo>
                  <a:pt x="1144" y="387"/>
                </a:lnTo>
                <a:lnTo>
                  <a:pt x="1150" y="380"/>
                </a:lnTo>
                <a:lnTo>
                  <a:pt x="1152" y="372"/>
                </a:lnTo>
                <a:lnTo>
                  <a:pt x="1158" y="356"/>
                </a:lnTo>
                <a:lnTo>
                  <a:pt x="1163" y="342"/>
                </a:lnTo>
                <a:lnTo>
                  <a:pt x="1166" y="335"/>
                </a:lnTo>
                <a:lnTo>
                  <a:pt x="1170" y="331"/>
                </a:lnTo>
                <a:lnTo>
                  <a:pt x="1175" y="326"/>
                </a:lnTo>
                <a:lnTo>
                  <a:pt x="1183" y="324"/>
                </a:lnTo>
                <a:lnTo>
                  <a:pt x="1183" y="324"/>
                </a:lnTo>
                <a:lnTo>
                  <a:pt x="1197" y="321"/>
                </a:lnTo>
                <a:lnTo>
                  <a:pt x="1209" y="317"/>
                </a:lnTo>
                <a:lnTo>
                  <a:pt x="1220" y="310"/>
                </a:lnTo>
                <a:lnTo>
                  <a:pt x="1229" y="303"/>
                </a:lnTo>
                <a:lnTo>
                  <a:pt x="1239" y="294"/>
                </a:lnTo>
                <a:lnTo>
                  <a:pt x="1245" y="285"/>
                </a:lnTo>
                <a:lnTo>
                  <a:pt x="1252" y="274"/>
                </a:lnTo>
                <a:lnTo>
                  <a:pt x="1258" y="264"/>
                </a:lnTo>
                <a:lnTo>
                  <a:pt x="1262" y="254"/>
                </a:lnTo>
                <a:lnTo>
                  <a:pt x="1265" y="244"/>
                </a:lnTo>
                <a:lnTo>
                  <a:pt x="1266" y="234"/>
                </a:lnTo>
                <a:lnTo>
                  <a:pt x="1267" y="225"/>
                </a:lnTo>
                <a:lnTo>
                  <a:pt x="1266" y="217"/>
                </a:lnTo>
                <a:lnTo>
                  <a:pt x="1264" y="209"/>
                </a:lnTo>
                <a:lnTo>
                  <a:pt x="1262" y="203"/>
                </a:lnTo>
                <a:lnTo>
                  <a:pt x="1257" y="200"/>
                </a:lnTo>
                <a:lnTo>
                  <a:pt x="1257" y="200"/>
                </a:lnTo>
                <a:lnTo>
                  <a:pt x="1237" y="208"/>
                </a:lnTo>
                <a:lnTo>
                  <a:pt x="1229" y="211"/>
                </a:lnTo>
                <a:lnTo>
                  <a:pt x="1221" y="212"/>
                </a:lnTo>
                <a:lnTo>
                  <a:pt x="1214" y="213"/>
                </a:lnTo>
                <a:lnTo>
                  <a:pt x="1207" y="213"/>
                </a:lnTo>
                <a:lnTo>
                  <a:pt x="1202" y="213"/>
                </a:lnTo>
                <a:lnTo>
                  <a:pt x="1196" y="212"/>
                </a:lnTo>
                <a:lnTo>
                  <a:pt x="1186" y="208"/>
                </a:lnTo>
                <a:lnTo>
                  <a:pt x="1178" y="203"/>
                </a:lnTo>
                <a:lnTo>
                  <a:pt x="1170" y="196"/>
                </a:lnTo>
                <a:lnTo>
                  <a:pt x="1163" y="188"/>
                </a:lnTo>
                <a:lnTo>
                  <a:pt x="1155" y="181"/>
                </a:lnTo>
                <a:lnTo>
                  <a:pt x="1148" y="174"/>
                </a:lnTo>
                <a:lnTo>
                  <a:pt x="1140" y="168"/>
                </a:lnTo>
                <a:lnTo>
                  <a:pt x="1129" y="164"/>
                </a:lnTo>
                <a:lnTo>
                  <a:pt x="1125" y="163"/>
                </a:lnTo>
                <a:lnTo>
                  <a:pt x="1119" y="163"/>
                </a:lnTo>
                <a:lnTo>
                  <a:pt x="1113" y="163"/>
                </a:lnTo>
                <a:lnTo>
                  <a:pt x="1106" y="164"/>
                </a:lnTo>
                <a:lnTo>
                  <a:pt x="1098" y="166"/>
                </a:lnTo>
                <a:lnTo>
                  <a:pt x="1091" y="168"/>
                </a:lnTo>
                <a:lnTo>
                  <a:pt x="1073" y="178"/>
                </a:lnTo>
                <a:lnTo>
                  <a:pt x="1073" y="178"/>
                </a:lnTo>
                <a:lnTo>
                  <a:pt x="1065" y="181"/>
                </a:lnTo>
                <a:lnTo>
                  <a:pt x="1062" y="181"/>
                </a:lnTo>
                <a:lnTo>
                  <a:pt x="1061" y="181"/>
                </a:lnTo>
                <a:lnTo>
                  <a:pt x="1060" y="180"/>
                </a:lnTo>
                <a:lnTo>
                  <a:pt x="1060" y="179"/>
                </a:lnTo>
                <a:lnTo>
                  <a:pt x="1062" y="173"/>
                </a:lnTo>
                <a:lnTo>
                  <a:pt x="1072" y="155"/>
                </a:lnTo>
                <a:lnTo>
                  <a:pt x="1077" y="143"/>
                </a:lnTo>
                <a:lnTo>
                  <a:pt x="1082" y="129"/>
                </a:lnTo>
                <a:lnTo>
                  <a:pt x="1087" y="114"/>
                </a:lnTo>
                <a:lnTo>
                  <a:pt x="1088" y="98"/>
                </a:lnTo>
                <a:lnTo>
                  <a:pt x="1089" y="90"/>
                </a:lnTo>
                <a:lnTo>
                  <a:pt x="1088" y="82"/>
                </a:lnTo>
                <a:lnTo>
                  <a:pt x="1087" y="73"/>
                </a:lnTo>
                <a:lnTo>
                  <a:pt x="1084" y="65"/>
                </a:lnTo>
                <a:lnTo>
                  <a:pt x="1081" y="57"/>
                </a:lnTo>
                <a:lnTo>
                  <a:pt x="1076" y="49"/>
                </a:lnTo>
                <a:lnTo>
                  <a:pt x="1071" y="40"/>
                </a:lnTo>
                <a:lnTo>
                  <a:pt x="1064" y="32"/>
                </a:lnTo>
                <a:lnTo>
                  <a:pt x="1056" y="23"/>
                </a:lnTo>
                <a:lnTo>
                  <a:pt x="1046" y="15"/>
                </a:lnTo>
                <a:lnTo>
                  <a:pt x="1035" y="9"/>
                </a:lnTo>
                <a:lnTo>
                  <a:pt x="1022" y="0"/>
                </a:lnTo>
                <a:lnTo>
                  <a:pt x="1022" y="0"/>
                </a:lnTo>
                <a:lnTo>
                  <a:pt x="988" y="20"/>
                </a:lnTo>
                <a:lnTo>
                  <a:pt x="955" y="38"/>
                </a:lnTo>
                <a:lnTo>
                  <a:pt x="939" y="46"/>
                </a:lnTo>
                <a:lnTo>
                  <a:pt x="924" y="56"/>
                </a:lnTo>
                <a:lnTo>
                  <a:pt x="911" y="66"/>
                </a:lnTo>
                <a:lnTo>
                  <a:pt x="897" y="76"/>
                </a:lnTo>
                <a:lnTo>
                  <a:pt x="885" y="88"/>
                </a:lnTo>
                <a:lnTo>
                  <a:pt x="874" y="101"/>
                </a:lnTo>
                <a:lnTo>
                  <a:pt x="865" y="116"/>
                </a:lnTo>
                <a:lnTo>
                  <a:pt x="855" y="132"/>
                </a:lnTo>
                <a:lnTo>
                  <a:pt x="848" y="149"/>
                </a:lnTo>
                <a:lnTo>
                  <a:pt x="844" y="170"/>
                </a:lnTo>
                <a:lnTo>
                  <a:pt x="840" y="193"/>
                </a:lnTo>
                <a:lnTo>
                  <a:pt x="838" y="218"/>
                </a:lnTo>
                <a:lnTo>
                  <a:pt x="838" y="218"/>
                </a:lnTo>
                <a:lnTo>
                  <a:pt x="848" y="216"/>
                </a:lnTo>
                <a:lnTo>
                  <a:pt x="860" y="213"/>
                </a:lnTo>
                <a:lnTo>
                  <a:pt x="875" y="212"/>
                </a:lnTo>
                <a:lnTo>
                  <a:pt x="892" y="212"/>
                </a:lnTo>
                <a:lnTo>
                  <a:pt x="909" y="214"/>
                </a:lnTo>
                <a:lnTo>
                  <a:pt x="919" y="217"/>
                </a:lnTo>
                <a:lnTo>
                  <a:pt x="928" y="219"/>
                </a:lnTo>
                <a:lnTo>
                  <a:pt x="936" y="224"/>
                </a:lnTo>
                <a:lnTo>
                  <a:pt x="945" y="228"/>
                </a:lnTo>
                <a:lnTo>
                  <a:pt x="945" y="228"/>
                </a:lnTo>
                <a:lnTo>
                  <a:pt x="943" y="261"/>
                </a:lnTo>
                <a:lnTo>
                  <a:pt x="941" y="271"/>
                </a:lnTo>
                <a:lnTo>
                  <a:pt x="939" y="275"/>
                </a:lnTo>
                <a:lnTo>
                  <a:pt x="937" y="279"/>
                </a:lnTo>
                <a:lnTo>
                  <a:pt x="934" y="282"/>
                </a:lnTo>
                <a:lnTo>
                  <a:pt x="930" y="285"/>
                </a:lnTo>
                <a:lnTo>
                  <a:pt x="927" y="287"/>
                </a:lnTo>
                <a:lnTo>
                  <a:pt x="921" y="288"/>
                </a:lnTo>
                <a:lnTo>
                  <a:pt x="907" y="290"/>
                </a:lnTo>
                <a:lnTo>
                  <a:pt x="890" y="290"/>
                </a:lnTo>
                <a:lnTo>
                  <a:pt x="890" y="290"/>
                </a:lnTo>
                <a:lnTo>
                  <a:pt x="883" y="290"/>
                </a:lnTo>
                <a:lnTo>
                  <a:pt x="877" y="288"/>
                </a:lnTo>
                <a:lnTo>
                  <a:pt x="863" y="282"/>
                </a:lnTo>
                <a:lnTo>
                  <a:pt x="850" y="275"/>
                </a:lnTo>
                <a:lnTo>
                  <a:pt x="832" y="269"/>
                </a:lnTo>
                <a:lnTo>
                  <a:pt x="822" y="265"/>
                </a:lnTo>
                <a:lnTo>
                  <a:pt x="812" y="263"/>
                </a:lnTo>
                <a:lnTo>
                  <a:pt x="800" y="262"/>
                </a:lnTo>
                <a:lnTo>
                  <a:pt x="787" y="262"/>
                </a:lnTo>
                <a:lnTo>
                  <a:pt x="774" y="263"/>
                </a:lnTo>
                <a:lnTo>
                  <a:pt x="759" y="265"/>
                </a:lnTo>
                <a:lnTo>
                  <a:pt x="743" y="270"/>
                </a:lnTo>
                <a:lnTo>
                  <a:pt x="724" y="275"/>
                </a:lnTo>
                <a:lnTo>
                  <a:pt x="724" y="275"/>
                </a:lnTo>
                <a:lnTo>
                  <a:pt x="700" y="301"/>
                </a:lnTo>
                <a:lnTo>
                  <a:pt x="676" y="324"/>
                </a:lnTo>
                <a:lnTo>
                  <a:pt x="649" y="345"/>
                </a:lnTo>
                <a:lnTo>
                  <a:pt x="623" y="365"/>
                </a:lnTo>
                <a:lnTo>
                  <a:pt x="595" y="384"/>
                </a:lnTo>
                <a:lnTo>
                  <a:pt x="569" y="402"/>
                </a:lnTo>
                <a:lnTo>
                  <a:pt x="514" y="438"/>
                </a:lnTo>
                <a:lnTo>
                  <a:pt x="486" y="456"/>
                </a:lnTo>
                <a:lnTo>
                  <a:pt x="460" y="475"/>
                </a:lnTo>
                <a:lnTo>
                  <a:pt x="433" y="494"/>
                </a:lnTo>
                <a:lnTo>
                  <a:pt x="408" y="514"/>
                </a:lnTo>
                <a:lnTo>
                  <a:pt x="382" y="536"/>
                </a:lnTo>
                <a:lnTo>
                  <a:pt x="359" y="559"/>
                </a:lnTo>
                <a:lnTo>
                  <a:pt x="338" y="584"/>
                </a:lnTo>
                <a:lnTo>
                  <a:pt x="317" y="610"/>
                </a:lnTo>
                <a:lnTo>
                  <a:pt x="317" y="610"/>
                </a:lnTo>
                <a:lnTo>
                  <a:pt x="305" y="629"/>
                </a:lnTo>
                <a:lnTo>
                  <a:pt x="295" y="648"/>
                </a:lnTo>
                <a:lnTo>
                  <a:pt x="274" y="692"/>
                </a:lnTo>
                <a:lnTo>
                  <a:pt x="252" y="738"/>
                </a:lnTo>
                <a:lnTo>
                  <a:pt x="241" y="759"/>
                </a:lnTo>
                <a:lnTo>
                  <a:pt x="228" y="779"/>
                </a:lnTo>
                <a:lnTo>
                  <a:pt x="228" y="779"/>
                </a:lnTo>
                <a:lnTo>
                  <a:pt x="209" y="808"/>
                </a:lnTo>
                <a:lnTo>
                  <a:pt x="191" y="835"/>
                </a:lnTo>
                <a:lnTo>
                  <a:pt x="162" y="880"/>
                </a:lnTo>
                <a:lnTo>
                  <a:pt x="151" y="898"/>
                </a:lnTo>
                <a:lnTo>
                  <a:pt x="145" y="912"/>
                </a:lnTo>
                <a:lnTo>
                  <a:pt x="144" y="918"/>
                </a:lnTo>
                <a:lnTo>
                  <a:pt x="144" y="923"/>
                </a:lnTo>
                <a:lnTo>
                  <a:pt x="145" y="927"/>
                </a:lnTo>
                <a:lnTo>
                  <a:pt x="148" y="930"/>
                </a:lnTo>
                <a:lnTo>
                  <a:pt x="148" y="930"/>
                </a:lnTo>
                <a:lnTo>
                  <a:pt x="167" y="944"/>
                </a:lnTo>
                <a:lnTo>
                  <a:pt x="182" y="952"/>
                </a:lnTo>
                <a:lnTo>
                  <a:pt x="195" y="957"/>
                </a:lnTo>
                <a:lnTo>
                  <a:pt x="206" y="959"/>
                </a:lnTo>
                <a:lnTo>
                  <a:pt x="217" y="959"/>
                </a:lnTo>
                <a:lnTo>
                  <a:pt x="228" y="958"/>
                </a:lnTo>
                <a:lnTo>
                  <a:pt x="243" y="958"/>
                </a:lnTo>
                <a:lnTo>
                  <a:pt x="262" y="960"/>
                </a:lnTo>
                <a:lnTo>
                  <a:pt x="262" y="960"/>
                </a:lnTo>
                <a:lnTo>
                  <a:pt x="270" y="957"/>
                </a:lnTo>
                <a:lnTo>
                  <a:pt x="278" y="954"/>
                </a:lnTo>
                <a:lnTo>
                  <a:pt x="285" y="956"/>
                </a:lnTo>
                <a:lnTo>
                  <a:pt x="290" y="958"/>
                </a:lnTo>
                <a:lnTo>
                  <a:pt x="295" y="961"/>
                </a:lnTo>
                <a:lnTo>
                  <a:pt x="300" y="966"/>
                </a:lnTo>
                <a:lnTo>
                  <a:pt x="304" y="972"/>
                </a:lnTo>
                <a:lnTo>
                  <a:pt x="306" y="977"/>
                </a:lnTo>
                <a:lnTo>
                  <a:pt x="311" y="990"/>
                </a:lnTo>
                <a:lnTo>
                  <a:pt x="315" y="1003"/>
                </a:lnTo>
                <a:lnTo>
                  <a:pt x="317" y="1014"/>
                </a:lnTo>
                <a:lnTo>
                  <a:pt x="317" y="1014"/>
                </a:lnTo>
                <a:lnTo>
                  <a:pt x="312" y="1019"/>
                </a:lnTo>
                <a:lnTo>
                  <a:pt x="310" y="1022"/>
                </a:lnTo>
                <a:lnTo>
                  <a:pt x="308" y="1031"/>
                </a:lnTo>
                <a:lnTo>
                  <a:pt x="305" y="1041"/>
                </a:lnTo>
                <a:lnTo>
                  <a:pt x="302" y="1050"/>
                </a:lnTo>
                <a:lnTo>
                  <a:pt x="300" y="1052"/>
                </a:lnTo>
                <a:lnTo>
                  <a:pt x="296" y="1056"/>
                </a:lnTo>
                <a:lnTo>
                  <a:pt x="292" y="1057"/>
                </a:lnTo>
                <a:lnTo>
                  <a:pt x="286" y="1058"/>
                </a:lnTo>
                <a:lnTo>
                  <a:pt x="278" y="1058"/>
                </a:lnTo>
                <a:lnTo>
                  <a:pt x="269" y="1056"/>
                </a:lnTo>
                <a:lnTo>
                  <a:pt x="257" y="1052"/>
                </a:lnTo>
                <a:lnTo>
                  <a:pt x="243" y="1048"/>
                </a:lnTo>
                <a:lnTo>
                  <a:pt x="243" y="1048"/>
                </a:lnTo>
                <a:lnTo>
                  <a:pt x="237" y="1057"/>
                </a:lnTo>
                <a:lnTo>
                  <a:pt x="232" y="1064"/>
                </a:lnTo>
                <a:lnTo>
                  <a:pt x="225" y="1069"/>
                </a:lnTo>
                <a:lnTo>
                  <a:pt x="219" y="1073"/>
                </a:lnTo>
                <a:lnTo>
                  <a:pt x="212" y="1076"/>
                </a:lnTo>
                <a:lnTo>
                  <a:pt x="206" y="1079"/>
                </a:lnTo>
                <a:lnTo>
                  <a:pt x="199" y="1081"/>
                </a:lnTo>
                <a:lnTo>
                  <a:pt x="193" y="1081"/>
                </a:lnTo>
                <a:lnTo>
                  <a:pt x="185" y="1081"/>
                </a:lnTo>
                <a:lnTo>
                  <a:pt x="178" y="1079"/>
                </a:lnTo>
                <a:lnTo>
                  <a:pt x="163" y="1074"/>
                </a:lnTo>
                <a:lnTo>
                  <a:pt x="148" y="1067"/>
                </a:lnTo>
                <a:lnTo>
                  <a:pt x="133" y="1059"/>
                </a:lnTo>
                <a:lnTo>
                  <a:pt x="133" y="1059"/>
                </a:lnTo>
                <a:lnTo>
                  <a:pt x="127" y="1057"/>
                </a:lnTo>
                <a:lnTo>
                  <a:pt x="124" y="1056"/>
                </a:lnTo>
                <a:lnTo>
                  <a:pt x="121" y="1058"/>
                </a:lnTo>
                <a:lnTo>
                  <a:pt x="119" y="1061"/>
                </a:lnTo>
                <a:lnTo>
                  <a:pt x="119" y="1066"/>
                </a:lnTo>
                <a:lnTo>
                  <a:pt x="119" y="1072"/>
                </a:lnTo>
                <a:lnTo>
                  <a:pt x="120" y="1089"/>
                </a:lnTo>
                <a:lnTo>
                  <a:pt x="122" y="1109"/>
                </a:lnTo>
                <a:lnTo>
                  <a:pt x="124" y="1130"/>
                </a:lnTo>
                <a:lnTo>
                  <a:pt x="124" y="1142"/>
                </a:lnTo>
                <a:lnTo>
                  <a:pt x="122" y="1153"/>
                </a:lnTo>
                <a:lnTo>
                  <a:pt x="121" y="1165"/>
                </a:lnTo>
                <a:lnTo>
                  <a:pt x="118" y="1176"/>
                </a:lnTo>
                <a:lnTo>
                  <a:pt x="118" y="1176"/>
                </a:lnTo>
                <a:lnTo>
                  <a:pt x="114" y="1187"/>
                </a:lnTo>
                <a:lnTo>
                  <a:pt x="107" y="1197"/>
                </a:lnTo>
                <a:lnTo>
                  <a:pt x="101" y="1208"/>
                </a:lnTo>
                <a:lnTo>
                  <a:pt x="92" y="1216"/>
                </a:lnTo>
                <a:lnTo>
                  <a:pt x="73" y="1233"/>
                </a:lnTo>
                <a:lnTo>
                  <a:pt x="52" y="1249"/>
                </a:lnTo>
                <a:lnTo>
                  <a:pt x="43" y="1258"/>
                </a:lnTo>
                <a:lnTo>
                  <a:pt x="33" y="1266"/>
                </a:lnTo>
                <a:lnTo>
                  <a:pt x="25" y="1277"/>
                </a:lnTo>
                <a:lnTo>
                  <a:pt x="17" y="1287"/>
                </a:lnTo>
                <a:lnTo>
                  <a:pt x="10" y="1298"/>
                </a:lnTo>
                <a:lnTo>
                  <a:pt x="5" y="1311"/>
                </a:lnTo>
                <a:lnTo>
                  <a:pt x="2" y="1326"/>
                </a:lnTo>
                <a:lnTo>
                  <a:pt x="0" y="1341"/>
                </a:lnTo>
                <a:lnTo>
                  <a:pt x="0" y="1341"/>
                </a:lnTo>
                <a:lnTo>
                  <a:pt x="2" y="1349"/>
                </a:lnTo>
                <a:lnTo>
                  <a:pt x="2" y="1355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11" y="1359"/>
                </a:lnTo>
                <a:lnTo>
                  <a:pt x="15" y="1359"/>
                </a:lnTo>
                <a:lnTo>
                  <a:pt x="23" y="1361"/>
                </a:lnTo>
                <a:lnTo>
                  <a:pt x="29" y="1363"/>
                </a:lnTo>
                <a:lnTo>
                  <a:pt x="34" y="1364"/>
                </a:lnTo>
                <a:lnTo>
                  <a:pt x="34" y="1364"/>
                </a:lnTo>
                <a:lnTo>
                  <a:pt x="42" y="1364"/>
                </a:lnTo>
                <a:lnTo>
                  <a:pt x="51" y="1366"/>
                </a:lnTo>
                <a:lnTo>
                  <a:pt x="60" y="1369"/>
                </a:lnTo>
                <a:lnTo>
                  <a:pt x="71" y="1372"/>
                </a:lnTo>
                <a:lnTo>
                  <a:pt x="92" y="1381"/>
                </a:lnTo>
                <a:lnTo>
                  <a:pt x="113" y="1393"/>
                </a:lnTo>
                <a:lnTo>
                  <a:pt x="124" y="1400"/>
                </a:lnTo>
                <a:lnTo>
                  <a:pt x="133" y="1407"/>
                </a:lnTo>
                <a:lnTo>
                  <a:pt x="141" y="1415"/>
                </a:lnTo>
                <a:lnTo>
                  <a:pt x="148" y="1423"/>
                </a:lnTo>
                <a:lnTo>
                  <a:pt x="153" y="1431"/>
                </a:lnTo>
                <a:lnTo>
                  <a:pt x="158" y="1439"/>
                </a:lnTo>
                <a:lnTo>
                  <a:pt x="162" y="1447"/>
                </a:lnTo>
                <a:lnTo>
                  <a:pt x="163" y="1455"/>
                </a:lnTo>
                <a:lnTo>
                  <a:pt x="163" y="1455"/>
                </a:lnTo>
                <a:lnTo>
                  <a:pt x="162" y="1468"/>
                </a:lnTo>
                <a:lnTo>
                  <a:pt x="159" y="1477"/>
                </a:lnTo>
                <a:lnTo>
                  <a:pt x="155" y="1485"/>
                </a:lnTo>
                <a:lnTo>
                  <a:pt x="151" y="1491"/>
                </a:lnTo>
                <a:lnTo>
                  <a:pt x="142" y="1500"/>
                </a:lnTo>
                <a:lnTo>
                  <a:pt x="138" y="1504"/>
                </a:lnTo>
                <a:lnTo>
                  <a:pt x="136" y="1511"/>
                </a:lnTo>
                <a:lnTo>
                  <a:pt x="136" y="1511"/>
                </a:lnTo>
                <a:lnTo>
                  <a:pt x="135" y="1516"/>
                </a:lnTo>
                <a:lnTo>
                  <a:pt x="134" y="1522"/>
                </a:lnTo>
                <a:lnTo>
                  <a:pt x="135" y="1531"/>
                </a:lnTo>
                <a:lnTo>
                  <a:pt x="137" y="1541"/>
                </a:lnTo>
                <a:lnTo>
                  <a:pt x="137" y="1546"/>
                </a:lnTo>
                <a:lnTo>
                  <a:pt x="136" y="1552"/>
                </a:lnTo>
                <a:lnTo>
                  <a:pt x="136" y="1552"/>
                </a:lnTo>
                <a:lnTo>
                  <a:pt x="134" y="1560"/>
                </a:lnTo>
                <a:lnTo>
                  <a:pt x="129" y="1567"/>
                </a:lnTo>
                <a:lnTo>
                  <a:pt x="121" y="1580"/>
                </a:lnTo>
                <a:lnTo>
                  <a:pt x="102" y="1607"/>
                </a:lnTo>
                <a:lnTo>
                  <a:pt x="92" y="1621"/>
                </a:lnTo>
                <a:lnTo>
                  <a:pt x="84" y="1634"/>
                </a:lnTo>
                <a:lnTo>
                  <a:pt x="82" y="1643"/>
                </a:lnTo>
                <a:lnTo>
                  <a:pt x="80" y="1651"/>
                </a:lnTo>
                <a:lnTo>
                  <a:pt x="79" y="1659"/>
                </a:lnTo>
                <a:lnTo>
                  <a:pt x="78" y="1668"/>
                </a:lnTo>
                <a:lnTo>
                  <a:pt x="78" y="1668"/>
                </a:lnTo>
                <a:lnTo>
                  <a:pt x="79" y="1678"/>
                </a:lnTo>
                <a:lnTo>
                  <a:pt x="80" y="1686"/>
                </a:lnTo>
                <a:lnTo>
                  <a:pt x="83" y="1692"/>
                </a:lnTo>
                <a:lnTo>
                  <a:pt x="88" y="1695"/>
                </a:lnTo>
                <a:lnTo>
                  <a:pt x="94" y="1698"/>
                </a:lnTo>
                <a:lnTo>
                  <a:pt x="101" y="1699"/>
                </a:lnTo>
                <a:lnTo>
                  <a:pt x="109" y="1699"/>
                </a:lnTo>
                <a:lnTo>
                  <a:pt x="118" y="1698"/>
                </a:lnTo>
                <a:lnTo>
                  <a:pt x="118" y="1698"/>
                </a:lnTo>
                <a:lnTo>
                  <a:pt x="120" y="1703"/>
                </a:lnTo>
                <a:lnTo>
                  <a:pt x="121" y="1708"/>
                </a:lnTo>
                <a:lnTo>
                  <a:pt x="122" y="1717"/>
                </a:lnTo>
                <a:lnTo>
                  <a:pt x="121" y="1735"/>
                </a:lnTo>
                <a:lnTo>
                  <a:pt x="121" y="1735"/>
                </a:lnTo>
                <a:lnTo>
                  <a:pt x="122" y="1739"/>
                </a:lnTo>
                <a:lnTo>
                  <a:pt x="126" y="1744"/>
                </a:lnTo>
                <a:lnTo>
                  <a:pt x="132" y="1750"/>
                </a:lnTo>
                <a:lnTo>
                  <a:pt x="138" y="1754"/>
                </a:lnTo>
                <a:lnTo>
                  <a:pt x="147" y="1758"/>
                </a:lnTo>
                <a:lnTo>
                  <a:pt x="156" y="1761"/>
                </a:lnTo>
                <a:lnTo>
                  <a:pt x="166" y="1763"/>
                </a:lnTo>
                <a:lnTo>
                  <a:pt x="176" y="1764"/>
                </a:lnTo>
                <a:lnTo>
                  <a:pt x="176" y="1764"/>
                </a:lnTo>
                <a:lnTo>
                  <a:pt x="183" y="1763"/>
                </a:lnTo>
                <a:lnTo>
                  <a:pt x="190" y="1762"/>
                </a:lnTo>
                <a:lnTo>
                  <a:pt x="203" y="1759"/>
                </a:lnTo>
                <a:lnTo>
                  <a:pt x="214" y="1755"/>
                </a:lnTo>
                <a:lnTo>
                  <a:pt x="221" y="1753"/>
                </a:lnTo>
                <a:lnTo>
                  <a:pt x="228" y="1753"/>
                </a:lnTo>
                <a:lnTo>
                  <a:pt x="228" y="1753"/>
                </a:lnTo>
                <a:lnTo>
                  <a:pt x="237" y="1754"/>
                </a:lnTo>
                <a:lnTo>
                  <a:pt x="246" y="1755"/>
                </a:lnTo>
                <a:lnTo>
                  <a:pt x="252" y="1759"/>
                </a:lnTo>
                <a:lnTo>
                  <a:pt x="257" y="1762"/>
                </a:lnTo>
                <a:lnTo>
                  <a:pt x="262" y="1767"/>
                </a:lnTo>
                <a:lnTo>
                  <a:pt x="265" y="1773"/>
                </a:lnTo>
                <a:lnTo>
                  <a:pt x="270" y="1783"/>
                </a:lnTo>
                <a:lnTo>
                  <a:pt x="273" y="1796"/>
                </a:lnTo>
                <a:lnTo>
                  <a:pt x="278" y="1806"/>
                </a:lnTo>
                <a:lnTo>
                  <a:pt x="281" y="1811"/>
                </a:lnTo>
                <a:lnTo>
                  <a:pt x="285" y="1814"/>
                </a:lnTo>
                <a:lnTo>
                  <a:pt x="289" y="1817"/>
                </a:lnTo>
                <a:lnTo>
                  <a:pt x="295" y="1820"/>
                </a:lnTo>
                <a:lnTo>
                  <a:pt x="295" y="1820"/>
                </a:lnTo>
                <a:lnTo>
                  <a:pt x="302" y="1820"/>
                </a:lnTo>
                <a:lnTo>
                  <a:pt x="302" y="182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4" name="Freeform 99"/>
          <p:cNvSpPr>
            <a:spLocks/>
          </p:cNvSpPr>
          <p:nvPr/>
        </p:nvSpPr>
        <p:spPr bwMode="auto">
          <a:xfrm>
            <a:off x="6432550" y="4506913"/>
            <a:ext cx="1182688" cy="879475"/>
          </a:xfrm>
          <a:custGeom>
            <a:avLst/>
            <a:gdLst/>
            <a:ahLst/>
            <a:cxnLst>
              <a:cxn ang="0">
                <a:pos x="1407" y="812"/>
              </a:cxn>
              <a:cxn ang="0">
                <a:pos x="1337" y="739"/>
              </a:cxn>
              <a:cxn ang="0">
                <a:pos x="1293" y="712"/>
              </a:cxn>
              <a:cxn ang="0">
                <a:pos x="1254" y="698"/>
              </a:cxn>
              <a:cxn ang="0">
                <a:pos x="1253" y="611"/>
              </a:cxn>
              <a:cxn ang="0">
                <a:pos x="1242" y="560"/>
              </a:cxn>
              <a:cxn ang="0">
                <a:pos x="1283" y="496"/>
              </a:cxn>
              <a:cxn ang="0">
                <a:pos x="1294" y="437"/>
              </a:cxn>
              <a:cxn ang="0">
                <a:pos x="1329" y="382"/>
              </a:cxn>
              <a:cxn ang="0">
                <a:pos x="1292" y="353"/>
              </a:cxn>
              <a:cxn ang="0">
                <a:pos x="1300" y="312"/>
              </a:cxn>
              <a:cxn ang="0">
                <a:pos x="1401" y="286"/>
              </a:cxn>
              <a:cxn ang="0">
                <a:pos x="1360" y="180"/>
              </a:cxn>
              <a:cxn ang="0">
                <a:pos x="1309" y="152"/>
              </a:cxn>
              <a:cxn ang="0">
                <a:pos x="1255" y="200"/>
              </a:cxn>
              <a:cxn ang="0">
                <a:pos x="1217" y="263"/>
              </a:cxn>
              <a:cxn ang="0">
                <a:pos x="1164" y="312"/>
              </a:cxn>
              <a:cxn ang="0">
                <a:pos x="1135" y="337"/>
              </a:cxn>
              <a:cxn ang="0">
                <a:pos x="1075" y="298"/>
              </a:cxn>
              <a:cxn ang="0">
                <a:pos x="1029" y="306"/>
              </a:cxn>
              <a:cxn ang="0">
                <a:pos x="980" y="300"/>
              </a:cxn>
              <a:cxn ang="0">
                <a:pos x="991" y="245"/>
              </a:cxn>
              <a:cxn ang="0">
                <a:pos x="985" y="190"/>
              </a:cxn>
              <a:cxn ang="0">
                <a:pos x="1002" y="157"/>
              </a:cxn>
              <a:cxn ang="0">
                <a:pos x="1026" y="22"/>
              </a:cxn>
              <a:cxn ang="0">
                <a:pos x="971" y="1"/>
              </a:cxn>
              <a:cxn ang="0">
                <a:pos x="866" y="62"/>
              </a:cxn>
              <a:cxn ang="0">
                <a:pos x="794" y="119"/>
              </a:cxn>
              <a:cxn ang="0">
                <a:pos x="718" y="193"/>
              </a:cxn>
              <a:cxn ang="0">
                <a:pos x="642" y="216"/>
              </a:cxn>
              <a:cxn ang="0">
                <a:pos x="549" y="282"/>
              </a:cxn>
              <a:cxn ang="0">
                <a:pos x="444" y="310"/>
              </a:cxn>
              <a:cxn ang="0">
                <a:pos x="373" y="302"/>
              </a:cxn>
              <a:cxn ang="0">
                <a:pos x="307" y="276"/>
              </a:cxn>
              <a:cxn ang="0">
                <a:pos x="95" y="294"/>
              </a:cxn>
              <a:cxn ang="0">
                <a:pos x="18" y="342"/>
              </a:cxn>
              <a:cxn ang="0">
                <a:pos x="0" y="367"/>
              </a:cxn>
              <a:cxn ang="0">
                <a:pos x="32" y="399"/>
              </a:cxn>
              <a:cxn ang="0">
                <a:pos x="83" y="420"/>
              </a:cxn>
              <a:cxn ang="0">
                <a:pos x="67" y="461"/>
              </a:cxn>
              <a:cxn ang="0">
                <a:pos x="105" y="469"/>
              </a:cxn>
              <a:cxn ang="0">
                <a:pos x="158" y="436"/>
              </a:cxn>
              <a:cxn ang="0">
                <a:pos x="202" y="482"/>
              </a:cxn>
              <a:cxn ang="0">
                <a:pos x="243" y="480"/>
              </a:cxn>
              <a:cxn ang="0">
                <a:pos x="274" y="557"/>
              </a:cxn>
              <a:cxn ang="0">
                <a:pos x="298" y="591"/>
              </a:cxn>
              <a:cxn ang="0">
                <a:pos x="297" y="627"/>
              </a:cxn>
              <a:cxn ang="0">
                <a:pos x="315" y="673"/>
              </a:cxn>
              <a:cxn ang="0">
                <a:pos x="364" y="724"/>
              </a:cxn>
              <a:cxn ang="0">
                <a:pos x="467" y="684"/>
              </a:cxn>
              <a:cxn ang="0">
                <a:pos x="635" y="653"/>
              </a:cxn>
              <a:cxn ang="0">
                <a:pos x="723" y="665"/>
              </a:cxn>
              <a:cxn ang="0">
                <a:pos x="968" y="877"/>
              </a:cxn>
              <a:cxn ang="0">
                <a:pos x="1120" y="1006"/>
              </a:cxn>
              <a:cxn ang="0">
                <a:pos x="1236" y="958"/>
              </a:cxn>
              <a:cxn ang="0">
                <a:pos x="1418" y="922"/>
              </a:cxn>
              <a:cxn ang="0">
                <a:pos x="1444" y="841"/>
              </a:cxn>
            </a:cxnLst>
            <a:rect l="0" t="0" r="r" b="b"/>
            <a:pathLst>
              <a:path w="1444" h="1008">
                <a:moveTo>
                  <a:pt x="1443" y="841"/>
                </a:moveTo>
                <a:lnTo>
                  <a:pt x="1443" y="841"/>
                </a:lnTo>
                <a:lnTo>
                  <a:pt x="1443" y="841"/>
                </a:lnTo>
                <a:lnTo>
                  <a:pt x="1443" y="841"/>
                </a:lnTo>
                <a:lnTo>
                  <a:pt x="1435" y="838"/>
                </a:lnTo>
                <a:lnTo>
                  <a:pt x="1426" y="833"/>
                </a:lnTo>
                <a:lnTo>
                  <a:pt x="1419" y="827"/>
                </a:lnTo>
                <a:lnTo>
                  <a:pt x="1413" y="820"/>
                </a:lnTo>
                <a:lnTo>
                  <a:pt x="1407" y="812"/>
                </a:lnTo>
                <a:lnTo>
                  <a:pt x="1401" y="804"/>
                </a:lnTo>
                <a:lnTo>
                  <a:pt x="1391" y="786"/>
                </a:lnTo>
                <a:lnTo>
                  <a:pt x="1381" y="768"/>
                </a:lnTo>
                <a:lnTo>
                  <a:pt x="1375" y="760"/>
                </a:lnTo>
                <a:lnTo>
                  <a:pt x="1369" y="752"/>
                </a:lnTo>
                <a:lnTo>
                  <a:pt x="1362" y="747"/>
                </a:lnTo>
                <a:lnTo>
                  <a:pt x="1355" y="742"/>
                </a:lnTo>
                <a:lnTo>
                  <a:pt x="1346" y="740"/>
                </a:lnTo>
                <a:lnTo>
                  <a:pt x="1337" y="739"/>
                </a:lnTo>
                <a:lnTo>
                  <a:pt x="1337" y="739"/>
                </a:lnTo>
                <a:lnTo>
                  <a:pt x="1315" y="739"/>
                </a:lnTo>
                <a:lnTo>
                  <a:pt x="1315" y="739"/>
                </a:lnTo>
                <a:lnTo>
                  <a:pt x="1309" y="737"/>
                </a:lnTo>
                <a:lnTo>
                  <a:pt x="1306" y="736"/>
                </a:lnTo>
                <a:lnTo>
                  <a:pt x="1303" y="733"/>
                </a:lnTo>
                <a:lnTo>
                  <a:pt x="1299" y="729"/>
                </a:lnTo>
                <a:lnTo>
                  <a:pt x="1296" y="721"/>
                </a:lnTo>
                <a:lnTo>
                  <a:pt x="1293" y="712"/>
                </a:lnTo>
                <a:lnTo>
                  <a:pt x="1293" y="712"/>
                </a:lnTo>
                <a:lnTo>
                  <a:pt x="1285" y="714"/>
                </a:lnTo>
                <a:lnTo>
                  <a:pt x="1280" y="714"/>
                </a:lnTo>
                <a:lnTo>
                  <a:pt x="1274" y="714"/>
                </a:lnTo>
                <a:lnTo>
                  <a:pt x="1268" y="712"/>
                </a:lnTo>
                <a:lnTo>
                  <a:pt x="1263" y="710"/>
                </a:lnTo>
                <a:lnTo>
                  <a:pt x="1260" y="707"/>
                </a:lnTo>
                <a:lnTo>
                  <a:pt x="1256" y="703"/>
                </a:lnTo>
                <a:lnTo>
                  <a:pt x="1254" y="698"/>
                </a:lnTo>
                <a:lnTo>
                  <a:pt x="1250" y="688"/>
                </a:lnTo>
                <a:lnTo>
                  <a:pt x="1247" y="675"/>
                </a:lnTo>
                <a:lnTo>
                  <a:pt x="1246" y="661"/>
                </a:lnTo>
                <a:lnTo>
                  <a:pt x="1245" y="646"/>
                </a:lnTo>
                <a:lnTo>
                  <a:pt x="1245" y="646"/>
                </a:lnTo>
                <a:lnTo>
                  <a:pt x="1246" y="636"/>
                </a:lnTo>
                <a:lnTo>
                  <a:pt x="1247" y="627"/>
                </a:lnTo>
                <a:lnTo>
                  <a:pt x="1251" y="618"/>
                </a:lnTo>
                <a:lnTo>
                  <a:pt x="1253" y="611"/>
                </a:lnTo>
                <a:lnTo>
                  <a:pt x="1261" y="597"/>
                </a:lnTo>
                <a:lnTo>
                  <a:pt x="1267" y="583"/>
                </a:lnTo>
                <a:lnTo>
                  <a:pt x="1267" y="583"/>
                </a:lnTo>
                <a:lnTo>
                  <a:pt x="1259" y="580"/>
                </a:lnTo>
                <a:lnTo>
                  <a:pt x="1254" y="577"/>
                </a:lnTo>
                <a:lnTo>
                  <a:pt x="1250" y="574"/>
                </a:lnTo>
                <a:lnTo>
                  <a:pt x="1246" y="571"/>
                </a:lnTo>
                <a:lnTo>
                  <a:pt x="1244" y="566"/>
                </a:lnTo>
                <a:lnTo>
                  <a:pt x="1242" y="560"/>
                </a:lnTo>
                <a:lnTo>
                  <a:pt x="1242" y="554"/>
                </a:lnTo>
                <a:lnTo>
                  <a:pt x="1242" y="554"/>
                </a:lnTo>
                <a:lnTo>
                  <a:pt x="1242" y="550"/>
                </a:lnTo>
                <a:lnTo>
                  <a:pt x="1243" y="546"/>
                </a:lnTo>
                <a:lnTo>
                  <a:pt x="1248" y="537"/>
                </a:lnTo>
                <a:lnTo>
                  <a:pt x="1256" y="528"/>
                </a:lnTo>
                <a:lnTo>
                  <a:pt x="1266" y="518"/>
                </a:lnTo>
                <a:lnTo>
                  <a:pt x="1275" y="507"/>
                </a:lnTo>
                <a:lnTo>
                  <a:pt x="1283" y="496"/>
                </a:lnTo>
                <a:lnTo>
                  <a:pt x="1286" y="489"/>
                </a:lnTo>
                <a:lnTo>
                  <a:pt x="1290" y="483"/>
                </a:lnTo>
                <a:lnTo>
                  <a:pt x="1292" y="476"/>
                </a:lnTo>
                <a:lnTo>
                  <a:pt x="1293" y="469"/>
                </a:lnTo>
                <a:lnTo>
                  <a:pt x="1293" y="469"/>
                </a:lnTo>
                <a:lnTo>
                  <a:pt x="1293" y="447"/>
                </a:lnTo>
                <a:lnTo>
                  <a:pt x="1293" y="447"/>
                </a:lnTo>
                <a:lnTo>
                  <a:pt x="1293" y="442"/>
                </a:lnTo>
                <a:lnTo>
                  <a:pt x="1294" y="437"/>
                </a:lnTo>
                <a:lnTo>
                  <a:pt x="1299" y="427"/>
                </a:lnTo>
                <a:lnTo>
                  <a:pt x="1305" y="419"/>
                </a:lnTo>
                <a:lnTo>
                  <a:pt x="1311" y="412"/>
                </a:lnTo>
                <a:lnTo>
                  <a:pt x="1317" y="405"/>
                </a:lnTo>
                <a:lnTo>
                  <a:pt x="1323" y="398"/>
                </a:lnTo>
                <a:lnTo>
                  <a:pt x="1328" y="390"/>
                </a:lnTo>
                <a:lnTo>
                  <a:pt x="1329" y="386"/>
                </a:lnTo>
                <a:lnTo>
                  <a:pt x="1329" y="382"/>
                </a:lnTo>
                <a:lnTo>
                  <a:pt x="1329" y="382"/>
                </a:lnTo>
                <a:lnTo>
                  <a:pt x="1329" y="376"/>
                </a:lnTo>
                <a:lnTo>
                  <a:pt x="1328" y="373"/>
                </a:lnTo>
                <a:lnTo>
                  <a:pt x="1326" y="369"/>
                </a:lnTo>
                <a:lnTo>
                  <a:pt x="1322" y="367"/>
                </a:lnTo>
                <a:lnTo>
                  <a:pt x="1315" y="363"/>
                </a:lnTo>
                <a:lnTo>
                  <a:pt x="1307" y="360"/>
                </a:lnTo>
                <a:lnTo>
                  <a:pt x="1299" y="358"/>
                </a:lnTo>
                <a:lnTo>
                  <a:pt x="1296" y="355"/>
                </a:lnTo>
                <a:lnTo>
                  <a:pt x="1292" y="353"/>
                </a:lnTo>
                <a:lnTo>
                  <a:pt x="1289" y="350"/>
                </a:lnTo>
                <a:lnTo>
                  <a:pt x="1288" y="345"/>
                </a:lnTo>
                <a:lnTo>
                  <a:pt x="1285" y="340"/>
                </a:lnTo>
                <a:lnTo>
                  <a:pt x="1285" y="334"/>
                </a:lnTo>
                <a:lnTo>
                  <a:pt x="1285" y="334"/>
                </a:lnTo>
                <a:lnTo>
                  <a:pt x="1286" y="328"/>
                </a:lnTo>
                <a:lnTo>
                  <a:pt x="1290" y="322"/>
                </a:lnTo>
                <a:lnTo>
                  <a:pt x="1294" y="316"/>
                </a:lnTo>
                <a:lnTo>
                  <a:pt x="1300" y="312"/>
                </a:lnTo>
                <a:lnTo>
                  <a:pt x="1300" y="312"/>
                </a:lnTo>
                <a:lnTo>
                  <a:pt x="1359" y="312"/>
                </a:lnTo>
                <a:lnTo>
                  <a:pt x="1359" y="312"/>
                </a:lnTo>
                <a:lnTo>
                  <a:pt x="1359" y="312"/>
                </a:lnTo>
                <a:lnTo>
                  <a:pt x="1372" y="307"/>
                </a:lnTo>
                <a:lnTo>
                  <a:pt x="1387" y="301"/>
                </a:lnTo>
                <a:lnTo>
                  <a:pt x="1392" y="297"/>
                </a:lnTo>
                <a:lnTo>
                  <a:pt x="1398" y="292"/>
                </a:lnTo>
                <a:lnTo>
                  <a:pt x="1401" y="286"/>
                </a:lnTo>
                <a:lnTo>
                  <a:pt x="1403" y="283"/>
                </a:lnTo>
                <a:lnTo>
                  <a:pt x="1403" y="279"/>
                </a:lnTo>
                <a:lnTo>
                  <a:pt x="1403" y="279"/>
                </a:lnTo>
                <a:lnTo>
                  <a:pt x="1403" y="273"/>
                </a:lnTo>
                <a:lnTo>
                  <a:pt x="1400" y="266"/>
                </a:lnTo>
                <a:lnTo>
                  <a:pt x="1393" y="246"/>
                </a:lnTo>
                <a:lnTo>
                  <a:pt x="1384" y="224"/>
                </a:lnTo>
                <a:lnTo>
                  <a:pt x="1373" y="202"/>
                </a:lnTo>
                <a:lnTo>
                  <a:pt x="1360" y="180"/>
                </a:lnTo>
                <a:lnTo>
                  <a:pt x="1347" y="163"/>
                </a:lnTo>
                <a:lnTo>
                  <a:pt x="1342" y="156"/>
                </a:lnTo>
                <a:lnTo>
                  <a:pt x="1336" y="152"/>
                </a:lnTo>
                <a:lnTo>
                  <a:pt x="1330" y="148"/>
                </a:lnTo>
                <a:lnTo>
                  <a:pt x="1326" y="147"/>
                </a:lnTo>
                <a:lnTo>
                  <a:pt x="1326" y="147"/>
                </a:lnTo>
                <a:lnTo>
                  <a:pt x="1321" y="147"/>
                </a:lnTo>
                <a:lnTo>
                  <a:pt x="1317" y="148"/>
                </a:lnTo>
                <a:lnTo>
                  <a:pt x="1309" y="152"/>
                </a:lnTo>
                <a:lnTo>
                  <a:pt x="1304" y="156"/>
                </a:lnTo>
                <a:lnTo>
                  <a:pt x="1298" y="163"/>
                </a:lnTo>
                <a:lnTo>
                  <a:pt x="1289" y="176"/>
                </a:lnTo>
                <a:lnTo>
                  <a:pt x="1283" y="182"/>
                </a:lnTo>
                <a:lnTo>
                  <a:pt x="1278" y="186"/>
                </a:lnTo>
                <a:lnTo>
                  <a:pt x="1278" y="186"/>
                </a:lnTo>
                <a:lnTo>
                  <a:pt x="1273" y="192"/>
                </a:lnTo>
                <a:lnTo>
                  <a:pt x="1267" y="195"/>
                </a:lnTo>
                <a:lnTo>
                  <a:pt x="1255" y="200"/>
                </a:lnTo>
                <a:lnTo>
                  <a:pt x="1250" y="202"/>
                </a:lnTo>
                <a:lnTo>
                  <a:pt x="1244" y="206"/>
                </a:lnTo>
                <a:lnTo>
                  <a:pt x="1238" y="210"/>
                </a:lnTo>
                <a:lnTo>
                  <a:pt x="1235" y="216"/>
                </a:lnTo>
                <a:lnTo>
                  <a:pt x="1235" y="216"/>
                </a:lnTo>
                <a:lnTo>
                  <a:pt x="1229" y="224"/>
                </a:lnTo>
                <a:lnTo>
                  <a:pt x="1225" y="233"/>
                </a:lnTo>
                <a:lnTo>
                  <a:pt x="1221" y="253"/>
                </a:lnTo>
                <a:lnTo>
                  <a:pt x="1217" y="263"/>
                </a:lnTo>
                <a:lnTo>
                  <a:pt x="1214" y="274"/>
                </a:lnTo>
                <a:lnTo>
                  <a:pt x="1208" y="282"/>
                </a:lnTo>
                <a:lnTo>
                  <a:pt x="1201" y="290"/>
                </a:lnTo>
                <a:lnTo>
                  <a:pt x="1201" y="290"/>
                </a:lnTo>
                <a:lnTo>
                  <a:pt x="1192" y="294"/>
                </a:lnTo>
                <a:lnTo>
                  <a:pt x="1183" y="298"/>
                </a:lnTo>
                <a:lnTo>
                  <a:pt x="1172" y="304"/>
                </a:lnTo>
                <a:lnTo>
                  <a:pt x="1168" y="307"/>
                </a:lnTo>
                <a:lnTo>
                  <a:pt x="1164" y="312"/>
                </a:lnTo>
                <a:lnTo>
                  <a:pt x="1164" y="312"/>
                </a:lnTo>
                <a:lnTo>
                  <a:pt x="1160" y="315"/>
                </a:lnTo>
                <a:lnTo>
                  <a:pt x="1158" y="319"/>
                </a:lnTo>
                <a:lnTo>
                  <a:pt x="1152" y="328"/>
                </a:lnTo>
                <a:lnTo>
                  <a:pt x="1149" y="331"/>
                </a:lnTo>
                <a:lnTo>
                  <a:pt x="1145" y="335"/>
                </a:lnTo>
                <a:lnTo>
                  <a:pt x="1140" y="337"/>
                </a:lnTo>
                <a:lnTo>
                  <a:pt x="1135" y="337"/>
                </a:lnTo>
                <a:lnTo>
                  <a:pt x="1135" y="337"/>
                </a:lnTo>
                <a:lnTo>
                  <a:pt x="1126" y="337"/>
                </a:lnTo>
                <a:lnTo>
                  <a:pt x="1121" y="336"/>
                </a:lnTo>
                <a:lnTo>
                  <a:pt x="1115" y="334"/>
                </a:lnTo>
                <a:lnTo>
                  <a:pt x="1109" y="330"/>
                </a:lnTo>
                <a:lnTo>
                  <a:pt x="1101" y="323"/>
                </a:lnTo>
                <a:lnTo>
                  <a:pt x="1094" y="315"/>
                </a:lnTo>
                <a:lnTo>
                  <a:pt x="1087" y="307"/>
                </a:lnTo>
                <a:lnTo>
                  <a:pt x="1079" y="300"/>
                </a:lnTo>
                <a:lnTo>
                  <a:pt x="1075" y="298"/>
                </a:lnTo>
                <a:lnTo>
                  <a:pt x="1069" y="296"/>
                </a:lnTo>
                <a:lnTo>
                  <a:pt x="1062" y="294"/>
                </a:lnTo>
                <a:lnTo>
                  <a:pt x="1054" y="294"/>
                </a:lnTo>
                <a:lnTo>
                  <a:pt x="1054" y="294"/>
                </a:lnTo>
                <a:lnTo>
                  <a:pt x="1048" y="294"/>
                </a:lnTo>
                <a:lnTo>
                  <a:pt x="1042" y="297"/>
                </a:lnTo>
                <a:lnTo>
                  <a:pt x="1038" y="300"/>
                </a:lnTo>
                <a:lnTo>
                  <a:pt x="1033" y="302"/>
                </a:lnTo>
                <a:lnTo>
                  <a:pt x="1029" y="306"/>
                </a:lnTo>
                <a:lnTo>
                  <a:pt x="1024" y="309"/>
                </a:lnTo>
                <a:lnTo>
                  <a:pt x="1017" y="312"/>
                </a:lnTo>
                <a:lnTo>
                  <a:pt x="1010" y="312"/>
                </a:lnTo>
                <a:lnTo>
                  <a:pt x="1010" y="312"/>
                </a:lnTo>
                <a:lnTo>
                  <a:pt x="1003" y="312"/>
                </a:lnTo>
                <a:lnTo>
                  <a:pt x="996" y="310"/>
                </a:lnTo>
                <a:lnTo>
                  <a:pt x="990" y="307"/>
                </a:lnTo>
                <a:lnTo>
                  <a:pt x="985" y="305"/>
                </a:lnTo>
                <a:lnTo>
                  <a:pt x="980" y="300"/>
                </a:lnTo>
                <a:lnTo>
                  <a:pt x="976" y="294"/>
                </a:lnTo>
                <a:lnTo>
                  <a:pt x="973" y="289"/>
                </a:lnTo>
                <a:lnTo>
                  <a:pt x="973" y="283"/>
                </a:lnTo>
                <a:lnTo>
                  <a:pt x="973" y="283"/>
                </a:lnTo>
                <a:lnTo>
                  <a:pt x="975" y="274"/>
                </a:lnTo>
                <a:lnTo>
                  <a:pt x="977" y="266"/>
                </a:lnTo>
                <a:lnTo>
                  <a:pt x="981" y="259"/>
                </a:lnTo>
                <a:lnTo>
                  <a:pt x="986" y="252"/>
                </a:lnTo>
                <a:lnTo>
                  <a:pt x="991" y="245"/>
                </a:lnTo>
                <a:lnTo>
                  <a:pt x="995" y="237"/>
                </a:lnTo>
                <a:lnTo>
                  <a:pt x="998" y="229"/>
                </a:lnTo>
                <a:lnTo>
                  <a:pt x="999" y="221"/>
                </a:lnTo>
                <a:lnTo>
                  <a:pt x="999" y="221"/>
                </a:lnTo>
                <a:lnTo>
                  <a:pt x="999" y="215"/>
                </a:lnTo>
                <a:lnTo>
                  <a:pt x="996" y="210"/>
                </a:lnTo>
                <a:lnTo>
                  <a:pt x="992" y="203"/>
                </a:lnTo>
                <a:lnTo>
                  <a:pt x="986" y="194"/>
                </a:lnTo>
                <a:lnTo>
                  <a:pt x="985" y="190"/>
                </a:lnTo>
                <a:lnTo>
                  <a:pt x="984" y="183"/>
                </a:lnTo>
                <a:lnTo>
                  <a:pt x="984" y="183"/>
                </a:lnTo>
                <a:lnTo>
                  <a:pt x="985" y="179"/>
                </a:lnTo>
                <a:lnTo>
                  <a:pt x="986" y="176"/>
                </a:lnTo>
                <a:lnTo>
                  <a:pt x="992" y="170"/>
                </a:lnTo>
                <a:lnTo>
                  <a:pt x="998" y="164"/>
                </a:lnTo>
                <a:lnTo>
                  <a:pt x="1001" y="161"/>
                </a:lnTo>
                <a:lnTo>
                  <a:pt x="1002" y="157"/>
                </a:lnTo>
                <a:lnTo>
                  <a:pt x="1002" y="157"/>
                </a:lnTo>
                <a:lnTo>
                  <a:pt x="1011" y="130"/>
                </a:lnTo>
                <a:lnTo>
                  <a:pt x="1019" y="100"/>
                </a:lnTo>
                <a:lnTo>
                  <a:pt x="1023" y="85"/>
                </a:lnTo>
                <a:lnTo>
                  <a:pt x="1026" y="70"/>
                </a:lnTo>
                <a:lnTo>
                  <a:pt x="1028" y="55"/>
                </a:lnTo>
                <a:lnTo>
                  <a:pt x="1029" y="40"/>
                </a:lnTo>
                <a:lnTo>
                  <a:pt x="1029" y="40"/>
                </a:lnTo>
                <a:lnTo>
                  <a:pt x="1028" y="30"/>
                </a:lnTo>
                <a:lnTo>
                  <a:pt x="1026" y="22"/>
                </a:lnTo>
                <a:lnTo>
                  <a:pt x="1024" y="15"/>
                </a:lnTo>
                <a:lnTo>
                  <a:pt x="1021" y="9"/>
                </a:lnTo>
                <a:lnTo>
                  <a:pt x="1015" y="4"/>
                </a:lnTo>
                <a:lnTo>
                  <a:pt x="1008" y="2"/>
                </a:lnTo>
                <a:lnTo>
                  <a:pt x="999" y="1"/>
                </a:lnTo>
                <a:lnTo>
                  <a:pt x="987" y="0"/>
                </a:lnTo>
                <a:lnTo>
                  <a:pt x="987" y="0"/>
                </a:lnTo>
                <a:lnTo>
                  <a:pt x="979" y="0"/>
                </a:lnTo>
                <a:lnTo>
                  <a:pt x="971" y="1"/>
                </a:lnTo>
                <a:lnTo>
                  <a:pt x="963" y="3"/>
                </a:lnTo>
                <a:lnTo>
                  <a:pt x="956" y="6"/>
                </a:lnTo>
                <a:lnTo>
                  <a:pt x="944" y="11"/>
                </a:lnTo>
                <a:lnTo>
                  <a:pt x="932" y="21"/>
                </a:lnTo>
                <a:lnTo>
                  <a:pt x="922" y="30"/>
                </a:lnTo>
                <a:lnTo>
                  <a:pt x="911" y="40"/>
                </a:lnTo>
                <a:lnTo>
                  <a:pt x="893" y="62"/>
                </a:lnTo>
                <a:lnTo>
                  <a:pt x="893" y="62"/>
                </a:lnTo>
                <a:lnTo>
                  <a:pt x="866" y="62"/>
                </a:lnTo>
                <a:lnTo>
                  <a:pt x="866" y="62"/>
                </a:lnTo>
                <a:lnTo>
                  <a:pt x="866" y="62"/>
                </a:lnTo>
                <a:lnTo>
                  <a:pt x="854" y="68"/>
                </a:lnTo>
                <a:lnTo>
                  <a:pt x="843" y="73"/>
                </a:lnTo>
                <a:lnTo>
                  <a:pt x="833" y="80"/>
                </a:lnTo>
                <a:lnTo>
                  <a:pt x="824" y="87"/>
                </a:lnTo>
                <a:lnTo>
                  <a:pt x="816" y="94"/>
                </a:lnTo>
                <a:lnTo>
                  <a:pt x="808" y="102"/>
                </a:lnTo>
                <a:lnTo>
                  <a:pt x="794" y="119"/>
                </a:lnTo>
                <a:lnTo>
                  <a:pt x="780" y="137"/>
                </a:lnTo>
                <a:lnTo>
                  <a:pt x="765" y="154"/>
                </a:lnTo>
                <a:lnTo>
                  <a:pt x="757" y="163"/>
                </a:lnTo>
                <a:lnTo>
                  <a:pt x="748" y="171"/>
                </a:lnTo>
                <a:lnTo>
                  <a:pt x="739" y="179"/>
                </a:lnTo>
                <a:lnTo>
                  <a:pt x="727" y="186"/>
                </a:lnTo>
                <a:lnTo>
                  <a:pt x="727" y="186"/>
                </a:lnTo>
                <a:lnTo>
                  <a:pt x="723" y="190"/>
                </a:lnTo>
                <a:lnTo>
                  <a:pt x="718" y="193"/>
                </a:lnTo>
                <a:lnTo>
                  <a:pt x="708" y="197"/>
                </a:lnTo>
                <a:lnTo>
                  <a:pt x="695" y="200"/>
                </a:lnTo>
                <a:lnTo>
                  <a:pt x="683" y="201"/>
                </a:lnTo>
                <a:lnTo>
                  <a:pt x="672" y="203"/>
                </a:lnTo>
                <a:lnTo>
                  <a:pt x="660" y="207"/>
                </a:lnTo>
                <a:lnTo>
                  <a:pt x="650" y="210"/>
                </a:lnTo>
                <a:lnTo>
                  <a:pt x="647" y="213"/>
                </a:lnTo>
                <a:lnTo>
                  <a:pt x="642" y="216"/>
                </a:lnTo>
                <a:lnTo>
                  <a:pt x="642" y="216"/>
                </a:lnTo>
                <a:lnTo>
                  <a:pt x="622" y="238"/>
                </a:lnTo>
                <a:lnTo>
                  <a:pt x="612" y="248"/>
                </a:lnTo>
                <a:lnTo>
                  <a:pt x="601" y="259"/>
                </a:lnTo>
                <a:lnTo>
                  <a:pt x="588" y="268"/>
                </a:lnTo>
                <a:lnTo>
                  <a:pt x="581" y="273"/>
                </a:lnTo>
                <a:lnTo>
                  <a:pt x="574" y="276"/>
                </a:lnTo>
                <a:lnTo>
                  <a:pt x="566" y="278"/>
                </a:lnTo>
                <a:lnTo>
                  <a:pt x="558" y="281"/>
                </a:lnTo>
                <a:lnTo>
                  <a:pt x="549" y="282"/>
                </a:lnTo>
                <a:lnTo>
                  <a:pt x="540" y="283"/>
                </a:lnTo>
                <a:lnTo>
                  <a:pt x="540" y="283"/>
                </a:lnTo>
                <a:lnTo>
                  <a:pt x="529" y="283"/>
                </a:lnTo>
                <a:lnTo>
                  <a:pt x="520" y="284"/>
                </a:lnTo>
                <a:lnTo>
                  <a:pt x="503" y="287"/>
                </a:lnTo>
                <a:lnTo>
                  <a:pt x="488" y="293"/>
                </a:lnTo>
                <a:lnTo>
                  <a:pt x="473" y="299"/>
                </a:lnTo>
                <a:lnTo>
                  <a:pt x="458" y="305"/>
                </a:lnTo>
                <a:lnTo>
                  <a:pt x="444" y="310"/>
                </a:lnTo>
                <a:lnTo>
                  <a:pt x="428" y="314"/>
                </a:lnTo>
                <a:lnTo>
                  <a:pt x="420" y="315"/>
                </a:lnTo>
                <a:lnTo>
                  <a:pt x="411" y="315"/>
                </a:lnTo>
                <a:lnTo>
                  <a:pt x="411" y="315"/>
                </a:lnTo>
                <a:lnTo>
                  <a:pt x="403" y="315"/>
                </a:lnTo>
                <a:lnTo>
                  <a:pt x="396" y="314"/>
                </a:lnTo>
                <a:lnTo>
                  <a:pt x="389" y="312"/>
                </a:lnTo>
                <a:lnTo>
                  <a:pt x="383" y="309"/>
                </a:lnTo>
                <a:lnTo>
                  <a:pt x="373" y="302"/>
                </a:lnTo>
                <a:lnTo>
                  <a:pt x="362" y="296"/>
                </a:lnTo>
                <a:lnTo>
                  <a:pt x="353" y="287"/>
                </a:lnTo>
                <a:lnTo>
                  <a:pt x="343" y="282"/>
                </a:lnTo>
                <a:lnTo>
                  <a:pt x="337" y="278"/>
                </a:lnTo>
                <a:lnTo>
                  <a:pt x="332" y="277"/>
                </a:lnTo>
                <a:lnTo>
                  <a:pt x="326" y="276"/>
                </a:lnTo>
                <a:lnTo>
                  <a:pt x="319" y="275"/>
                </a:lnTo>
                <a:lnTo>
                  <a:pt x="319" y="275"/>
                </a:lnTo>
                <a:lnTo>
                  <a:pt x="307" y="276"/>
                </a:lnTo>
                <a:lnTo>
                  <a:pt x="297" y="278"/>
                </a:lnTo>
                <a:lnTo>
                  <a:pt x="286" y="281"/>
                </a:lnTo>
                <a:lnTo>
                  <a:pt x="276" y="284"/>
                </a:lnTo>
                <a:lnTo>
                  <a:pt x="258" y="291"/>
                </a:lnTo>
                <a:lnTo>
                  <a:pt x="248" y="293"/>
                </a:lnTo>
                <a:lnTo>
                  <a:pt x="238" y="294"/>
                </a:lnTo>
                <a:lnTo>
                  <a:pt x="238" y="294"/>
                </a:lnTo>
                <a:lnTo>
                  <a:pt x="95" y="294"/>
                </a:lnTo>
                <a:lnTo>
                  <a:pt x="95" y="294"/>
                </a:lnTo>
                <a:lnTo>
                  <a:pt x="80" y="296"/>
                </a:lnTo>
                <a:lnTo>
                  <a:pt x="68" y="298"/>
                </a:lnTo>
                <a:lnTo>
                  <a:pt x="56" y="304"/>
                </a:lnTo>
                <a:lnTo>
                  <a:pt x="47" y="309"/>
                </a:lnTo>
                <a:lnTo>
                  <a:pt x="38" y="316"/>
                </a:lnTo>
                <a:lnTo>
                  <a:pt x="31" y="324"/>
                </a:lnTo>
                <a:lnTo>
                  <a:pt x="24" y="334"/>
                </a:lnTo>
                <a:lnTo>
                  <a:pt x="18" y="342"/>
                </a:lnTo>
                <a:lnTo>
                  <a:pt x="18" y="342"/>
                </a:lnTo>
                <a:lnTo>
                  <a:pt x="15" y="340"/>
                </a:lnTo>
                <a:lnTo>
                  <a:pt x="13" y="339"/>
                </a:lnTo>
                <a:lnTo>
                  <a:pt x="13" y="338"/>
                </a:lnTo>
                <a:lnTo>
                  <a:pt x="10" y="337"/>
                </a:lnTo>
                <a:lnTo>
                  <a:pt x="10" y="337"/>
                </a:lnTo>
                <a:lnTo>
                  <a:pt x="7" y="344"/>
                </a:lnTo>
                <a:lnTo>
                  <a:pt x="5" y="350"/>
                </a:lnTo>
                <a:lnTo>
                  <a:pt x="1" y="358"/>
                </a:lnTo>
                <a:lnTo>
                  <a:pt x="0" y="367"/>
                </a:lnTo>
                <a:lnTo>
                  <a:pt x="1" y="371"/>
                </a:lnTo>
                <a:lnTo>
                  <a:pt x="1" y="376"/>
                </a:lnTo>
                <a:lnTo>
                  <a:pt x="3" y="381"/>
                </a:lnTo>
                <a:lnTo>
                  <a:pt x="6" y="385"/>
                </a:lnTo>
                <a:lnTo>
                  <a:pt x="10" y="389"/>
                </a:lnTo>
                <a:lnTo>
                  <a:pt x="15" y="392"/>
                </a:lnTo>
                <a:lnTo>
                  <a:pt x="15" y="392"/>
                </a:lnTo>
                <a:lnTo>
                  <a:pt x="25" y="397"/>
                </a:lnTo>
                <a:lnTo>
                  <a:pt x="32" y="399"/>
                </a:lnTo>
                <a:lnTo>
                  <a:pt x="39" y="400"/>
                </a:lnTo>
                <a:lnTo>
                  <a:pt x="41" y="400"/>
                </a:lnTo>
                <a:lnTo>
                  <a:pt x="44" y="401"/>
                </a:lnTo>
                <a:lnTo>
                  <a:pt x="54" y="407"/>
                </a:lnTo>
                <a:lnTo>
                  <a:pt x="54" y="407"/>
                </a:lnTo>
                <a:lnTo>
                  <a:pt x="63" y="412"/>
                </a:lnTo>
                <a:lnTo>
                  <a:pt x="70" y="414"/>
                </a:lnTo>
                <a:lnTo>
                  <a:pt x="80" y="418"/>
                </a:lnTo>
                <a:lnTo>
                  <a:pt x="83" y="420"/>
                </a:lnTo>
                <a:lnTo>
                  <a:pt x="83" y="423"/>
                </a:lnTo>
                <a:lnTo>
                  <a:pt x="79" y="429"/>
                </a:lnTo>
                <a:lnTo>
                  <a:pt x="72" y="437"/>
                </a:lnTo>
                <a:lnTo>
                  <a:pt x="72" y="437"/>
                </a:lnTo>
                <a:lnTo>
                  <a:pt x="69" y="442"/>
                </a:lnTo>
                <a:lnTo>
                  <a:pt x="67" y="447"/>
                </a:lnTo>
                <a:lnTo>
                  <a:pt x="66" y="452"/>
                </a:lnTo>
                <a:lnTo>
                  <a:pt x="66" y="458"/>
                </a:lnTo>
                <a:lnTo>
                  <a:pt x="67" y="461"/>
                </a:lnTo>
                <a:lnTo>
                  <a:pt x="69" y="466"/>
                </a:lnTo>
                <a:lnTo>
                  <a:pt x="71" y="468"/>
                </a:lnTo>
                <a:lnTo>
                  <a:pt x="75" y="472"/>
                </a:lnTo>
                <a:lnTo>
                  <a:pt x="78" y="473"/>
                </a:lnTo>
                <a:lnTo>
                  <a:pt x="83" y="474"/>
                </a:lnTo>
                <a:lnTo>
                  <a:pt x="87" y="474"/>
                </a:lnTo>
                <a:lnTo>
                  <a:pt x="93" y="474"/>
                </a:lnTo>
                <a:lnTo>
                  <a:pt x="99" y="472"/>
                </a:lnTo>
                <a:lnTo>
                  <a:pt x="105" y="469"/>
                </a:lnTo>
                <a:lnTo>
                  <a:pt x="110" y="465"/>
                </a:lnTo>
                <a:lnTo>
                  <a:pt x="117" y="459"/>
                </a:lnTo>
                <a:lnTo>
                  <a:pt x="117" y="459"/>
                </a:lnTo>
                <a:lnTo>
                  <a:pt x="128" y="449"/>
                </a:lnTo>
                <a:lnTo>
                  <a:pt x="137" y="441"/>
                </a:lnTo>
                <a:lnTo>
                  <a:pt x="144" y="436"/>
                </a:lnTo>
                <a:lnTo>
                  <a:pt x="152" y="435"/>
                </a:lnTo>
                <a:lnTo>
                  <a:pt x="154" y="435"/>
                </a:lnTo>
                <a:lnTo>
                  <a:pt x="158" y="436"/>
                </a:lnTo>
                <a:lnTo>
                  <a:pt x="163" y="441"/>
                </a:lnTo>
                <a:lnTo>
                  <a:pt x="168" y="446"/>
                </a:lnTo>
                <a:lnTo>
                  <a:pt x="173" y="454"/>
                </a:lnTo>
                <a:lnTo>
                  <a:pt x="173" y="454"/>
                </a:lnTo>
                <a:lnTo>
                  <a:pt x="183" y="472"/>
                </a:lnTo>
                <a:lnTo>
                  <a:pt x="187" y="477"/>
                </a:lnTo>
                <a:lnTo>
                  <a:pt x="192" y="481"/>
                </a:lnTo>
                <a:lnTo>
                  <a:pt x="198" y="483"/>
                </a:lnTo>
                <a:lnTo>
                  <a:pt x="202" y="482"/>
                </a:lnTo>
                <a:lnTo>
                  <a:pt x="207" y="480"/>
                </a:lnTo>
                <a:lnTo>
                  <a:pt x="213" y="474"/>
                </a:lnTo>
                <a:lnTo>
                  <a:pt x="213" y="474"/>
                </a:lnTo>
                <a:lnTo>
                  <a:pt x="219" y="469"/>
                </a:lnTo>
                <a:lnTo>
                  <a:pt x="223" y="467"/>
                </a:lnTo>
                <a:lnTo>
                  <a:pt x="228" y="467"/>
                </a:lnTo>
                <a:lnTo>
                  <a:pt x="234" y="468"/>
                </a:lnTo>
                <a:lnTo>
                  <a:pt x="238" y="473"/>
                </a:lnTo>
                <a:lnTo>
                  <a:pt x="243" y="480"/>
                </a:lnTo>
                <a:lnTo>
                  <a:pt x="248" y="488"/>
                </a:lnTo>
                <a:lnTo>
                  <a:pt x="253" y="499"/>
                </a:lnTo>
                <a:lnTo>
                  <a:pt x="253" y="499"/>
                </a:lnTo>
                <a:lnTo>
                  <a:pt x="265" y="519"/>
                </a:lnTo>
                <a:lnTo>
                  <a:pt x="269" y="528"/>
                </a:lnTo>
                <a:lnTo>
                  <a:pt x="271" y="536"/>
                </a:lnTo>
                <a:lnTo>
                  <a:pt x="274" y="543"/>
                </a:lnTo>
                <a:lnTo>
                  <a:pt x="274" y="550"/>
                </a:lnTo>
                <a:lnTo>
                  <a:pt x="274" y="557"/>
                </a:lnTo>
                <a:lnTo>
                  <a:pt x="271" y="562"/>
                </a:lnTo>
                <a:lnTo>
                  <a:pt x="271" y="562"/>
                </a:lnTo>
                <a:lnTo>
                  <a:pt x="269" y="566"/>
                </a:lnTo>
                <a:lnTo>
                  <a:pt x="269" y="569"/>
                </a:lnTo>
                <a:lnTo>
                  <a:pt x="271" y="572"/>
                </a:lnTo>
                <a:lnTo>
                  <a:pt x="275" y="575"/>
                </a:lnTo>
                <a:lnTo>
                  <a:pt x="284" y="582"/>
                </a:lnTo>
                <a:lnTo>
                  <a:pt x="298" y="591"/>
                </a:lnTo>
                <a:lnTo>
                  <a:pt x="298" y="591"/>
                </a:lnTo>
                <a:lnTo>
                  <a:pt x="309" y="602"/>
                </a:lnTo>
                <a:lnTo>
                  <a:pt x="314" y="606"/>
                </a:lnTo>
                <a:lnTo>
                  <a:pt x="316" y="611"/>
                </a:lnTo>
                <a:lnTo>
                  <a:pt x="316" y="614"/>
                </a:lnTo>
                <a:lnTo>
                  <a:pt x="315" y="618"/>
                </a:lnTo>
                <a:lnTo>
                  <a:pt x="312" y="621"/>
                </a:lnTo>
                <a:lnTo>
                  <a:pt x="305" y="625"/>
                </a:lnTo>
                <a:lnTo>
                  <a:pt x="305" y="625"/>
                </a:lnTo>
                <a:lnTo>
                  <a:pt x="297" y="627"/>
                </a:lnTo>
                <a:lnTo>
                  <a:pt x="292" y="630"/>
                </a:lnTo>
                <a:lnTo>
                  <a:pt x="289" y="634"/>
                </a:lnTo>
                <a:lnTo>
                  <a:pt x="289" y="638"/>
                </a:lnTo>
                <a:lnTo>
                  <a:pt x="289" y="643"/>
                </a:lnTo>
                <a:lnTo>
                  <a:pt x="292" y="649"/>
                </a:lnTo>
                <a:lnTo>
                  <a:pt x="297" y="655"/>
                </a:lnTo>
                <a:lnTo>
                  <a:pt x="305" y="660"/>
                </a:lnTo>
                <a:lnTo>
                  <a:pt x="305" y="660"/>
                </a:lnTo>
                <a:lnTo>
                  <a:pt x="315" y="673"/>
                </a:lnTo>
                <a:lnTo>
                  <a:pt x="323" y="683"/>
                </a:lnTo>
                <a:lnTo>
                  <a:pt x="330" y="693"/>
                </a:lnTo>
                <a:lnTo>
                  <a:pt x="335" y="697"/>
                </a:lnTo>
                <a:lnTo>
                  <a:pt x="342" y="702"/>
                </a:lnTo>
                <a:lnTo>
                  <a:pt x="342" y="702"/>
                </a:lnTo>
                <a:lnTo>
                  <a:pt x="349" y="706"/>
                </a:lnTo>
                <a:lnTo>
                  <a:pt x="354" y="712"/>
                </a:lnTo>
                <a:lnTo>
                  <a:pt x="359" y="718"/>
                </a:lnTo>
                <a:lnTo>
                  <a:pt x="364" y="724"/>
                </a:lnTo>
                <a:lnTo>
                  <a:pt x="369" y="734"/>
                </a:lnTo>
                <a:lnTo>
                  <a:pt x="370" y="739"/>
                </a:lnTo>
                <a:lnTo>
                  <a:pt x="370" y="739"/>
                </a:lnTo>
                <a:lnTo>
                  <a:pt x="389" y="726"/>
                </a:lnTo>
                <a:lnTo>
                  <a:pt x="406" y="714"/>
                </a:lnTo>
                <a:lnTo>
                  <a:pt x="423" y="704"/>
                </a:lnTo>
                <a:lnTo>
                  <a:pt x="439" y="696"/>
                </a:lnTo>
                <a:lnTo>
                  <a:pt x="454" y="690"/>
                </a:lnTo>
                <a:lnTo>
                  <a:pt x="467" y="684"/>
                </a:lnTo>
                <a:lnTo>
                  <a:pt x="479" y="682"/>
                </a:lnTo>
                <a:lnTo>
                  <a:pt x="489" y="680"/>
                </a:lnTo>
                <a:lnTo>
                  <a:pt x="489" y="680"/>
                </a:lnTo>
                <a:lnTo>
                  <a:pt x="514" y="678"/>
                </a:lnTo>
                <a:lnTo>
                  <a:pt x="537" y="675"/>
                </a:lnTo>
                <a:lnTo>
                  <a:pt x="574" y="671"/>
                </a:lnTo>
                <a:lnTo>
                  <a:pt x="602" y="665"/>
                </a:lnTo>
                <a:lnTo>
                  <a:pt x="621" y="659"/>
                </a:lnTo>
                <a:lnTo>
                  <a:pt x="635" y="653"/>
                </a:lnTo>
                <a:lnTo>
                  <a:pt x="645" y="649"/>
                </a:lnTo>
                <a:lnTo>
                  <a:pt x="654" y="646"/>
                </a:lnTo>
                <a:lnTo>
                  <a:pt x="657" y="645"/>
                </a:lnTo>
                <a:lnTo>
                  <a:pt x="660" y="646"/>
                </a:lnTo>
                <a:lnTo>
                  <a:pt x="660" y="646"/>
                </a:lnTo>
                <a:lnTo>
                  <a:pt x="677" y="649"/>
                </a:lnTo>
                <a:lnTo>
                  <a:pt x="692" y="652"/>
                </a:lnTo>
                <a:lnTo>
                  <a:pt x="706" y="658"/>
                </a:lnTo>
                <a:lnTo>
                  <a:pt x="723" y="665"/>
                </a:lnTo>
                <a:lnTo>
                  <a:pt x="739" y="673"/>
                </a:lnTo>
                <a:lnTo>
                  <a:pt x="754" y="682"/>
                </a:lnTo>
                <a:lnTo>
                  <a:pt x="770" y="693"/>
                </a:lnTo>
                <a:lnTo>
                  <a:pt x="786" y="704"/>
                </a:lnTo>
                <a:lnTo>
                  <a:pt x="817" y="729"/>
                </a:lnTo>
                <a:lnTo>
                  <a:pt x="848" y="757"/>
                </a:lnTo>
                <a:lnTo>
                  <a:pt x="879" y="786"/>
                </a:lnTo>
                <a:lnTo>
                  <a:pt x="910" y="817"/>
                </a:lnTo>
                <a:lnTo>
                  <a:pt x="968" y="877"/>
                </a:lnTo>
                <a:lnTo>
                  <a:pt x="1022" y="933"/>
                </a:lnTo>
                <a:lnTo>
                  <a:pt x="1046" y="956"/>
                </a:lnTo>
                <a:lnTo>
                  <a:pt x="1069" y="977"/>
                </a:lnTo>
                <a:lnTo>
                  <a:pt x="1079" y="985"/>
                </a:lnTo>
                <a:lnTo>
                  <a:pt x="1090" y="992"/>
                </a:lnTo>
                <a:lnTo>
                  <a:pt x="1100" y="997"/>
                </a:lnTo>
                <a:lnTo>
                  <a:pt x="1109" y="1002"/>
                </a:lnTo>
                <a:lnTo>
                  <a:pt x="1109" y="1002"/>
                </a:lnTo>
                <a:lnTo>
                  <a:pt x="1120" y="1006"/>
                </a:lnTo>
                <a:lnTo>
                  <a:pt x="1130" y="1008"/>
                </a:lnTo>
                <a:lnTo>
                  <a:pt x="1140" y="1007"/>
                </a:lnTo>
                <a:lnTo>
                  <a:pt x="1149" y="1006"/>
                </a:lnTo>
                <a:lnTo>
                  <a:pt x="1159" y="1002"/>
                </a:lnTo>
                <a:lnTo>
                  <a:pt x="1168" y="997"/>
                </a:lnTo>
                <a:lnTo>
                  <a:pt x="1187" y="986"/>
                </a:lnTo>
                <a:lnTo>
                  <a:pt x="1206" y="974"/>
                </a:lnTo>
                <a:lnTo>
                  <a:pt x="1225" y="963"/>
                </a:lnTo>
                <a:lnTo>
                  <a:pt x="1236" y="958"/>
                </a:lnTo>
                <a:lnTo>
                  <a:pt x="1247" y="955"/>
                </a:lnTo>
                <a:lnTo>
                  <a:pt x="1259" y="953"/>
                </a:lnTo>
                <a:lnTo>
                  <a:pt x="1270" y="951"/>
                </a:lnTo>
                <a:lnTo>
                  <a:pt x="1270" y="951"/>
                </a:lnTo>
                <a:lnTo>
                  <a:pt x="1314" y="951"/>
                </a:lnTo>
                <a:lnTo>
                  <a:pt x="1351" y="953"/>
                </a:lnTo>
                <a:lnTo>
                  <a:pt x="1403" y="955"/>
                </a:lnTo>
                <a:lnTo>
                  <a:pt x="1403" y="955"/>
                </a:lnTo>
                <a:lnTo>
                  <a:pt x="1418" y="922"/>
                </a:lnTo>
                <a:lnTo>
                  <a:pt x="1426" y="870"/>
                </a:lnTo>
                <a:lnTo>
                  <a:pt x="1439" y="851"/>
                </a:lnTo>
                <a:lnTo>
                  <a:pt x="1439" y="851"/>
                </a:lnTo>
                <a:lnTo>
                  <a:pt x="1439" y="851"/>
                </a:lnTo>
                <a:lnTo>
                  <a:pt x="1439" y="851"/>
                </a:lnTo>
                <a:lnTo>
                  <a:pt x="1439" y="850"/>
                </a:lnTo>
                <a:lnTo>
                  <a:pt x="1442" y="847"/>
                </a:lnTo>
                <a:lnTo>
                  <a:pt x="1444" y="842"/>
                </a:lnTo>
                <a:lnTo>
                  <a:pt x="1444" y="841"/>
                </a:lnTo>
                <a:lnTo>
                  <a:pt x="1443" y="841"/>
                </a:lnTo>
                <a:lnTo>
                  <a:pt x="1443" y="841"/>
                </a:lnTo>
                <a:lnTo>
                  <a:pt x="1443" y="84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ct val="260000"/>
              </a:spcAft>
              <a:defRPr/>
            </a:pPr>
            <a:endParaRPr lang="ru-RU" sz="1600" b="1" dirty="0">
              <a:ln w="3175" cmpd="sng">
                <a:solidFill>
                  <a:srgbClr val="FFFFFF"/>
                </a:solidFill>
                <a:prstDash val="solid"/>
                <a:miter lim="800000"/>
              </a:ln>
              <a:solidFill>
                <a:srgbClr val="C00000"/>
              </a:solidFill>
            </a:endParaRPr>
          </a:p>
        </p:txBody>
      </p:sp>
      <p:sp>
        <p:nvSpPr>
          <p:cNvPr id="105" name="Freeform 100"/>
          <p:cNvSpPr>
            <a:spLocks/>
          </p:cNvSpPr>
          <p:nvPr/>
        </p:nvSpPr>
        <p:spPr bwMode="auto">
          <a:xfrm>
            <a:off x="2840038" y="2955925"/>
            <a:ext cx="1474787" cy="2327275"/>
          </a:xfrm>
          <a:custGeom>
            <a:avLst/>
            <a:gdLst/>
            <a:ahLst/>
            <a:cxnLst>
              <a:cxn ang="0">
                <a:pos x="1756" y="1708"/>
              </a:cxn>
              <a:cxn ang="0">
                <a:pos x="1782" y="1553"/>
              </a:cxn>
              <a:cxn ang="0">
                <a:pos x="1704" y="1391"/>
              </a:cxn>
              <a:cxn ang="0">
                <a:pos x="1649" y="1210"/>
              </a:cxn>
              <a:cxn ang="0">
                <a:pos x="1613" y="918"/>
              </a:cxn>
              <a:cxn ang="0">
                <a:pos x="1655" y="827"/>
              </a:cxn>
              <a:cxn ang="0">
                <a:pos x="1586" y="721"/>
              </a:cxn>
              <a:cxn ang="0">
                <a:pos x="1507" y="567"/>
              </a:cxn>
              <a:cxn ang="0">
                <a:pos x="1537" y="377"/>
              </a:cxn>
              <a:cxn ang="0">
                <a:pos x="1578" y="272"/>
              </a:cxn>
              <a:cxn ang="0">
                <a:pos x="1467" y="217"/>
              </a:cxn>
              <a:cxn ang="0">
                <a:pos x="1387" y="249"/>
              </a:cxn>
              <a:cxn ang="0">
                <a:pos x="1484" y="433"/>
              </a:cxn>
              <a:cxn ang="0">
                <a:pos x="1339" y="322"/>
              </a:cxn>
              <a:cxn ang="0">
                <a:pos x="1372" y="73"/>
              </a:cxn>
              <a:cxn ang="0">
                <a:pos x="1278" y="223"/>
              </a:cxn>
              <a:cxn ang="0">
                <a:pos x="1241" y="456"/>
              </a:cxn>
              <a:cxn ang="0">
                <a:pos x="1224" y="680"/>
              </a:cxn>
              <a:cxn ang="0">
                <a:pos x="1382" y="811"/>
              </a:cxn>
              <a:cxn ang="0">
                <a:pos x="1399" y="949"/>
              </a:cxn>
              <a:cxn ang="0">
                <a:pos x="1326" y="853"/>
              </a:cxn>
              <a:cxn ang="0">
                <a:pos x="1214" y="712"/>
              </a:cxn>
              <a:cxn ang="0">
                <a:pos x="1116" y="960"/>
              </a:cxn>
              <a:cxn ang="0">
                <a:pos x="925" y="1033"/>
              </a:cxn>
              <a:cxn ang="0">
                <a:pos x="836" y="935"/>
              </a:cxn>
              <a:cxn ang="0">
                <a:pos x="970" y="1007"/>
              </a:cxn>
              <a:cxn ang="0">
                <a:pos x="1154" y="775"/>
              </a:cxn>
              <a:cxn ang="0">
                <a:pos x="1193" y="398"/>
              </a:cxn>
              <a:cxn ang="0">
                <a:pos x="1207" y="215"/>
              </a:cxn>
              <a:cxn ang="0">
                <a:pos x="1211" y="48"/>
              </a:cxn>
              <a:cxn ang="0">
                <a:pos x="1050" y="120"/>
              </a:cxn>
              <a:cxn ang="0">
                <a:pos x="896" y="288"/>
              </a:cxn>
              <a:cxn ang="0">
                <a:pos x="829" y="475"/>
              </a:cxn>
              <a:cxn ang="0">
                <a:pos x="904" y="637"/>
              </a:cxn>
              <a:cxn ang="0">
                <a:pos x="771" y="540"/>
              </a:cxn>
              <a:cxn ang="0">
                <a:pos x="722" y="612"/>
              </a:cxn>
              <a:cxn ang="0">
                <a:pos x="707" y="744"/>
              </a:cxn>
              <a:cxn ang="0">
                <a:pos x="369" y="946"/>
              </a:cxn>
              <a:cxn ang="0">
                <a:pos x="224" y="994"/>
              </a:cxn>
              <a:cxn ang="0">
                <a:pos x="88" y="1177"/>
              </a:cxn>
              <a:cxn ang="0">
                <a:pos x="15" y="1408"/>
              </a:cxn>
              <a:cxn ang="0">
                <a:pos x="146" y="1590"/>
              </a:cxn>
              <a:cxn ang="0">
                <a:pos x="153" y="1860"/>
              </a:cxn>
              <a:cxn ang="0">
                <a:pos x="239" y="2018"/>
              </a:cxn>
              <a:cxn ang="0">
                <a:pos x="101" y="2245"/>
              </a:cxn>
              <a:cxn ang="0">
                <a:pos x="114" y="2393"/>
              </a:cxn>
              <a:cxn ang="0">
                <a:pos x="223" y="2477"/>
              </a:cxn>
              <a:cxn ang="0">
                <a:pos x="305" y="2606"/>
              </a:cxn>
              <a:cxn ang="0">
                <a:pos x="456" y="2660"/>
              </a:cxn>
              <a:cxn ang="0">
                <a:pos x="514" y="2508"/>
              </a:cxn>
              <a:cxn ang="0">
                <a:pos x="582" y="2380"/>
              </a:cxn>
              <a:cxn ang="0">
                <a:pos x="524" y="2356"/>
              </a:cxn>
              <a:cxn ang="0">
                <a:pos x="611" y="2199"/>
              </a:cxn>
              <a:cxn ang="0">
                <a:pos x="650" y="2273"/>
              </a:cxn>
              <a:cxn ang="0">
                <a:pos x="863" y="2313"/>
              </a:cxn>
              <a:cxn ang="0">
                <a:pos x="991" y="2166"/>
              </a:cxn>
              <a:cxn ang="0">
                <a:pos x="1124" y="1985"/>
              </a:cxn>
              <a:cxn ang="0">
                <a:pos x="1350" y="2010"/>
              </a:cxn>
              <a:cxn ang="0">
                <a:pos x="1536" y="2027"/>
              </a:cxn>
              <a:cxn ang="0">
                <a:pos x="1655" y="2018"/>
              </a:cxn>
              <a:cxn ang="0">
                <a:pos x="1739" y="1914"/>
              </a:cxn>
            </a:cxnLst>
            <a:rect l="0" t="0" r="r" b="b"/>
            <a:pathLst>
              <a:path w="1803" h="2669">
                <a:moveTo>
                  <a:pt x="1677" y="1810"/>
                </a:moveTo>
                <a:lnTo>
                  <a:pt x="1677" y="1810"/>
                </a:lnTo>
                <a:lnTo>
                  <a:pt x="1685" y="1807"/>
                </a:lnTo>
                <a:lnTo>
                  <a:pt x="1691" y="1806"/>
                </a:lnTo>
                <a:lnTo>
                  <a:pt x="1697" y="1805"/>
                </a:lnTo>
                <a:lnTo>
                  <a:pt x="1704" y="1802"/>
                </a:lnTo>
                <a:lnTo>
                  <a:pt x="1704" y="1802"/>
                </a:lnTo>
                <a:lnTo>
                  <a:pt x="1707" y="1798"/>
                </a:lnTo>
                <a:lnTo>
                  <a:pt x="1710" y="1795"/>
                </a:lnTo>
                <a:lnTo>
                  <a:pt x="1711" y="1789"/>
                </a:lnTo>
                <a:lnTo>
                  <a:pt x="1712" y="1783"/>
                </a:lnTo>
                <a:lnTo>
                  <a:pt x="1713" y="1771"/>
                </a:lnTo>
                <a:lnTo>
                  <a:pt x="1715" y="1758"/>
                </a:lnTo>
                <a:lnTo>
                  <a:pt x="1715" y="1758"/>
                </a:lnTo>
                <a:lnTo>
                  <a:pt x="1716" y="1752"/>
                </a:lnTo>
                <a:lnTo>
                  <a:pt x="1719" y="1748"/>
                </a:lnTo>
                <a:lnTo>
                  <a:pt x="1726" y="1738"/>
                </a:lnTo>
                <a:lnTo>
                  <a:pt x="1733" y="1731"/>
                </a:lnTo>
                <a:lnTo>
                  <a:pt x="1741" y="1725"/>
                </a:lnTo>
                <a:lnTo>
                  <a:pt x="1749" y="1717"/>
                </a:lnTo>
                <a:lnTo>
                  <a:pt x="1756" y="1708"/>
                </a:lnTo>
                <a:lnTo>
                  <a:pt x="1759" y="1704"/>
                </a:lnTo>
                <a:lnTo>
                  <a:pt x="1760" y="1699"/>
                </a:lnTo>
                <a:lnTo>
                  <a:pt x="1761" y="1693"/>
                </a:lnTo>
                <a:lnTo>
                  <a:pt x="1762" y="1688"/>
                </a:lnTo>
                <a:lnTo>
                  <a:pt x="1762" y="1688"/>
                </a:lnTo>
                <a:lnTo>
                  <a:pt x="1761" y="1676"/>
                </a:lnTo>
                <a:lnTo>
                  <a:pt x="1758" y="1666"/>
                </a:lnTo>
                <a:lnTo>
                  <a:pt x="1754" y="1657"/>
                </a:lnTo>
                <a:lnTo>
                  <a:pt x="1750" y="1649"/>
                </a:lnTo>
                <a:lnTo>
                  <a:pt x="1741" y="1634"/>
                </a:lnTo>
                <a:lnTo>
                  <a:pt x="1737" y="1626"/>
                </a:lnTo>
                <a:lnTo>
                  <a:pt x="1736" y="1619"/>
                </a:lnTo>
                <a:lnTo>
                  <a:pt x="1736" y="1619"/>
                </a:lnTo>
                <a:lnTo>
                  <a:pt x="1737" y="1607"/>
                </a:lnTo>
                <a:lnTo>
                  <a:pt x="1739" y="1598"/>
                </a:lnTo>
                <a:lnTo>
                  <a:pt x="1743" y="1590"/>
                </a:lnTo>
                <a:lnTo>
                  <a:pt x="1746" y="1583"/>
                </a:lnTo>
                <a:lnTo>
                  <a:pt x="1752" y="1577"/>
                </a:lnTo>
                <a:lnTo>
                  <a:pt x="1758" y="1573"/>
                </a:lnTo>
                <a:lnTo>
                  <a:pt x="1769" y="1562"/>
                </a:lnTo>
                <a:lnTo>
                  <a:pt x="1782" y="1553"/>
                </a:lnTo>
                <a:lnTo>
                  <a:pt x="1788" y="1547"/>
                </a:lnTo>
                <a:lnTo>
                  <a:pt x="1792" y="1542"/>
                </a:lnTo>
                <a:lnTo>
                  <a:pt x="1797" y="1534"/>
                </a:lnTo>
                <a:lnTo>
                  <a:pt x="1800" y="1525"/>
                </a:lnTo>
                <a:lnTo>
                  <a:pt x="1803" y="1515"/>
                </a:lnTo>
                <a:lnTo>
                  <a:pt x="1803" y="1504"/>
                </a:lnTo>
                <a:lnTo>
                  <a:pt x="1803" y="1504"/>
                </a:lnTo>
                <a:lnTo>
                  <a:pt x="1802" y="1483"/>
                </a:lnTo>
                <a:lnTo>
                  <a:pt x="1799" y="1465"/>
                </a:lnTo>
                <a:lnTo>
                  <a:pt x="1797" y="1447"/>
                </a:lnTo>
                <a:lnTo>
                  <a:pt x="1795" y="1430"/>
                </a:lnTo>
                <a:lnTo>
                  <a:pt x="1795" y="1430"/>
                </a:lnTo>
                <a:lnTo>
                  <a:pt x="1784" y="1430"/>
                </a:lnTo>
                <a:lnTo>
                  <a:pt x="1771" y="1428"/>
                </a:lnTo>
                <a:lnTo>
                  <a:pt x="1756" y="1423"/>
                </a:lnTo>
                <a:lnTo>
                  <a:pt x="1739" y="1418"/>
                </a:lnTo>
                <a:lnTo>
                  <a:pt x="1726" y="1412"/>
                </a:lnTo>
                <a:lnTo>
                  <a:pt x="1714" y="1405"/>
                </a:lnTo>
                <a:lnTo>
                  <a:pt x="1710" y="1400"/>
                </a:lnTo>
                <a:lnTo>
                  <a:pt x="1706" y="1395"/>
                </a:lnTo>
                <a:lnTo>
                  <a:pt x="1704" y="1391"/>
                </a:lnTo>
                <a:lnTo>
                  <a:pt x="1704" y="1386"/>
                </a:lnTo>
                <a:lnTo>
                  <a:pt x="1704" y="1386"/>
                </a:lnTo>
                <a:lnTo>
                  <a:pt x="1704" y="1382"/>
                </a:lnTo>
                <a:lnTo>
                  <a:pt x="1705" y="1377"/>
                </a:lnTo>
                <a:lnTo>
                  <a:pt x="1710" y="1369"/>
                </a:lnTo>
                <a:lnTo>
                  <a:pt x="1714" y="1362"/>
                </a:lnTo>
                <a:lnTo>
                  <a:pt x="1719" y="1357"/>
                </a:lnTo>
                <a:lnTo>
                  <a:pt x="1719" y="1357"/>
                </a:lnTo>
                <a:lnTo>
                  <a:pt x="1715" y="1287"/>
                </a:lnTo>
                <a:lnTo>
                  <a:pt x="1715" y="1287"/>
                </a:lnTo>
                <a:lnTo>
                  <a:pt x="1715" y="1287"/>
                </a:lnTo>
                <a:lnTo>
                  <a:pt x="1692" y="1273"/>
                </a:lnTo>
                <a:lnTo>
                  <a:pt x="1681" y="1267"/>
                </a:lnTo>
                <a:lnTo>
                  <a:pt x="1670" y="1259"/>
                </a:lnTo>
                <a:lnTo>
                  <a:pt x="1661" y="1249"/>
                </a:lnTo>
                <a:lnTo>
                  <a:pt x="1658" y="1244"/>
                </a:lnTo>
                <a:lnTo>
                  <a:pt x="1654" y="1238"/>
                </a:lnTo>
                <a:lnTo>
                  <a:pt x="1652" y="1232"/>
                </a:lnTo>
                <a:lnTo>
                  <a:pt x="1650" y="1225"/>
                </a:lnTo>
                <a:lnTo>
                  <a:pt x="1649" y="1218"/>
                </a:lnTo>
                <a:lnTo>
                  <a:pt x="1649" y="1210"/>
                </a:lnTo>
                <a:lnTo>
                  <a:pt x="1649" y="1210"/>
                </a:lnTo>
                <a:lnTo>
                  <a:pt x="1649" y="1111"/>
                </a:lnTo>
                <a:lnTo>
                  <a:pt x="1649" y="1111"/>
                </a:lnTo>
                <a:lnTo>
                  <a:pt x="1647" y="1100"/>
                </a:lnTo>
                <a:lnTo>
                  <a:pt x="1645" y="1091"/>
                </a:lnTo>
                <a:lnTo>
                  <a:pt x="1643" y="1085"/>
                </a:lnTo>
                <a:lnTo>
                  <a:pt x="1638" y="1080"/>
                </a:lnTo>
                <a:lnTo>
                  <a:pt x="1628" y="1072"/>
                </a:lnTo>
                <a:lnTo>
                  <a:pt x="1622" y="1066"/>
                </a:lnTo>
                <a:lnTo>
                  <a:pt x="1615" y="1059"/>
                </a:lnTo>
                <a:lnTo>
                  <a:pt x="1615" y="1059"/>
                </a:lnTo>
                <a:lnTo>
                  <a:pt x="1612" y="1050"/>
                </a:lnTo>
                <a:lnTo>
                  <a:pt x="1608" y="1034"/>
                </a:lnTo>
                <a:lnTo>
                  <a:pt x="1600" y="992"/>
                </a:lnTo>
                <a:lnTo>
                  <a:pt x="1590" y="935"/>
                </a:lnTo>
                <a:lnTo>
                  <a:pt x="1590" y="935"/>
                </a:lnTo>
                <a:lnTo>
                  <a:pt x="1590" y="929"/>
                </a:lnTo>
                <a:lnTo>
                  <a:pt x="1593" y="925"/>
                </a:lnTo>
                <a:lnTo>
                  <a:pt x="1597" y="921"/>
                </a:lnTo>
                <a:lnTo>
                  <a:pt x="1603" y="920"/>
                </a:lnTo>
                <a:lnTo>
                  <a:pt x="1613" y="918"/>
                </a:lnTo>
                <a:lnTo>
                  <a:pt x="1623" y="916"/>
                </a:lnTo>
                <a:lnTo>
                  <a:pt x="1623" y="916"/>
                </a:lnTo>
                <a:lnTo>
                  <a:pt x="1628" y="911"/>
                </a:lnTo>
                <a:lnTo>
                  <a:pt x="1634" y="905"/>
                </a:lnTo>
                <a:lnTo>
                  <a:pt x="1637" y="900"/>
                </a:lnTo>
                <a:lnTo>
                  <a:pt x="1642" y="893"/>
                </a:lnTo>
                <a:lnTo>
                  <a:pt x="1644" y="885"/>
                </a:lnTo>
                <a:lnTo>
                  <a:pt x="1646" y="878"/>
                </a:lnTo>
                <a:lnTo>
                  <a:pt x="1647" y="871"/>
                </a:lnTo>
                <a:lnTo>
                  <a:pt x="1649" y="865"/>
                </a:lnTo>
                <a:lnTo>
                  <a:pt x="1649" y="865"/>
                </a:lnTo>
                <a:lnTo>
                  <a:pt x="1652" y="865"/>
                </a:lnTo>
                <a:lnTo>
                  <a:pt x="1649" y="857"/>
                </a:lnTo>
                <a:lnTo>
                  <a:pt x="1649" y="857"/>
                </a:lnTo>
                <a:lnTo>
                  <a:pt x="1649" y="857"/>
                </a:lnTo>
                <a:lnTo>
                  <a:pt x="1647" y="851"/>
                </a:lnTo>
                <a:lnTo>
                  <a:pt x="1646" y="845"/>
                </a:lnTo>
                <a:lnTo>
                  <a:pt x="1645" y="835"/>
                </a:lnTo>
                <a:lnTo>
                  <a:pt x="1645" y="835"/>
                </a:lnTo>
                <a:lnTo>
                  <a:pt x="1651" y="832"/>
                </a:lnTo>
                <a:lnTo>
                  <a:pt x="1655" y="827"/>
                </a:lnTo>
                <a:lnTo>
                  <a:pt x="1659" y="822"/>
                </a:lnTo>
                <a:lnTo>
                  <a:pt x="1661" y="818"/>
                </a:lnTo>
                <a:lnTo>
                  <a:pt x="1662" y="812"/>
                </a:lnTo>
                <a:lnTo>
                  <a:pt x="1662" y="806"/>
                </a:lnTo>
                <a:lnTo>
                  <a:pt x="1663" y="791"/>
                </a:lnTo>
                <a:lnTo>
                  <a:pt x="1663" y="791"/>
                </a:lnTo>
                <a:lnTo>
                  <a:pt x="1662" y="783"/>
                </a:lnTo>
                <a:lnTo>
                  <a:pt x="1661" y="776"/>
                </a:lnTo>
                <a:lnTo>
                  <a:pt x="1660" y="771"/>
                </a:lnTo>
                <a:lnTo>
                  <a:pt x="1658" y="765"/>
                </a:lnTo>
                <a:lnTo>
                  <a:pt x="1652" y="755"/>
                </a:lnTo>
                <a:lnTo>
                  <a:pt x="1645" y="746"/>
                </a:lnTo>
                <a:lnTo>
                  <a:pt x="1629" y="733"/>
                </a:lnTo>
                <a:lnTo>
                  <a:pt x="1622" y="726"/>
                </a:lnTo>
                <a:lnTo>
                  <a:pt x="1615" y="718"/>
                </a:lnTo>
                <a:lnTo>
                  <a:pt x="1615" y="718"/>
                </a:lnTo>
                <a:lnTo>
                  <a:pt x="1609" y="717"/>
                </a:lnTo>
                <a:lnTo>
                  <a:pt x="1605" y="719"/>
                </a:lnTo>
                <a:lnTo>
                  <a:pt x="1598" y="720"/>
                </a:lnTo>
                <a:lnTo>
                  <a:pt x="1593" y="721"/>
                </a:lnTo>
                <a:lnTo>
                  <a:pt x="1586" y="721"/>
                </a:lnTo>
                <a:lnTo>
                  <a:pt x="1586" y="721"/>
                </a:lnTo>
                <a:lnTo>
                  <a:pt x="1578" y="721"/>
                </a:lnTo>
                <a:lnTo>
                  <a:pt x="1571" y="719"/>
                </a:lnTo>
                <a:lnTo>
                  <a:pt x="1563" y="715"/>
                </a:lnTo>
                <a:lnTo>
                  <a:pt x="1554" y="711"/>
                </a:lnTo>
                <a:lnTo>
                  <a:pt x="1546" y="706"/>
                </a:lnTo>
                <a:lnTo>
                  <a:pt x="1537" y="699"/>
                </a:lnTo>
                <a:lnTo>
                  <a:pt x="1521" y="685"/>
                </a:lnTo>
                <a:lnTo>
                  <a:pt x="1506" y="671"/>
                </a:lnTo>
                <a:lnTo>
                  <a:pt x="1500" y="661"/>
                </a:lnTo>
                <a:lnTo>
                  <a:pt x="1494" y="653"/>
                </a:lnTo>
                <a:lnTo>
                  <a:pt x="1490" y="645"/>
                </a:lnTo>
                <a:lnTo>
                  <a:pt x="1486" y="637"/>
                </a:lnTo>
                <a:lnTo>
                  <a:pt x="1484" y="630"/>
                </a:lnTo>
                <a:lnTo>
                  <a:pt x="1483" y="622"/>
                </a:lnTo>
                <a:lnTo>
                  <a:pt x="1483" y="622"/>
                </a:lnTo>
                <a:lnTo>
                  <a:pt x="1484" y="607"/>
                </a:lnTo>
                <a:lnTo>
                  <a:pt x="1487" y="593"/>
                </a:lnTo>
                <a:lnTo>
                  <a:pt x="1492" y="583"/>
                </a:lnTo>
                <a:lnTo>
                  <a:pt x="1499" y="574"/>
                </a:lnTo>
                <a:lnTo>
                  <a:pt x="1507" y="567"/>
                </a:lnTo>
                <a:lnTo>
                  <a:pt x="1515" y="561"/>
                </a:lnTo>
                <a:lnTo>
                  <a:pt x="1535" y="551"/>
                </a:lnTo>
                <a:lnTo>
                  <a:pt x="1553" y="539"/>
                </a:lnTo>
                <a:lnTo>
                  <a:pt x="1562" y="534"/>
                </a:lnTo>
                <a:lnTo>
                  <a:pt x="1570" y="526"/>
                </a:lnTo>
                <a:lnTo>
                  <a:pt x="1576" y="516"/>
                </a:lnTo>
                <a:lnTo>
                  <a:pt x="1582" y="506"/>
                </a:lnTo>
                <a:lnTo>
                  <a:pt x="1585" y="492"/>
                </a:lnTo>
                <a:lnTo>
                  <a:pt x="1586" y="476"/>
                </a:lnTo>
                <a:lnTo>
                  <a:pt x="1586" y="476"/>
                </a:lnTo>
                <a:lnTo>
                  <a:pt x="1585" y="466"/>
                </a:lnTo>
                <a:lnTo>
                  <a:pt x="1584" y="455"/>
                </a:lnTo>
                <a:lnTo>
                  <a:pt x="1581" y="446"/>
                </a:lnTo>
                <a:lnTo>
                  <a:pt x="1578" y="438"/>
                </a:lnTo>
                <a:lnTo>
                  <a:pt x="1574" y="431"/>
                </a:lnTo>
                <a:lnTo>
                  <a:pt x="1570" y="423"/>
                </a:lnTo>
                <a:lnTo>
                  <a:pt x="1560" y="410"/>
                </a:lnTo>
                <a:lnTo>
                  <a:pt x="1551" y="399"/>
                </a:lnTo>
                <a:lnTo>
                  <a:pt x="1543" y="387"/>
                </a:lnTo>
                <a:lnTo>
                  <a:pt x="1539" y="383"/>
                </a:lnTo>
                <a:lnTo>
                  <a:pt x="1537" y="377"/>
                </a:lnTo>
                <a:lnTo>
                  <a:pt x="1536" y="371"/>
                </a:lnTo>
                <a:lnTo>
                  <a:pt x="1535" y="366"/>
                </a:lnTo>
                <a:lnTo>
                  <a:pt x="1535" y="366"/>
                </a:lnTo>
                <a:lnTo>
                  <a:pt x="1536" y="359"/>
                </a:lnTo>
                <a:lnTo>
                  <a:pt x="1537" y="354"/>
                </a:lnTo>
                <a:lnTo>
                  <a:pt x="1540" y="351"/>
                </a:lnTo>
                <a:lnTo>
                  <a:pt x="1544" y="347"/>
                </a:lnTo>
                <a:lnTo>
                  <a:pt x="1553" y="344"/>
                </a:lnTo>
                <a:lnTo>
                  <a:pt x="1563" y="339"/>
                </a:lnTo>
                <a:lnTo>
                  <a:pt x="1568" y="337"/>
                </a:lnTo>
                <a:lnTo>
                  <a:pt x="1573" y="335"/>
                </a:lnTo>
                <a:lnTo>
                  <a:pt x="1577" y="331"/>
                </a:lnTo>
                <a:lnTo>
                  <a:pt x="1581" y="326"/>
                </a:lnTo>
                <a:lnTo>
                  <a:pt x="1584" y="320"/>
                </a:lnTo>
                <a:lnTo>
                  <a:pt x="1586" y="313"/>
                </a:lnTo>
                <a:lnTo>
                  <a:pt x="1586" y="303"/>
                </a:lnTo>
                <a:lnTo>
                  <a:pt x="1586" y="292"/>
                </a:lnTo>
                <a:lnTo>
                  <a:pt x="1586" y="292"/>
                </a:lnTo>
                <a:lnTo>
                  <a:pt x="1584" y="284"/>
                </a:lnTo>
                <a:lnTo>
                  <a:pt x="1582" y="278"/>
                </a:lnTo>
                <a:lnTo>
                  <a:pt x="1578" y="272"/>
                </a:lnTo>
                <a:lnTo>
                  <a:pt x="1574" y="269"/>
                </a:lnTo>
                <a:lnTo>
                  <a:pt x="1568" y="265"/>
                </a:lnTo>
                <a:lnTo>
                  <a:pt x="1562" y="262"/>
                </a:lnTo>
                <a:lnTo>
                  <a:pt x="1550" y="257"/>
                </a:lnTo>
                <a:lnTo>
                  <a:pt x="1537" y="253"/>
                </a:lnTo>
                <a:lnTo>
                  <a:pt x="1531" y="251"/>
                </a:lnTo>
                <a:lnTo>
                  <a:pt x="1527" y="247"/>
                </a:lnTo>
                <a:lnTo>
                  <a:pt x="1522" y="244"/>
                </a:lnTo>
                <a:lnTo>
                  <a:pt x="1519" y="239"/>
                </a:lnTo>
                <a:lnTo>
                  <a:pt x="1516" y="233"/>
                </a:lnTo>
                <a:lnTo>
                  <a:pt x="1516" y="226"/>
                </a:lnTo>
                <a:lnTo>
                  <a:pt x="1516" y="226"/>
                </a:lnTo>
                <a:lnTo>
                  <a:pt x="1515" y="213"/>
                </a:lnTo>
                <a:lnTo>
                  <a:pt x="1516" y="207"/>
                </a:lnTo>
                <a:lnTo>
                  <a:pt x="1520" y="200"/>
                </a:lnTo>
                <a:lnTo>
                  <a:pt x="1520" y="200"/>
                </a:lnTo>
                <a:lnTo>
                  <a:pt x="1502" y="203"/>
                </a:lnTo>
                <a:lnTo>
                  <a:pt x="1485" y="207"/>
                </a:lnTo>
                <a:lnTo>
                  <a:pt x="1478" y="210"/>
                </a:lnTo>
                <a:lnTo>
                  <a:pt x="1471" y="213"/>
                </a:lnTo>
                <a:lnTo>
                  <a:pt x="1467" y="217"/>
                </a:lnTo>
                <a:lnTo>
                  <a:pt x="1464" y="223"/>
                </a:lnTo>
                <a:lnTo>
                  <a:pt x="1464" y="223"/>
                </a:lnTo>
                <a:lnTo>
                  <a:pt x="1476" y="234"/>
                </a:lnTo>
                <a:lnTo>
                  <a:pt x="1484" y="245"/>
                </a:lnTo>
                <a:lnTo>
                  <a:pt x="1490" y="254"/>
                </a:lnTo>
                <a:lnTo>
                  <a:pt x="1492" y="261"/>
                </a:lnTo>
                <a:lnTo>
                  <a:pt x="1493" y="268"/>
                </a:lnTo>
                <a:lnTo>
                  <a:pt x="1492" y="271"/>
                </a:lnTo>
                <a:lnTo>
                  <a:pt x="1490" y="274"/>
                </a:lnTo>
                <a:lnTo>
                  <a:pt x="1484" y="275"/>
                </a:lnTo>
                <a:lnTo>
                  <a:pt x="1478" y="275"/>
                </a:lnTo>
                <a:lnTo>
                  <a:pt x="1470" y="272"/>
                </a:lnTo>
                <a:lnTo>
                  <a:pt x="1461" y="269"/>
                </a:lnTo>
                <a:lnTo>
                  <a:pt x="1451" y="264"/>
                </a:lnTo>
                <a:lnTo>
                  <a:pt x="1439" y="257"/>
                </a:lnTo>
                <a:lnTo>
                  <a:pt x="1428" y="249"/>
                </a:lnTo>
                <a:lnTo>
                  <a:pt x="1415" y="240"/>
                </a:lnTo>
                <a:lnTo>
                  <a:pt x="1402" y="230"/>
                </a:lnTo>
                <a:lnTo>
                  <a:pt x="1402" y="230"/>
                </a:lnTo>
                <a:lnTo>
                  <a:pt x="1395" y="239"/>
                </a:lnTo>
                <a:lnTo>
                  <a:pt x="1387" y="249"/>
                </a:lnTo>
                <a:lnTo>
                  <a:pt x="1383" y="255"/>
                </a:lnTo>
                <a:lnTo>
                  <a:pt x="1379" y="262"/>
                </a:lnTo>
                <a:lnTo>
                  <a:pt x="1377" y="269"/>
                </a:lnTo>
                <a:lnTo>
                  <a:pt x="1376" y="276"/>
                </a:lnTo>
                <a:lnTo>
                  <a:pt x="1376" y="284"/>
                </a:lnTo>
                <a:lnTo>
                  <a:pt x="1379" y="292"/>
                </a:lnTo>
                <a:lnTo>
                  <a:pt x="1384" y="301"/>
                </a:lnTo>
                <a:lnTo>
                  <a:pt x="1391" y="310"/>
                </a:lnTo>
                <a:lnTo>
                  <a:pt x="1401" y="320"/>
                </a:lnTo>
                <a:lnTo>
                  <a:pt x="1415" y="329"/>
                </a:lnTo>
                <a:lnTo>
                  <a:pt x="1432" y="339"/>
                </a:lnTo>
                <a:lnTo>
                  <a:pt x="1454" y="351"/>
                </a:lnTo>
                <a:lnTo>
                  <a:pt x="1454" y="351"/>
                </a:lnTo>
                <a:lnTo>
                  <a:pt x="1462" y="362"/>
                </a:lnTo>
                <a:lnTo>
                  <a:pt x="1469" y="375"/>
                </a:lnTo>
                <a:lnTo>
                  <a:pt x="1477" y="390"/>
                </a:lnTo>
                <a:lnTo>
                  <a:pt x="1483" y="405"/>
                </a:lnTo>
                <a:lnTo>
                  <a:pt x="1485" y="413"/>
                </a:lnTo>
                <a:lnTo>
                  <a:pt x="1486" y="420"/>
                </a:lnTo>
                <a:lnTo>
                  <a:pt x="1486" y="427"/>
                </a:lnTo>
                <a:lnTo>
                  <a:pt x="1484" y="433"/>
                </a:lnTo>
                <a:lnTo>
                  <a:pt x="1482" y="438"/>
                </a:lnTo>
                <a:lnTo>
                  <a:pt x="1476" y="443"/>
                </a:lnTo>
                <a:lnTo>
                  <a:pt x="1476" y="443"/>
                </a:lnTo>
                <a:lnTo>
                  <a:pt x="1468" y="437"/>
                </a:lnTo>
                <a:lnTo>
                  <a:pt x="1462" y="430"/>
                </a:lnTo>
                <a:lnTo>
                  <a:pt x="1456" y="423"/>
                </a:lnTo>
                <a:lnTo>
                  <a:pt x="1452" y="414"/>
                </a:lnTo>
                <a:lnTo>
                  <a:pt x="1441" y="396"/>
                </a:lnTo>
                <a:lnTo>
                  <a:pt x="1436" y="387"/>
                </a:lnTo>
                <a:lnTo>
                  <a:pt x="1428" y="379"/>
                </a:lnTo>
                <a:lnTo>
                  <a:pt x="1428" y="379"/>
                </a:lnTo>
                <a:lnTo>
                  <a:pt x="1418" y="379"/>
                </a:lnTo>
                <a:lnTo>
                  <a:pt x="1409" y="378"/>
                </a:lnTo>
                <a:lnTo>
                  <a:pt x="1401" y="375"/>
                </a:lnTo>
                <a:lnTo>
                  <a:pt x="1392" y="372"/>
                </a:lnTo>
                <a:lnTo>
                  <a:pt x="1385" y="368"/>
                </a:lnTo>
                <a:lnTo>
                  <a:pt x="1377" y="363"/>
                </a:lnTo>
                <a:lnTo>
                  <a:pt x="1364" y="354"/>
                </a:lnTo>
                <a:lnTo>
                  <a:pt x="1354" y="343"/>
                </a:lnTo>
                <a:lnTo>
                  <a:pt x="1345" y="332"/>
                </a:lnTo>
                <a:lnTo>
                  <a:pt x="1339" y="322"/>
                </a:lnTo>
                <a:lnTo>
                  <a:pt x="1336" y="314"/>
                </a:lnTo>
                <a:lnTo>
                  <a:pt x="1336" y="314"/>
                </a:lnTo>
                <a:lnTo>
                  <a:pt x="1336" y="303"/>
                </a:lnTo>
                <a:lnTo>
                  <a:pt x="1337" y="294"/>
                </a:lnTo>
                <a:lnTo>
                  <a:pt x="1339" y="276"/>
                </a:lnTo>
                <a:lnTo>
                  <a:pt x="1344" y="260"/>
                </a:lnTo>
                <a:lnTo>
                  <a:pt x="1350" y="244"/>
                </a:lnTo>
                <a:lnTo>
                  <a:pt x="1357" y="229"/>
                </a:lnTo>
                <a:lnTo>
                  <a:pt x="1365" y="214"/>
                </a:lnTo>
                <a:lnTo>
                  <a:pt x="1372" y="198"/>
                </a:lnTo>
                <a:lnTo>
                  <a:pt x="1380" y="181"/>
                </a:lnTo>
                <a:lnTo>
                  <a:pt x="1380" y="181"/>
                </a:lnTo>
                <a:lnTo>
                  <a:pt x="1382" y="173"/>
                </a:lnTo>
                <a:lnTo>
                  <a:pt x="1384" y="152"/>
                </a:lnTo>
                <a:lnTo>
                  <a:pt x="1385" y="135"/>
                </a:lnTo>
                <a:lnTo>
                  <a:pt x="1385" y="118"/>
                </a:lnTo>
                <a:lnTo>
                  <a:pt x="1384" y="99"/>
                </a:lnTo>
                <a:lnTo>
                  <a:pt x="1380" y="79"/>
                </a:lnTo>
                <a:lnTo>
                  <a:pt x="1380" y="79"/>
                </a:lnTo>
                <a:lnTo>
                  <a:pt x="1376" y="76"/>
                </a:lnTo>
                <a:lnTo>
                  <a:pt x="1372" y="73"/>
                </a:lnTo>
                <a:lnTo>
                  <a:pt x="1369" y="73"/>
                </a:lnTo>
                <a:lnTo>
                  <a:pt x="1365" y="73"/>
                </a:lnTo>
                <a:lnTo>
                  <a:pt x="1363" y="74"/>
                </a:lnTo>
                <a:lnTo>
                  <a:pt x="1360" y="77"/>
                </a:lnTo>
                <a:lnTo>
                  <a:pt x="1356" y="84"/>
                </a:lnTo>
                <a:lnTo>
                  <a:pt x="1353" y="93"/>
                </a:lnTo>
                <a:lnTo>
                  <a:pt x="1350" y="104"/>
                </a:lnTo>
                <a:lnTo>
                  <a:pt x="1346" y="132"/>
                </a:lnTo>
                <a:lnTo>
                  <a:pt x="1342" y="162"/>
                </a:lnTo>
                <a:lnTo>
                  <a:pt x="1340" y="176"/>
                </a:lnTo>
                <a:lnTo>
                  <a:pt x="1338" y="187"/>
                </a:lnTo>
                <a:lnTo>
                  <a:pt x="1334" y="198"/>
                </a:lnTo>
                <a:lnTo>
                  <a:pt x="1330" y="206"/>
                </a:lnTo>
                <a:lnTo>
                  <a:pt x="1327" y="208"/>
                </a:lnTo>
                <a:lnTo>
                  <a:pt x="1325" y="210"/>
                </a:lnTo>
                <a:lnTo>
                  <a:pt x="1322" y="211"/>
                </a:lnTo>
                <a:lnTo>
                  <a:pt x="1318" y="211"/>
                </a:lnTo>
                <a:lnTo>
                  <a:pt x="1318" y="211"/>
                </a:lnTo>
                <a:lnTo>
                  <a:pt x="1303" y="215"/>
                </a:lnTo>
                <a:lnTo>
                  <a:pt x="1290" y="218"/>
                </a:lnTo>
                <a:lnTo>
                  <a:pt x="1278" y="223"/>
                </a:lnTo>
                <a:lnTo>
                  <a:pt x="1269" y="226"/>
                </a:lnTo>
                <a:lnTo>
                  <a:pt x="1261" y="231"/>
                </a:lnTo>
                <a:lnTo>
                  <a:pt x="1254" y="237"/>
                </a:lnTo>
                <a:lnTo>
                  <a:pt x="1248" y="241"/>
                </a:lnTo>
                <a:lnTo>
                  <a:pt x="1242" y="246"/>
                </a:lnTo>
                <a:lnTo>
                  <a:pt x="1239" y="252"/>
                </a:lnTo>
                <a:lnTo>
                  <a:pt x="1235" y="257"/>
                </a:lnTo>
                <a:lnTo>
                  <a:pt x="1232" y="269"/>
                </a:lnTo>
                <a:lnTo>
                  <a:pt x="1229" y="283"/>
                </a:lnTo>
                <a:lnTo>
                  <a:pt x="1226" y="295"/>
                </a:lnTo>
                <a:lnTo>
                  <a:pt x="1226" y="295"/>
                </a:lnTo>
                <a:lnTo>
                  <a:pt x="1224" y="308"/>
                </a:lnTo>
                <a:lnTo>
                  <a:pt x="1224" y="321"/>
                </a:lnTo>
                <a:lnTo>
                  <a:pt x="1225" y="333"/>
                </a:lnTo>
                <a:lnTo>
                  <a:pt x="1226" y="347"/>
                </a:lnTo>
                <a:lnTo>
                  <a:pt x="1232" y="375"/>
                </a:lnTo>
                <a:lnTo>
                  <a:pt x="1238" y="401"/>
                </a:lnTo>
                <a:lnTo>
                  <a:pt x="1242" y="425"/>
                </a:lnTo>
                <a:lnTo>
                  <a:pt x="1243" y="437"/>
                </a:lnTo>
                <a:lnTo>
                  <a:pt x="1242" y="447"/>
                </a:lnTo>
                <a:lnTo>
                  <a:pt x="1241" y="456"/>
                </a:lnTo>
                <a:lnTo>
                  <a:pt x="1237" y="465"/>
                </a:lnTo>
                <a:lnTo>
                  <a:pt x="1231" y="470"/>
                </a:lnTo>
                <a:lnTo>
                  <a:pt x="1223" y="476"/>
                </a:lnTo>
                <a:lnTo>
                  <a:pt x="1223" y="476"/>
                </a:lnTo>
                <a:lnTo>
                  <a:pt x="1209" y="512"/>
                </a:lnTo>
                <a:lnTo>
                  <a:pt x="1197" y="545"/>
                </a:lnTo>
                <a:lnTo>
                  <a:pt x="1192" y="561"/>
                </a:lnTo>
                <a:lnTo>
                  <a:pt x="1188" y="576"/>
                </a:lnTo>
                <a:lnTo>
                  <a:pt x="1186" y="590"/>
                </a:lnTo>
                <a:lnTo>
                  <a:pt x="1186" y="604"/>
                </a:lnTo>
                <a:lnTo>
                  <a:pt x="1186" y="604"/>
                </a:lnTo>
                <a:lnTo>
                  <a:pt x="1185" y="627"/>
                </a:lnTo>
                <a:lnTo>
                  <a:pt x="1185" y="646"/>
                </a:lnTo>
                <a:lnTo>
                  <a:pt x="1186" y="654"/>
                </a:lnTo>
                <a:lnTo>
                  <a:pt x="1187" y="661"/>
                </a:lnTo>
                <a:lnTo>
                  <a:pt x="1189" y="668"/>
                </a:lnTo>
                <a:lnTo>
                  <a:pt x="1193" y="673"/>
                </a:lnTo>
                <a:lnTo>
                  <a:pt x="1199" y="676"/>
                </a:lnTo>
                <a:lnTo>
                  <a:pt x="1206" y="679"/>
                </a:lnTo>
                <a:lnTo>
                  <a:pt x="1214" y="680"/>
                </a:lnTo>
                <a:lnTo>
                  <a:pt x="1224" y="680"/>
                </a:lnTo>
                <a:lnTo>
                  <a:pt x="1237" y="679"/>
                </a:lnTo>
                <a:lnTo>
                  <a:pt x="1253" y="676"/>
                </a:lnTo>
                <a:lnTo>
                  <a:pt x="1271" y="673"/>
                </a:lnTo>
                <a:lnTo>
                  <a:pt x="1292" y="667"/>
                </a:lnTo>
                <a:lnTo>
                  <a:pt x="1292" y="667"/>
                </a:lnTo>
                <a:lnTo>
                  <a:pt x="1301" y="669"/>
                </a:lnTo>
                <a:lnTo>
                  <a:pt x="1310" y="673"/>
                </a:lnTo>
                <a:lnTo>
                  <a:pt x="1318" y="677"/>
                </a:lnTo>
                <a:lnTo>
                  <a:pt x="1326" y="682"/>
                </a:lnTo>
                <a:lnTo>
                  <a:pt x="1333" y="688"/>
                </a:lnTo>
                <a:lnTo>
                  <a:pt x="1340" y="695"/>
                </a:lnTo>
                <a:lnTo>
                  <a:pt x="1346" y="702"/>
                </a:lnTo>
                <a:lnTo>
                  <a:pt x="1352" y="710"/>
                </a:lnTo>
                <a:lnTo>
                  <a:pt x="1356" y="719"/>
                </a:lnTo>
                <a:lnTo>
                  <a:pt x="1361" y="727"/>
                </a:lnTo>
                <a:lnTo>
                  <a:pt x="1369" y="748"/>
                </a:lnTo>
                <a:lnTo>
                  <a:pt x="1376" y="768"/>
                </a:lnTo>
                <a:lnTo>
                  <a:pt x="1380" y="791"/>
                </a:lnTo>
                <a:lnTo>
                  <a:pt x="1380" y="791"/>
                </a:lnTo>
                <a:lnTo>
                  <a:pt x="1382" y="802"/>
                </a:lnTo>
                <a:lnTo>
                  <a:pt x="1382" y="811"/>
                </a:lnTo>
                <a:lnTo>
                  <a:pt x="1380" y="819"/>
                </a:lnTo>
                <a:lnTo>
                  <a:pt x="1378" y="825"/>
                </a:lnTo>
                <a:lnTo>
                  <a:pt x="1376" y="830"/>
                </a:lnTo>
                <a:lnTo>
                  <a:pt x="1372" y="835"/>
                </a:lnTo>
                <a:lnTo>
                  <a:pt x="1363" y="842"/>
                </a:lnTo>
                <a:lnTo>
                  <a:pt x="1354" y="848"/>
                </a:lnTo>
                <a:lnTo>
                  <a:pt x="1345" y="855"/>
                </a:lnTo>
                <a:lnTo>
                  <a:pt x="1341" y="858"/>
                </a:lnTo>
                <a:lnTo>
                  <a:pt x="1337" y="864"/>
                </a:lnTo>
                <a:lnTo>
                  <a:pt x="1334" y="870"/>
                </a:lnTo>
                <a:lnTo>
                  <a:pt x="1332" y="876"/>
                </a:lnTo>
                <a:lnTo>
                  <a:pt x="1332" y="876"/>
                </a:lnTo>
                <a:lnTo>
                  <a:pt x="1333" y="885"/>
                </a:lnTo>
                <a:lnTo>
                  <a:pt x="1336" y="893"/>
                </a:lnTo>
                <a:lnTo>
                  <a:pt x="1339" y="901"/>
                </a:lnTo>
                <a:lnTo>
                  <a:pt x="1344" y="908"/>
                </a:lnTo>
                <a:lnTo>
                  <a:pt x="1349" y="914"/>
                </a:lnTo>
                <a:lnTo>
                  <a:pt x="1356" y="921"/>
                </a:lnTo>
                <a:lnTo>
                  <a:pt x="1371" y="932"/>
                </a:lnTo>
                <a:lnTo>
                  <a:pt x="1386" y="941"/>
                </a:lnTo>
                <a:lnTo>
                  <a:pt x="1399" y="949"/>
                </a:lnTo>
                <a:lnTo>
                  <a:pt x="1407" y="956"/>
                </a:lnTo>
                <a:lnTo>
                  <a:pt x="1409" y="958"/>
                </a:lnTo>
                <a:lnTo>
                  <a:pt x="1409" y="960"/>
                </a:lnTo>
                <a:lnTo>
                  <a:pt x="1409" y="960"/>
                </a:lnTo>
                <a:lnTo>
                  <a:pt x="1401" y="960"/>
                </a:lnTo>
                <a:lnTo>
                  <a:pt x="1393" y="960"/>
                </a:lnTo>
                <a:lnTo>
                  <a:pt x="1377" y="957"/>
                </a:lnTo>
                <a:lnTo>
                  <a:pt x="1361" y="952"/>
                </a:lnTo>
                <a:lnTo>
                  <a:pt x="1347" y="944"/>
                </a:lnTo>
                <a:lnTo>
                  <a:pt x="1336" y="936"/>
                </a:lnTo>
                <a:lnTo>
                  <a:pt x="1330" y="931"/>
                </a:lnTo>
                <a:lnTo>
                  <a:pt x="1326" y="925"/>
                </a:lnTo>
                <a:lnTo>
                  <a:pt x="1323" y="919"/>
                </a:lnTo>
                <a:lnTo>
                  <a:pt x="1319" y="913"/>
                </a:lnTo>
                <a:lnTo>
                  <a:pt x="1318" y="908"/>
                </a:lnTo>
                <a:lnTo>
                  <a:pt x="1318" y="902"/>
                </a:lnTo>
                <a:lnTo>
                  <a:pt x="1318" y="902"/>
                </a:lnTo>
                <a:lnTo>
                  <a:pt x="1318" y="889"/>
                </a:lnTo>
                <a:lnTo>
                  <a:pt x="1319" y="878"/>
                </a:lnTo>
                <a:lnTo>
                  <a:pt x="1323" y="866"/>
                </a:lnTo>
                <a:lnTo>
                  <a:pt x="1326" y="853"/>
                </a:lnTo>
                <a:lnTo>
                  <a:pt x="1337" y="826"/>
                </a:lnTo>
                <a:lnTo>
                  <a:pt x="1350" y="791"/>
                </a:lnTo>
                <a:lnTo>
                  <a:pt x="1350" y="791"/>
                </a:lnTo>
                <a:lnTo>
                  <a:pt x="1345" y="786"/>
                </a:lnTo>
                <a:lnTo>
                  <a:pt x="1339" y="779"/>
                </a:lnTo>
                <a:lnTo>
                  <a:pt x="1334" y="772"/>
                </a:lnTo>
                <a:lnTo>
                  <a:pt x="1330" y="764"/>
                </a:lnTo>
                <a:lnTo>
                  <a:pt x="1323" y="748"/>
                </a:lnTo>
                <a:lnTo>
                  <a:pt x="1315" y="733"/>
                </a:lnTo>
                <a:lnTo>
                  <a:pt x="1309" y="725"/>
                </a:lnTo>
                <a:lnTo>
                  <a:pt x="1304" y="719"/>
                </a:lnTo>
                <a:lnTo>
                  <a:pt x="1298" y="713"/>
                </a:lnTo>
                <a:lnTo>
                  <a:pt x="1290" y="708"/>
                </a:lnTo>
                <a:lnTo>
                  <a:pt x="1281" y="705"/>
                </a:lnTo>
                <a:lnTo>
                  <a:pt x="1271" y="703"/>
                </a:lnTo>
                <a:lnTo>
                  <a:pt x="1258" y="702"/>
                </a:lnTo>
                <a:lnTo>
                  <a:pt x="1245" y="703"/>
                </a:lnTo>
                <a:lnTo>
                  <a:pt x="1245" y="703"/>
                </a:lnTo>
                <a:lnTo>
                  <a:pt x="1233" y="705"/>
                </a:lnTo>
                <a:lnTo>
                  <a:pt x="1223" y="707"/>
                </a:lnTo>
                <a:lnTo>
                  <a:pt x="1214" y="712"/>
                </a:lnTo>
                <a:lnTo>
                  <a:pt x="1206" y="717"/>
                </a:lnTo>
                <a:lnTo>
                  <a:pt x="1199" y="722"/>
                </a:lnTo>
                <a:lnTo>
                  <a:pt x="1193" y="729"/>
                </a:lnTo>
                <a:lnTo>
                  <a:pt x="1188" y="737"/>
                </a:lnTo>
                <a:lnTo>
                  <a:pt x="1185" y="746"/>
                </a:lnTo>
                <a:lnTo>
                  <a:pt x="1182" y="758"/>
                </a:lnTo>
                <a:lnTo>
                  <a:pt x="1181" y="771"/>
                </a:lnTo>
                <a:lnTo>
                  <a:pt x="1180" y="786"/>
                </a:lnTo>
                <a:lnTo>
                  <a:pt x="1180" y="802"/>
                </a:lnTo>
                <a:lnTo>
                  <a:pt x="1184" y="840"/>
                </a:lnTo>
                <a:lnTo>
                  <a:pt x="1189" y="887"/>
                </a:lnTo>
                <a:lnTo>
                  <a:pt x="1189" y="887"/>
                </a:lnTo>
                <a:lnTo>
                  <a:pt x="1165" y="900"/>
                </a:lnTo>
                <a:lnTo>
                  <a:pt x="1149" y="909"/>
                </a:lnTo>
                <a:lnTo>
                  <a:pt x="1139" y="917"/>
                </a:lnTo>
                <a:lnTo>
                  <a:pt x="1132" y="924"/>
                </a:lnTo>
                <a:lnTo>
                  <a:pt x="1127" y="931"/>
                </a:lnTo>
                <a:lnTo>
                  <a:pt x="1125" y="939"/>
                </a:lnTo>
                <a:lnTo>
                  <a:pt x="1122" y="948"/>
                </a:lnTo>
                <a:lnTo>
                  <a:pt x="1116" y="960"/>
                </a:lnTo>
                <a:lnTo>
                  <a:pt x="1116" y="960"/>
                </a:lnTo>
                <a:lnTo>
                  <a:pt x="1105" y="977"/>
                </a:lnTo>
                <a:lnTo>
                  <a:pt x="1095" y="989"/>
                </a:lnTo>
                <a:lnTo>
                  <a:pt x="1085" y="998"/>
                </a:lnTo>
                <a:lnTo>
                  <a:pt x="1074" y="1005"/>
                </a:lnTo>
                <a:lnTo>
                  <a:pt x="1064" y="1010"/>
                </a:lnTo>
                <a:lnTo>
                  <a:pt x="1055" y="1013"/>
                </a:lnTo>
                <a:lnTo>
                  <a:pt x="1044" y="1016"/>
                </a:lnTo>
                <a:lnTo>
                  <a:pt x="1035" y="1018"/>
                </a:lnTo>
                <a:lnTo>
                  <a:pt x="1018" y="1021"/>
                </a:lnTo>
                <a:lnTo>
                  <a:pt x="1010" y="1024"/>
                </a:lnTo>
                <a:lnTo>
                  <a:pt x="1003" y="1028"/>
                </a:lnTo>
                <a:lnTo>
                  <a:pt x="996" y="1034"/>
                </a:lnTo>
                <a:lnTo>
                  <a:pt x="989" y="1042"/>
                </a:lnTo>
                <a:lnTo>
                  <a:pt x="985" y="1054"/>
                </a:lnTo>
                <a:lnTo>
                  <a:pt x="980" y="1068"/>
                </a:lnTo>
                <a:lnTo>
                  <a:pt x="980" y="1068"/>
                </a:lnTo>
                <a:lnTo>
                  <a:pt x="970" y="1057"/>
                </a:lnTo>
                <a:lnTo>
                  <a:pt x="958" y="1049"/>
                </a:lnTo>
                <a:lnTo>
                  <a:pt x="948" y="1042"/>
                </a:lnTo>
                <a:lnTo>
                  <a:pt x="936" y="1038"/>
                </a:lnTo>
                <a:lnTo>
                  <a:pt x="925" y="1033"/>
                </a:lnTo>
                <a:lnTo>
                  <a:pt x="914" y="1030"/>
                </a:lnTo>
                <a:lnTo>
                  <a:pt x="893" y="1024"/>
                </a:lnTo>
                <a:lnTo>
                  <a:pt x="875" y="1019"/>
                </a:lnTo>
                <a:lnTo>
                  <a:pt x="867" y="1016"/>
                </a:lnTo>
                <a:lnTo>
                  <a:pt x="860" y="1012"/>
                </a:lnTo>
                <a:lnTo>
                  <a:pt x="855" y="1008"/>
                </a:lnTo>
                <a:lnTo>
                  <a:pt x="851" y="1002"/>
                </a:lnTo>
                <a:lnTo>
                  <a:pt x="849" y="995"/>
                </a:lnTo>
                <a:lnTo>
                  <a:pt x="848" y="986"/>
                </a:lnTo>
                <a:lnTo>
                  <a:pt x="848" y="986"/>
                </a:lnTo>
                <a:lnTo>
                  <a:pt x="846" y="981"/>
                </a:lnTo>
                <a:lnTo>
                  <a:pt x="844" y="977"/>
                </a:lnTo>
                <a:lnTo>
                  <a:pt x="838" y="966"/>
                </a:lnTo>
                <a:lnTo>
                  <a:pt x="830" y="957"/>
                </a:lnTo>
                <a:lnTo>
                  <a:pt x="825" y="949"/>
                </a:lnTo>
                <a:lnTo>
                  <a:pt x="822" y="946"/>
                </a:lnTo>
                <a:lnTo>
                  <a:pt x="821" y="942"/>
                </a:lnTo>
                <a:lnTo>
                  <a:pt x="822" y="940"/>
                </a:lnTo>
                <a:lnTo>
                  <a:pt x="825" y="937"/>
                </a:lnTo>
                <a:lnTo>
                  <a:pt x="829" y="936"/>
                </a:lnTo>
                <a:lnTo>
                  <a:pt x="836" y="935"/>
                </a:lnTo>
                <a:lnTo>
                  <a:pt x="845" y="934"/>
                </a:lnTo>
                <a:lnTo>
                  <a:pt x="859" y="935"/>
                </a:lnTo>
                <a:lnTo>
                  <a:pt x="859" y="935"/>
                </a:lnTo>
                <a:lnTo>
                  <a:pt x="866" y="936"/>
                </a:lnTo>
                <a:lnTo>
                  <a:pt x="872" y="940"/>
                </a:lnTo>
                <a:lnTo>
                  <a:pt x="878" y="944"/>
                </a:lnTo>
                <a:lnTo>
                  <a:pt x="881" y="949"/>
                </a:lnTo>
                <a:lnTo>
                  <a:pt x="884" y="956"/>
                </a:lnTo>
                <a:lnTo>
                  <a:pt x="887" y="963"/>
                </a:lnTo>
                <a:lnTo>
                  <a:pt x="893" y="978"/>
                </a:lnTo>
                <a:lnTo>
                  <a:pt x="899" y="993"/>
                </a:lnTo>
                <a:lnTo>
                  <a:pt x="903" y="1000"/>
                </a:lnTo>
                <a:lnTo>
                  <a:pt x="909" y="1007"/>
                </a:lnTo>
                <a:lnTo>
                  <a:pt x="914" y="1011"/>
                </a:lnTo>
                <a:lnTo>
                  <a:pt x="922" y="1016"/>
                </a:lnTo>
                <a:lnTo>
                  <a:pt x="932" y="1018"/>
                </a:lnTo>
                <a:lnTo>
                  <a:pt x="943" y="1019"/>
                </a:lnTo>
                <a:lnTo>
                  <a:pt x="943" y="1019"/>
                </a:lnTo>
                <a:lnTo>
                  <a:pt x="952" y="1017"/>
                </a:lnTo>
                <a:lnTo>
                  <a:pt x="962" y="1012"/>
                </a:lnTo>
                <a:lnTo>
                  <a:pt x="970" y="1007"/>
                </a:lnTo>
                <a:lnTo>
                  <a:pt x="978" y="997"/>
                </a:lnTo>
                <a:lnTo>
                  <a:pt x="986" y="988"/>
                </a:lnTo>
                <a:lnTo>
                  <a:pt x="995" y="977"/>
                </a:lnTo>
                <a:lnTo>
                  <a:pt x="1011" y="950"/>
                </a:lnTo>
                <a:lnTo>
                  <a:pt x="1029" y="921"/>
                </a:lnTo>
                <a:lnTo>
                  <a:pt x="1039" y="908"/>
                </a:lnTo>
                <a:lnTo>
                  <a:pt x="1049" y="893"/>
                </a:lnTo>
                <a:lnTo>
                  <a:pt x="1061" y="879"/>
                </a:lnTo>
                <a:lnTo>
                  <a:pt x="1073" y="866"/>
                </a:lnTo>
                <a:lnTo>
                  <a:pt x="1086" y="853"/>
                </a:lnTo>
                <a:lnTo>
                  <a:pt x="1101" y="842"/>
                </a:lnTo>
                <a:lnTo>
                  <a:pt x="1101" y="842"/>
                </a:lnTo>
                <a:lnTo>
                  <a:pt x="1105" y="824"/>
                </a:lnTo>
                <a:lnTo>
                  <a:pt x="1110" y="810"/>
                </a:lnTo>
                <a:lnTo>
                  <a:pt x="1117" y="799"/>
                </a:lnTo>
                <a:lnTo>
                  <a:pt x="1123" y="792"/>
                </a:lnTo>
                <a:lnTo>
                  <a:pt x="1130" y="788"/>
                </a:lnTo>
                <a:lnTo>
                  <a:pt x="1136" y="786"/>
                </a:lnTo>
                <a:lnTo>
                  <a:pt x="1148" y="781"/>
                </a:lnTo>
                <a:lnTo>
                  <a:pt x="1151" y="779"/>
                </a:lnTo>
                <a:lnTo>
                  <a:pt x="1154" y="775"/>
                </a:lnTo>
                <a:lnTo>
                  <a:pt x="1155" y="769"/>
                </a:lnTo>
                <a:lnTo>
                  <a:pt x="1154" y="760"/>
                </a:lnTo>
                <a:lnTo>
                  <a:pt x="1149" y="748"/>
                </a:lnTo>
                <a:lnTo>
                  <a:pt x="1142" y="732"/>
                </a:lnTo>
                <a:lnTo>
                  <a:pt x="1119" y="682"/>
                </a:lnTo>
                <a:lnTo>
                  <a:pt x="1119" y="682"/>
                </a:lnTo>
                <a:lnTo>
                  <a:pt x="1117" y="675"/>
                </a:lnTo>
                <a:lnTo>
                  <a:pt x="1115" y="667"/>
                </a:lnTo>
                <a:lnTo>
                  <a:pt x="1111" y="652"/>
                </a:lnTo>
                <a:lnTo>
                  <a:pt x="1110" y="635"/>
                </a:lnTo>
                <a:lnTo>
                  <a:pt x="1111" y="618"/>
                </a:lnTo>
                <a:lnTo>
                  <a:pt x="1113" y="598"/>
                </a:lnTo>
                <a:lnTo>
                  <a:pt x="1118" y="578"/>
                </a:lnTo>
                <a:lnTo>
                  <a:pt x="1124" y="559"/>
                </a:lnTo>
                <a:lnTo>
                  <a:pt x="1130" y="538"/>
                </a:lnTo>
                <a:lnTo>
                  <a:pt x="1138" y="519"/>
                </a:lnTo>
                <a:lnTo>
                  <a:pt x="1146" y="499"/>
                </a:lnTo>
                <a:lnTo>
                  <a:pt x="1162" y="461"/>
                </a:lnTo>
                <a:lnTo>
                  <a:pt x="1179" y="427"/>
                </a:lnTo>
                <a:lnTo>
                  <a:pt x="1193" y="398"/>
                </a:lnTo>
                <a:lnTo>
                  <a:pt x="1193" y="398"/>
                </a:lnTo>
                <a:lnTo>
                  <a:pt x="1199" y="386"/>
                </a:lnTo>
                <a:lnTo>
                  <a:pt x="1201" y="376"/>
                </a:lnTo>
                <a:lnTo>
                  <a:pt x="1202" y="367"/>
                </a:lnTo>
                <a:lnTo>
                  <a:pt x="1202" y="359"/>
                </a:lnTo>
                <a:lnTo>
                  <a:pt x="1200" y="352"/>
                </a:lnTo>
                <a:lnTo>
                  <a:pt x="1197" y="346"/>
                </a:lnTo>
                <a:lnTo>
                  <a:pt x="1189" y="335"/>
                </a:lnTo>
                <a:lnTo>
                  <a:pt x="1182" y="322"/>
                </a:lnTo>
                <a:lnTo>
                  <a:pt x="1179" y="315"/>
                </a:lnTo>
                <a:lnTo>
                  <a:pt x="1176" y="307"/>
                </a:lnTo>
                <a:lnTo>
                  <a:pt x="1174" y="297"/>
                </a:lnTo>
                <a:lnTo>
                  <a:pt x="1174" y="286"/>
                </a:lnTo>
                <a:lnTo>
                  <a:pt x="1176" y="274"/>
                </a:lnTo>
                <a:lnTo>
                  <a:pt x="1179" y="259"/>
                </a:lnTo>
                <a:lnTo>
                  <a:pt x="1179" y="259"/>
                </a:lnTo>
                <a:lnTo>
                  <a:pt x="1182" y="246"/>
                </a:lnTo>
                <a:lnTo>
                  <a:pt x="1187" y="237"/>
                </a:lnTo>
                <a:lnTo>
                  <a:pt x="1192" y="229"/>
                </a:lnTo>
                <a:lnTo>
                  <a:pt x="1196" y="223"/>
                </a:lnTo>
                <a:lnTo>
                  <a:pt x="1202" y="218"/>
                </a:lnTo>
                <a:lnTo>
                  <a:pt x="1207" y="215"/>
                </a:lnTo>
                <a:lnTo>
                  <a:pt x="1217" y="209"/>
                </a:lnTo>
                <a:lnTo>
                  <a:pt x="1223" y="206"/>
                </a:lnTo>
                <a:lnTo>
                  <a:pt x="1227" y="201"/>
                </a:lnTo>
                <a:lnTo>
                  <a:pt x="1233" y="195"/>
                </a:lnTo>
                <a:lnTo>
                  <a:pt x="1239" y="188"/>
                </a:lnTo>
                <a:lnTo>
                  <a:pt x="1243" y="179"/>
                </a:lnTo>
                <a:lnTo>
                  <a:pt x="1249" y="167"/>
                </a:lnTo>
                <a:lnTo>
                  <a:pt x="1254" y="153"/>
                </a:lnTo>
                <a:lnTo>
                  <a:pt x="1258" y="134"/>
                </a:lnTo>
                <a:lnTo>
                  <a:pt x="1258" y="134"/>
                </a:lnTo>
                <a:lnTo>
                  <a:pt x="1262" y="115"/>
                </a:lnTo>
                <a:lnTo>
                  <a:pt x="1262" y="107"/>
                </a:lnTo>
                <a:lnTo>
                  <a:pt x="1262" y="100"/>
                </a:lnTo>
                <a:lnTo>
                  <a:pt x="1261" y="93"/>
                </a:lnTo>
                <a:lnTo>
                  <a:pt x="1260" y="86"/>
                </a:lnTo>
                <a:lnTo>
                  <a:pt x="1256" y="80"/>
                </a:lnTo>
                <a:lnTo>
                  <a:pt x="1253" y="76"/>
                </a:lnTo>
                <a:lnTo>
                  <a:pt x="1249" y="70"/>
                </a:lnTo>
                <a:lnTo>
                  <a:pt x="1243" y="65"/>
                </a:lnTo>
                <a:lnTo>
                  <a:pt x="1230" y="56"/>
                </a:lnTo>
                <a:lnTo>
                  <a:pt x="1211" y="48"/>
                </a:lnTo>
                <a:lnTo>
                  <a:pt x="1189" y="39"/>
                </a:lnTo>
                <a:lnTo>
                  <a:pt x="1189" y="39"/>
                </a:lnTo>
                <a:lnTo>
                  <a:pt x="1178" y="33"/>
                </a:lnTo>
                <a:lnTo>
                  <a:pt x="1169" y="27"/>
                </a:lnTo>
                <a:lnTo>
                  <a:pt x="1153" y="16"/>
                </a:lnTo>
                <a:lnTo>
                  <a:pt x="1140" y="7"/>
                </a:lnTo>
                <a:lnTo>
                  <a:pt x="1134" y="3"/>
                </a:lnTo>
                <a:lnTo>
                  <a:pt x="1130" y="1"/>
                </a:lnTo>
                <a:lnTo>
                  <a:pt x="1125" y="0"/>
                </a:lnTo>
                <a:lnTo>
                  <a:pt x="1120" y="0"/>
                </a:lnTo>
                <a:lnTo>
                  <a:pt x="1116" y="1"/>
                </a:lnTo>
                <a:lnTo>
                  <a:pt x="1110" y="4"/>
                </a:lnTo>
                <a:lnTo>
                  <a:pt x="1105" y="10"/>
                </a:lnTo>
                <a:lnTo>
                  <a:pt x="1100" y="17"/>
                </a:lnTo>
                <a:lnTo>
                  <a:pt x="1086" y="39"/>
                </a:lnTo>
                <a:lnTo>
                  <a:pt x="1086" y="39"/>
                </a:lnTo>
                <a:lnTo>
                  <a:pt x="1084" y="43"/>
                </a:lnTo>
                <a:lnTo>
                  <a:pt x="1080" y="53"/>
                </a:lnTo>
                <a:lnTo>
                  <a:pt x="1071" y="76"/>
                </a:lnTo>
                <a:lnTo>
                  <a:pt x="1058" y="106"/>
                </a:lnTo>
                <a:lnTo>
                  <a:pt x="1050" y="120"/>
                </a:lnTo>
                <a:lnTo>
                  <a:pt x="1041" y="137"/>
                </a:lnTo>
                <a:lnTo>
                  <a:pt x="1031" y="153"/>
                </a:lnTo>
                <a:lnTo>
                  <a:pt x="1019" y="168"/>
                </a:lnTo>
                <a:lnTo>
                  <a:pt x="1006" y="183"/>
                </a:lnTo>
                <a:lnTo>
                  <a:pt x="991" y="195"/>
                </a:lnTo>
                <a:lnTo>
                  <a:pt x="983" y="201"/>
                </a:lnTo>
                <a:lnTo>
                  <a:pt x="975" y="206"/>
                </a:lnTo>
                <a:lnTo>
                  <a:pt x="966" y="210"/>
                </a:lnTo>
                <a:lnTo>
                  <a:pt x="957" y="214"/>
                </a:lnTo>
                <a:lnTo>
                  <a:pt x="947" y="217"/>
                </a:lnTo>
                <a:lnTo>
                  <a:pt x="936" y="219"/>
                </a:lnTo>
                <a:lnTo>
                  <a:pt x="926" y="222"/>
                </a:lnTo>
                <a:lnTo>
                  <a:pt x="914" y="223"/>
                </a:lnTo>
                <a:lnTo>
                  <a:pt x="914" y="223"/>
                </a:lnTo>
                <a:lnTo>
                  <a:pt x="902" y="234"/>
                </a:lnTo>
                <a:lnTo>
                  <a:pt x="895" y="246"/>
                </a:lnTo>
                <a:lnTo>
                  <a:pt x="890" y="256"/>
                </a:lnTo>
                <a:lnTo>
                  <a:pt x="889" y="265"/>
                </a:lnTo>
                <a:lnTo>
                  <a:pt x="889" y="274"/>
                </a:lnTo>
                <a:lnTo>
                  <a:pt x="893" y="282"/>
                </a:lnTo>
                <a:lnTo>
                  <a:pt x="896" y="288"/>
                </a:lnTo>
                <a:lnTo>
                  <a:pt x="901" y="295"/>
                </a:lnTo>
                <a:lnTo>
                  <a:pt x="909" y="309"/>
                </a:lnTo>
                <a:lnTo>
                  <a:pt x="911" y="315"/>
                </a:lnTo>
                <a:lnTo>
                  <a:pt x="913" y="322"/>
                </a:lnTo>
                <a:lnTo>
                  <a:pt x="912" y="328"/>
                </a:lnTo>
                <a:lnTo>
                  <a:pt x="909" y="336"/>
                </a:lnTo>
                <a:lnTo>
                  <a:pt x="902" y="343"/>
                </a:lnTo>
                <a:lnTo>
                  <a:pt x="891" y="351"/>
                </a:lnTo>
                <a:lnTo>
                  <a:pt x="891" y="351"/>
                </a:lnTo>
                <a:lnTo>
                  <a:pt x="889" y="364"/>
                </a:lnTo>
                <a:lnTo>
                  <a:pt x="883" y="378"/>
                </a:lnTo>
                <a:lnTo>
                  <a:pt x="878" y="391"/>
                </a:lnTo>
                <a:lnTo>
                  <a:pt x="871" y="401"/>
                </a:lnTo>
                <a:lnTo>
                  <a:pt x="863" y="412"/>
                </a:lnTo>
                <a:lnTo>
                  <a:pt x="855" y="421"/>
                </a:lnTo>
                <a:lnTo>
                  <a:pt x="841" y="438"/>
                </a:lnTo>
                <a:lnTo>
                  <a:pt x="835" y="445"/>
                </a:lnTo>
                <a:lnTo>
                  <a:pt x="830" y="453"/>
                </a:lnTo>
                <a:lnTo>
                  <a:pt x="827" y="460"/>
                </a:lnTo>
                <a:lnTo>
                  <a:pt x="827" y="467"/>
                </a:lnTo>
                <a:lnTo>
                  <a:pt x="829" y="475"/>
                </a:lnTo>
                <a:lnTo>
                  <a:pt x="834" y="482"/>
                </a:lnTo>
                <a:lnTo>
                  <a:pt x="843" y="490"/>
                </a:lnTo>
                <a:lnTo>
                  <a:pt x="855" y="498"/>
                </a:lnTo>
                <a:lnTo>
                  <a:pt x="855" y="498"/>
                </a:lnTo>
                <a:lnTo>
                  <a:pt x="864" y="503"/>
                </a:lnTo>
                <a:lnTo>
                  <a:pt x="870" y="508"/>
                </a:lnTo>
                <a:lnTo>
                  <a:pt x="875" y="514"/>
                </a:lnTo>
                <a:lnTo>
                  <a:pt x="879" y="520"/>
                </a:lnTo>
                <a:lnTo>
                  <a:pt x="882" y="527"/>
                </a:lnTo>
                <a:lnTo>
                  <a:pt x="884" y="534"/>
                </a:lnTo>
                <a:lnTo>
                  <a:pt x="887" y="547"/>
                </a:lnTo>
                <a:lnTo>
                  <a:pt x="889" y="561"/>
                </a:lnTo>
                <a:lnTo>
                  <a:pt x="891" y="575"/>
                </a:lnTo>
                <a:lnTo>
                  <a:pt x="893" y="582"/>
                </a:lnTo>
                <a:lnTo>
                  <a:pt x="895" y="589"/>
                </a:lnTo>
                <a:lnTo>
                  <a:pt x="898" y="595"/>
                </a:lnTo>
                <a:lnTo>
                  <a:pt x="903" y="600"/>
                </a:lnTo>
                <a:lnTo>
                  <a:pt x="903" y="600"/>
                </a:lnTo>
                <a:lnTo>
                  <a:pt x="904" y="612"/>
                </a:lnTo>
                <a:lnTo>
                  <a:pt x="905" y="623"/>
                </a:lnTo>
                <a:lnTo>
                  <a:pt x="904" y="637"/>
                </a:lnTo>
                <a:lnTo>
                  <a:pt x="904" y="644"/>
                </a:lnTo>
                <a:lnTo>
                  <a:pt x="902" y="651"/>
                </a:lnTo>
                <a:lnTo>
                  <a:pt x="899" y="658"/>
                </a:lnTo>
                <a:lnTo>
                  <a:pt x="896" y="664"/>
                </a:lnTo>
                <a:lnTo>
                  <a:pt x="893" y="669"/>
                </a:lnTo>
                <a:lnTo>
                  <a:pt x="887" y="673"/>
                </a:lnTo>
                <a:lnTo>
                  <a:pt x="881" y="676"/>
                </a:lnTo>
                <a:lnTo>
                  <a:pt x="873" y="677"/>
                </a:lnTo>
                <a:lnTo>
                  <a:pt x="873" y="677"/>
                </a:lnTo>
                <a:lnTo>
                  <a:pt x="868" y="677"/>
                </a:lnTo>
                <a:lnTo>
                  <a:pt x="864" y="677"/>
                </a:lnTo>
                <a:lnTo>
                  <a:pt x="859" y="676"/>
                </a:lnTo>
                <a:lnTo>
                  <a:pt x="855" y="674"/>
                </a:lnTo>
                <a:lnTo>
                  <a:pt x="845" y="668"/>
                </a:lnTo>
                <a:lnTo>
                  <a:pt x="837" y="660"/>
                </a:lnTo>
                <a:lnTo>
                  <a:pt x="828" y="650"/>
                </a:lnTo>
                <a:lnTo>
                  <a:pt x="820" y="638"/>
                </a:lnTo>
                <a:lnTo>
                  <a:pt x="812" y="624"/>
                </a:lnTo>
                <a:lnTo>
                  <a:pt x="804" y="610"/>
                </a:lnTo>
                <a:lnTo>
                  <a:pt x="787" y="576"/>
                </a:lnTo>
                <a:lnTo>
                  <a:pt x="771" y="540"/>
                </a:lnTo>
                <a:lnTo>
                  <a:pt x="752" y="505"/>
                </a:lnTo>
                <a:lnTo>
                  <a:pt x="734" y="471"/>
                </a:lnTo>
                <a:lnTo>
                  <a:pt x="734" y="471"/>
                </a:lnTo>
                <a:lnTo>
                  <a:pt x="729" y="480"/>
                </a:lnTo>
                <a:lnTo>
                  <a:pt x="723" y="486"/>
                </a:lnTo>
                <a:lnTo>
                  <a:pt x="710" y="500"/>
                </a:lnTo>
                <a:lnTo>
                  <a:pt x="704" y="507"/>
                </a:lnTo>
                <a:lnTo>
                  <a:pt x="698" y="514"/>
                </a:lnTo>
                <a:lnTo>
                  <a:pt x="695" y="521"/>
                </a:lnTo>
                <a:lnTo>
                  <a:pt x="693" y="530"/>
                </a:lnTo>
                <a:lnTo>
                  <a:pt x="693" y="530"/>
                </a:lnTo>
                <a:lnTo>
                  <a:pt x="695" y="539"/>
                </a:lnTo>
                <a:lnTo>
                  <a:pt x="698" y="549"/>
                </a:lnTo>
                <a:lnTo>
                  <a:pt x="703" y="557"/>
                </a:lnTo>
                <a:lnTo>
                  <a:pt x="708" y="565"/>
                </a:lnTo>
                <a:lnTo>
                  <a:pt x="713" y="573"/>
                </a:lnTo>
                <a:lnTo>
                  <a:pt x="719" y="582"/>
                </a:lnTo>
                <a:lnTo>
                  <a:pt x="721" y="592"/>
                </a:lnTo>
                <a:lnTo>
                  <a:pt x="723" y="604"/>
                </a:lnTo>
                <a:lnTo>
                  <a:pt x="723" y="604"/>
                </a:lnTo>
                <a:lnTo>
                  <a:pt x="722" y="612"/>
                </a:lnTo>
                <a:lnTo>
                  <a:pt x="721" y="619"/>
                </a:lnTo>
                <a:lnTo>
                  <a:pt x="719" y="624"/>
                </a:lnTo>
                <a:lnTo>
                  <a:pt x="716" y="630"/>
                </a:lnTo>
                <a:lnTo>
                  <a:pt x="710" y="639"/>
                </a:lnTo>
                <a:lnTo>
                  <a:pt x="703" y="648"/>
                </a:lnTo>
                <a:lnTo>
                  <a:pt x="695" y="654"/>
                </a:lnTo>
                <a:lnTo>
                  <a:pt x="689" y="662"/>
                </a:lnTo>
                <a:lnTo>
                  <a:pt x="685" y="667"/>
                </a:lnTo>
                <a:lnTo>
                  <a:pt x="684" y="673"/>
                </a:lnTo>
                <a:lnTo>
                  <a:pt x="683" y="679"/>
                </a:lnTo>
                <a:lnTo>
                  <a:pt x="682" y="685"/>
                </a:lnTo>
                <a:lnTo>
                  <a:pt x="682" y="685"/>
                </a:lnTo>
                <a:lnTo>
                  <a:pt x="683" y="690"/>
                </a:lnTo>
                <a:lnTo>
                  <a:pt x="687" y="696"/>
                </a:lnTo>
                <a:lnTo>
                  <a:pt x="695" y="706"/>
                </a:lnTo>
                <a:lnTo>
                  <a:pt x="700" y="712"/>
                </a:lnTo>
                <a:lnTo>
                  <a:pt x="704" y="718"/>
                </a:lnTo>
                <a:lnTo>
                  <a:pt x="707" y="725"/>
                </a:lnTo>
                <a:lnTo>
                  <a:pt x="708" y="733"/>
                </a:lnTo>
                <a:lnTo>
                  <a:pt x="708" y="733"/>
                </a:lnTo>
                <a:lnTo>
                  <a:pt x="707" y="744"/>
                </a:lnTo>
                <a:lnTo>
                  <a:pt x="704" y="756"/>
                </a:lnTo>
                <a:lnTo>
                  <a:pt x="698" y="767"/>
                </a:lnTo>
                <a:lnTo>
                  <a:pt x="691" y="776"/>
                </a:lnTo>
                <a:lnTo>
                  <a:pt x="682" y="786"/>
                </a:lnTo>
                <a:lnTo>
                  <a:pt x="672" y="795"/>
                </a:lnTo>
                <a:lnTo>
                  <a:pt x="661" y="803"/>
                </a:lnTo>
                <a:lnTo>
                  <a:pt x="650" y="811"/>
                </a:lnTo>
                <a:lnTo>
                  <a:pt x="624" y="824"/>
                </a:lnTo>
                <a:lnTo>
                  <a:pt x="600" y="835"/>
                </a:lnTo>
                <a:lnTo>
                  <a:pt x="577" y="843"/>
                </a:lnTo>
                <a:lnTo>
                  <a:pt x="558" y="850"/>
                </a:lnTo>
                <a:lnTo>
                  <a:pt x="558" y="850"/>
                </a:lnTo>
                <a:lnTo>
                  <a:pt x="531" y="860"/>
                </a:lnTo>
                <a:lnTo>
                  <a:pt x="507" y="872"/>
                </a:lnTo>
                <a:lnTo>
                  <a:pt x="485" y="883"/>
                </a:lnTo>
                <a:lnTo>
                  <a:pt x="464" y="896"/>
                </a:lnTo>
                <a:lnTo>
                  <a:pt x="423" y="920"/>
                </a:lnTo>
                <a:lnTo>
                  <a:pt x="402" y="932"/>
                </a:lnTo>
                <a:lnTo>
                  <a:pt x="378" y="942"/>
                </a:lnTo>
                <a:lnTo>
                  <a:pt x="378" y="942"/>
                </a:lnTo>
                <a:lnTo>
                  <a:pt x="369" y="946"/>
                </a:lnTo>
                <a:lnTo>
                  <a:pt x="360" y="949"/>
                </a:lnTo>
                <a:lnTo>
                  <a:pt x="351" y="954"/>
                </a:lnTo>
                <a:lnTo>
                  <a:pt x="342" y="959"/>
                </a:lnTo>
                <a:lnTo>
                  <a:pt x="328" y="971"/>
                </a:lnTo>
                <a:lnTo>
                  <a:pt x="314" y="982"/>
                </a:lnTo>
                <a:lnTo>
                  <a:pt x="300" y="994"/>
                </a:lnTo>
                <a:lnTo>
                  <a:pt x="293" y="998"/>
                </a:lnTo>
                <a:lnTo>
                  <a:pt x="285" y="1003"/>
                </a:lnTo>
                <a:lnTo>
                  <a:pt x="277" y="1007"/>
                </a:lnTo>
                <a:lnTo>
                  <a:pt x="269" y="1010"/>
                </a:lnTo>
                <a:lnTo>
                  <a:pt x="260" y="1011"/>
                </a:lnTo>
                <a:lnTo>
                  <a:pt x="249" y="1012"/>
                </a:lnTo>
                <a:lnTo>
                  <a:pt x="249" y="1012"/>
                </a:lnTo>
                <a:lnTo>
                  <a:pt x="248" y="1011"/>
                </a:lnTo>
                <a:lnTo>
                  <a:pt x="247" y="1010"/>
                </a:lnTo>
                <a:lnTo>
                  <a:pt x="245" y="1004"/>
                </a:lnTo>
                <a:lnTo>
                  <a:pt x="242" y="998"/>
                </a:lnTo>
                <a:lnTo>
                  <a:pt x="242" y="994"/>
                </a:lnTo>
                <a:lnTo>
                  <a:pt x="242" y="994"/>
                </a:lnTo>
                <a:lnTo>
                  <a:pt x="224" y="994"/>
                </a:lnTo>
                <a:lnTo>
                  <a:pt x="224" y="994"/>
                </a:lnTo>
                <a:lnTo>
                  <a:pt x="214" y="995"/>
                </a:lnTo>
                <a:lnTo>
                  <a:pt x="204" y="996"/>
                </a:lnTo>
                <a:lnTo>
                  <a:pt x="196" y="1000"/>
                </a:lnTo>
                <a:lnTo>
                  <a:pt x="189" y="1005"/>
                </a:lnTo>
                <a:lnTo>
                  <a:pt x="183" y="1011"/>
                </a:lnTo>
                <a:lnTo>
                  <a:pt x="177" y="1017"/>
                </a:lnTo>
                <a:lnTo>
                  <a:pt x="171" y="1025"/>
                </a:lnTo>
                <a:lnTo>
                  <a:pt x="166" y="1033"/>
                </a:lnTo>
                <a:lnTo>
                  <a:pt x="158" y="1051"/>
                </a:lnTo>
                <a:lnTo>
                  <a:pt x="153" y="1071"/>
                </a:lnTo>
                <a:lnTo>
                  <a:pt x="147" y="1092"/>
                </a:lnTo>
                <a:lnTo>
                  <a:pt x="143" y="1111"/>
                </a:lnTo>
                <a:lnTo>
                  <a:pt x="143" y="1111"/>
                </a:lnTo>
                <a:lnTo>
                  <a:pt x="142" y="1115"/>
                </a:lnTo>
                <a:lnTo>
                  <a:pt x="141" y="1118"/>
                </a:lnTo>
                <a:lnTo>
                  <a:pt x="137" y="1126"/>
                </a:lnTo>
                <a:lnTo>
                  <a:pt x="128" y="1134"/>
                </a:lnTo>
                <a:lnTo>
                  <a:pt x="119" y="1145"/>
                </a:lnTo>
                <a:lnTo>
                  <a:pt x="101" y="1163"/>
                </a:lnTo>
                <a:lnTo>
                  <a:pt x="88" y="1177"/>
                </a:lnTo>
                <a:lnTo>
                  <a:pt x="88" y="1177"/>
                </a:lnTo>
                <a:lnTo>
                  <a:pt x="81" y="1186"/>
                </a:lnTo>
                <a:lnTo>
                  <a:pt x="76" y="1194"/>
                </a:lnTo>
                <a:lnTo>
                  <a:pt x="67" y="1211"/>
                </a:lnTo>
                <a:lnTo>
                  <a:pt x="61" y="1230"/>
                </a:lnTo>
                <a:lnTo>
                  <a:pt x="55" y="1248"/>
                </a:lnTo>
                <a:lnTo>
                  <a:pt x="46" y="1288"/>
                </a:lnTo>
                <a:lnTo>
                  <a:pt x="40" y="1309"/>
                </a:lnTo>
                <a:lnTo>
                  <a:pt x="33" y="1331"/>
                </a:lnTo>
                <a:lnTo>
                  <a:pt x="33" y="1331"/>
                </a:lnTo>
                <a:lnTo>
                  <a:pt x="30" y="1338"/>
                </a:lnTo>
                <a:lnTo>
                  <a:pt x="25" y="1345"/>
                </a:lnTo>
                <a:lnTo>
                  <a:pt x="13" y="1360"/>
                </a:lnTo>
                <a:lnTo>
                  <a:pt x="9" y="1367"/>
                </a:lnTo>
                <a:lnTo>
                  <a:pt x="4" y="1375"/>
                </a:lnTo>
                <a:lnTo>
                  <a:pt x="1" y="1382"/>
                </a:lnTo>
                <a:lnTo>
                  <a:pt x="0" y="1390"/>
                </a:lnTo>
                <a:lnTo>
                  <a:pt x="0" y="1390"/>
                </a:lnTo>
                <a:lnTo>
                  <a:pt x="1" y="1393"/>
                </a:lnTo>
                <a:lnTo>
                  <a:pt x="3" y="1397"/>
                </a:lnTo>
                <a:lnTo>
                  <a:pt x="9" y="1402"/>
                </a:lnTo>
                <a:lnTo>
                  <a:pt x="15" y="1408"/>
                </a:lnTo>
                <a:lnTo>
                  <a:pt x="17" y="1410"/>
                </a:lnTo>
                <a:lnTo>
                  <a:pt x="18" y="1413"/>
                </a:lnTo>
                <a:lnTo>
                  <a:pt x="18" y="1413"/>
                </a:lnTo>
                <a:lnTo>
                  <a:pt x="23" y="1425"/>
                </a:lnTo>
                <a:lnTo>
                  <a:pt x="28" y="1437"/>
                </a:lnTo>
                <a:lnTo>
                  <a:pt x="34" y="1447"/>
                </a:lnTo>
                <a:lnTo>
                  <a:pt x="40" y="1456"/>
                </a:lnTo>
                <a:lnTo>
                  <a:pt x="47" y="1465"/>
                </a:lnTo>
                <a:lnTo>
                  <a:pt x="55" y="1473"/>
                </a:lnTo>
                <a:lnTo>
                  <a:pt x="70" y="1486"/>
                </a:lnTo>
                <a:lnTo>
                  <a:pt x="85" y="1500"/>
                </a:lnTo>
                <a:lnTo>
                  <a:pt x="99" y="1516"/>
                </a:lnTo>
                <a:lnTo>
                  <a:pt x="105" y="1524"/>
                </a:lnTo>
                <a:lnTo>
                  <a:pt x="111" y="1534"/>
                </a:lnTo>
                <a:lnTo>
                  <a:pt x="116" y="1544"/>
                </a:lnTo>
                <a:lnTo>
                  <a:pt x="120" y="1555"/>
                </a:lnTo>
                <a:lnTo>
                  <a:pt x="120" y="1555"/>
                </a:lnTo>
                <a:lnTo>
                  <a:pt x="125" y="1562"/>
                </a:lnTo>
                <a:lnTo>
                  <a:pt x="131" y="1569"/>
                </a:lnTo>
                <a:lnTo>
                  <a:pt x="141" y="1582"/>
                </a:lnTo>
                <a:lnTo>
                  <a:pt x="146" y="1590"/>
                </a:lnTo>
                <a:lnTo>
                  <a:pt x="150" y="1597"/>
                </a:lnTo>
                <a:lnTo>
                  <a:pt x="153" y="1605"/>
                </a:lnTo>
                <a:lnTo>
                  <a:pt x="154" y="1614"/>
                </a:lnTo>
                <a:lnTo>
                  <a:pt x="154" y="1614"/>
                </a:lnTo>
                <a:lnTo>
                  <a:pt x="154" y="1622"/>
                </a:lnTo>
                <a:lnTo>
                  <a:pt x="153" y="1630"/>
                </a:lnTo>
                <a:lnTo>
                  <a:pt x="148" y="1644"/>
                </a:lnTo>
                <a:lnTo>
                  <a:pt x="145" y="1658"/>
                </a:lnTo>
                <a:lnTo>
                  <a:pt x="143" y="1665"/>
                </a:lnTo>
                <a:lnTo>
                  <a:pt x="143" y="1673"/>
                </a:lnTo>
                <a:lnTo>
                  <a:pt x="143" y="1673"/>
                </a:lnTo>
                <a:lnTo>
                  <a:pt x="143" y="1688"/>
                </a:lnTo>
                <a:lnTo>
                  <a:pt x="145" y="1702"/>
                </a:lnTo>
                <a:lnTo>
                  <a:pt x="148" y="1730"/>
                </a:lnTo>
                <a:lnTo>
                  <a:pt x="153" y="1758"/>
                </a:lnTo>
                <a:lnTo>
                  <a:pt x="154" y="1772"/>
                </a:lnTo>
                <a:lnTo>
                  <a:pt x="154" y="1787"/>
                </a:lnTo>
                <a:lnTo>
                  <a:pt x="154" y="1787"/>
                </a:lnTo>
                <a:lnTo>
                  <a:pt x="154" y="1853"/>
                </a:lnTo>
                <a:lnTo>
                  <a:pt x="154" y="1853"/>
                </a:lnTo>
                <a:lnTo>
                  <a:pt x="153" y="1860"/>
                </a:lnTo>
                <a:lnTo>
                  <a:pt x="149" y="1868"/>
                </a:lnTo>
                <a:lnTo>
                  <a:pt x="147" y="1879"/>
                </a:lnTo>
                <a:lnTo>
                  <a:pt x="146" y="1885"/>
                </a:lnTo>
                <a:lnTo>
                  <a:pt x="147" y="1890"/>
                </a:lnTo>
                <a:lnTo>
                  <a:pt x="147" y="1890"/>
                </a:lnTo>
                <a:lnTo>
                  <a:pt x="149" y="1896"/>
                </a:lnTo>
                <a:lnTo>
                  <a:pt x="153" y="1902"/>
                </a:lnTo>
                <a:lnTo>
                  <a:pt x="157" y="1906"/>
                </a:lnTo>
                <a:lnTo>
                  <a:pt x="162" y="1910"/>
                </a:lnTo>
                <a:lnTo>
                  <a:pt x="173" y="1917"/>
                </a:lnTo>
                <a:lnTo>
                  <a:pt x="185" y="1921"/>
                </a:lnTo>
                <a:lnTo>
                  <a:pt x="198" y="1926"/>
                </a:lnTo>
                <a:lnTo>
                  <a:pt x="209" y="1932"/>
                </a:lnTo>
                <a:lnTo>
                  <a:pt x="214" y="1936"/>
                </a:lnTo>
                <a:lnTo>
                  <a:pt x="217" y="1941"/>
                </a:lnTo>
                <a:lnTo>
                  <a:pt x="222" y="1946"/>
                </a:lnTo>
                <a:lnTo>
                  <a:pt x="224" y="1952"/>
                </a:lnTo>
                <a:lnTo>
                  <a:pt x="224" y="1952"/>
                </a:lnTo>
                <a:lnTo>
                  <a:pt x="227" y="1966"/>
                </a:lnTo>
                <a:lnTo>
                  <a:pt x="232" y="1983"/>
                </a:lnTo>
                <a:lnTo>
                  <a:pt x="239" y="2018"/>
                </a:lnTo>
                <a:lnTo>
                  <a:pt x="246" y="2059"/>
                </a:lnTo>
                <a:lnTo>
                  <a:pt x="246" y="2059"/>
                </a:lnTo>
                <a:lnTo>
                  <a:pt x="244" y="2089"/>
                </a:lnTo>
                <a:lnTo>
                  <a:pt x="241" y="2116"/>
                </a:lnTo>
                <a:lnTo>
                  <a:pt x="240" y="2128"/>
                </a:lnTo>
                <a:lnTo>
                  <a:pt x="237" y="2141"/>
                </a:lnTo>
                <a:lnTo>
                  <a:pt x="231" y="2153"/>
                </a:lnTo>
                <a:lnTo>
                  <a:pt x="224" y="2165"/>
                </a:lnTo>
                <a:lnTo>
                  <a:pt x="224" y="2165"/>
                </a:lnTo>
                <a:lnTo>
                  <a:pt x="139" y="2165"/>
                </a:lnTo>
                <a:lnTo>
                  <a:pt x="139" y="2165"/>
                </a:lnTo>
                <a:lnTo>
                  <a:pt x="139" y="2165"/>
                </a:lnTo>
                <a:lnTo>
                  <a:pt x="132" y="2171"/>
                </a:lnTo>
                <a:lnTo>
                  <a:pt x="126" y="2178"/>
                </a:lnTo>
                <a:lnTo>
                  <a:pt x="120" y="2184"/>
                </a:lnTo>
                <a:lnTo>
                  <a:pt x="116" y="2192"/>
                </a:lnTo>
                <a:lnTo>
                  <a:pt x="107" y="2208"/>
                </a:lnTo>
                <a:lnTo>
                  <a:pt x="95" y="2227"/>
                </a:lnTo>
                <a:lnTo>
                  <a:pt x="95" y="2227"/>
                </a:lnTo>
                <a:lnTo>
                  <a:pt x="99" y="2237"/>
                </a:lnTo>
                <a:lnTo>
                  <a:pt x="101" y="2245"/>
                </a:lnTo>
                <a:lnTo>
                  <a:pt x="103" y="2256"/>
                </a:lnTo>
                <a:lnTo>
                  <a:pt x="104" y="2268"/>
                </a:lnTo>
                <a:lnTo>
                  <a:pt x="104" y="2279"/>
                </a:lnTo>
                <a:lnTo>
                  <a:pt x="103" y="2285"/>
                </a:lnTo>
                <a:lnTo>
                  <a:pt x="101" y="2290"/>
                </a:lnTo>
                <a:lnTo>
                  <a:pt x="99" y="2294"/>
                </a:lnTo>
                <a:lnTo>
                  <a:pt x="95" y="2298"/>
                </a:lnTo>
                <a:lnTo>
                  <a:pt x="95" y="2298"/>
                </a:lnTo>
                <a:lnTo>
                  <a:pt x="89" y="2298"/>
                </a:lnTo>
                <a:lnTo>
                  <a:pt x="87" y="2296"/>
                </a:lnTo>
                <a:lnTo>
                  <a:pt x="85" y="2294"/>
                </a:lnTo>
                <a:lnTo>
                  <a:pt x="85" y="2294"/>
                </a:lnTo>
                <a:lnTo>
                  <a:pt x="85" y="2342"/>
                </a:lnTo>
                <a:lnTo>
                  <a:pt x="85" y="2342"/>
                </a:lnTo>
                <a:lnTo>
                  <a:pt x="85" y="2352"/>
                </a:lnTo>
                <a:lnTo>
                  <a:pt x="87" y="2359"/>
                </a:lnTo>
                <a:lnTo>
                  <a:pt x="89" y="2363"/>
                </a:lnTo>
                <a:lnTo>
                  <a:pt x="94" y="2368"/>
                </a:lnTo>
                <a:lnTo>
                  <a:pt x="103" y="2377"/>
                </a:lnTo>
                <a:lnTo>
                  <a:pt x="108" y="2384"/>
                </a:lnTo>
                <a:lnTo>
                  <a:pt x="114" y="2393"/>
                </a:lnTo>
                <a:lnTo>
                  <a:pt x="114" y="2393"/>
                </a:lnTo>
                <a:lnTo>
                  <a:pt x="116" y="2399"/>
                </a:lnTo>
                <a:lnTo>
                  <a:pt x="116" y="2405"/>
                </a:lnTo>
                <a:lnTo>
                  <a:pt x="115" y="2416"/>
                </a:lnTo>
                <a:lnTo>
                  <a:pt x="114" y="2422"/>
                </a:lnTo>
                <a:lnTo>
                  <a:pt x="115" y="2426"/>
                </a:lnTo>
                <a:lnTo>
                  <a:pt x="117" y="2430"/>
                </a:lnTo>
                <a:lnTo>
                  <a:pt x="120" y="2433"/>
                </a:lnTo>
                <a:lnTo>
                  <a:pt x="120" y="2433"/>
                </a:lnTo>
                <a:lnTo>
                  <a:pt x="130" y="2439"/>
                </a:lnTo>
                <a:lnTo>
                  <a:pt x="139" y="2443"/>
                </a:lnTo>
                <a:lnTo>
                  <a:pt x="148" y="2444"/>
                </a:lnTo>
                <a:lnTo>
                  <a:pt x="156" y="2444"/>
                </a:lnTo>
                <a:lnTo>
                  <a:pt x="174" y="2444"/>
                </a:lnTo>
                <a:lnTo>
                  <a:pt x="184" y="2445"/>
                </a:lnTo>
                <a:lnTo>
                  <a:pt x="194" y="2448"/>
                </a:lnTo>
                <a:lnTo>
                  <a:pt x="194" y="2448"/>
                </a:lnTo>
                <a:lnTo>
                  <a:pt x="203" y="2454"/>
                </a:lnTo>
                <a:lnTo>
                  <a:pt x="210" y="2460"/>
                </a:lnTo>
                <a:lnTo>
                  <a:pt x="217" y="2468"/>
                </a:lnTo>
                <a:lnTo>
                  <a:pt x="223" y="2477"/>
                </a:lnTo>
                <a:lnTo>
                  <a:pt x="232" y="2497"/>
                </a:lnTo>
                <a:lnTo>
                  <a:pt x="237" y="2506"/>
                </a:lnTo>
                <a:lnTo>
                  <a:pt x="242" y="2514"/>
                </a:lnTo>
                <a:lnTo>
                  <a:pt x="242" y="2514"/>
                </a:lnTo>
                <a:lnTo>
                  <a:pt x="247" y="2519"/>
                </a:lnTo>
                <a:lnTo>
                  <a:pt x="252" y="2523"/>
                </a:lnTo>
                <a:lnTo>
                  <a:pt x="264" y="2529"/>
                </a:lnTo>
                <a:lnTo>
                  <a:pt x="275" y="2534"/>
                </a:lnTo>
                <a:lnTo>
                  <a:pt x="279" y="2536"/>
                </a:lnTo>
                <a:lnTo>
                  <a:pt x="283" y="2540"/>
                </a:lnTo>
                <a:lnTo>
                  <a:pt x="283" y="2540"/>
                </a:lnTo>
                <a:lnTo>
                  <a:pt x="285" y="2548"/>
                </a:lnTo>
                <a:lnTo>
                  <a:pt x="286" y="2558"/>
                </a:lnTo>
                <a:lnTo>
                  <a:pt x="288" y="2580"/>
                </a:lnTo>
                <a:lnTo>
                  <a:pt x="290" y="2590"/>
                </a:lnTo>
                <a:lnTo>
                  <a:pt x="293" y="2598"/>
                </a:lnTo>
                <a:lnTo>
                  <a:pt x="295" y="2601"/>
                </a:lnTo>
                <a:lnTo>
                  <a:pt x="298" y="2604"/>
                </a:lnTo>
                <a:lnTo>
                  <a:pt x="301" y="2605"/>
                </a:lnTo>
                <a:lnTo>
                  <a:pt x="305" y="2606"/>
                </a:lnTo>
                <a:lnTo>
                  <a:pt x="305" y="2606"/>
                </a:lnTo>
                <a:lnTo>
                  <a:pt x="325" y="2606"/>
                </a:lnTo>
                <a:lnTo>
                  <a:pt x="333" y="2607"/>
                </a:lnTo>
                <a:lnTo>
                  <a:pt x="341" y="2608"/>
                </a:lnTo>
                <a:lnTo>
                  <a:pt x="351" y="2611"/>
                </a:lnTo>
                <a:lnTo>
                  <a:pt x="359" y="2614"/>
                </a:lnTo>
                <a:lnTo>
                  <a:pt x="368" y="2619"/>
                </a:lnTo>
                <a:lnTo>
                  <a:pt x="378" y="2624"/>
                </a:lnTo>
                <a:lnTo>
                  <a:pt x="378" y="2624"/>
                </a:lnTo>
                <a:lnTo>
                  <a:pt x="386" y="2630"/>
                </a:lnTo>
                <a:lnTo>
                  <a:pt x="393" y="2636"/>
                </a:lnTo>
                <a:lnTo>
                  <a:pt x="405" y="2651"/>
                </a:lnTo>
                <a:lnTo>
                  <a:pt x="412" y="2658"/>
                </a:lnTo>
                <a:lnTo>
                  <a:pt x="418" y="2664"/>
                </a:lnTo>
                <a:lnTo>
                  <a:pt x="428" y="2667"/>
                </a:lnTo>
                <a:lnTo>
                  <a:pt x="432" y="2668"/>
                </a:lnTo>
                <a:lnTo>
                  <a:pt x="437" y="2669"/>
                </a:lnTo>
                <a:lnTo>
                  <a:pt x="437" y="2669"/>
                </a:lnTo>
                <a:lnTo>
                  <a:pt x="443" y="2668"/>
                </a:lnTo>
                <a:lnTo>
                  <a:pt x="448" y="2667"/>
                </a:lnTo>
                <a:lnTo>
                  <a:pt x="453" y="2664"/>
                </a:lnTo>
                <a:lnTo>
                  <a:pt x="456" y="2660"/>
                </a:lnTo>
                <a:lnTo>
                  <a:pt x="460" y="2655"/>
                </a:lnTo>
                <a:lnTo>
                  <a:pt x="463" y="2651"/>
                </a:lnTo>
                <a:lnTo>
                  <a:pt x="468" y="2638"/>
                </a:lnTo>
                <a:lnTo>
                  <a:pt x="470" y="2624"/>
                </a:lnTo>
                <a:lnTo>
                  <a:pt x="473" y="2609"/>
                </a:lnTo>
                <a:lnTo>
                  <a:pt x="474" y="2594"/>
                </a:lnTo>
                <a:lnTo>
                  <a:pt x="474" y="2581"/>
                </a:lnTo>
                <a:lnTo>
                  <a:pt x="474" y="2581"/>
                </a:lnTo>
                <a:lnTo>
                  <a:pt x="475" y="2571"/>
                </a:lnTo>
                <a:lnTo>
                  <a:pt x="477" y="2566"/>
                </a:lnTo>
                <a:lnTo>
                  <a:pt x="482" y="2561"/>
                </a:lnTo>
                <a:lnTo>
                  <a:pt x="486" y="2559"/>
                </a:lnTo>
                <a:lnTo>
                  <a:pt x="497" y="2558"/>
                </a:lnTo>
                <a:lnTo>
                  <a:pt x="502" y="2557"/>
                </a:lnTo>
                <a:lnTo>
                  <a:pt x="507" y="2554"/>
                </a:lnTo>
                <a:lnTo>
                  <a:pt x="507" y="2554"/>
                </a:lnTo>
                <a:lnTo>
                  <a:pt x="509" y="2550"/>
                </a:lnTo>
                <a:lnTo>
                  <a:pt x="512" y="2543"/>
                </a:lnTo>
                <a:lnTo>
                  <a:pt x="513" y="2535"/>
                </a:lnTo>
                <a:lnTo>
                  <a:pt x="514" y="2525"/>
                </a:lnTo>
                <a:lnTo>
                  <a:pt x="514" y="2508"/>
                </a:lnTo>
                <a:lnTo>
                  <a:pt x="515" y="2501"/>
                </a:lnTo>
                <a:lnTo>
                  <a:pt x="517" y="2496"/>
                </a:lnTo>
                <a:lnTo>
                  <a:pt x="517" y="2496"/>
                </a:lnTo>
                <a:lnTo>
                  <a:pt x="522" y="2490"/>
                </a:lnTo>
                <a:lnTo>
                  <a:pt x="528" y="2485"/>
                </a:lnTo>
                <a:lnTo>
                  <a:pt x="535" y="2482"/>
                </a:lnTo>
                <a:lnTo>
                  <a:pt x="543" y="2478"/>
                </a:lnTo>
                <a:lnTo>
                  <a:pt x="559" y="2473"/>
                </a:lnTo>
                <a:lnTo>
                  <a:pt x="576" y="2468"/>
                </a:lnTo>
                <a:lnTo>
                  <a:pt x="590" y="2462"/>
                </a:lnTo>
                <a:lnTo>
                  <a:pt x="596" y="2460"/>
                </a:lnTo>
                <a:lnTo>
                  <a:pt x="600" y="2456"/>
                </a:lnTo>
                <a:lnTo>
                  <a:pt x="604" y="2452"/>
                </a:lnTo>
                <a:lnTo>
                  <a:pt x="605" y="2447"/>
                </a:lnTo>
                <a:lnTo>
                  <a:pt x="605" y="2440"/>
                </a:lnTo>
                <a:lnTo>
                  <a:pt x="601" y="2433"/>
                </a:lnTo>
                <a:lnTo>
                  <a:pt x="601" y="2433"/>
                </a:lnTo>
                <a:lnTo>
                  <a:pt x="597" y="2422"/>
                </a:lnTo>
                <a:lnTo>
                  <a:pt x="593" y="2410"/>
                </a:lnTo>
                <a:lnTo>
                  <a:pt x="585" y="2390"/>
                </a:lnTo>
                <a:lnTo>
                  <a:pt x="582" y="2380"/>
                </a:lnTo>
                <a:lnTo>
                  <a:pt x="576" y="2374"/>
                </a:lnTo>
                <a:lnTo>
                  <a:pt x="574" y="2371"/>
                </a:lnTo>
                <a:lnTo>
                  <a:pt x="569" y="2369"/>
                </a:lnTo>
                <a:lnTo>
                  <a:pt x="566" y="2368"/>
                </a:lnTo>
                <a:lnTo>
                  <a:pt x="561" y="2367"/>
                </a:lnTo>
                <a:lnTo>
                  <a:pt x="561" y="2367"/>
                </a:lnTo>
                <a:lnTo>
                  <a:pt x="557" y="2368"/>
                </a:lnTo>
                <a:lnTo>
                  <a:pt x="553" y="2369"/>
                </a:lnTo>
                <a:lnTo>
                  <a:pt x="551" y="2371"/>
                </a:lnTo>
                <a:lnTo>
                  <a:pt x="550" y="2375"/>
                </a:lnTo>
                <a:lnTo>
                  <a:pt x="546" y="2379"/>
                </a:lnTo>
                <a:lnTo>
                  <a:pt x="545" y="2382"/>
                </a:lnTo>
                <a:lnTo>
                  <a:pt x="543" y="2382"/>
                </a:lnTo>
                <a:lnTo>
                  <a:pt x="543" y="2382"/>
                </a:lnTo>
                <a:lnTo>
                  <a:pt x="538" y="2382"/>
                </a:lnTo>
                <a:lnTo>
                  <a:pt x="535" y="2379"/>
                </a:lnTo>
                <a:lnTo>
                  <a:pt x="531" y="2376"/>
                </a:lnTo>
                <a:lnTo>
                  <a:pt x="529" y="2372"/>
                </a:lnTo>
                <a:lnTo>
                  <a:pt x="525" y="2363"/>
                </a:lnTo>
                <a:lnTo>
                  <a:pt x="524" y="2356"/>
                </a:lnTo>
                <a:lnTo>
                  <a:pt x="524" y="2356"/>
                </a:lnTo>
                <a:lnTo>
                  <a:pt x="525" y="2352"/>
                </a:lnTo>
                <a:lnTo>
                  <a:pt x="527" y="2348"/>
                </a:lnTo>
                <a:lnTo>
                  <a:pt x="530" y="2341"/>
                </a:lnTo>
                <a:lnTo>
                  <a:pt x="542" y="2328"/>
                </a:lnTo>
                <a:lnTo>
                  <a:pt x="546" y="2321"/>
                </a:lnTo>
                <a:lnTo>
                  <a:pt x="548" y="2316"/>
                </a:lnTo>
                <a:lnTo>
                  <a:pt x="550" y="2311"/>
                </a:lnTo>
                <a:lnTo>
                  <a:pt x="550" y="2306"/>
                </a:lnTo>
                <a:lnTo>
                  <a:pt x="548" y="2299"/>
                </a:lnTo>
                <a:lnTo>
                  <a:pt x="546" y="2292"/>
                </a:lnTo>
                <a:lnTo>
                  <a:pt x="543" y="2283"/>
                </a:lnTo>
                <a:lnTo>
                  <a:pt x="543" y="2283"/>
                </a:lnTo>
                <a:lnTo>
                  <a:pt x="547" y="2272"/>
                </a:lnTo>
                <a:lnTo>
                  <a:pt x="554" y="2258"/>
                </a:lnTo>
                <a:lnTo>
                  <a:pt x="563" y="2245"/>
                </a:lnTo>
                <a:lnTo>
                  <a:pt x="573" y="2231"/>
                </a:lnTo>
                <a:lnTo>
                  <a:pt x="583" y="2218"/>
                </a:lnTo>
                <a:lnTo>
                  <a:pt x="594" y="2208"/>
                </a:lnTo>
                <a:lnTo>
                  <a:pt x="599" y="2204"/>
                </a:lnTo>
                <a:lnTo>
                  <a:pt x="605" y="2201"/>
                </a:lnTo>
                <a:lnTo>
                  <a:pt x="611" y="2199"/>
                </a:lnTo>
                <a:lnTo>
                  <a:pt x="616" y="2199"/>
                </a:lnTo>
                <a:lnTo>
                  <a:pt x="616" y="2199"/>
                </a:lnTo>
                <a:lnTo>
                  <a:pt x="620" y="2199"/>
                </a:lnTo>
                <a:lnTo>
                  <a:pt x="623" y="2201"/>
                </a:lnTo>
                <a:lnTo>
                  <a:pt x="626" y="2203"/>
                </a:lnTo>
                <a:lnTo>
                  <a:pt x="628" y="2207"/>
                </a:lnTo>
                <a:lnTo>
                  <a:pt x="630" y="2216"/>
                </a:lnTo>
                <a:lnTo>
                  <a:pt x="631" y="2224"/>
                </a:lnTo>
                <a:lnTo>
                  <a:pt x="631" y="2224"/>
                </a:lnTo>
                <a:lnTo>
                  <a:pt x="630" y="2230"/>
                </a:lnTo>
                <a:lnTo>
                  <a:pt x="629" y="2233"/>
                </a:lnTo>
                <a:lnTo>
                  <a:pt x="627" y="2237"/>
                </a:lnTo>
                <a:lnTo>
                  <a:pt x="623" y="2240"/>
                </a:lnTo>
                <a:lnTo>
                  <a:pt x="619" y="2245"/>
                </a:lnTo>
                <a:lnTo>
                  <a:pt x="618" y="2247"/>
                </a:lnTo>
                <a:lnTo>
                  <a:pt x="616" y="2249"/>
                </a:lnTo>
                <a:lnTo>
                  <a:pt x="616" y="2249"/>
                </a:lnTo>
                <a:lnTo>
                  <a:pt x="618" y="2253"/>
                </a:lnTo>
                <a:lnTo>
                  <a:pt x="621" y="2256"/>
                </a:lnTo>
                <a:lnTo>
                  <a:pt x="632" y="2264"/>
                </a:lnTo>
                <a:lnTo>
                  <a:pt x="650" y="2273"/>
                </a:lnTo>
                <a:lnTo>
                  <a:pt x="670" y="2283"/>
                </a:lnTo>
                <a:lnTo>
                  <a:pt x="692" y="2291"/>
                </a:lnTo>
                <a:lnTo>
                  <a:pt x="712" y="2299"/>
                </a:lnTo>
                <a:lnTo>
                  <a:pt x="729" y="2303"/>
                </a:lnTo>
                <a:lnTo>
                  <a:pt x="741" y="2305"/>
                </a:lnTo>
                <a:lnTo>
                  <a:pt x="741" y="2305"/>
                </a:lnTo>
                <a:lnTo>
                  <a:pt x="746" y="2305"/>
                </a:lnTo>
                <a:lnTo>
                  <a:pt x="751" y="2303"/>
                </a:lnTo>
                <a:lnTo>
                  <a:pt x="761" y="2299"/>
                </a:lnTo>
                <a:lnTo>
                  <a:pt x="772" y="2295"/>
                </a:lnTo>
                <a:lnTo>
                  <a:pt x="776" y="2294"/>
                </a:lnTo>
                <a:lnTo>
                  <a:pt x="782" y="2294"/>
                </a:lnTo>
                <a:lnTo>
                  <a:pt x="782" y="2294"/>
                </a:lnTo>
                <a:lnTo>
                  <a:pt x="794" y="2295"/>
                </a:lnTo>
                <a:lnTo>
                  <a:pt x="804" y="2298"/>
                </a:lnTo>
                <a:lnTo>
                  <a:pt x="814" y="2301"/>
                </a:lnTo>
                <a:lnTo>
                  <a:pt x="823" y="2306"/>
                </a:lnTo>
                <a:lnTo>
                  <a:pt x="833" y="2309"/>
                </a:lnTo>
                <a:lnTo>
                  <a:pt x="842" y="2313"/>
                </a:lnTo>
                <a:lnTo>
                  <a:pt x="851" y="2314"/>
                </a:lnTo>
                <a:lnTo>
                  <a:pt x="863" y="2313"/>
                </a:lnTo>
                <a:lnTo>
                  <a:pt x="863" y="2313"/>
                </a:lnTo>
                <a:lnTo>
                  <a:pt x="876" y="2307"/>
                </a:lnTo>
                <a:lnTo>
                  <a:pt x="888" y="2301"/>
                </a:lnTo>
                <a:lnTo>
                  <a:pt x="898" y="2295"/>
                </a:lnTo>
                <a:lnTo>
                  <a:pt x="906" y="2288"/>
                </a:lnTo>
                <a:lnTo>
                  <a:pt x="914" y="2280"/>
                </a:lnTo>
                <a:lnTo>
                  <a:pt x="920" y="2271"/>
                </a:lnTo>
                <a:lnTo>
                  <a:pt x="927" y="2261"/>
                </a:lnTo>
                <a:lnTo>
                  <a:pt x="932" y="2249"/>
                </a:lnTo>
                <a:lnTo>
                  <a:pt x="932" y="2249"/>
                </a:lnTo>
                <a:lnTo>
                  <a:pt x="954" y="2249"/>
                </a:lnTo>
                <a:lnTo>
                  <a:pt x="954" y="2249"/>
                </a:lnTo>
                <a:lnTo>
                  <a:pt x="954" y="2249"/>
                </a:lnTo>
                <a:lnTo>
                  <a:pt x="960" y="2239"/>
                </a:lnTo>
                <a:lnTo>
                  <a:pt x="965" y="2229"/>
                </a:lnTo>
                <a:lnTo>
                  <a:pt x="972" y="2209"/>
                </a:lnTo>
                <a:lnTo>
                  <a:pt x="979" y="2189"/>
                </a:lnTo>
                <a:lnTo>
                  <a:pt x="982" y="2181"/>
                </a:lnTo>
                <a:lnTo>
                  <a:pt x="987" y="2172"/>
                </a:lnTo>
                <a:lnTo>
                  <a:pt x="987" y="2172"/>
                </a:lnTo>
                <a:lnTo>
                  <a:pt x="991" y="2166"/>
                </a:lnTo>
                <a:lnTo>
                  <a:pt x="995" y="2161"/>
                </a:lnTo>
                <a:lnTo>
                  <a:pt x="1000" y="2157"/>
                </a:lnTo>
                <a:lnTo>
                  <a:pt x="1004" y="2154"/>
                </a:lnTo>
                <a:lnTo>
                  <a:pt x="1014" y="2148"/>
                </a:lnTo>
                <a:lnTo>
                  <a:pt x="1026" y="2143"/>
                </a:lnTo>
                <a:lnTo>
                  <a:pt x="1036" y="2140"/>
                </a:lnTo>
                <a:lnTo>
                  <a:pt x="1047" y="2135"/>
                </a:lnTo>
                <a:lnTo>
                  <a:pt x="1052" y="2132"/>
                </a:lnTo>
                <a:lnTo>
                  <a:pt x="1057" y="2127"/>
                </a:lnTo>
                <a:lnTo>
                  <a:pt x="1061" y="2123"/>
                </a:lnTo>
                <a:lnTo>
                  <a:pt x="1064" y="2117"/>
                </a:lnTo>
                <a:lnTo>
                  <a:pt x="1064" y="2117"/>
                </a:lnTo>
                <a:lnTo>
                  <a:pt x="1069" y="2110"/>
                </a:lnTo>
                <a:lnTo>
                  <a:pt x="1073" y="2101"/>
                </a:lnTo>
                <a:lnTo>
                  <a:pt x="1082" y="2078"/>
                </a:lnTo>
                <a:lnTo>
                  <a:pt x="1090" y="2054"/>
                </a:lnTo>
                <a:lnTo>
                  <a:pt x="1100" y="2028"/>
                </a:lnTo>
                <a:lnTo>
                  <a:pt x="1105" y="2016"/>
                </a:lnTo>
                <a:lnTo>
                  <a:pt x="1110" y="2005"/>
                </a:lnTo>
                <a:lnTo>
                  <a:pt x="1117" y="1994"/>
                </a:lnTo>
                <a:lnTo>
                  <a:pt x="1124" y="1985"/>
                </a:lnTo>
                <a:lnTo>
                  <a:pt x="1131" y="1978"/>
                </a:lnTo>
                <a:lnTo>
                  <a:pt x="1140" y="1972"/>
                </a:lnTo>
                <a:lnTo>
                  <a:pt x="1149" y="1969"/>
                </a:lnTo>
                <a:lnTo>
                  <a:pt x="1159" y="1966"/>
                </a:lnTo>
                <a:lnTo>
                  <a:pt x="1159" y="1966"/>
                </a:lnTo>
                <a:lnTo>
                  <a:pt x="1169" y="1967"/>
                </a:lnTo>
                <a:lnTo>
                  <a:pt x="1178" y="1970"/>
                </a:lnTo>
                <a:lnTo>
                  <a:pt x="1187" y="1972"/>
                </a:lnTo>
                <a:lnTo>
                  <a:pt x="1195" y="1974"/>
                </a:lnTo>
                <a:lnTo>
                  <a:pt x="1210" y="1981"/>
                </a:lnTo>
                <a:lnTo>
                  <a:pt x="1223" y="1986"/>
                </a:lnTo>
                <a:lnTo>
                  <a:pt x="1223" y="1986"/>
                </a:lnTo>
                <a:lnTo>
                  <a:pt x="1285" y="1986"/>
                </a:lnTo>
                <a:lnTo>
                  <a:pt x="1285" y="1986"/>
                </a:lnTo>
                <a:lnTo>
                  <a:pt x="1285" y="1986"/>
                </a:lnTo>
                <a:lnTo>
                  <a:pt x="1295" y="1993"/>
                </a:lnTo>
                <a:lnTo>
                  <a:pt x="1306" y="1998"/>
                </a:lnTo>
                <a:lnTo>
                  <a:pt x="1316" y="2003"/>
                </a:lnTo>
                <a:lnTo>
                  <a:pt x="1326" y="2006"/>
                </a:lnTo>
                <a:lnTo>
                  <a:pt x="1339" y="2009"/>
                </a:lnTo>
                <a:lnTo>
                  <a:pt x="1350" y="2010"/>
                </a:lnTo>
                <a:lnTo>
                  <a:pt x="1377" y="2011"/>
                </a:lnTo>
                <a:lnTo>
                  <a:pt x="1377" y="2011"/>
                </a:lnTo>
                <a:lnTo>
                  <a:pt x="1387" y="2011"/>
                </a:lnTo>
                <a:lnTo>
                  <a:pt x="1397" y="2012"/>
                </a:lnTo>
                <a:lnTo>
                  <a:pt x="1405" y="2015"/>
                </a:lnTo>
                <a:lnTo>
                  <a:pt x="1413" y="2018"/>
                </a:lnTo>
                <a:lnTo>
                  <a:pt x="1426" y="2025"/>
                </a:lnTo>
                <a:lnTo>
                  <a:pt x="1438" y="2033"/>
                </a:lnTo>
                <a:lnTo>
                  <a:pt x="1449" y="2041"/>
                </a:lnTo>
                <a:lnTo>
                  <a:pt x="1462" y="2048"/>
                </a:lnTo>
                <a:lnTo>
                  <a:pt x="1469" y="2051"/>
                </a:lnTo>
                <a:lnTo>
                  <a:pt x="1477" y="2053"/>
                </a:lnTo>
                <a:lnTo>
                  <a:pt x="1485" y="2055"/>
                </a:lnTo>
                <a:lnTo>
                  <a:pt x="1494" y="2055"/>
                </a:lnTo>
                <a:lnTo>
                  <a:pt x="1494" y="2055"/>
                </a:lnTo>
                <a:lnTo>
                  <a:pt x="1500" y="2055"/>
                </a:lnTo>
                <a:lnTo>
                  <a:pt x="1506" y="2053"/>
                </a:lnTo>
                <a:lnTo>
                  <a:pt x="1512" y="2050"/>
                </a:lnTo>
                <a:lnTo>
                  <a:pt x="1516" y="2047"/>
                </a:lnTo>
                <a:lnTo>
                  <a:pt x="1527" y="2038"/>
                </a:lnTo>
                <a:lnTo>
                  <a:pt x="1536" y="2027"/>
                </a:lnTo>
                <a:lnTo>
                  <a:pt x="1547" y="2018"/>
                </a:lnTo>
                <a:lnTo>
                  <a:pt x="1559" y="2009"/>
                </a:lnTo>
                <a:lnTo>
                  <a:pt x="1566" y="2005"/>
                </a:lnTo>
                <a:lnTo>
                  <a:pt x="1573" y="2003"/>
                </a:lnTo>
                <a:lnTo>
                  <a:pt x="1581" y="2001"/>
                </a:lnTo>
                <a:lnTo>
                  <a:pt x="1590" y="2001"/>
                </a:lnTo>
                <a:lnTo>
                  <a:pt x="1590" y="2001"/>
                </a:lnTo>
                <a:lnTo>
                  <a:pt x="1594" y="2001"/>
                </a:lnTo>
                <a:lnTo>
                  <a:pt x="1599" y="2002"/>
                </a:lnTo>
                <a:lnTo>
                  <a:pt x="1607" y="2005"/>
                </a:lnTo>
                <a:lnTo>
                  <a:pt x="1614" y="2011"/>
                </a:lnTo>
                <a:lnTo>
                  <a:pt x="1621" y="2017"/>
                </a:lnTo>
                <a:lnTo>
                  <a:pt x="1628" y="2023"/>
                </a:lnTo>
                <a:lnTo>
                  <a:pt x="1636" y="2028"/>
                </a:lnTo>
                <a:lnTo>
                  <a:pt x="1643" y="2032"/>
                </a:lnTo>
                <a:lnTo>
                  <a:pt x="1647" y="2033"/>
                </a:lnTo>
                <a:lnTo>
                  <a:pt x="1652" y="2033"/>
                </a:lnTo>
                <a:lnTo>
                  <a:pt x="1652" y="2033"/>
                </a:lnTo>
                <a:lnTo>
                  <a:pt x="1653" y="2027"/>
                </a:lnTo>
                <a:lnTo>
                  <a:pt x="1654" y="2023"/>
                </a:lnTo>
                <a:lnTo>
                  <a:pt x="1655" y="2018"/>
                </a:lnTo>
                <a:lnTo>
                  <a:pt x="1658" y="2013"/>
                </a:lnTo>
                <a:lnTo>
                  <a:pt x="1665" y="2006"/>
                </a:lnTo>
                <a:lnTo>
                  <a:pt x="1673" y="2001"/>
                </a:lnTo>
                <a:lnTo>
                  <a:pt x="1682" y="1996"/>
                </a:lnTo>
                <a:lnTo>
                  <a:pt x="1692" y="1992"/>
                </a:lnTo>
                <a:lnTo>
                  <a:pt x="1715" y="1983"/>
                </a:lnTo>
                <a:lnTo>
                  <a:pt x="1727" y="1979"/>
                </a:lnTo>
                <a:lnTo>
                  <a:pt x="1737" y="1974"/>
                </a:lnTo>
                <a:lnTo>
                  <a:pt x="1747" y="1969"/>
                </a:lnTo>
                <a:lnTo>
                  <a:pt x="1756" y="1963"/>
                </a:lnTo>
                <a:lnTo>
                  <a:pt x="1764" y="1955"/>
                </a:lnTo>
                <a:lnTo>
                  <a:pt x="1766" y="1950"/>
                </a:lnTo>
                <a:lnTo>
                  <a:pt x="1768" y="1944"/>
                </a:lnTo>
                <a:lnTo>
                  <a:pt x="1769" y="1940"/>
                </a:lnTo>
                <a:lnTo>
                  <a:pt x="1771" y="1933"/>
                </a:lnTo>
                <a:lnTo>
                  <a:pt x="1771" y="1926"/>
                </a:lnTo>
                <a:lnTo>
                  <a:pt x="1771" y="1919"/>
                </a:lnTo>
                <a:lnTo>
                  <a:pt x="1771" y="1919"/>
                </a:lnTo>
                <a:lnTo>
                  <a:pt x="1759" y="1919"/>
                </a:lnTo>
                <a:lnTo>
                  <a:pt x="1749" y="1917"/>
                </a:lnTo>
                <a:lnTo>
                  <a:pt x="1739" y="1914"/>
                </a:lnTo>
                <a:lnTo>
                  <a:pt x="1730" y="1910"/>
                </a:lnTo>
                <a:lnTo>
                  <a:pt x="1722" y="1905"/>
                </a:lnTo>
                <a:lnTo>
                  <a:pt x="1715" y="1899"/>
                </a:lnTo>
                <a:lnTo>
                  <a:pt x="1708" y="1893"/>
                </a:lnTo>
                <a:lnTo>
                  <a:pt x="1701" y="1886"/>
                </a:lnTo>
                <a:lnTo>
                  <a:pt x="1696" y="1878"/>
                </a:lnTo>
                <a:lnTo>
                  <a:pt x="1691" y="1868"/>
                </a:lnTo>
                <a:lnTo>
                  <a:pt x="1688" y="1859"/>
                </a:lnTo>
                <a:lnTo>
                  <a:pt x="1684" y="1850"/>
                </a:lnTo>
                <a:lnTo>
                  <a:pt x="1681" y="1838"/>
                </a:lnTo>
                <a:lnTo>
                  <a:pt x="1680" y="1828"/>
                </a:lnTo>
                <a:lnTo>
                  <a:pt x="1678" y="1817"/>
                </a:lnTo>
                <a:lnTo>
                  <a:pt x="1677" y="1805"/>
                </a:lnTo>
                <a:lnTo>
                  <a:pt x="1677" y="1805"/>
                </a:lnTo>
                <a:lnTo>
                  <a:pt x="1677" y="1810"/>
                </a:lnTo>
                <a:lnTo>
                  <a:pt x="1677" y="1810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6" name="Freeform 101"/>
          <p:cNvSpPr>
            <a:spLocks/>
          </p:cNvSpPr>
          <p:nvPr/>
        </p:nvSpPr>
        <p:spPr bwMode="auto">
          <a:xfrm>
            <a:off x="2244725" y="4084638"/>
            <a:ext cx="581025" cy="711200"/>
          </a:xfrm>
          <a:custGeom>
            <a:avLst/>
            <a:gdLst/>
            <a:ahLst/>
            <a:cxnLst>
              <a:cxn ang="0">
                <a:pos x="343" y="96"/>
              </a:cxn>
              <a:cxn ang="0">
                <a:pos x="313" y="65"/>
              </a:cxn>
              <a:cxn ang="0">
                <a:pos x="298" y="59"/>
              </a:cxn>
              <a:cxn ang="0">
                <a:pos x="277" y="49"/>
              </a:cxn>
              <a:cxn ang="0">
                <a:pos x="274" y="19"/>
              </a:cxn>
              <a:cxn ang="0">
                <a:pos x="256" y="3"/>
              </a:cxn>
              <a:cxn ang="0">
                <a:pos x="203" y="4"/>
              </a:cxn>
              <a:cxn ang="0">
                <a:pos x="168" y="0"/>
              </a:cxn>
              <a:cxn ang="0">
                <a:pos x="159" y="18"/>
              </a:cxn>
              <a:cxn ang="0">
                <a:pos x="165" y="64"/>
              </a:cxn>
              <a:cxn ang="0">
                <a:pos x="144" y="76"/>
              </a:cxn>
              <a:cxn ang="0">
                <a:pos x="152" y="86"/>
              </a:cxn>
              <a:cxn ang="0">
                <a:pos x="175" y="115"/>
              </a:cxn>
              <a:cxn ang="0">
                <a:pos x="218" y="143"/>
              </a:cxn>
              <a:cxn ang="0">
                <a:pos x="224" y="174"/>
              </a:cxn>
              <a:cxn ang="0">
                <a:pos x="201" y="205"/>
              </a:cxn>
              <a:cxn ang="0">
                <a:pos x="155" y="241"/>
              </a:cxn>
              <a:cxn ang="0">
                <a:pos x="148" y="338"/>
              </a:cxn>
              <a:cxn ang="0">
                <a:pos x="128" y="349"/>
              </a:cxn>
              <a:cxn ang="0">
                <a:pos x="98" y="398"/>
              </a:cxn>
              <a:cxn ang="0">
                <a:pos x="74" y="529"/>
              </a:cxn>
              <a:cxn ang="0">
                <a:pos x="56" y="595"/>
              </a:cxn>
              <a:cxn ang="0">
                <a:pos x="13" y="614"/>
              </a:cxn>
              <a:cxn ang="0">
                <a:pos x="0" y="636"/>
              </a:cxn>
              <a:cxn ang="0">
                <a:pos x="14" y="663"/>
              </a:cxn>
              <a:cxn ang="0">
                <a:pos x="43" y="679"/>
              </a:cxn>
              <a:cxn ang="0">
                <a:pos x="65" y="721"/>
              </a:cxn>
              <a:cxn ang="0">
                <a:pos x="107" y="730"/>
              </a:cxn>
              <a:cxn ang="0">
                <a:pos x="125" y="738"/>
              </a:cxn>
              <a:cxn ang="0">
                <a:pos x="141" y="755"/>
              </a:cxn>
              <a:cxn ang="0">
                <a:pos x="165" y="767"/>
              </a:cxn>
              <a:cxn ang="0">
                <a:pos x="167" y="792"/>
              </a:cxn>
              <a:cxn ang="0">
                <a:pos x="176" y="810"/>
              </a:cxn>
              <a:cxn ang="0">
                <a:pos x="198" y="813"/>
              </a:cxn>
              <a:cxn ang="0">
                <a:pos x="218" y="812"/>
              </a:cxn>
              <a:cxn ang="0">
                <a:pos x="233" y="762"/>
              </a:cxn>
              <a:cxn ang="0">
                <a:pos x="268" y="728"/>
              </a:cxn>
              <a:cxn ang="0">
                <a:pos x="295" y="729"/>
              </a:cxn>
              <a:cxn ang="0">
                <a:pos x="314" y="716"/>
              </a:cxn>
              <a:cxn ang="0">
                <a:pos x="343" y="671"/>
              </a:cxn>
              <a:cxn ang="0">
                <a:pos x="364" y="664"/>
              </a:cxn>
              <a:cxn ang="0">
                <a:pos x="397" y="671"/>
              </a:cxn>
              <a:cxn ang="0">
                <a:pos x="416" y="653"/>
              </a:cxn>
              <a:cxn ang="0">
                <a:pos x="427" y="618"/>
              </a:cxn>
              <a:cxn ang="0">
                <a:pos x="456" y="613"/>
              </a:cxn>
              <a:cxn ang="0">
                <a:pos x="504" y="588"/>
              </a:cxn>
              <a:cxn ang="0">
                <a:pos x="515" y="562"/>
              </a:cxn>
              <a:cxn ang="0">
                <a:pos x="502" y="537"/>
              </a:cxn>
              <a:cxn ang="0">
                <a:pos x="503" y="517"/>
              </a:cxn>
              <a:cxn ang="0">
                <a:pos x="520" y="492"/>
              </a:cxn>
              <a:cxn ang="0">
                <a:pos x="515" y="462"/>
              </a:cxn>
              <a:cxn ang="0">
                <a:pos x="500" y="418"/>
              </a:cxn>
              <a:cxn ang="0">
                <a:pos x="509" y="397"/>
              </a:cxn>
              <a:cxn ang="0">
                <a:pos x="568" y="375"/>
              </a:cxn>
              <a:cxn ang="0">
                <a:pos x="604" y="343"/>
              </a:cxn>
              <a:cxn ang="0">
                <a:pos x="655" y="251"/>
              </a:cxn>
              <a:cxn ang="0">
                <a:pos x="709" y="140"/>
              </a:cxn>
              <a:cxn ang="0">
                <a:pos x="659" y="144"/>
              </a:cxn>
              <a:cxn ang="0">
                <a:pos x="598" y="121"/>
              </a:cxn>
              <a:cxn ang="0">
                <a:pos x="520" y="86"/>
              </a:cxn>
              <a:cxn ang="0">
                <a:pos x="487" y="91"/>
              </a:cxn>
              <a:cxn ang="0">
                <a:pos x="463" y="99"/>
              </a:cxn>
              <a:cxn ang="0">
                <a:pos x="361" y="95"/>
              </a:cxn>
            </a:cxnLst>
            <a:rect l="0" t="0" r="r" b="b"/>
            <a:pathLst>
              <a:path w="709" h="816">
                <a:moveTo>
                  <a:pt x="361" y="99"/>
                </a:moveTo>
                <a:lnTo>
                  <a:pt x="361" y="99"/>
                </a:lnTo>
                <a:lnTo>
                  <a:pt x="354" y="98"/>
                </a:lnTo>
                <a:lnTo>
                  <a:pt x="348" y="97"/>
                </a:lnTo>
                <a:lnTo>
                  <a:pt x="343" y="96"/>
                </a:lnTo>
                <a:lnTo>
                  <a:pt x="339" y="92"/>
                </a:lnTo>
                <a:lnTo>
                  <a:pt x="332" y="87"/>
                </a:lnTo>
                <a:lnTo>
                  <a:pt x="325" y="79"/>
                </a:lnTo>
                <a:lnTo>
                  <a:pt x="319" y="72"/>
                </a:lnTo>
                <a:lnTo>
                  <a:pt x="313" y="65"/>
                </a:lnTo>
                <a:lnTo>
                  <a:pt x="310" y="62"/>
                </a:lnTo>
                <a:lnTo>
                  <a:pt x="306" y="60"/>
                </a:lnTo>
                <a:lnTo>
                  <a:pt x="303" y="59"/>
                </a:lnTo>
                <a:lnTo>
                  <a:pt x="298" y="59"/>
                </a:lnTo>
                <a:lnTo>
                  <a:pt x="298" y="59"/>
                </a:lnTo>
                <a:lnTo>
                  <a:pt x="283" y="59"/>
                </a:lnTo>
                <a:lnTo>
                  <a:pt x="283" y="59"/>
                </a:lnTo>
                <a:lnTo>
                  <a:pt x="281" y="58"/>
                </a:lnTo>
                <a:lnTo>
                  <a:pt x="279" y="56"/>
                </a:lnTo>
                <a:lnTo>
                  <a:pt x="277" y="49"/>
                </a:lnTo>
                <a:lnTo>
                  <a:pt x="277" y="39"/>
                </a:lnTo>
                <a:lnTo>
                  <a:pt x="277" y="33"/>
                </a:lnTo>
                <a:lnTo>
                  <a:pt x="277" y="33"/>
                </a:lnTo>
                <a:lnTo>
                  <a:pt x="275" y="25"/>
                </a:lnTo>
                <a:lnTo>
                  <a:pt x="274" y="19"/>
                </a:lnTo>
                <a:lnTo>
                  <a:pt x="272" y="13"/>
                </a:lnTo>
                <a:lnTo>
                  <a:pt x="268" y="10"/>
                </a:lnTo>
                <a:lnTo>
                  <a:pt x="265" y="6"/>
                </a:lnTo>
                <a:lnTo>
                  <a:pt x="260" y="4"/>
                </a:lnTo>
                <a:lnTo>
                  <a:pt x="256" y="3"/>
                </a:lnTo>
                <a:lnTo>
                  <a:pt x="250" y="2"/>
                </a:lnTo>
                <a:lnTo>
                  <a:pt x="239" y="2"/>
                </a:lnTo>
                <a:lnTo>
                  <a:pt x="227" y="2"/>
                </a:lnTo>
                <a:lnTo>
                  <a:pt x="214" y="3"/>
                </a:lnTo>
                <a:lnTo>
                  <a:pt x="203" y="4"/>
                </a:lnTo>
                <a:lnTo>
                  <a:pt x="203" y="4"/>
                </a:lnTo>
                <a:lnTo>
                  <a:pt x="183" y="4"/>
                </a:lnTo>
                <a:lnTo>
                  <a:pt x="183" y="4"/>
                </a:lnTo>
                <a:lnTo>
                  <a:pt x="176" y="3"/>
                </a:lnTo>
                <a:lnTo>
                  <a:pt x="168" y="0"/>
                </a:lnTo>
                <a:lnTo>
                  <a:pt x="161" y="0"/>
                </a:lnTo>
                <a:lnTo>
                  <a:pt x="159" y="2"/>
                </a:lnTo>
                <a:lnTo>
                  <a:pt x="159" y="4"/>
                </a:lnTo>
                <a:lnTo>
                  <a:pt x="159" y="4"/>
                </a:lnTo>
                <a:lnTo>
                  <a:pt x="159" y="18"/>
                </a:lnTo>
                <a:lnTo>
                  <a:pt x="163" y="29"/>
                </a:lnTo>
                <a:lnTo>
                  <a:pt x="165" y="42"/>
                </a:lnTo>
                <a:lnTo>
                  <a:pt x="166" y="59"/>
                </a:lnTo>
                <a:lnTo>
                  <a:pt x="166" y="59"/>
                </a:lnTo>
                <a:lnTo>
                  <a:pt x="165" y="64"/>
                </a:lnTo>
                <a:lnTo>
                  <a:pt x="164" y="67"/>
                </a:lnTo>
                <a:lnTo>
                  <a:pt x="160" y="71"/>
                </a:lnTo>
                <a:lnTo>
                  <a:pt x="157" y="73"/>
                </a:lnTo>
                <a:lnTo>
                  <a:pt x="150" y="76"/>
                </a:lnTo>
                <a:lnTo>
                  <a:pt x="144" y="76"/>
                </a:lnTo>
                <a:lnTo>
                  <a:pt x="144" y="76"/>
                </a:lnTo>
                <a:lnTo>
                  <a:pt x="151" y="76"/>
                </a:lnTo>
                <a:lnTo>
                  <a:pt x="151" y="76"/>
                </a:lnTo>
                <a:lnTo>
                  <a:pt x="151" y="76"/>
                </a:lnTo>
                <a:lnTo>
                  <a:pt x="152" y="86"/>
                </a:lnTo>
                <a:lnTo>
                  <a:pt x="155" y="94"/>
                </a:lnTo>
                <a:lnTo>
                  <a:pt x="159" y="100"/>
                </a:lnTo>
                <a:lnTo>
                  <a:pt x="164" y="106"/>
                </a:lnTo>
                <a:lnTo>
                  <a:pt x="169" y="111"/>
                </a:lnTo>
                <a:lnTo>
                  <a:pt x="175" y="115"/>
                </a:lnTo>
                <a:lnTo>
                  <a:pt x="189" y="122"/>
                </a:lnTo>
                <a:lnTo>
                  <a:pt x="202" y="129"/>
                </a:lnTo>
                <a:lnTo>
                  <a:pt x="207" y="134"/>
                </a:lnTo>
                <a:lnTo>
                  <a:pt x="213" y="138"/>
                </a:lnTo>
                <a:lnTo>
                  <a:pt x="218" y="143"/>
                </a:lnTo>
                <a:lnTo>
                  <a:pt x="221" y="150"/>
                </a:lnTo>
                <a:lnTo>
                  <a:pt x="224" y="157"/>
                </a:lnTo>
                <a:lnTo>
                  <a:pt x="225" y="165"/>
                </a:lnTo>
                <a:lnTo>
                  <a:pt x="225" y="165"/>
                </a:lnTo>
                <a:lnTo>
                  <a:pt x="224" y="174"/>
                </a:lnTo>
                <a:lnTo>
                  <a:pt x="221" y="182"/>
                </a:lnTo>
                <a:lnTo>
                  <a:pt x="218" y="189"/>
                </a:lnTo>
                <a:lnTo>
                  <a:pt x="212" y="195"/>
                </a:lnTo>
                <a:lnTo>
                  <a:pt x="206" y="201"/>
                </a:lnTo>
                <a:lnTo>
                  <a:pt x="201" y="205"/>
                </a:lnTo>
                <a:lnTo>
                  <a:pt x="186" y="214"/>
                </a:lnTo>
                <a:lnTo>
                  <a:pt x="172" y="224"/>
                </a:lnTo>
                <a:lnTo>
                  <a:pt x="165" y="229"/>
                </a:lnTo>
                <a:lnTo>
                  <a:pt x="159" y="234"/>
                </a:lnTo>
                <a:lnTo>
                  <a:pt x="155" y="241"/>
                </a:lnTo>
                <a:lnTo>
                  <a:pt x="151" y="248"/>
                </a:lnTo>
                <a:lnTo>
                  <a:pt x="149" y="256"/>
                </a:lnTo>
                <a:lnTo>
                  <a:pt x="148" y="264"/>
                </a:lnTo>
                <a:lnTo>
                  <a:pt x="148" y="264"/>
                </a:lnTo>
                <a:lnTo>
                  <a:pt x="148" y="338"/>
                </a:lnTo>
                <a:lnTo>
                  <a:pt x="148" y="338"/>
                </a:lnTo>
                <a:lnTo>
                  <a:pt x="136" y="344"/>
                </a:lnTo>
                <a:lnTo>
                  <a:pt x="136" y="344"/>
                </a:lnTo>
                <a:lnTo>
                  <a:pt x="136" y="344"/>
                </a:lnTo>
                <a:lnTo>
                  <a:pt x="128" y="349"/>
                </a:lnTo>
                <a:lnTo>
                  <a:pt x="120" y="356"/>
                </a:lnTo>
                <a:lnTo>
                  <a:pt x="114" y="365"/>
                </a:lnTo>
                <a:lnTo>
                  <a:pt x="109" y="374"/>
                </a:lnTo>
                <a:lnTo>
                  <a:pt x="103" y="386"/>
                </a:lnTo>
                <a:lnTo>
                  <a:pt x="98" y="398"/>
                </a:lnTo>
                <a:lnTo>
                  <a:pt x="91" y="426"/>
                </a:lnTo>
                <a:lnTo>
                  <a:pt x="85" y="455"/>
                </a:lnTo>
                <a:lnTo>
                  <a:pt x="82" y="482"/>
                </a:lnTo>
                <a:lnTo>
                  <a:pt x="77" y="508"/>
                </a:lnTo>
                <a:lnTo>
                  <a:pt x="74" y="529"/>
                </a:lnTo>
                <a:lnTo>
                  <a:pt x="74" y="529"/>
                </a:lnTo>
                <a:lnTo>
                  <a:pt x="66" y="564"/>
                </a:lnTo>
                <a:lnTo>
                  <a:pt x="61" y="583"/>
                </a:lnTo>
                <a:lnTo>
                  <a:pt x="58" y="590"/>
                </a:lnTo>
                <a:lnTo>
                  <a:pt x="56" y="595"/>
                </a:lnTo>
                <a:lnTo>
                  <a:pt x="56" y="595"/>
                </a:lnTo>
                <a:lnTo>
                  <a:pt x="48" y="599"/>
                </a:lnTo>
                <a:lnTo>
                  <a:pt x="39" y="602"/>
                </a:lnTo>
                <a:lnTo>
                  <a:pt x="21" y="609"/>
                </a:lnTo>
                <a:lnTo>
                  <a:pt x="13" y="614"/>
                </a:lnTo>
                <a:lnTo>
                  <a:pt x="6" y="619"/>
                </a:lnTo>
                <a:lnTo>
                  <a:pt x="4" y="623"/>
                </a:lnTo>
                <a:lnTo>
                  <a:pt x="1" y="626"/>
                </a:lnTo>
                <a:lnTo>
                  <a:pt x="0" y="631"/>
                </a:lnTo>
                <a:lnTo>
                  <a:pt x="0" y="636"/>
                </a:lnTo>
                <a:lnTo>
                  <a:pt x="0" y="636"/>
                </a:lnTo>
                <a:lnTo>
                  <a:pt x="1" y="645"/>
                </a:lnTo>
                <a:lnTo>
                  <a:pt x="4" y="653"/>
                </a:lnTo>
                <a:lnTo>
                  <a:pt x="8" y="659"/>
                </a:lnTo>
                <a:lnTo>
                  <a:pt x="14" y="663"/>
                </a:lnTo>
                <a:lnTo>
                  <a:pt x="20" y="665"/>
                </a:lnTo>
                <a:lnTo>
                  <a:pt x="27" y="668"/>
                </a:lnTo>
                <a:lnTo>
                  <a:pt x="41" y="668"/>
                </a:lnTo>
                <a:lnTo>
                  <a:pt x="41" y="668"/>
                </a:lnTo>
                <a:lnTo>
                  <a:pt x="43" y="679"/>
                </a:lnTo>
                <a:lnTo>
                  <a:pt x="45" y="690"/>
                </a:lnTo>
                <a:lnTo>
                  <a:pt x="49" y="699"/>
                </a:lnTo>
                <a:lnTo>
                  <a:pt x="53" y="707"/>
                </a:lnTo>
                <a:lnTo>
                  <a:pt x="58" y="715"/>
                </a:lnTo>
                <a:lnTo>
                  <a:pt x="65" y="721"/>
                </a:lnTo>
                <a:lnTo>
                  <a:pt x="72" y="725"/>
                </a:lnTo>
                <a:lnTo>
                  <a:pt x="81" y="728"/>
                </a:lnTo>
                <a:lnTo>
                  <a:pt x="81" y="728"/>
                </a:lnTo>
                <a:lnTo>
                  <a:pt x="94" y="729"/>
                </a:lnTo>
                <a:lnTo>
                  <a:pt x="107" y="730"/>
                </a:lnTo>
                <a:lnTo>
                  <a:pt x="113" y="731"/>
                </a:lnTo>
                <a:lnTo>
                  <a:pt x="119" y="732"/>
                </a:lnTo>
                <a:lnTo>
                  <a:pt x="122" y="735"/>
                </a:lnTo>
                <a:lnTo>
                  <a:pt x="125" y="738"/>
                </a:lnTo>
                <a:lnTo>
                  <a:pt x="125" y="738"/>
                </a:lnTo>
                <a:lnTo>
                  <a:pt x="128" y="747"/>
                </a:lnTo>
                <a:lnTo>
                  <a:pt x="132" y="752"/>
                </a:lnTo>
                <a:lnTo>
                  <a:pt x="134" y="754"/>
                </a:lnTo>
                <a:lnTo>
                  <a:pt x="137" y="755"/>
                </a:lnTo>
                <a:lnTo>
                  <a:pt x="141" y="755"/>
                </a:lnTo>
                <a:lnTo>
                  <a:pt x="145" y="756"/>
                </a:lnTo>
                <a:lnTo>
                  <a:pt x="152" y="759"/>
                </a:lnTo>
                <a:lnTo>
                  <a:pt x="163" y="764"/>
                </a:lnTo>
                <a:lnTo>
                  <a:pt x="163" y="764"/>
                </a:lnTo>
                <a:lnTo>
                  <a:pt x="165" y="767"/>
                </a:lnTo>
                <a:lnTo>
                  <a:pt x="167" y="769"/>
                </a:lnTo>
                <a:lnTo>
                  <a:pt x="167" y="772"/>
                </a:lnTo>
                <a:lnTo>
                  <a:pt x="168" y="776"/>
                </a:lnTo>
                <a:lnTo>
                  <a:pt x="167" y="784"/>
                </a:lnTo>
                <a:lnTo>
                  <a:pt x="167" y="792"/>
                </a:lnTo>
                <a:lnTo>
                  <a:pt x="167" y="799"/>
                </a:lnTo>
                <a:lnTo>
                  <a:pt x="167" y="802"/>
                </a:lnTo>
                <a:lnTo>
                  <a:pt x="169" y="806"/>
                </a:lnTo>
                <a:lnTo>
                  <a:pt x="172" y="808"/>
                </a:lnTo>
                <a:lnTo>
                  <a:pt x="176" y="810"/>
                </a:lnTo>
                <a:lnTo>
                  <a:pt x="181" y="812"/>
                </a:lnTo>
                <a:lnTo>
                  <a:pt x="188" y="812"/>
                </a:lnTo>
                <a:lnTo>
                  <a:pt x="188" y="812"/>
                </a:lnTo>
                <a:lnTo>
                  <a:pt x="194" y="813"/>
                </a:lnTo>
                <a:lnTo>
                  <a:pt x="198" y="813"/>
                </a:lnTo>
                <a:lnTo>
                  <a:pt x="205" y="816"/>
                </a:lnTo>
                <a:lnTo>
                  <a:pt x="209" y="816"/>
                </a:lnTo>
                <a:lnTo>
                  <a:pt x="212" y="816"/>
                </a:lnTo>
                <a:lnTo>
                  <a:pt x="214" y="815"/>
                </a:lnTo>
                <a:lnTo>
                  <a:pt x="218" y="812"/>
                </a:lnTo>
                <a:lnTo>
                  <a:pt x="218" y="812"/>
                </a:lnTo>
                <a:lnTo>
                  <a:pt x="219" y="801"/>
                </a:lnTo>
                <a:lnTo>
                  <a:pt x="221" y="789"/>
                </a:lnTo>
                <a:lnTo>
                  <a:pt x="227" y="776"/>
                </a:lnTo>
                <a:lnTo>
                  <a:pt x="233" y="762"/>
                </a:lnTo>
                <a:lnTo>
                  <a:pt x="241" y="751"/>
                </a:lnTo>
                <a:lnTo>
                  <a:pt x="250" y="740"/>
                </a:lnTo>
                <a:lnTo>
                  <a:pt x="259" y="732"/>
                </a:lnTo>
                <a:lnTo>
                  <a:pt x="264" y="729"/>
                </a:lnTo>
                <a:lnTo>
                  <a:pt x="268" y="728"/>
                </a:lnTo>
                <a:lnTo>
                  <a:pt x="268" y="728"/>
                </a:lnTo>
                <a:lnTo>
                  <a:pt x="274" y="726"/>
                </a:lnTo>
                <a:lnTo>
                  <a:pt x="280" y="726"/>
                </a:lnTo>
                <a:lnTo>
                  <a:pt x="290" y="729"/>
                </a:lnTo>
                <a:lnTo>
                  <a:pt x="295" y="729"/>
                </a:lnTo>
                <a:lnTo>
                  <a:pt x="300" y="729"/>
                </a:lnTo>
                <a:lnTo>
                  <a:pt x="305" y="726"/>
                </a:lnTo>
                <a:lnTo>
                  <a:pt x="309" y="724"/>
                </a:lnTo>
                <a:lnTo>
                  <a:pt x="309" y="724"/>
                </a:lnTo>
                <a:lnTo>
                  <a:pt x="314" y="716"/>
                </a:lnTo>
                <a:lnTo>
                  <a:pt x="319" y="707"/>
                </a:lnTo>
                <a:lnTo>
                  <a:pt x="324" y="697"/>
                </a:lnTo>
                <a:lnTo>
                  <a:pt x="329" y="687"/>
                </a:lnTo>
                <a:lnTo>
                  <a:pt x="336" y="678"/>
                </a:lnTo>
                <a:lnTo>
                  <a:pt x="343" y="671"/>
                </a:lnTo>
                <a:lnTo>
                  <a:pt x="348" y="669"/>
                </a:lnTo>
                <a:lnTo>
                  <a:pt x="352" y="667"/>
                </a:lnTo>
                <a:lnTo>
                  <a:pt x="358" y="665"/>
                </a:lnTo>
                <a:lnTo>
                  <a:pt x="364" y="664"/>
                </a:lnTo>
                <a:lnTo>
                  <a:pt x="364" y="664"/>
                </a:lnTo>
                <a:lnTo>
                  <a:pt x="374" y="665"/>
                </a:lnTo>
                <a:lnTo>
                  <a:pt x="384" y="668"/>
                </a:lnTo>
                <a:lnTo>
                  <a:pt x="390" y="671"/>
                </a:lnTo>
                <a:lnTo>
                  <a:pt x="397" y="671"/>
                </a:lnTo>
                <a:lnTo>
                  <a:pt x="397" y="671"/>
                </a:lnTo>
                <a:lnTo>
                  <a:pt x="403" y="671"/>
                </a:lnTo>
                <a:lnTo>
                  <a:pt x="407" y="669"/>
                </a:lnTo>
                <a:lnTo>
                  <a:pt x="410" y="667"/>
                </a:lnTo>
                <a:lnTo>
                  <a:pt x="412" y="663"/>
                </a:lnTo>
                <a:lnTo>
                  <a:pt x="416" y="653"/>
                </a:lnTo>
                <a:lnTo>
                  <a:pt x="417" y="642"/>
                </a:lnTo>
                <a:lnTo>
                  <a:pt x="419" y="632"/>
                </a:lnTo>
                <a:lnTo>
                  <a:pt x="422" y="626"/>
                </a:lnTo>
                <a:lnTo>
                  <a:pt x="424" y="622"/>
                </a:lnTo>
                <a:lnTo>
                  <a:pt x="427" y="618"/>
                </a:lnTo>
                <a:lnTo>
                  <a:pt x="432" y="616"/>
                </a:lnTo>
                <a:lnTo>
                  <a:pt x="438" y="614"/>
                </a:lnTo>
                <a:lnTo>
                  <a:pt x="445" y="613"/>
                </a:lnTo>
                <a:lnTo>
                  <a:pt x="445" y="613"/>
                </a:lnTo>
                <a:lnTo>
                  <a:pt x="456" y="613"/>
                </a:lnTo>
                <a:lnTo>
                  <a:pt x="469" y="609"/>
                </a:lnTo>
                <a:lnTo>
                  <a:pt x="480" y="606"/>
                </a:lnTo>
                <a:lnTo>
                  <a:pt x="491" y="600"/>
                </a:lnTo>
                <a:lnTo>
                  <a:pt x="501" y="593"/>
                </a:lnTo>
                <a:lnTo>
                  <a:pt x="504" y="588"/>
                </a:lnTo>
                <a:lnTo>
                  <a:pt x="508" y="584"/>
                </a:lnTo>
                <a:lnTo>
                  <a:pt x="511" y="579"/>
                </a:lnTo>
                <a:lnTo>
                  <a:pt x="514" y="573"/>
                </a:lnTo>
                <a:lnTo>
                  <a:pt x="515" y="568"/>
                </a:lnTo>
                <a:lnTo>
                  <a:pt x="515" y="562"/>
                </a:lnTo>
                <a:lnTo>
                  <a:pt x="515" y="562"/>
                </a:lnTo>
                <a:lnTo>
                  <a:pt x="515" y="556"/>
                </a:lnTo>
                <a:lnTo>
                  <a:pt x="512" y="552"/>
                </a:lnTo>
                <a:lnTo>
                  <a:pt x="508" y="543"/>
                </a:lnTo>
                <a:lnTo>
                  <a:pt x="502" y="537"/>
                </a:lnTo>
                <a:lnTo>
                  <a:pt x="501" y="533"/>
                </a:lnTo>
                <a:lnTo>
                  <a:pt x="500" y="529"/>
                </a:lnTo>
                <a:lnTo>
                  <a:pt x="500" y="529"/>
                </a:lnTo>
                <a:lnTo>
                  <a:pt x="501" y="523"/>
                </a:lnTo>
                <a:lnTo>
                  <a:pt x="503" y="517"/>
                </a:lnTo>
                <a:lnTo>
                  <a:pt x="507" y="511"/>
                </a:lnTo>
                <a:lnTo>
                  <a:pt x="511" y="507"/>
                </a:lnTo>
                <a:lnTo>
                  <a:pt x="515" y="502"/>
                </a:lnTo>
                <a:lnTo>
                  <a:pt x="518" y="496"/>
                </a:lnTo>
                <a:lnTo>
                  <a:pt x="520" y="492"/>
                </a:lnTo>
                <a:lnTo>
                  <a:pt x="522" y="485"/>
                </a:lnTo>
                <a:lnTo>
                  <a:pt x="522" y="485"/>
                </a:lnTo>
                <a:lnTo>
                  <a:pt x="520" y="476"/>
                </a:lnTo>
                <a:lnTo>
                  <a:pt x="518" y="469"/>
                </a:lnTo>
                <a:lnTo>
                  <a:pt x="515" y="462"/>
                </a:lnTo>
                <a:lnTo>
                  <a:pt x="511" y="456"/>
                </a:lnTo>
                <a:lnTo>
                  <a:pt x="507" y="449"/>
                </a:lnTo>
                <a:lnTo>
                  <a:pt x="503" y="441"/>
                </a:lnTo>
                <a:lnTo>
                  <a:pt x="501" y="431"/>
                </a:lnTo>
                <a:lnTo>
                  <a:pt x="500" y="418"/>
                </a:lnTo>
                <a:lnTo>
                  <a:pt x="500" y="418"/>
                </a:lnTo>
                <a:lnTo>
                  <a:pt x="501" y="412"/>
                </a:lnTo>
                <a:lnTo>
                  <a:pt x="502" y="407"/>
                </a:lnTo>
                <a:lnTo>
                  <a:pt x="506" y="402"/>
                </a:lnTo>
                <a:lnTo>
                  <a:pt x="509" y="397"/>
                </a:lnTo>
                <a:lnTo>
                  <a:pt x="514" y="394"/>
                </a:lnTo>
                <a:lnTo>
                  <a:pt x="518" y="392"/>
                </a:lnTo>
                <a:lnTo>
                  <a:pt x="531" y="387"/>
                </a:lnTo>
                <a:lnTo>
                  <a:pt x="556" y="379"/>
                </a:lnTo>
                <a:lnTo>
                  <a:pt x="568" y="375"/>
                </a:lnTo>
                <a:lnTo>
                  <a:pt x="577" y="371"/>
                </a:lnTo>
                <a:lnTo>
                  <a:pt x="577" y="371"/>
                </a:lnTo>
                <a:lnTo>
                  <a:pt x="587" y="363"/>
                </a:lnTo>
                <a:lnTo>
                  <a:pt x="596" y="354"/>
                </a:lnTo>
                <a:lnTo>
                  <a:pt x="604" y="343"/>
                </a:lnTo>
                <a:lnTo>
                  <a:pt x="610" y="333"/>
                </a:lnTo>
                <a:lnTo>
                  <a:pt x="623" y="309"/>
                </a:lnTo>
                <a:lnTo>
                  <a:pt x="636" y="282"/>
                </a:lnTo>
                <a:lnTo>
                  <a:pt x="636" y="282"/>
                </a:lnTo>
                <a:lnTo>
                  <a:pt x="655" y="251"/>
                </a:lnTo>
                <a:lnTo>
                  <a:pt x="672" y="218"/>
                </a:lnTo>
                <a:lnTo>
                  <a:pt x="690" y="182"/>
                </a:lnTo>
                <a:lnTo>
                  <a:pt x="706" y="146"/>
                </a:lnTo>
                <a:lnTo>
                  <a:pt x="706" y="146"/>
                </a:lnTo>
                <a:lnTo>
                  <a:pt x="709" y="140"/>
                </a:lnTo>
                <a:lnTo>
                  <a:pt x="709" y="140"/>
                </a:lnTo>
                <a:lnTo>
                  <a:pt x="709" y="140"/>
                </a:lnTo>
                <a:lnTo>
                  <a:pt x="691" y="143"/>
                </a:lnTo>
                <a:lnTo>
                  <a:pt x="675" y="144"/>
                </a:lnTo>
                <a:lnTo>
                  <a:pt x="659" y="144"/>
                </a:lnTo>
                <a:lnTo>
                  <a:pt x="645" y="142"/>
                </a:lnTo>
                <a:lnTo>
                  <a:pt x="632" y="138"/>
                </a:lnTo>
                <a:lnTo>
                  <a:pt x="619" y="133"/>
                </a:lnTo>
                <a:lnTo>
                  <a:pt x="608" y="128"/>
                </a:lnTo>
                <a:lnTo>
                  <a:pt x="598" y="121"/>
                </a:lnTo>
                <a:lnTo>
                  <a:pt x="577" y="109"/>
                </a:lnTo>
                <a:lnTo>
                  <a:pt x="555" y="97"/>
                </a:lnTo>
                <a:lnTo>
                  <a:pt x="545" y="91"/>
                </a:lnTo>
                <a:lnTo>
                  <a:pt x="533" y="88"/>
                </a:lnTo>
                <a:lnTo>
                  <a:pt x="520" y="86"/>
                </a:lnTo>
                <a:lnTo>
                  <a:pt x="507" y="84"/>
                </a:lnTo>
                <a:lnTo>
                  <a:pt x="507" y="84"/>
                </a:lnTo>
                <a:lnTo>
                  <a:pt x="501" y="86"/>
                </a:lnTo>
                <a:lnTo>
                  <a:pt x="496" y="87"/>
                </a:lnTo>
                <a:lnTo>
                  <a:pt x="487" y="91"/>
                </a:lnTo>
                <a:lnTo>
                  <a:pt x="482" y="95"/>
                </a:lnTo>
                <a:lnTo>
                  <a:pt x="477" y="97"/>
                </a:lnTo>
                <a:lnTo>
                  <a:pt x="471" y="98"/>
                </a:lnTo>
                <a:lnTo>
                  <a:pt x="463" y="99"/>
                </a:lnTo>
                <a:lnTo>
                  <a:pt x="463" y="99"/>
                </a:lnTo>
                <a:lnTo>
                  <a:pt x="435" y="98"/>
                </a:lnTo>
                <a:lnTo>
                  <a:pt x="410" y="97"/>
                </a:lnTo>
                <a:lnTo>
                  <a:pt x="386" y="96"/>
                </a:lnTo>
                <a:lnTo>
                  <a:pt x="361" y="95"/>
                </a:lnTo>
                <a:lnTo>
                  <a:pt x="361" y="95"/>
                </a:lnTo>
                <a:lnTo>
                  <a:pt x="361" y="99"/>
                </a:lnTo>
                <a:lnTo>
                  <a:pt x="361" y="9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7" name="Freeform 102"/>
          <p:cNvSpPr>
            <a:spLocks/>
          </p:cNvSpPr>
          <p:nvPr/>
        </p:nvSpPr>
        <p:spPr bwMode="auto">
          <a:xfrm>
            <a:off x="1744663" y="2932113"/>
            <a:ext cx="1695450" cy="1027112"/>
          </a:xfrm>
          <a:custGeom>
            <a:avLst/>
            <a:gdLst/>
            <a:ahLst/>
            <a:cxnLst>
              <a:cxn ang="0">
                <a:pos x="1267" y="503"/>
              </a:cxn>
              <a:cxn ang="0">
                <a:pos x="1392" y="591"/>
              </a:cxn>
              <a:cxn ang="0">
                <a:pos x="1831" y="771"/>
              </a:cxn>
              <a:cxn ang="0">
                <a:pos x="2060" y="649"/>
              </a:cxn>
              <a:cxn ang="0">
                <a:pos x="2044" y="584"/>
              </a:cxn>
              <a:cxn ang="0">
                <a:pos x="2060" y="470"/>
              </a:cxn>
              <a:cxn ang="0">
                <a:pos x="1894" y="344"/>
              </a:cxn>
              <a:cxn ang="0">
                <a:pos x="1846" y="406"/>
              </a:cxn>
              <a:cxn ang="0">
                <a:pos x="1793" y="479"/>
              </a:cxn>
              <a:cxn ang="0">
                <a:pos x="1743" y="543"/>
              </a:cxn>
              <a:cxn ang="0">
                <a:pos x="1751" y="467"/>
              </a:cxn>
              <a:cxn ang="0">
                <a:pos x="1652" y="436"/>
              </a:cxn>
              <a:cxn ang="0">
                <a:pos x="1497" y="421"/>
              </a:cxn>
              <a:cxn ang="0">
                <a:pos x="1414" y="370"/>
              </a:cxn>
              <a:cxn ang="0">
                <a:pos x="1481" y="322"/>
              </a:cxn>
              <a:cxn ang="0">
                <a:pos x="1415" y="303"/>
              </a:cxn>
              <a:cxn ang="0">
                <a:pos x="1336" y="292"/>
              </a:cxn>
              <a:cxn ang="0">
                <a:pos x="1079" y="306"/>
              </a:cxn>
              <a:cxn ang="0">
                <a:pos x="961" y="334"/>
              </a:cxn>
              <a:cxn ang="0">
                <a:pos x="953" y="210"/>
              </a:cxn>
              <a:cxn ang="0">
                <a:pos x="1068" y="213"/>
              </a:cxn>
              <a:cxn ang="0">
                <a:pos x="1059" y="75"/>
              </a:cxn>
              <a:cxn ang="0">
                <a:pos x="990" y="66"/>
              </a:cxn>
              <a:cxn ang="0">
                <a:pos x="869" y="179"/>
              </a:cxn>
              <a:cxn ang="0">
                <a:pos x="884" y="261"/>
              </a:cxn>
              <a:cxn ang="0">
                <a:pos x="786" y="352"/>
              </a:cxn>
              <a:cxn ang="0">
                <a:pos x="759" y="297"/>
              </a:cxn>
              <a:cxn ang="0">
                <a:pos x="713" y="223"/>
              </a:cxn>
              <a:cxn ang="0">
                <a:pos x="545" y="220"/>
              </a:cxn>
              <a:cxn ang="0">
                <a:pos x="484" y="349"/>
              </a:cxn>
              <a:cxn ang="0">
                <a:pos x="403" y="280"/>
              </a:cxn>
              <a:cxn ang="0">
                <a:pos x="356" y="160"/>
              </a:cxn>
              <a:cxn ang="0">
                <a:pos x="306" y="264"/>
              </a:cxn>
              <a:cxn ang="0">
                <a:pos x="265" y="332"/>
              </a:cxn>
              <a:cxn ang="0">
                <a:pos x="180" y="302"/>
              </a:cxn>
              <a:cxn ang="0">
                <a:pos x="109" y="391"/>
              </a:cxn>
              <a:cxn ang="0">
                <a:pos x="124" y="465"/>
              </a:cxn>
              <a:cxn ang="0">
                <a:pos x="67" y="572"/>
              </a:cxn>
              <a:cxn ang="0">
                <a:pos x="10" y="753"/>
              </a:cxn>
              <a:cxn ang="0">
                <a:pos x="66" y="822"/>
              </a:cxn>
              <a:cxn ang="0">
                <a:pos x="124" y="871"/>
              </a:cxn>
              <a:cxn ang="0">
                <a:pos x="219" y="913"/>
              </a:cxn>
              <a:cxn ang="0">
                <a:pos x="341" y="982"/>
              </a:cxn>
              <a:cxn ang="0">
                <a:pos x="405" y="1013"/>
              </a:cxn>
              <a:cxn ang="0">
                <a:pos x="442" y="1035"/>
              </a:cxn>
              <a:cxn ang="0">
                <a:pos x="487" y="1098"/>
              </a:cxn>
              <a:cxn ang="0">
                <a:pos x="543" y="1113"/>
              </a:cxn>
              <a:cxn ang="0">
                <a:pos x="565" y="1167"/>
              </a:cxn>
              <a:cxn ang="0">
                <a:pos x="688" y="1126"/>
              </a:cxn>
              <a:cxn ang="0">
                <a:pos x="709" y="1058"/>
              </a:cxn>
              <a:cxn ang="0">
                <a:pos x="769" y="958"/>
              </a:cxn>
              <a:cxn ang="0">
                <a:pos x="694" y="983"/>
              </a:cxn>
              <a:cxn ang="0">
                <a:pos x="629" y="928"/>
              </a:cxn>
              <a:cxn ang="0">
                <a:pos x="712" y="848"/>
              </a:cxn>
              <a:cxn ang="0">
                <a:pos x="717" y="767"/>
              </a:cxn>
              <a:cxn ang="0">
                <a:pos x="690" y="645"/>
              </a:cxn>
              <a:cxn ang="0">
                <a:pos x="850" y="731"/>
              </a:cxn>
              <a:cxn ang="0">
                <a:pos x="937" y="744"/>
              </a:cxn>
              <a:cxn ang="0">
                <a:pos x="998" y="772"/>
              </a:cxn>
              <a:cxn ang="0">
                <a:pos x="990" y="655"/>
              </a:cxn>
              <a:cxn ang="0">
                <a:pos x="1000" y="574"/>
              </a:cxn>
            </a:cxnLst>
            <a:rect l="0" t="0" r="r" b="b"/>
            <a:pathLst>
              <a:path w="2075" h="1179">
                <a:moveTo>
                  <a:pt x="1040" y="517"/>
                </a:moveTo>
                <a:lnTo>
                  <a:pt x="1040" y="517"/>
                </a:lnTo>
                <a:lnTo>
                  <a:pt x="1051" y="521"/>
                </a:lnTo>
                <a:lnTo>
                  <a:pt x="1062" y="524"/>
                </a:lnTo>
                <a:lnTo>
                  <a:pt x="1075" y="524"/>
                </a:lnTo>
                <a:lnTo>
                  <a:pt x="1087" y="525"/>
                </a:lnTo>
                <a:lnTo>
                  <a:pt x="1087" y="525"/>
                </a:lnTo>
                <a:lnTo>
                  <a:pt x="1137" y="524"/>
                </a:lnTo>
                <a:lnTo>
                  <a:pt x="1160" y="524"/>
                </a:lnTo>
                <a:lnTo>
                  <a:pt x="1183" y="521"/>
                </a:lnTo>
                <a:lnTo>
                  <a:pt x="1205" y="519"/>
                </a:lnTo>
                <a:lnTo>
                  <a:pt x="1226" y="516"/>
                </a:lnTo>
                <a:lnTo>
                  <a:pt x="1246" y="510"/>
                </a:lnTo>
                <a:lnTo>
                  <a:pt x="1267" y="503"/>
                </a:lnTo>
                <a:lnTo>
                  <a:pt x="1267" y="503"/>
                </a:lnTo>
                <a:lnTo>
                  <a:pt x="1276" y="501"/>
                </a:lnTo>
                <a:lnTo>
                  <a:pt x="1285" y="500"/>
                </a:lnTo>
                <a:lnTo>
                  <a:pt x="1293" y="502"/>
                </a:lnTo>
                <a:lnTo>
                  <a:pt x="1301" y="504"/>
                </a:lnTo>
                <a:lnTo>
                  <a:pt x="1310" y="509"/>
                </a:lnTo>
                <a:lnTo>
                  <a:pt x="1316" y="515"/>
                </a:lnTo>
                <a:lnTo>
                  <a:pt x="1324" y="521"/>
                </a:lnTo>
                <a:lnTo>
                  <a:pt x="1331" y="528"/>
                </a:lnTo>
                <a:lnTo>
                  <a:pt x="1360" y="562"/>
                </a:lnTo>
                <a:lnTo>
                  <a:pt x="1375" y="578"/>
                </a:lnTo>
                <a:lnTo>
                  <a:pt x="1383" y="585"/>
                </a:lnTo>
                <a:lnTo>
                  <a:pt x="1392" y="591"/>
                </a:lnTo>
                <a:lnTo>
                  <a:pt x="1392" y="591"/>
                </a:lnTo>
                <a:lnTo>
                  <a:pt x="1434" y="615"/>
                </a:lnTo>
                <a:lnTo>
                  <a:pt x="1487" y="642"/>
                </a:lnTo>
                <a:lnTo>
                  <a:pt x="1547" y="672"/>
                </a:lnTo>
                <a:lnTo>
                  <a:pt x="1608" y="702"/>
                </a:lnTo>
                <a:lnTo>
                  <a:pt x="1716" y="754"/>
                </a:lnTo>
                <a:lnTo>
                  <a:pt x="1751" y="770"/>
                </a:lnTo>
                <a:lnTo>
                  <a:pt x="1771" y="778"/>
                </a:lnTo>
                <a:lnTo>
                  <a:pt x="1771" y="778"/>
                </a:lnTo>
                <a:lnTo>
                  <a:pt x="1781" y="779"/>
                </a:lnTo>
                <a:lnTo>
                  <a:pt x="1792" y="779"/>
                </a:lnTo>
                <a:lnTo>
                  <a:pt x="1802" y="778"/>
                </a:lnTo>
                <a:lnTo>
                  <a:pt x="1812" y="777"/>
                </a:lnTo>
                <a:lnTo>
                  <a:pt x="1822" y="775"/>
                </a:lnTo>
                <a:lnTo>
                  <a:pt x="1831" y="771"/>
                </a:lnTo>
                <a:lnTo>
                  <a:pt x="1849" y="764"/>
                </a:lnTo>
                <a:lnTo>
                  <a:pt x="1865" y="755"/>
                </a:lnTo>
                <a:lnTo>
                  <a:pt x="1883" y="744"/>
                </a:lnTo>
                <a:lnTo>
                  <a:pt x="1898" y="732"/>
                </a:lnTo>
                <a:lnTo>
                  <a:pt x="1914" y="719"/>
                </a:lnTo>
                <a:lnTo>
                  <a:pt x="1946" y="694"/>
                </a:lnTo>
                <a:lnTo>
                  <a:pt x="1962" y="683"/>
                </a:lnTo>
                <a:lnTo>
                  <a:pt x="1979" y="672"/>
                </a:lnTo>
                <a:lnTo>
                  <a:pt x="1998" y="663"/>
                </a:lnTo>
                <a:lnTo>
                  <a:pt x="2017" y="656"/>
                </a:lnTo>
                <a:lnTo>
                  <a:pt x="2028" y="654"/>
                </a:lnTo>
                <a:lnTo>
                  <a:pt x="2038" y="651"/>
                </a:lnTo>
                <a:lnTo>
                  <a:pt x="2048" y="650"/>
                </a:lnTo>
                <a:lnTo>
                  <a:pt x="2060" y="649"/>
                </a:lnTo>
                <a:lnTo>
                  <a:pt x="2060" y="649"/>
                </a:lnTo>
                <a:lnTo>
                  <a:pt x="2056" y="657"/>
                </a:lnTo>
                <a:lnTo>
                  <a:pt x="2056" y="657"/>
                </a:lnTo>
                <a:lnTo>
                  <a:pt x="2056" y="657"/>
                </a:lnTo>
                <a:lnTo>
                  <a:pt x="2059" y="651"/>
                </a:lnTo>
                <a:lnTo>
                  <a:pt x="2062" y="646"/>
                </a:lnTo>
                <a:lnTo>
                  <a:pt x="2063" y="639"/>
                </a:lnTo>
                <a:lnTo>
                  <a:pt x="2064" y="631"/>
                </a:lnTo>
                <a:lnTo>
                  <a:pt x="2064" y="631"/>
                </a:lnTo>
                <a:lnTo>
                  <a:pt x="2062" y="619"/>
                </a:lnTo>
                <a:lnTo>
                  <a:pt x="2060" y="609"/>
                </a:lnTo>
                <a:lnTo>
                  <a:pt x="2054" y="600"/>
                </a:lnTo>
                <a:lnTo>
                  <a:pt x="2049" y="592"/>
                </a:lnTo>
                <a:lnTo>
                  <a:pt x="2044" y="584"/>
                </a:lnTo>
                <a:lnTo>
                  <a:pt x="2039" y="576"/>
                </a:lnTo>
                <a:lnTo>
                  <a:pt x="2036" y="566"/>
                </a:lnTo>
                <a:lnTo>
                  <a:pt x="2034" y="557"/>
                </a:lnTo>
                <a:lnTo>
                  <a:pt x="2034" y="557"/>
                </a:lnTo>
                <a:lnTo>
                  <a:pt x="2036" y="548"/>
                </a:lnTo>
                <a:lnTo>
                  <a:pt x="2039" y="541"/>
                </a:lnTo>
                <a:lnTo>
                  <a:pt x="2045" y="534"/>
                </a:lnTo>
                <a:lnTo>
                  <a:pt x="2051" y="527"/>
                </a:lnTo>
                <a:lnTo>
                  <a:pt x="2064" y="513"/>
                </a:lnTo>
                <a:lnTo>
                  <a:pt x="2070" y="507"/>
                </a:lnTo>
                <a:lnTo>
                  <a:pt x="2075" y="498"/>
                </a:lnTo>
                <a:lnTo>
                  <a:pt x="2075" y="498"/>
                </a:lnTo>
                <a:lnTo>
                  <a:pt x="2068" y="485"/>
                </a:lnTo>
                <a:lnTo>
                  <a:pt x="2060" y="470"/>
                </a:lnTo>
                <a:lnTo>
                  <a:pt x="2060" y="470"/>
                </a:lnTo>
                <a:lnTo>
                  <a:pt x="2053" y="460"/>
                </a:lnTo>
                <a:lnTo>
                  <a:pt x="2045" y="451"/>
                </a:lnTo>
                <a:lnTo>
                  <a:pt x="2036" y="443"/>
                </a:lnTo>
                <a:lnTo>
                  <a:pt x="2026" y="436"/>
                </a:lnTo>
                <a:lnTo>
                  <a:pt x="2003" y="421"/>
                </a:lnTo>
                <a:lnTo>
                  <a:pt x="1980" y="409"/>
                </a:lnTo>
                <a:lnTo>
                  <a:pt x="1956" y="395"/>
                </a:lnTo>
                <a:lnTo>
                  <a:pt x="1933" y="380"/>
                </a:lnTo>
                <a:lnTo>
                  <a:pt x="1922" y="372"/>
                </a:lnTo>
                <a:lnTo>
                  <a:pt x="1911" y="364"/>
                </a:lnTo>
                <a:lnTo>
                  <a:pt x="1902" y="355"/>
                </a:lnTo>
                <a:lnTo>
                  <a:pt x="1894" y="344"/>
                </a:lnTo>
                <a:lnTo>
                  <a:pt x="1894" y="344"/>
                </a:lnTo>
                <a:lnTo>
                  <a:pt x="1892" y="344"/>
                </a:lnTo>
                <a:lnTo>
                  <a:pt x="1883" y="344"/>
                </a:lnTo>
                <a:lnTo>
                  <a:pt x="1869" y="348"/>
                </a:lnTo>
                <a:lnTo>
                  <a:pt x="1858" y="351"/>
                </a:lnTo>
                <a:lnTo>
                  <a:pt x="1848" y="356"/>
                </a:lnTo>
                <a:lnTo>
                  <a:pt x="1848" y="356"/>
                </a:lnTo>
                <a:lnTo>
                  <a:pt x="1843" y="358"/>
                </a:lnTo>
                <a:lnTo>
                  <a:pt x="1841" y="362"/>
                </a:lnTo>
                <a:lnTo>
                  <a:pt x="1840" y="365"/>
                </a:lnTo>
                <a:lnTo>
                  <a:pt x="1839" y="368"/>
                </a:lnTo>
                <a:lnTo>
                  <a:pt x="1840" y="376"/>
                </a:lnTo>
                <a:lnTo>
                  <a:pt x="1842" y="387"/>
                </a:lnTo>
                <a:lnTo>
                  <a:pt x="1845" y="396"/>
                </a:lnTo>
                <a:lnTo>
                  <a:pt x="1846" y="406"/>
                </a:lnTo>
                <a:lnTo>
                  <a:pt x="1847" y="417"/>
                </a:lnTo>
                <a:lnTo>
                  <a:pt x="1846" y="421"/>
                </a:lnTo>
                <a:lnTo>
                  <a:pt x="1843" y="425"/>
                </a:lnTo>
                <a:lnTo>
                  <a:pt x="1843" y="425"/>
                </a:lnTo>
                <a:lnTo>
                  <a:pt x="1847" y="444"/>
                </a:lnTo>
                <a:lnTo>
                  <a:pt x="1848" y="460"/>
                </a:lnTo>
                <a:lnTo>
                  <a:pt x="1847" y="472"/>
                </a:lnTo>
                <a:lnTo>
                  <a:pt x="1845" y="480"/>
                </a:lnTo>
                <a:lnTo>
                  <a:pt x="1840" y="485"/>
                </a:lnTo>
                <a:lnTo>
                  <a:pt x="1835" y="488"/>
                </a:lnTo>
                <a:lnTo>
                  <a:pt x="1828" y="488"/>
                </a:lnTo>
                <a:lnTo>
                  <a:pt x="1823" y="487"/>
                </a:lnTo>
                <a:lnTo>
                  <a:pt x="1808" y="483"/>
                </a:lnTo>
                <a:lnTo>
                  <a:pt x="1793" y="479"/>
                </a:lnTo>
                <a:lnTo>
                  <a:pt x="1786" y="478"/>
                </a:lnTo>
                <a:lnTo>
                  <a:pt x="1780" y="478"/>
                </a:lnTo>
                <a:lnTo>
                  <a:pt x="1774" y="480"/>
                </a:lnTo>
                <a:lnTo>
                  <a:pt x="1771" y="483"/>
                </a:lnTo>
                <a:lnTo>
                  <a:pt x="1771" y="483"/>
                </a:lnTo>
                <a:lnTo>
                  <a:pt x="1772" y="494"/>
                </a:lnTo>
                <a:lnTo>
                  <a:pt x="1772" y="503"/>
                </a:lnTo>
                <a:lnTo>
                  <a:pt x="1771" y="511"/>
                </a:lnTo>
                <a:lnTo>
                  <a:pt x="1769" y="519"/>
                </a:lnTo>
                <a:lnTo>
                  <a:pt x="1764" y="527"/>
                </a:lnTo>
                <a:lnTo>
                  <a:pt x="1759" y="533"/>
                </a:lnTo>
                <a:lnTo>
                  <a:pt x="1755" y="538"/>
                </a:lnTo>
                <a:lnTo>
                  <a:pt x="1749" y="541"/>
                </a:lnTo>
                <a:lnTo>
                  <a:pt x="1743" y="543"/>
                </a:lnTo>
                <a:lnTo>
                  <a:pt x="1739" y="544"/>
                </a:lnTo>
                <a:lnTo>
                  <a:pt x="1733" y="543"/>
                </a:lnTo>
                <a:lnTo>
                  <a:pt x="1730" y="540"/>
                </a:lnTo>
                <a:lnTo>
                  <a:pt x="1726" y="534"/>
                </a:lnTo>
                <a:lnTo>
                  <a:pt x="1724" y="526"/>
                </a:lnTo>
                <a:lnTo>
                  <a:pt x="1723" y="516"/>
                </a:lnTo>
                <a:lnTo>
                  <a:pt x="1723" y="503"/>
                </a:lnTo>
                <a:lnTo>
                  <a:pt x="1723" y="503"/>
                </a:lnTo>
                <a:lnTo>
                  <a:pt x="1724" y="496"/>
                </a:lnTo>
                <a:lnTo>
                  <a:pt x="1726" y="490"/>
                </a:lnTo>
                <a:lnTo>
                  <a:pt x="1728" y="486"/>
                </a:lnTo>
                <a:lnTo>
                  <a:pt x="1733" y="481"/>
                </a:lnTo>
                <a:lnTo>
                  <a:pt x="1742" y="474"/>
                </a:lnTo>
                <a:lnTo>
                  <a:pt x="1751" y="467"/>
                </a:lnTo>
                <a:lnTo>
                  <a:pt x="1756" y="464"/>
                </a:lnTo>
                <a:lnTo>
                  <a:pt x="1759" y="459"/>
                </a:lnTo>
                <a:lnTo>
                  <a:pt x="1763" y="455"/>
                </a:lnTo>
                <a:lnTo>
                  <a:pt x="1764" y="449"/>
                </a:lnTo>
                <a:lnTo>
                  <a:pt x="1765" y="443"/>
                </a:lnTo>
                <a:lnTo>
                  <a:pt x="1764" y="436"/>
                </a:lnTo>
                <a:lnTo>
                  <a:pt x="1761" y="428"/>
                </a:lnTo>
                <a:lnTo>
                  <a:pt x="1756" y="418"/>
                </a:lnTo>
                <a:lnTo>
                  <a:pt x="1756" y="418"/>
                </a:lnTo>
                <a:lnTo>
                  <a:pt x="1718" y="427"/>
                </a:lnTo>
                <a:lnTo>
                  <a:pt x="1688" y="434"/>
                </a:lnTo>
                <a:lnTo>
                  <a:pt x="1675" y="435"/>
                </a:lnTo>
                <a:lnTo>
                  <a:pt x="1663" y="436"/>
                </a:lnTo>
                <a:lnTo>
                  <a:pt x="1652" y="436"/>
                </a:lnTo>
                <a:lnTo>
                  <a:pt x="1642" y="435"/>
                </a:lnTo>
                <a:lnTo>
                  <a:pt x="1632" y="433"/>
                </a:lnTo>
                <a:lnTo>
                  <a:pt x="1621" y="431"/>
                </a:lnTo>
                <a:lnTo>
                  <a:pt x="1612" y="426"/>
                </a:lnTo>
                <a:lnTo>
                  <a:pt x="1603" y="420"/>
                </a:lnTo>
                <a:lnTo>
                  <a:pt x="1581" y="408"/>
                </a:lnTo>
                <a:lnTo>
                  <a:pt x="1558" y="389"/>
                </a:lnTo>
                <a:lnTo>
                  <a:pt x="1558" y="389"/>
                </a:lnTo>
                <a:lnTo>
                  <a:pt x="1532" y="408"/>
                </a:lnTo>
                <a:lnTo>
                  <a:pt x="1521" y="413"/>
                </a:lnTo>
                <a:lnTo>
                  <a:pt x="1513" y="418"/>
                </a:lnTo>
                <a:lnTo>
                  <a:pt x="1506" y="420"/>
                </a:lnTo>
                <a:lnTo>
                  <a:pt x="1501" y="421"/>
                </a:lnTo>
                <a:lnTo>
                  <a:pt x="1497" y="421"/>
                </a:lnTo>
                <a:lnTo>
                  <a:pt x="1492" y="420"/>
                </a:lnTo>
                <a:lnTo>
                  <a:pt x="1490" y="418"/>
                </a:lnTo>
                <a:lnTo>
                  <a:pt x="1488" y="416"/>
                </a:lnTo>
                <a:lnTo>
                  <a:pt x="1484" y="410"/>
                </a:lnTo>
                <a:lnTo>
                  <a:pt x="1480" y="404"/>
                </a:lnTo>
                <a:lnTo>
                  <a:pt x="1476" y="402"/>
                </a:lnTo>
                <a:lnTo>
                  <a:pt x="1473" y="399"/>
                </a:lnTo>
                <a:lnTo>
                  <a:pt x="1473" y="399"/>
                </a:lnTo>
                <a:lnTo>
                  <a:pt x="1452" y="393"/>
                </a:lnTo>
                <a:lnTo>
                  <a:pt x="1435" y="386"/>
                </a:lnTo>
                <a:lnTo>
                  <a:pt x="1423" y="379"/>
                </a:lnTo>
                <a:lnTo>
                  <a:pt x="1419" y="376"/>
                </a:lnTo>
                <a:lnTo>
                  <a:pt x="1415" y="373"/>
                </a:lnTo>
                <a:lnTo>
                  <a:pt x="1414" y="370"/>
                </a:lnTo>
                <a:lnTo>
                  <a:pt x="1414" y="367"/>
                </a:lnTo>
                <a:lnTo>
                  <a:pt x="1417" y="364"/>
                </a:lnTo>
                <a:lnTo>
                  <a:pt x="1420" y="362"/>
                </a:lnTo>
                <a:lnTo>
                  <a:pt x="1426" y="359"/>
                </a:lnTo>
                <a:lnTo>
                  <a:pt x="1433" y="357"/>
                </a:lnTo>
                <a:lnTo>
                  <a:pt x="1455" y="352"/>
                </a:lnTo>
                <a:lnTo>
                  <a:pt x="1455" y="352"/>
                </a:lnTo>
                <a:lnTo>
                  <a:pt x="1455" y="349"/>
                </a:lnTo>
                <a:lnTo>
                  <a:pt x="1456" y="345"/>
                </a:lnTo>
                <a:lnTo>
                  <a:pt x="1457" y="342"/>
                </a:lnTo>
                <a:lnTo>
                  <a:pt x="1458" y="339"/>
                </a:lnTo>
                <a:lnTo>
                  <a:pt x="1465" y="333"/>
                </a:lnTo>
                <a:lnTo>
                  <a:pt x="1472" y="327"/>
                </a:lnTo>
                <a:lnTo>
                  <a:pt x="1481" y="322"/>
                </a:lnTo>
                <a:lnTo>
                  <a:pt x="1490" y="318"/>
                </a:lnTo>
                <a:lnTo>
                  <a:pt x="1509" y="310"/>
                </a:lnTo>
                <a:lnTo>
                  <a:pt x="1521" y="303"/>
                </a:lnTo>
                <a:lnTo>
                  <a:pt x="1525" y="301"/>
                </a:lnTo>
                <a:lnTo>
                  <a:pt x="1525" y="299"/>
                </a:lnTo>
                <a:lnTo>
                  <a:pt x="1525" y="298"/>
                </a:lnTo>
                <a:lnTo>
                  <a:pt x="1521" y="296"/>
                </a:lnTo>
                <a:lnTo>
                  <a:pt x="1512" y="294"/>
                </a:lnTo>
                <a:lnTo>
                  <a:pt x="1499" y="291"/>
                </a:lnTo>
                <a:lnTo>
                  <a:pt x="1480" y="289"/>
                </a:lnTo>
                <a:lnTo>
                  <a:pt x="1480" y="289"/>
                </a:lnTo>
                <a:lnTo>
                  <a:pt x="1421" y="289"/>
                </a:lnTo>
                <a:lnTo>
                  <a:pt x="1421" y="289"/>
                </a:lnTo>
                <a:lnTo>
                  <a:pt x="1415" y="303"/>
                </a:lnTo>
                <a:lnTo>
                  <a:pt x="1408" y="315"/>
                </a:lnTo>
                <a:lnTo>
                  <a:pt x="1400" y="325"/>
                </a:lnTo>
                <a:lnTo>
                  <a:pt x="1397" y="328"/>
                </a:lnTo>
                <a:lnTo>
                  <a:pt x="1392" y="330"/>
                </a:lnTo>
                <a:lnTo>
                  <a:pt x="1389" y="332"/>
                </a:lnTo>
                <a:lnTo>
                  <a:pt x="1384" y="332"/>
                </a:lnTo>
                <a:lnTo>
                  <a:pt x="1381" y="329"/>
                </a:lnTo>
                <a:lnTo>
                  <a:pt x="1376" y="326"/>
                </a:lnTo>
                <a:lnTo>
                  <a:pt x="1372" y="320"/>
                </a:lnTo>
                <a:lnTo>
                  <a:pt x="1367" y="312"/>
                </a:lnTo>
                <a:lnTo>
                  <a:pt x="1364" y="302"/>
                </a:lnTo>
                <a:lnTo>
                  <a:pt x="1359" y="289"/>
                </a:lnTo>
                <a:lnTo>
                  <a:pt x="1359" y="289"/>
                </a:lnTo>
                <a:lnTo>
                  <a:pt x="1336" y="292"/>
                </a:lnTo>
                <a:lnTo>
                  <a:pt x="1305" y="295"/>
                </a:lnTo>
                <a:lnTo>
                  <a:pt x="1273" y="296"/>
                </a:lnTo>
                <a:lnTo>
                  <a:pt x="1245" y="297"/>
                </a:lnTo>
                <a:lnTo>
                  <a:pt x="1245" y="297"/>
                </a:lnTo>
                <a:lnTo>
                  <a:pt x="1227" y="296"/>
                </a:lnTo>
                <a:lnTo>
                  <a:pt x="1209" y="295"/>
                </a:lnTo>
                <a:lnTo>
                  <a:pt x="1178" y="291"/>
                </a:lnTo>
                <a:lnTo>
                  <a:pt x="1152" y="288"/>
                </a:lnTo>
                <a:lnTo>
                  <a:pt x="1139" y="288"/>
                </a:lnTo>
                <a:lnTo>
                  <a:pt x="1128" y="288"/>
                </a:lnTo>
                <a:lnTo>
                  <a:pt x="1116" y="290"/>
                </a:lnTo>
                <a:lnTo>
                  <a:pt x="1105" y="294"/>
                </a:lnTo>
                <a:lnTo>
                  <a:pt x="1092" y="298"/>
                </a:lnTo>
                <a:lnTo>
                  <a:pt x="1079" y="306"/>
                </a:lnTo>
                <a:lnTo>
                  <a:pt x="1067" y="317"/>
                </a:lnTo>
                <a:lnTo>
                  <a:pt x="1053" y="330"/>
                </a:lnTo>
                <a:lnTo>
                  <a:pt x="1037" y="347"/>
                </a:lnTo>
                <a:lnTo>
                  <a:pt x="1021" y="367"/>
                </a:lnTo>
                <a:lnTo>
                  <a:pt x="1021" y="367"/>
                </a:lnTo>
                <a:lnTo>
                  <a:pt x="1017" y="371"/>
                </a:lnTo>
                <a:lnTo>
                  <a:pt x="1014" y="373"/>
                </a:lnTo>
                <a:lnTo>
                  <a:pt x="1010" y="374"/>
                </a:lnTo>
                <a:lnTo>
                  <a:pt x="1006" y="374"/>
                </a:lnTo>
                <a:lnTo>
                  <a:pt x="1002" y="372"/>
                </a:lnTo>
                <a:lnTo>
                  <a:pt x="998" y="370"/>
                </a:lnTo>
                <a:lnTo>
                  <a:pt x="988" y="363"/>
                </a:lnTo>
                <a:lnTo>
                  <a:pt x="970" y="344"/>
                </a:lnTo>
                <a:lnTo>
                  <a:pt x="961" y="334"/>
                </a:lnTo>
                <a:lnTo>
                  <a:pt x="952" y="326"/>
                </a:lnTo>
                <a:lnTo>
                  <a:pt x="952" y="326"/>
                </a:lnTo>
                <a:lnTo>
                  <a:pt x="953" y="318"/>
                </a:lnTo>
                <a:lnTo>
                  <a:pt x="954" y="309"/>
                </a:lnTo>
                <a:lnTo>
                  <a:pt x="954" y="290"/>
                </a:lnTo>
                <a:lnTo>
                  <a:pt x="952" y="272"/>
                </a:lnTo>
                <a:lnTo>
                  <a:pt x="948" y="256"/>
                </a:lnTo>
                <a:lnTo>
                  <a:pt x="945" y="241"/>
                </a:lnTo>
                <a:lnTo>
                  <a:pt x="940" y="230"/>
                </a:lnTo>
                <a:lnTo>
                  <a:pt x="937" y="220"/>
                </a:lnTo>
                <a:lnTo>
                  <a:pt x="937" y="220"/>
                </a:lnTo>
                <a:lnTo>
                  <a:pt x="941" y="218"/>
                </a:lnTo>
                <a:lnTo>
                  <a:pt x="946" y="215"/>
                </a:lnTo>
                <a:lnTo>
                  <a:pt x="953" y="210"/>
                </a:lnTo>
                <a:lnTo>
                  <a:pt x="960" y="204"/>
                </a:lnTo>
                <a:lnTo>
                  <a:pt x="963" y="200"/>
                </a:lnTo>
                <a:lnTo>
                  <a:pt x="968" y="198"/>
                </a:lnTo>
                <a:lnTo>
                  <a:pt x="972" y="196"/>
                </a:lnTo>
                <a:lnTo>
                  <a:pt x="978" y="195"/>
                </a:lnTo>
                <a:lnTo>
                  <a:pt x="986" y="195"/>
                </a:lnTo>
                <a:lnTo>
                  <a:pt x="995" y="195"/>
                </a:lnTo>
                <a:lnTo>
                  <a:pt x="1006" y="197"/>
                </a:lnTo>
                <a:lnTo>
                  <a:pt x="1018" y="200"/>
                </a:lnTo>
                <a:lnTo>
                  <a:pt x="1033" y="205"/>
                </a:lnTo>
                <a:lnTo>
                  <a:pt x="1051" y="212"/>
                </a:lnTo>
                <a:lnTo>
                  <a:pt x="1051" y="212"/>
                </a:lnTo>
                <a:lnTo>
                  <a:pt x="1060" y="214"/>
                </a:lnTo>
                <a:lnTo>
                  <a:pt x="1068" y="213"/>
                </a:lnTo>
                <a:lnTo>
                  <a:pt x="1075" y="211"/>
                </a:lnTo>
                <a:lnTo>
                  <a:pt x="1079" y="205"/>
                </a:lnTo>
                <a:lnTo>
                  <a:pt x="1084" y="199"/>
                </a:lnTo>
                <a:lnTo>
                  <a:pt x="1086" y="190"/>
                </a:lnTo>
                <a:lnTo>
                  <a:pt x="1089" y="181"/>
                </a:lnTo>
                <a:lnTo>
                  <a:pt x="1090" y="170"/>
                </a:lnTo>
                <a:lnTo>
                  <a:pt x="1090" y="159"/>
                </a:lnTo>
                <a:lnTo>
                  <a:pt x="1089" y="147"/>
                </a:lnTo>
                <a:lnTo>
                  <a:pt x="1086" y="124"/>
                </a:lnTo>
                <a:lnTo>
                  <a:pt x="1082" y="104"/>
                </a:lnTo>
                <a:lnTo>
                  <a:pt x="1076" y="88"/>
                </a:lnTo>
                <a:lnTo>
                  <a:pt x="1076" y="88"/>
                </a:lnTo>
                <a:lnTo>
                  <a:pt x="1067" y="82"/>
                </a:lnTo>
                <a:lnTo>
                  <a:pt x="1059" y="75"/>
                </a:lnTo>
                <a:lnTo>
                  <a:pt x="1043" y="59"/>
                </a:lnTo>
                <a:lnTo>
                  <a:pt x="1028" y="42"/>
                </a:lnTo>
                <a:lnTo>
                  <a:pt x="1014" y="26"/>
                </a:lnTo>
                <a:lnTo>
                  <a:pt x="1003" y="12"/>
                </a:lnTo>
                <a:lnTo>
                  <a:pt x="995" y="2"/>
                </a:lnTo>
                <a:lnTo>
                  <a:pt x="992" y="0"/>
                </a:lnTo>
                <a:lnTo>
                  <a:pt x="990" y="0"/>
                </a:lnTo>
                <a:lnTo>
                  <a:pt x="988" y="2"/>
                </a:lnTo>
                <a:lnTo>
                  <a:pt x="987" y="6"/>
                </a:lnTo>
                <a:lnTo>
                  <a:pt x="987" y="6"/>
                </a:lnTo>
                <a:lnTo>
                  <a:pt x="988" y="28"/>
                </a:lnTo>
                <a:lnTo>
                  <a:pt x="990" y="45"/>
                </a:lnTo>
                <a:lnTo>
                  <a:pt x="990" y="59"/>
                </a:lnTo>
                <a:lnTo>
                  <a:pt x="990" y="66"/>
                </a:lnTo>
                <a:lnTo>
                  <a:pt x="987" y="73"/>
                </a:lnTo>
                <a:lnTo>
                  <a:pt x="985" y="80"/>
                </a:lnTo>
                <a:lnTo>
                  <a:pt x="980" y="86"/>
                </a:lnTo>
                <a:lnTo>
                  <a:pt x="974" y="95"/>
                </a:lnTo>
                <a:lnTo>
                  <a:pt x="965" y="101"/>
                </a:lnTo>
                <a:lnTo>
                  <a:pt x="955" y="111"/>
                </a:lnTo>
                <a:lnTo>
                  <a:pt x="942" y="120"/>
                </a:lnTo>
                <a:lnTo>
                  <a:pt x="908" y="142"/>
                </a:lnTo>
                <a:lnTo>
                  <a:pt x="908" y="142"/>
                </a:lnTo>
                <a:lnTo>
                  <a:pt x="891" y="154"/>
                </a:lnTo>
                <a:lnTo>
                  <a:pt x="878" y="165"/>
                </a:lnTo>
                <a:lnTo>
                  <a:pt x="875" y="169"/>
                </a:lnTo>
                <a:lnTo>
                  <a:pt x="871" y="174"/>
                </a:lnTo>
                <a:lnTo>
                  <a:pt x="869" y="179"/>
                </a:lnTo>
                <a:lnTo>
                  <a:pt x="868" y="183"/>
                </a:lnTo>
                <a:lnTo>
                  <a:pt x="868" y="188"/>
                </a:lnTo>
                <a:lnTo>
                  <a:pt x="868" y="191"/>
                </a:lnTo>
                <a:lnTo>
                  <a:pt x="870" y="199"/>
                </a:lnTo>
                <a:lnTo>
                  <a:pt x="873" y="206"/>
                </a:lnTo>
                <a:lnTo>
                  <a:pt x="878" y="214"/>
                </a:lnTo>
                <a:lnTo>
                  <a:pt x="883" y="221"/>
                </a:lnTo>
                <a:lnTo>
                  <a:pt x="887" y="228"/>
                </a:lnTo>
                <a:lnTo>
                  <a:pt x="890" y="236"/>
                </a:lnTo>
                <a:lnTo>
                  <a:pt x="891" y="243"/>
                </a:lnTo>
                <a:lnTo>
                  <a:pt x="891" y="248"/>
                </a:lnTo>
                <a:lnTo>
                  <a:pt x="890" y="252"/>
                </a:lnTo>
                <a:lnTo>
                  <a:pt x="887" y="257"/>
                </a:lnTo>
                <a:lnTo>
                  <a:pt x="884" y="261"/>
                </a:lnTo>
                <a:lnTo>
                  <a:pt x="875" y="271"/>
                </a:lnTo>
                <a:lnTo>
                  <a:pt x="860" y="282"/>
                </a:lnTo>
                <a:lnTo>
                  <a:pt x="860" y="282"/>
                </a:lnTo>
                <a:lnTo>
                  <a:pt x="860" y="283"/>
                </a:lnTo>
                <a:lnTo>
                  <a:pt x="857" y="283"/>
                </a:lnTo>
                <a:lnTo>
                  <a:pt x="850" y="282"/>
                </a:lnTo>
                <a:lnTo>
                  <a:pt x="846" y="283"/>
                </a:lnTo>
                <a:lnTo>
                  <a:pt x="839" y="286"/>
                </a:lnTo>
                <a:lnTo>
                  <a:pt x="832" y="290"/>
                </a:lnTo>
                <a:lnTo>
                  <a:pt x="823" y="297"/>
                </a:lnTo>
                <a:lnTo>
                  <a:pt x="823" y="297"/>
                </a:lnTo>
                <a:lnTo>
                  <a:pt x="808" y="319"/>
                </a:lnTo>
                <a:lnTo>
                  <a:pt x="797" y="334"/>
                </a:lnTo>
                <a:lnTo>
                  <a:pt x="786" y="352"/>
                </a:lnTo>
                <a:lnTo>
                  <a:pt x="786" y="352"/>
                </a:lnTo>
                <a:lnTo>
                  <a:pt x="787" y="342"/>
                </a:lnTo>
                <a:lnTo>
                  <a:pt x="785" y="334"/>
                </a:lnTo>
                <a:lnTo>
                  <a:pt x="781" y="327"/>
                </a:lnTo>
                <a:lnTo>
                  <a:pt x="777" y="322"/>
                </a:lnTo>
                <a:lnTo>
                  <a:pt x="770" y="318"/>
                </a:lnTo>
                <a:lnTo>
                  <a:pt x="764" y="315"/>
                </a:lnTo>
                <a:lnTo>
                  <a:pt x="753" y="311"/>
                </a:lnTo>
                <a:lnTo>
                  <a:pt x="748" y="310"/>
                </a:lnTo>
                <a:lnTo>
                  <a:pt x="745" y="307"/>
                </a:lnTo>
                <a:lnTo>
                  <a:pt x="743" y="306"/>
                </a:lnTo>
                <a:lnTo>
                  <a:pt x="746" y="304"/>
                </a:lnTo>
                <a:lnTo>
                  <a:pt x="750" y="301"/>
                </a:lnTo>
                <a:lnTo>
                  <a:pt x="759" y="297"/>
                </a:lnTo>
                <a:lnTo>
                  <a:pt x="789" y="286"/>
                </a:lnTo>
                <a:lnTo>
                  <a:pt x="789" y="286"/>
                </a:lnTo>
                <a:lnTo>
                  <a:pt x="784" y="273"/>
                </a:lnTo>
                <a:lnTo>
                  <a:pt x="777" y="260"/>
                </a:lnTo>
                <a:lnTo>
                  <a:pt x="770" y="249"/>
                </a:lnTo>
                <a:lnTo>
                  <a:pt x="762" y="237"/>
                </a:lnTo>
                <a:lnTo>
                  <a:pt x="753" y="228"/>
                </a:lnTo>
                <a:lnTo>
                  <a:pt x="745" y="221"/>
                </a:lnTo>
                <a:lnTo>
                  <a:pt x="740" y="218"/>
                </a:lnTo>
                <a:lnTo>
                  <a:pt x="735" y="217"/>
                </a:lnTo>
                <a:lnTo>
                  <a:pt x="732" y="215"/>
                </a:lnTo>
                <a:lnTo>
                  <a:pt x="727" y="215"/>
                </a:lnTo>
                <a:lnTo>
                  <a:pt x="727" y="215"/>
                </a:lnTo>
                <a:lnTo>
                  <a:pt x="713" y="223"/>
                </a:lnTo>
                <a:lnTo>
                  <a:pt x="701" y="230"/>
                </a:lnTo>
                <a:lnTo>
                  <a:pt x="688" y="234"/>
                </a:lnTo>
                <a:lnTo>
                  <a:pt x="675" y="237"/>
                </a:lnTo>
                <a:lnTo>
                  <a:pt x="663" y="238"/>
                </a:lnTo>
                <a:lnTo>
                  <a:pt x="651" y="238"/>
                </a:lnTo>
                <a:lnTo>
                  <a:pt x="640" y="237"/>
                </a:lnTo>
                <a:lnTo>
                  <a:pt x="628" y="236"/>
                </a:lnTo>
                <a:lnTo>
                  <a:pt x="608" y="231"/>
                </a:lnTo>
                <a:lnTo>
                  <a:pt x="588" y="226"/>
                </a:lnTo>
                <a:lnTo>
                  <a:pt x="571" y="222"/>
                </a:lnTo>
                <a:lnTo>
                  <a:pt x="563" y="220"/>
                </a:lnTo>
                <a:lnTo>
                  <a:pt x="555" y="220"/>
                </a:lnTo>
                <a:lnTo>
                  <a:pt x="555" y="220"/>
                </a:lnTo>
                <a:lnTo>
                  <a:pt x="545" y="220"/>
                </a:lnTo>
                <a:lnTo>
                  <a:pt x="537" y="221"/>
                </a:lnTo>
                <a:lnTo>
                  <a:pt x="530" y="223"/>
                </a:lnTo>
                <a:lnTo>
                  <a:pt x="524" y="226"/>
                </a:lnTo>
                <a:lnTo>
                  <a:pt x="518" y="228"/>
                </a:lnTo>
                <a:lnTo>
                  <a:pt x="513" y="231"/>
                </a:lnTo>
                <a:lnTo>
                  <a:pt x="509" y="235"/>
                </a:lnTo>
                <a:lnTo>
                  <a:pt x="505" y="240"/>
                </a:lnTo>
                <a:lnTo>
                  <a:pt x="499" y="250"/>
                </a:lnTo>
                <a:lnTo>
                  <a:pt x="495" y="261"/>
                </a:lnTo>
                <a:lnTo>
                  <a:pt x="493" y="273"/>
                </a:lnTo>
                <a:lnTo>
                  <a:pt x="490" y="286"/>
                </a:lnTo>
                <a:lnTo>
                  <a:pt x="488" y="312"/>
                </a:lnTo>
                <a:lnTo>
                  <a:pt x="487" y="337"/>
                </a:lnTo>
                <a:lnTo>
                  <a:pt x="484" y="349"/>
                </a:lnTo>
                <a:lnTo>
                  <a:pt x="481" y="359"/>
                </a:lnTo>
                <a:lnTo>
                  <a:pt x="476" y="367"/>
                </a:lnTo>
                <a:lnTo>
                  <a:pt x="473" y="371"/>
                </a:lnTo>
                <a:lnTo>
                  <a:pt x="470" y="374"/>
                </a:lnTo>
                <a:lnTo>
                  <a:pt x="470" y="374"/>
                </a:lnTo>
                <a:lnTo>
                  <a:pt x="461" y="367"/>
                </a:lnTo>
                <a:lnTo>
                  <a:pt x="453" y="360"/>
                </a:lnTo>
                <a:lnTo>
                  <a:pt x="445" y="351"/>
                </a:lnTo>
                <a:lnTo>
                  <a:pt x="437" y="342"/>
                </a:lnTo>
                <a:lnTo>
                  <a:pt x="429" y="330"/>
                </a:lnTo>
                <a:lnTo>
                  <a:pt x="422" y="319"/>
                </a:lnTo>
                <a:lnTo>
                  <a:pt x="415" y="306"/>
                </a:lnTo>
                <a:lnTo>
                  <a:pt x="409" y="294"/>
                </a:lnTo>
                <a:lnTo>
                  <a:pt x="403" y="280"/>
                </a:lnTo>
                <a:lnTo>
                  <a:pt x="397" y="266"/>
                </a:lnTo>
                <a:lnTo>
                  <a:pt x="394" y="252"/>
                </a:lnTo>
                <a:lnTo>
                  <a:pt x="390" y="238"/>
                </a:lnTo>
                <a:lnTo>
                  <a:pt x="387" y="223"/>
                </a:lnTo>
                <a:lnTo>
                  <a:pt x="386" y="210"/>
                </a:lnTo>
                <a:lnTo>
                  <a:pt x="386" y="196"/>
                </a:lnTo>
                <a:lnTo>
                  <a:pt x="386" y="183"/>
                </a:lnTo>
                <a:lnTo>
                  <a:pt x="386" y="183"/>
                </a:lnTo>
                <a:lnTo>
                  <a:pt x="386" y="179"/>
                </a:lnTo>
                <a:lnTo>
                  <a:pt x="382" y="175"/>
                </a:lnTo>
                <a:lnTo>
                  <a:pt x="377" y="170"/>
                </a:lnTo>
                <a:lnTo>
                  <a:pt x="372" y="166"/>
                </a:lnTo>
                <a:lnTo>
                  <a:pt x="365" y="162"/>
                </a:lnTo>
                <a:lnTo>
                  <a:pt x="356" y="160"/>
                </a:lnTo>
                <a:lnTo>
                  <a:pt x="346" y="158"/>
                </a:lnTo>
                <a:lnTo>
                  <a:pt x="337" y="158"/>
                </a:lnTo>
                <a:lnTo>
                  <a:pt x="328" y="159"/>
                </a:lnTo>
                <a:lnTo>
                  <a:pt x="318" y="162"/>
                </a:lnTo>
                <a:lnTo>
                  <a:pt x="310" y="168"/>
                </a:lnTo>
                <a:lnTo>
                  <a:pt x="302" y="177"/>
                </a:lnTo>
                <a:lnTo>
                  <a:pt x="297" y="182"/>
                </a:lnTo>
                <a:lnTo>
                  <a:pt x="295" y="189"/>
                </a:lnTo>
                <a:lnTo>
                  <a:pt x="289" y="204"/>
                </a:lnTo>
                <a:lnTo>
                  <a:pt x="284" y="222"/>
                </a:lnTo>
                <a:lnTo>
                  <a:pt x="283" y="245"/>
                </a:lnTo>
                <a:lnTo>
                  <a:pt x="283" y="245"/>
                </a:lnTo>
                <a:lnTo>
                  <a:pt x="296" y="254"/>
                </a:lnTo>
                <a:lnTo>
                  <a:pt x="306" y="264"/>
                </a:lnTo>
                <a:lnTo>
                  <a:pt x="313" y="272"/>
                </a:lnTo>
                <a:lnTo>
                  <a:pt x="319" y="280"/>
                </a:lnTo>
                <a:lnTo>
                  <a:pt x="321" y="288"/>
                </a:lnTo>
                <a:lnTo>
                  <a:pt x="322" y="295"/>
                </a:lnTo>
                <a:lnTo>
                  <a:pt x="321" y="302"/>
                </a:lnTo>
                <a:lnTo>
                  <a:pt x="320" y="307"/>
                </a:lnTo>
                <a:lnTo>
                  <a:pt x="316" y="313"/>
                </a:lnTo>
                <a:lnTo>
                  <a:pt x="312" y="318"/>
                </a:lnTo>
                <a:lnTo>
                  <a:pt x="307" y="321"/>
                </a:lnTo>
                <a:lnTo>
                  <a:pt x="302" y="326"/>
                </a:lnTo>
                <a:lnTo>
                  <a:pt x="290" y="330"/>
                </a:lnTo>
                <a:lnTo>
                  <a:pt x="278" y="334"/>
                </a:lnTo>
                <a:lnTo>
                  <a:pt x="278" y="334"/>
                </a:lnTo>
                <a:lnTo>
                  <a:pt x="265" y="332"/>
                </a:lnTo>
                <a:lnTo>
                  <a:pt x="253" y="328"/>
                </a:lnTo>
                <a:lnTo>
                  <a:pt x="243" y="324"/>
                </a:lnTo>
                <a:lnTo>
                  <a:pt x="234" y="318"/>
                </a:lnTo>
                <a:lnTo>
                  <a:pt x="227" y="311"/>
                </a:lnTo>
                <a:lnTo>
                  <a:pt x="222" y="304"/>
                </a:lnTo>
                <a:lnTo>
                  <a:pt x="219" y="295"/>
                </a:lnTo>
                <a:lnTo>
                  <a:pt x="216" y="286"/>
                </a:lnTo>
                <a:lnTo>
                  <a:pt x="216" y="286"/>
                </a:lnTo>
                <a:lnTo>
                  <a:pt x="201" y="298"/>
                </a:lnTo>
                <a:lnTo>
                  <a:pt x="193" y="302"/>
                </a:lnTo>
                <a:lnTo>
                  <a:pt x="189" y="304"/>
                </a:lnTo>
                <a:lnTo>
                  <a:pt x="184" y="304"/>
                </a:lnTo>
                <a:lnTo>
                  <a:pt x="184" y="304"/>
                </a:lnTo>
                <a:lnTo>
                  <a:pt x="180" y="302"/>
                </a:lnTo>
                <a:lnTo>
                  <a:pt x="175" y="296"/>
                </a:lnTo>
                <a:lnTo>
                  <a:pt x="166" y="286"/>
                </a:lnTo>
                <a:lnTo>
                  <a:pt x="166" y="286"/>
                </a:lnTo>
                <a:lnTo>
                  <a:pt x="146" y="286"/>
                </a:lnTo>
                <a:lnTo>
                  <a:pt x="146" y="286"/>
                </a:lnTo>
                <a:lnTo>
                  <a:pt x="146" y="286"/>
                </a:lnTo>
                <a:lnTo>
                  <a:pt x="146" y="298"/>
                </a:lnTo>
                <a:lnTo>
                  <a:pt x="145" y="310"/>
                </a:lnTo>
                <a:lnTo>
                  <a:pt x="143" y="320"/>
                </a:lnTo>
                <a:lnTo>
                  <a:pt x="139" y="329"/>
                </a:lnTo>
                <a:lnTo>
                  <a:pt x="132" y="345"/>
                </a:lnTo>
                <a:lnTo>
                  <a:pt x="124" y="360"/>
                </a:lnTo>
                <a:lnTo>
                  <a:pt x="116" y="375"/>
                </a:lnTo>
                <a:lnTo>
                  <a:pt x="109" y="391"/>
                </a:lnTo>
                <a:lnTo>
                  <a:pt x="106" y="401"/>
                </a:lnTo>
                <a:lnTo>
                  <a:pt x="105" y="410"/>
                </a:lnTo>
                <a:lnTo>
                  <a:pt x="102" y="421"/>
                </a:lnTo>
                <a:lnTo>
                  <a:pt x="102" y="433"/>
                </a:lnTo>
                <a:lnTo>
                  <a:pt x="102" y="433"/>
                </a:lnTo>
                <a:lnTo>
                  <a:pt x="104" y="440"/>
                </a:lnTo>
                <a:lnTo>
                  <a:pt x="106" y="444"/>
                </a:lnTo>
                <a:lnTo>
                  <a:pt x="109" y="448"/>
                </a:lnTo>
                <a:lnTo>
                  <a:pt x="114" y="450"/>
                </a:lnTo>
                <a:lnTo>
                  <a:pt x="117" y="452"/>
                </a:lnTo>
                <a:lnTo>
                  <a:pt x="121" y="456"/>
                </a:lnTo>
                <a:lnTo>
                  <a:pt x="124" y="459"/>
                </a:lnTo>
                <a:lnTo>
                  <a:pt x="124" y="465"/>
                </a:lnTo>
                <a:lnTo>
                  <a:pt x="124" y="465"/>
                </a:lnTo>
                <a:lnTo>
                  <a:pt x="123" y="474"/>
                </a:lnTo>
                <a:lnTo>
                  <a:pt x="121" y="480"/>
                </a:lnTo>
                <a:lnTo>
                  <a:pt x="116" y="483"/>
                </a:lnTo>
                <a:lnTo>
                  <a:pt x="112" y="487"/>
                </a:lnTo>
                <a:lnTo>
                  <a:pt x="106" y="490"/>
                </a:lnTo>
                <a:lnTo>
                  <a:pt x="101" y="494"/>
                </a:lnTo>
                <a:lnTo>
                  <a:pt x="98" y="500"/>
                </a:lnTo>
                <a:lnTo>
                  <a:pt x="96" y="507"/>
                </a:lnTo>
                <a:lnTo>
                  <a:pt x="96" y="507"/>
                </a:lnTo>
                <a:lnTo>
                  <a:pt x="92" y="521"/>
                </a:lnTo>
                <a:lnTo>
                  <a:pt x="87" y="535"/>
                </a:lnTo>
                <a:lnTo>
                  <a:pt x="81" y="549"/>
                </a:lnTo>
                <a:lnTo>
                  <a:pt x="75" y="561"/>
                </a:lnTo>
                <a:lnTo>
                  <a:pt x="67" y="572"/>
                </a:lnTo>
                <a:lnTo>
                  <a:pt x="59" y="584"/>
                </a:lnTo>
                <a:lnTo>
                  <a:pt x="43" y="605"/>
                </a:lnTo>
                <a:lnTo>
                  <a:pt x="26" y="628"/>
                </a:lnTo>
                <a:lnTo>
                  <a:pt x="20" y="641"/>
                </a:lnTo>
                <a:lnTo>
                  <a:pt x="13" y="654"/>
                </a:lnTo>
                <a:lnTo>
                  <a:pt x="8" y="669"/>
                </a:lnTo>
                <a:lnTo>
                  <a:pt x="3" y="684"/>
                </a:lnTo>
                <a:lnTo>
                  <a:pt x="1" y="701"/>
                </a:lnTo>
                <a:lnTo>
                  <a:pt x="0" y="719"/>
                </a:lnTo>
                <a:lnTo>
                  <a:pt x="0" y="719"/>
                </a:lnTo>
                <a:lnTo>
                  <a:pt x="1" y="730"/>
                </a:lnTo>
                <a:lnTo>
                  <a:pt x="2" y="739"/>
                </a:lnTo>
                <a:lnTo>
                  <a:pt x="6" y="747"/>
                </a:lnTo>
                <a:lnTo>
                  <a:pt x="10" y="753"/>
                </a:lnTo>
                <a:lnTo>
                  <a:pt x="15" y="757"/>
                </a:lnTo>
                <a:lnTo>
                  <a:pt x="20" y="762"/>
                </a:lnTo>
                <a:lnTo>
                  <a:pt x="31" y="769"/>
                </a:lnTo>
                <a:lnTo>
                  <a:pt x="43" y="776"/>
                </a:lnTo>
                <a:lnTo>
                  <a:pt x="48" y="779"/>
                </a:lnTo>
                <a:lnTo>
                  <a:pt x="53" y="784"/>
                </a:lnTo>
                <a:lnTo>
                  <a:pt x="56" y="788"/>
                </a:lnTo>
                <a:lnTo>
                  <a:pt x="60" y="794"/>
                </a:lnTo>
                <a:lnTo>
                  <a:pt x="62" y="802"/>
                </a:lnTo>
                <a:lnTo>
                  <a:pt x="62" y="810"/>
                </a:lnTo>
                <a:lnTo>
                  <a:pt x="62" y="810"/>
                </a:lnTo>
                <a:lnTo>
                  <a:pt x="63" y="815"/>
                </a:lnTo>
                <a:lnTo>
                  <a:pt x="63" y="818"/>
                </a:lnTo>
                <a:lnTo>
                  <a:pt x="66" y="822"/>
                </a:lnTo>
                <a:lnTo>
                  <a:pt x="67" y="824"/>
                </a:lnTo>
                <a:lnTo>
                  <a:pt x="73" y="826"/>
                </a:lnTo>
                <a:lnTo>
                  <a:pt x="79" y="828"/>
                </a:lnTo>
                <a:lnTo>
                  <a:pt x="93" y="828"/>
                </a:lnTo>
                <a:lnTo>
                  <a:pt x="100" y="828"/>
                </a:lnTo>
                <a:lnTo>
                  <a:pt x="107" y="830"/>
                </a:lnTo>
                <a:lnTo>
                  <a:pt x="107" y="830"/>
                </a:lnTo>
                <a:lnTo>
                  <a:pt x="109" y="831"/>
                </a:lnTo>
                <a:lnTo>
                  <a:pt x="112" y="833"/>
                </a:lnTo>
                <a:lnTo>
                  <a:pt x="116" y="840"/>
                </a:lnTo>
                <a:lnTo>
                  <a:pt x="117" y="848"/>
                </a:lnTo>
                <a:lnTo>
                  <a:pt x="120" y="856"/>
                </a:lnTo>
                <a:lnTo>
                  <a:pt x="122" y="864"/>
                </a:lnTo>
                <a:lnTo>
                  <a:pt x="124" y="871"/>
                </a:lnTo>
                <a:lnTo>
                  <a:pt x="127" y="874"/>
                </a:lnTo>
                <a:lnTo>
                  <a:pt x="129" y="876"/>
                </a:lnTo>
                <a:lnTo>
                  <a:pt x="132" y="877"/>
                </a:lnTo>
                <a:lnTo>
                  <a:pt x="136" y="877"/>
                </a:lnTo>
                <a:lnTo>
                  <a:pt x="136" y="877"/>
                </a:lnTo>
                <a:lnTo>
                  <a:pt x="166" y="877"/>
                </a:lnTo>
                <a:lnTo>
                  <a:pt x="166" y="877"/>
                </a:lnTo>
                <a:lnTo>
                  <a:pt x="170" y="878"/>
                </a:lnTo>
                <a:lnTo>
                  <a:pt x="175" y="879"/>
                </a:lnTo>
                <a:lnTo>
                  <a:pt x="183" y="884"/>
                </a:lnTo>
                <a:lnTo>
                  <a:pt x="191" y="891"/>
                </a:lnTo>
                <a:lnTo>
                  <a:pt x="199" y="898"/>
                </a:lnTo>
                <a:lnTo>
                  <a:pt x="208" y="906"/>
                </a:lnTo>
                <a:lnTo>
                  <a:pt x="219" y="913"/>
                </a:lnTo>
                <a:lnTo>
                  <a:pt x="229" y="918"/>
                </a:lnTo>
                <a:lnTo>
                  <a:pt x="236" y="921"/>
                </a:lnTo>
                <a:lnTo>
                  <a:pt x="243" y="922"/>
                </a:lnTo>
                <a:lnTo>
                  <a:pt x="243" y="922"/>
                </a:lnTo>
                <a:lnTo>
                  <a:pt x="243" y="936"/>
                </a:lnTo>
                <a:lnTo>
                  <a:pt x="245" y="946"/>
                </a:lnTo>
                <a:lnTo>
                  <a:pt x="249" y="954"/>
                </a:lnTo>
                <a:lnTo>
                  <a:pt x="253" y="962"/>
                </a:lnTo>
                <a:lnTo>
                  <a:pt x="253" y="962"/>
                </a:lnTo>
                <a:lnTo>
                  <a:pt x="315" y="962"/>
                </a:lnTo>
                <a:lnTo>
                  <a:pt x="315" y="962"/>
                </a:lnTo>
                <a:lnTo>
                  <a:pt x="315" y="962"/>
                </a:lnTo>
                <a:lnTo>
                  <a:pt x="330" y="973"/>
                </a:lnTo>
                <a:lnTo>
                  <a:pt x="341" y="982"/>
                </a:lnTo>
                <a:lnTo>
                  <a:pt x="360" y="1001"/>
                </a:lnTo>
                <a:lnTo>
                  <a:pt x="360" y="1001"/>
                </a:lnTo>
                <a:lnTo>
                  <a:pt x="362" y="1012"/>
                </a:lnTo>
                <a:lnTo>
                  <a:pt x="365" y="1021"/>
                </a:lnTo>
                <a:lnTo>
                  <a:pt x="367" y="1023"/>
                </a:lnTo>
                <a:lnTo>
                  <a:pt x="369" y="1025"/>
                </a:lnTo>
                <a:lnTo>
                  <a:pt x="373" y="1028"/>
                </a:lnTo>
                <a:lnTo>
                  <a:pt x="379" y="1028"/>
                </a:lnTo>
                <a:lnTo>
                  <a:pt x="379" y="1028"/>
                </a:lnTo>
                <a:lnTo>
                  <a:pt x="387" y="1027"/>
                </a:lnTo>
                <a:lnTo>
                  <a:pt x="392" y="1024"/>
                </a:lnTo>
                <a:lnTo>
                  <a:pt x="398" y="1021"/>
                </a:lnTo>
                <a:lnTo>
                  <a:pt x="402" y="1017"/>
                </a:lnTo>
                <a:lnTo>
                  <a:pt x="405" y="1013"/>
                </a:lnTo>
                <a:lnTo>
                  <a:pt x="409" y="1009"/>
                </a:lnTo>
                <a:lnTo>
                  <a:pt x="413" y="1007"/>
                </a:lnTo>
                <a:lnTo>
                  <a:pt x="419" y="1006"/>
                </a:lnTo>
                <a:lnTo>
                  <a:pt x="419" y="1006"/>
                </a:lnTo>
                <a:lnTo>
                  <a:pt x="425" y="1007"/>
                </a:lnTo>
                <a:lnTo>
                  <a:pt x="433" y="1011"/>
                </a:lnTo>
                <a:lnTo>
                  <a:pt x="438" y="1014"/>
                </a:lnTo>
                <a:lnTo>
                  <a:pt x="440" y="1015"/>
                </a:lnTo>
                <a:lnTo>
                  <a:pt x="441" y="1016"/>
                </a:lnTo>
                <a:lnTo>
                  <a:pt x="441" y="1016"/>
                </a:lnTo>
                <a:lnTo>
                  <a:pt x="443" y="1022"/>
                </a:lnTo>
                <a:lnTo>
                  <a:pt x="443" y="1027"/>
                </a:lnTo>
                <a:lnTo>
                  <a:pt x="443" y="1031"/>
                </a:lnTo>
                <a:lnTo>
                  <a:pt x="442" y="1035"/>
                </a:lnTo>
                <a:lnTo>
                  <a:pt x="438" y="1044"/>
                </a:lnTo>
                <a:lnTo>
                  <a:pt x="437" y="1048"/>
                </a:lnTo>
                <a:lnTo>
                  <a:pt x="437" y="1053"/>
                </a:lnTo>
                <a:lnTo>
                  <a:pt x="437" y="1053"/>
                </a:lnTo>
                <a:lnTo>
                  <a:pt x="438" y="1058"/>
                </a:lnTo>
                <a:lnTo>
                  <a:pt x="440" y="1062"/>
                </a:lnTo>
                <a:lnTo>
                  <a:pt x="442" y="1066"/>
                </a:lnTo>
                <a:lnTo>
                  <a:pt x="445" y="1069"/>
                </a:lnTo>
                <a:lnTo>
                  <a:pt x="452" y="1074"/>
                </a:lnTo>
                <a:lnTo>
                  <a:pt x="460" y="1080"/>
                </a:lnTo>
                <a:lnTo>
                  <a:pt x="468" y="1083"/>
                </a:lnTo>
                <a:lnTo>
                  <a:pt x="476" y="1089"/>
                </a:lnTo>
                <a:lnTo>
                  <a:pt x="483" y="1095"/>
                </a:lnTo>
                <a:lnTo>
                  <a:pt x="487" y="1098"/>
                </a:lnTo>
                <a:lnTo>
                  <a:pt x="489" y="1101"/>
                </a:lnTo>
                <a:lnTo>
                  <a:pt x="489" y="1101"/>
                </a:lnTo>
                <a:lnTo>
                  <a:pt x="490" y="1105"/>
                </a:lnTo>
                <a:lnTo>
                  <a:pt x="493" y="1107"/>
                </a:lnTo>
                <a:lnTo>
                  <a:pt x="496" y="1109"/>
                </a:lnTo>
                <a:lnTo>
                  <a:pt x="498" y="1109"/>
                </a:lnTo>
                <a:lnTo>
                  <a:pt x="506" y="1109"/>
                </a:lnTo>
                <a:lnTo>
                  <a:pt x="514" y="1108"/>
                </a:lnTo>
                <a:lnTo>
                  <a:pt x="524" y="1107"/>
                </a:lnTo>
                <a:lnTo>
                  <a:pt x="532" y="1106"/>
                </a:lnTo>
                <a:lnTo>
                  <a:pt x="535" y="1106"/>
                </a:lnTo>
                <a:lnTo>
                  <a:pt x="539" y="1107"/>
                </a:lnTo>
                <a:lnTo>
                  <a:pt x="541" y="1109"/>
                </a:lnTo>
                <a:lnTo>
                  <a:pt x="543" y="1113"/>
                </a:lnTo>
                <a:lnTo>
                  <a:pt x="543" y="1113"/>
                </a:lnTo>
                <a:lnTo>
                  <a:pt x="549" y="1121"/>
                </a:lnTo>
                <a:lnTo>
                  <a:pt x="551" y="1130"/>
                </a:lnTo>
                <a:lnTo>
                  <a:pt x="554" y="1139"/>
                </a:lnTo>
                <a:lnTo>
                  <a:pt x="554" y="1147"/>
                </a:lnTo>
                <a:lnTo>
                  <a:pt x="554" y="1165"/>
                </a:lnTo>
                <a:lnTo>
                  <a:pt x="555" y="1172"/>
                </a:lnTo>
                <a:lnTo>
                  <a:pt x="558" y="1179"/>
                </a:lnTo>
                <a:lnTo>
                  <a:pt x="558" y="1179"/>
                </a:lnTo>
                <a:lnTo>
                  <a:pt x="558" y="1175"/>
                </a:lnTo>
                <a:lnTo>
                  <a:pt x="558" y="1175"/>
                </a:lnTo>
                <a:lnTo>
                  <a:pt x="558" y="1175"/>
                </a:lnTo>
                <a:lnTo>
                  <a:pt x="562" y="1170"/>
                </a:lnTo>
                <a:lnTo>
                  <a:pt x="565" y="1167"/>
                </a:lnTo>
                <a:lnTo>
                  <a:pt x="570" y="1164"/>
                </a:lnTo>
                <a:lnTo>
                  <a:pt x="574" y="1161"/>
                </a:lnTo>
                <a:lnTo>
                  <a:pt x="586" y="1158"/>
                </a:lnTo>
                <a:lnTo>
                  <a:pt x="598" y="1157"/>
                </a:lnTo>
                <a:lnTo>
                  <a:pt x="598" y="1157"/>
                </a:lnTo>
                <a:lnTo>
                  <a:pt x="617" y="1156"/>
                </a:lnTo>
                <a:lnTo>
                  <a:pt x="638" y="1151"/>
                </a:lnTo>
                <a:lnTo>
                  <a:pt x="657" y="1145"/>
                </a:lnTo>
                <a:lnTo>
                  <a:pt x="675" y="1138"/>
                </a:lnTo>
                <a:lnTo>
                  <a:pt x="675" y="1138"/>
                </a:lnTo>
                <a:lnTo>
                  <a:pt x="681" y="1136"/>
                </a:lnTo>
                <a:lnTo>
                  <a:pt x="685" y="1132"/>
                </a:lnTo>
                <a:lnTo>
                  <a:pt x="687" y="1130"/>
                </a:lnTo>
                <a:lnTo>
                  <a:pt x="688" y="1126"/>
                </a:lnTo>
                <a:lnTo>
                  <a:pt x="688" y="1122"/>
                </a:lnTo>
                <a:lnTo>
                  <a:pt x="687" y="1118"/>
                </a:lnTo>
                <a:lnTo>
                  <a:pt x="684" y="1108"/>
                </a:lnTo>
                <a:lnTo>
                  <a:pt x="675" y="1091"/>
                </a:lnTo>
                <a:lnTo>
                  <a:pt x="674" y="1084"/>
                </a:lnTo>
                <a:lnTo>
                  <a:pt x="674" y="1082"/>
                </a:lnTo>
                <a:lnTo>
                  <a:pt x="675" y="1080"/>
                </a:lnTo>
                <a:lnTo>
                  <a:pt x="675" y="1080"/>
                </a:lnTo>
                <a:lnTo>
                  <a:pt x="679" y="1077"/>
                </a:lnTo>
                <a:lnTo>
                  <a:pt x="684" y="1074"/>
                </a:lnTo>
                <a:lnTo>
                  <a:pt x="693" y="1069"/>
                </a:lnTo>
                <a:lnTo>
                  <a:pt x="702" y="1065"/>
                </a:lnTo>
                <a:lnTo>
                  <a:pt x="705" y="1061"/>
                </a:lnTo>
                <a:lnTo>
                  <a:pt x="709" y="1058"/>
                </a:lnTo>
                <a:lnTo>
                  <a:pt x="709" y="1058"/>
                </a:lnTo>
                <a:lnTo>
                  <a:pt x="716" y="1050"/>
                </a:lnTo>
                <a:lnTo>
                  <a:pt x="727" y="1040"/>
                </a:lnTo>
                <a:lnTo>
                  <a:pt x="753" y="1019"/>
                </a:lnTo>
                <a:lnTo>
                  <a:pt x="765" y="1008"/>
                </a:lnTo>
                <a:lnTo>
                  <a:pt x="777" y="999"/>
                </a:lnTo>
                <a:lnTo>
                  <a:pt x="784" y="990"/>
                </a:lnTo>
                <a:lnTo>
                  <a:pt x="786" y="986"/>
                </a:lnTo>
                <a:lnTo>
                  <a:pt x="786" y="984"/>
                </a:lnTo>
                <a:lnTo>
                  <a:pt x="786" y="984"/>
                </a:lnTo>
                <a:lnTo>
                  <a:pt x="785" y="977"/>
                </a:lnTo>
                <a:lnTo>
                  <a:pt x="781" y="971"/>
                </a:lnTo>
                <a:lnTo>
                  <a:pt x="776" y="964"/>
                </a:lnTo>
                <a:lnTo>
                  <a:pt x="769" y="958"/>
                </a:lnTo>
                <a:lnTo>
                  <a:pt x="761" y="952"/>
                </a:lnTo>
                <a:lnTo>
                  <a:pt x="753" y="947"/>
                </a:lnTo>
                <a:lnTo>
                  <a:pt x="743" y="944"/>
                </a:lnTo>
                <a:lnTo>
                  <a:pt x="734" y="943"/>
                </a:lnTo>
                <a:lnTo>
                  <a:pt x="734" y="943"/>
                </a:lnTo>
                <a:lnTo>
                  <a:pt x="731" y="944"/>
                </a:lnTo>
                <a:lnTo>
                  <a:pt x="727" y="945"/>
                </a:lnTo>
                <a:lnTo>
                  <a:pt x="722" y="950"/>
                </a:lnTo>
                <a:lnTo>
                  <a:pt x="716" y="956"/>
                </a:lnTo>
                <a:lnTo>
                  <a:pt x="711" y="963"/>
                </a:lnTo>
                <a:lnTo>
                  <a:pt x="707" y="970"/>
                </a:lnTo>
                <a:lnTo>
                  <a:pt x="702" y="977"/>
                </a:lnTo>
                <a:lnTo>
                  <a:pt x="696" y="982"/>
                </a:lnTo>
                <a:lnTo>
                  <a:pt x="694" y="983"/>
                </a:lnTo>
                <a:lnTo>
                  <a:pt x="690" y="984"/>
                </a:lnTo>
                <a:lnTo>
                  <a:pt x="690" y="984"/>
                </a:lnTo>
                <a:lnTo>
                  <a:pt x="681" y="983"/>
                </a:lnTo>
                <a:lnTo>
                  <a:pt x="671" y="981"/>
                </a:lnTo>
                <a:lnTo>
                  <a:pt x="661" y="977"/>
                </a:lnTo>
                <a:lnTo>
                  <a:pt x="649" y="973"/>
                </a:lnTo>
                <a:lnTo>
                  <a:pt x="640" y="968"/>
                </a:lnTo>
                <a:lnTo>
                  <a:pt x="632" y="962"/>
                </a:lnTo>
                <a:lnTo>
                  <a:pt x="626" y="956"/>
                </a:lnTo>
                <a:lnTo>
                  <a:pt x="625" y="953"/>
                </a:lnTo>
                <a:lnTo>
                  <a:pt x="625" y="951"/>
                </a:lnTo>
                <a:lnTo>
                  <a:pt x="625" y="951"/>
                </a:lnTo>
                <a:lnTo>
                  <a:pt x="626" y="940"/>
                </a:lnTo>
                <a:lnTo>
                  <a:pt x="629" y="928"/>
                </a:lnTo>
                <a:lnTo>
                  <a:pt x="635" y="916"/>
                </a:lnTo>
                <a:lnTo>
                  <a:pt x="641" y="903"/>
                </a:lnTo>
                <a:lnTo>
                  <a:pt x="648" y="892"/>
                </a:lnTo>
                <a:lnTo>
                  <a:pt x="656" y="882"/>
                </a:lnTo>
                <a:lnTo>
                  <a:pt x="663" y="875"/>
                </a:lnTo>
                <a:lnTo>
                  <a:pt x="669" y="869"/>
                </a:lnTo>
                <a:lnTo>
                  <a:pt x="669" y="869"/>
                </a:lnTo>
                <a:lnTo>
                  <a:pt x="679" y="867"/>
                </a:lnTo>
                <a:lnTo>
                  <a:pt x="694" y="864"/>
                </a:lnTo>
                <a:lnTo>
                  <a:pt x="701" y="862"/>
                </a:lnTo>
                <a:lnTo>
                  <a:pt x="707" y="859"/>
                </a:lnTo>
                <a:lnTo>
                  <a:pt x="711" y="854"/>
                </a:lnTo>
                <a:lnTo>
                  <a:pt x="712" y="851"/>
                </a:lnTo>
                <a:lnTo>
                  <a:pt x="712" y="848"/>
                </a:lnTo>
                <a:lnTo>
                  <a:pt x="712" y="848"/>
                </a:lnTo>
                <a:lnTo>
                  <a:pt x="712" y="844"/>
                </a:lnTo>
                <a:lnTo>
                  <a:pt x="711" y="840"/>
                </a:lnTo>
                <a:lnTo>
                  <a:pt x="708" y="834"/>
                </a:lnTo>
                <a:lnTo>
                  <a:pt x="703" y="828"/>
                </a:lnTo>
                <a:lnTo>
                  <a:pt x="702" y="823"/>
                </a:lnTo>
                <a:lnTo>
                  <a:pt x="702" y="818"/>
                </a:lnTo>
                <a:lnTo>
                  <a:pt x="702" y="818"/>
                </a:lnTo>
                <a:lnTo>
                  <a:pt x="702" y="808"/>
                </a:lnTo>
                <a:lnTo>
                  <a:pt x="704" y="799"/>
                </a:lnTo>
                <a:lnTo>
                  <a:pt x="708" y="791"/>
                </a:lnTo>
                <a:lnTo>
                  <a:pt x="711" y="783"/>
                </a:lnTo>
                <a:lnTo>
                  <a:pt x="713" y="775"/>
                </a:lnTo>
                <a:lnTo>
                  <a:pt x="717" y="767"/>
                </a:lnTo>
                <a:lnTo>
                  <a:pt x="719" y="756"/>
                </a:lnTo>
                <a:lnTo>
                  <a:pt x="719" y="745"/>
                </a:lnTo>
                <a:lnTo>
                  <a:pt x="719" y="745"/>
                </a:lnTo>
                <a:lnTo>
                  <a:pt x="719" y="731"/>
                </a:lnTo>
                <a:lnTo>
                  <a:pt x="716" y="718"/>
                </a:lnTo>
                <a:lnTo>
                  <a:pt x="711" y="707"/>
                </a:lnTo>
                <a:lnTo>
                  <a:pt x="707" y="698"/>
                </a:lnTo>
                <a:lnTo>
                  <a:pt x="698" y="679"/>
                </a:lnTo>
                <a:lnTo>
                  <a:pt x="695" y="670"/>
                </a:lnTo>
                <a:lnTo>
                  <a:pt x="694" y="661"/>
                </a:lnTo>
                <a:lnTo>
                  <a:pt x="694" y="661"/>
                </a:lnTo>
                <a:lnTo>
                  <a:pt x="693" y="653"/>
                </a:lnTo>
                <a:lnTo>
                  <a:pt x="692" y="648"/>
                </a:lnTo>
                <a:lnTo>
                  <a:pt x="690" y="645"/>
                </a:lnTo>
                <a:lnTo>
                  <a:pt x="694" y="639"/>
                </a:lnTo>
                <a:lnTo>
                  <a:pt x="694" y="639"/>
                </a:lnTo>
                <a:lnTo>
                  <a:pt x="728" y="651"/>
                </a:lnTo>
                <a:lnTo>
                  <a:pt x="759" y="664"/>
                </a:lnTo>
                <a:lnTo>
                  <a:pt x="776" y="671"/>
                </a:lnTo>
                <a:lnTo>
                  <a:pt x="791" y="678"/>
                </a:lnTo>
                <a:lnTo>
                  <a:pt x="807" y="687"/>
                </a:lnTo>
                <a:lnTo>
                  <a:pt x="823" y="698"/>
                </a:lnTo>
                <a:lnTo>
                  <a:pt x="823" y="698"/>
                </a:lnTo>
                <a:lnTo>
                  <a:pt x="829" y="704"/>
                </a:lnTo>
                <a:lnTo>
                  <a:pt x="833" y="710"/>
                </a:lnTo>
                <a:lnTo>
                  <a:pt x="840" y="723"/>
                </a:lnTo>
                <a:lnTo>
                  <a:pt x="843" y="727"/>
                </a:lnTo>
                <a:lnTo>
                  <a:pt x="850" y="731"/>
                </a:lnTo>
                <a:lnTo>
                  <a:pt x="858" y="733"/>
                </a:lnTo>
                <a:lnTo>
                  <a:pt x="870" y="733"/>
                </a:lnTo>
                <a:lnTo>
                  <a:pt x="870" y="733"/>
                </a:lnTo>
                <a:lnTo>
                  <a:pt x="908" y="733"/>
                </a:lnTo>
                <a:lnTo>
                  <a:pt x="908" y="733"/>
                </a:lnTo>
                <a:lnTo>
                  <a:pt x="909" y="740"/>
                </a:lnTo>
                <a:lnTo>
                  <a:pt x="911" y="746"/>
                </a:lnTo>
                <a:lnTo>
                  <a:pt x="916" y="750"/>
                </a:lnTo>
                <a:lnTo>
                  <a:pt x="919" y="752"/>
                </a:lnTo>
                <a:lnTo>
                  <a:pt x="922" y="753"/>
                </a:lnTo>
                <a:lnTo>
                  <a:pt x="922" y="753"/>
                </a:lnTo>
                <a:lnTo>
                  <a:pt x="927" y="752"/>
                </a:lnTo>
                <a:lnTo>
                  <a:pt x="932" y="748"/>
                </a:lnTo>
                <a:lnTo>
                  <a:pt x="937" y="744"/>
                </a:lnTo>
                <a:lnTo>
                  <a:pt x="940" y="738"/>
                </a:lnTo>
                <a:lnTo>
                  <a:pt x="940" y="738"/>
                </a:lnTo>
                <a:lnTo>
                  <a:pt x="945" y="744"/>
                </a:lnTo>
                <a:lnTo>
                  <a:pt x="949" y="750"/>
                </a:lnTo>
                <a:lnTo>
                  <a:pt x="956" y="763"/>
                </a:lnTo>
                <a:lnTo>
                  <a:pt x="961" y="769"/>
                </a:lnTo>
                <a:lnTo>
                  <a:pt x="967" y="773"/>
                </a:lnTo>
                <a:lnTo>
                  <a:pt x="975" y="777"/>
                </a:lnTo>
                <a:lnTo>
                  <a:pt x="984" y="778"/>
                </a:lnTo>
                <a:lnTo>
                  <a:pt x="984" y="778"/>
                </a:lnTo>
                <a:lnTo>
                  <a:pt x="988" y="778"/>
                </a:lnTo>
                <a:lnTo>
                  <a:pt x="992" y="777"/>
                </a:lnTo>
                <a:lnTo>
                  <a:pt x="995" y="775"/>
                </a:lnTo>
                <a:lnTo>
                  <a:pt x="998" y="772"/>
                </a:lnTo>
                <a:lnTo>
                  <a:pt x="1000" y="769"/>
                </a:lnTo>
                <a:lnTo>
                  <a:pt x="1001" y="764"/>
                </a:lnTo>
                <a:lnTo>
                  <a:pt x="1002" y="759"/>
                </a:lnTo>
                <a:lnTo>
                  <a:pt x="1002" y="753"/>
                </a:lnTo>
                <a:lnTo>
                  <a:pt x="1002" y="753"/>
                </a:lnTo>
                <a:lnTo>
                  <a:pt x="1003" y="732"/>
                </a:lnTo>
                <a:lnTo>
                  <a:pt x="1003" y="711"/>
                </a:lnTo>
                <a:lnTo>
                  <a:pt x="1002" y="700"/>
                </a:lnTo>
                <a:lnTo>
                  <a:pt x="1001" y="688"/>
                </a:lnTo>
                <a:lnTo>
                  <a:pt x="999" y="677"/>
                </a:lnTo>
                <a:lnTo>
                  <a:pt x="995" y="664"/>
                </a:lnTo>
                <a:lnTo>
                  <a:pt x="995" y="664"/>
                </a:lnTo>
                <a:lnTo>
                  <a:pt x="993" y="658"/>
                </a:lnTo>
                <a:lnTo>
                  <a:pt x="990" y="655"/>
                </a:lnTo>
                <a:lnTo>
                  <a:pt x="985" y="654"/>
                </a:lnTo>
                <a:lnTo>
                  <a:pt x="982" y="651"/>
                </a:lnTo>
                <a:lnTo>
                  <a:pt x="977" y="649"/>
                </a:lnTo>
                <a:lnTo>
                  <a:pt x="974" y="646"/>
                </a:lnTo>
                <a:lnTo>
                  <a:pt x="970" y="640"/>
                </a:lnTo>
                <a:lnTo>
                  <a:pt x="970" y="631"/>
                </a:lnTo>
                <a:lnTo>
                  <a:pt x="970" y="631"/>
                </a:lnTo>
                <a:lnTo>
                  <a:pt x="970" y="623"/>
                </a:lnTo>
                <a:lnTo>
                  <a:pt x="972" y="615"/>
                </a:lnTo>
                <a:lnTo>
                  <a:pt x="975" y="607"/>
                </a:lnTo>
                <a:lnTo>
                  <a:pt x="978" y="600"/>
                </a:lnTo>
                <a:lnTo>
                  <a:pt x="983" y="593"/>
                </a:lnTo>
                <a:lnTo>
                  <a:pt x="988" y="587"/>
                </a:lnTo>
                <a:lnTo>
                  <a:pt x="1000" y="574"/>
                </a:lnTo>
                <a:lnTo>
                  <a:pt x="1011" y="562"/>
                </a:lnTo>
                <a:lnTo>
                  <a:pt x="1024" y="549"/>
                </a:lnTo>
                <a:lnTo>
                  <a:pt x="1035" y="534"/>
                </a:lnTo>
                <a:lnTo>
                  <a:pt x="1039" y="526"/>
                </a:lnTo>
                <a:lnTo>
                  <a:pt x="1044" y="517"/>
                </a:lnTo>
                <a:lnTo>
                  <a:pt x="1044" y="517"/>
                </a:lnTo>
                <a:lnTo>
                  <a:pt x="1040" y="517"/>
                </a:lnTo>
                <a:lnTo>
                  <a:pt x="1040" y="5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8" name="Freeform 103"/>
          <p:cNvSpPr>
            <a:spLocks/>
          </p:cNvSpPr>
          <p:nvPr/>
        </p:nvSpPr>
        <p:spPr bwMode="auto">
          <a:xfrm>
            <a:off x="7681913" y="1763713"/>
            <a:ext cx="1184275" cy="1846262"/>
          </a:xfrm>
          <a:custGeom>
            <a:avLst/>
            <a:gdLst/>
            <a:ahLst/>
            <a:cxnLst>
              <a:cxn ang="0">
                <a:pos x="995" y="1897"/>
              </a:cxn>
              <a:cxn ang="0">
                <a:pos x="1446" y="2078"/>
              </a:cxn>
              <a:cxn ang="0">
                <a:pos x="1389" y="1862"/>
              </a:cxn>
              <a:cxn ang="0">
                <a:pos x="1309" y="1810"/>
              </a:cxn>
              <a:cxn ang="0">
                <a:pos x="1305" y="1710"/>
              </a:cxn>
              <a:cxn ang="0">
                <a:pos x="1354" y="1673"/>
              </a:cxn>
              <a:cxn ang="0">
                <a:pos x="1252" y="1614"/>
              </a:cxn>
              <a:cxn ang="0">
                <a:pos x="1206" y="1514"/>
              </a:cxn>
              <a:cxn ang="0">
                <a:pos x="1242" y="1438"/>
              </a:cxn>
              <a:cxn ang="0">
                <a:pos x="1227" y="1369"/>
              </a:cxn>
              <a:cxn ang="0">
                <a:pos x="1100" y="1300"/>
              </a:cxn>
              <a:cxn ang="0">
                <a:pos x="1072" y="1210"/>
              </a:cxn>
              <a:cxn ang="0">
                <a:pos x="1122" y="1204"/>
              </a:cxn>
              <a:cxn ang="0">
                <a:pos x="1057" y="1147"/>
              </a:cxn>
              <a:cxn ang="0">
                <a:pos x="938" y="1114"/>
              </a:cxn>
              <a:cxn ang="0">
                <a:pos x="919" y="1055"/>
              </a:cxn>
              <a:cxn ang="0">
                <a:pos x="870" y="1063"/>
              </a:cxn>
              <a:cxn ang="0">
                <a:pos x="872" y="1130"/>
              </a:cxn>
              <a:cxn ang="0">
                <a:pos x="819" y="1114"/>
              </a:cxn>
              <a:cxn ang="0">
                <a:pos x="651" y="868"/>
              </a:cxn>
              <a:cxn ang="0">
                <a:pos x="644" y="810"/>
              </a:cxn>
              <a:cxn ang="0">
                <a:pos x="695" y="763"/>
              </a:cxn>
              <a:cxn ang="0">
                <a:pos x="677" y="642"/>
              </a:cxn>
              <a:cxn ang="0">
                <a:pos x="743" y="702"/>
              </a:cxn>
              <a:cxn ang="0">
                <a:pos x="723" y="631"/>
              </a:cxn>
              <a:cxn ang="0">
                <a:pos x="704" y="511"/>
              </a:cxn>
              <a:cxn ang="0">
                <a:pos x="770" y="433"/>
              </a:cxn>
              <a:cxn ang="0">
                <a:pos x="861" y="415"/>
              </a:cxn>
              <a:cxn ang="0">
                <a:pos x="731" y="78"/>
              </a:cxn>
              <a:cxn ang="0">
                <a:pos x="651" y="18"/>
              </a:cxn>
              <a:cxn ang="0">
                <a:pos x="606" y="60"/>
              </a:cxn>
              <a:cxn ang="0">
                <a:pos x="574" y="181"/>
              </a:cxn>
              <a:cxn ang="0">
                <a:pos x="535" y="262"/>
              </a:cxn>
              <a:cxn ang="0">
                <a:pos x="405" y="308"/>
              </a:cxn>
              <a:cxn ang="0">
                <a:pos x="352" y="259"/>
              </a:cxn>
              <a:cxn ang="0">
                <a:pos x="308" y="209"/>
              </a:cxn>
              <a:cxn ang="0">
                <a:pos x="192" y="273"/>
              </a:cxn>
              <a:cxn ang="0">
                <a:pos x="77" y="383"/>
              </a:cxn>
              <a:cxn ang="0">
                <a:pos x="48" y="437"/>
              </a:cxn>
              <a:cxn ang="0">
                <a:pos x="1" y="496"/>
              </a:cxn>
              <a:cxn ang="0">
                <a:pos x="26" y="530"/>
              </a:cxn>
              <a:cxn ang="0">
                <a:pos x="63" y="584"/>
              </a:cxn>
              <a:cxn ang="0">
                <a:pos x="118" y="606"/>
              </a:cxn>
              <a:cxn ang="0">
                <a:pos x="201" y="704"/>
              </a:cxn>
              <a:cxn ang="0">
                <a:pos x="282" y="726"/>
              </a:cxn>
              <a:cxn ang="0">
                <a:pos x="309" y="787"/>
              </a:cxn>
              <a:cxn ang="0">
                <a:pos x="341" y="787"/>
              </a:cxn>
              <a:cxn ang="0">
                <a:pos x="381" y="789"/>
              </a:cxn>
              <a:cxn ang="0">
                <a:pos x="330" y="703"/>
              </a:cxn>
              <a:cxn ang="0">
                <a:pos x="309" y="599"/>
              </a:cxn>
              <a:cxn ang="0">
                <a:pos x="366" y="566"/>
              </a:cxn>
              <a:cxn ang="0">
                <a:pos x="367" y="672"/>
              </a:cxn>
              <a:cxn ang="0">
                <a:pos x="495" y="774"/>
              </a:cxn>
              <a:cxn ang="0">
                <a:pos x="521" y="935"/>
              </a:cxn>
              <a:cxn ang="0">
                <a:pos x="584" y="1143"/>
              </a:cxn>
              <a:cxn ang="0">
                <a:pos x="644" y="1426"/>
              </a:cxn>
              <a:cxn ang="0">
                <a:pos x="677" y="1525"/>
              </a:cxn>
              <a:cxn ang="0">
                <a:pos x="725" y="1649"/>
              </a:cxn>
            </a:cxnLst>
            <a:rect l="0" t="0" r="r" b="b"/>
            <a:pathLst>
              <a:path w="1447" h="2116">
                <a:moveTo>
                  <a:pt x="802" y="1748"/>
                </a:moveTo>
                <a:lnTo>
                  <a:pt x="802" y="1748"/>
                </a:lnTo>
                <a:lnTo>
                  <a:pt x="822" y="1767"/>
                </a:lnTo>
                <a:lnTo>
                  <a:pt x="843" y="1788"/>
                </a:lnTo>
                <a:lnTo>
                  <a:pt x="873" y="1815"/>
                </a:lnTo>
                <a:lnTo>
                  <a:pt x="909" y="1842"/>
                </a:lnTo>
                <a:lnTo>
                  <a:pt x="930" y="1857"/>
                </a:lnTo>
                <a:lnTo>
                  <a:pt x="950" y="1871"/>
                </a:lnTo>
                <a:lnTo>
                  <a:pt x="972" y="1885"/>
                </a:lnTo>
                <a:lnTo>
                  <a:pt x="995" y="1897"/>
                </a:lnTo>
                <a:lnTo>
                  <a:pt x="1019" y="1910"/>
                </a:lnTo>
                <a:lnTo>
                  <a:pt x="1044" y="1922"/>
                </a:lnTo>
                <a:lnTo>
                  <a:pt x="1044" y="1922"/>
                </a:lnTo>
                <a:lnTo>
                  <a:pt x="1086" y="1940"/>
                </a:lnTo>
                <a:lnTo>
                  <a:pt x="1136" y="1963"/>
                </a:lnTo>
                <a:lnTo>
                  <a:pt x="1244" y="2016"/>
                </a:lnTo>
                <a:lnTo>
                  <a:pt x="1353" y="2070"/>
                </a:lnTo>
                <a:lnTo>
                  <a:pt x="1447" y="2116"/>
                </a:lnTo>
                <a:lnTo>
                  <a:pt x="1447" y="2116"/>
                </a:lnTo>
                <a:lnTo>
                  <a:pt x="1446" y="2078"/>
                </a:lnTo>
                <a:lnTo>
                  <a:pt x="1443" y="2044"/>
                </a:lnTo>
                <a:lnTo>
                  <a:pt x="1438" y="2011"/>
                </a:lnTo>
                <a:lnTo>
                  <a:pt x="1433" y="1981"/>
                </a:lnTo>
                <a:lnTo>
                  <a:pt x="1426" y="1954"/>
                </a:lnTo>
                <a:lnTo>
                  <a:pt x="1416" y="1927"/>
                </a:lnTo>
                <a:lnTo>
                  <a:pt x="1407" y="1903"/>
                </a:lnTo>
                <a:lnTo>
                  <a:pt x="1397" y="1880"/>
                </a:lnTo>
                <a:lnTo>
                  <a:pt x="1397" y="1880"/>
                </a:lnTo>
                <a:lnTo>
                  <a:pt x="1392" y="1870"/>
                </a:lnTo>
                <a:lnTo>
                  <a:pt x="1389" y="1862"/>
                </a:lnTo>
                <a:lnTo>
                  <a:pt x="1384" y="1855"/>
                </a:lnTo>
                <a:lnTo>
                  <a:pt x="1380" y="1849"/>
                </a:lnTo>
                <a:lnTo>
                  <a:pt x="1375" y="1846"/>
                </a:lnTo>
                <a:lnTo>
                  <a:pt x="1369" y="1842"/>
                </a:lnTo>
                <a:lnTo>
                  <a:pt x="1359" y="1838"/>
                </a:lnTo>
                <a:lnTo>
                  <a:pt x="1346" y="1833"/>
                </a:lnTo>
                <a:lnTo>
                  <a:pt x="1334" y="1827"/>
                </a:lnTo>
                <a:lnTo>
                  <a:pt x="1326" y="1823"/>
                </a:lnTo>
                <a:lnTo>
                  <a:pt x="1319" y="1817"/>
                </a:lnTo>
                <a:lnTo>
                  <a:pt x="1309" y="1810"/>
                </a:lnTo>
                <a:lnTo>
                  <a:pt x="1301" y="1800"/>
                </a:lnTo>
                <a:lnTo>
                  <a:pt x="1301" y="1800"/>
                </a:lnTo>
                <a:lnTo>
                  <a:pt x="1298" y="1795"/>
                </a:lnTo>
                <a:lnTo>
                  <a:pt x="1296" y="1789"/>
                </a:lnTo>
                <a:lnTo>
                  <a:pt x="1294" y="1782"/>
                </a:lnTo>
                <a:lnTo>
                  <a:pt x="1293" y="1775"/>
                </a:lnTo>
                <a:lnTo>
                  <a:pt x="1293" y="1758"/>
                </a:lnTo>
                <a:lnTo>
                  <a:pt x="1296" y="1741"/>
                </a:lnTo>
                <a:lnTo>
                  <a:pt x="1299" y="1725"/>
                </a:lnTo>
                <a:lnTo>
                  <a:pt x="1305" y="1710"/>
                </a:lnTo>
                <a:lnTo>
                  <a:pt x="1308" y="1704"/>
                </a:lnTo>
                <a:lnTo>
                  <a:pt x="1312" y="1700"/>
                </a:lnTo>
                <a:lnTo>
                  <a:pt x="1316" y="1696"/>
                </a:lnTo>
                <a:lnTo>
                  <a:pt x="1320" y="1694"/>
                </a:lnTo>
                <a:lnTo>
                  <a:pt x="1320" y="1694"/>
                </a:lnTo>
                <a:lnTo>
                  <a:pt x="1337" y="1687"/>
                </a:lnTo>
                <a:lnTo>
                  <a:pt x="1349" y="1680"/>
                </a:lnTo>
                <a:lnTo>
                  <a:pt x="1352" y="1678"/>
                </a:lnTo>
                <a:lnTo>
                  <a:pt x="1354" y="1675"/>
                </a:lnTo>
                <a:lnTo>
                  <a:pt x="1354" y="1673"/>
                </a:lnTo>
                <a:lnTo>
                  <a:pt x="1354" y="1671"/>
                </a:lnTo>
                <a:lnTo>
                  <a:pt x="1353" y="1670"/>
                </a:lnTo>
                <a:lnTo>
                  <a:pt x="1351" y="1667"/>
                </a:lnTo>
                <a:lnTo>
                  <a:pt x="1343" y="1664"/>
                </a:lnTo>
                <a:lnTo>
                  <a:pt x="1320" y="1655"/>
                </a:lnTo>
                <a:lnTo>
                  <a:pt x="1306" y="1649"/>
                </a:lnTo>
                <a:lnTo>
                  <a:pt x="1291" y="1641"/>
                </a:lnTo>
                <a:lnTo>
                  <a:pt x="1275" y="1632"/>
                </a:lnTo>
                <a:lnTo>
                  <a:pt x="1259" y="1621"/>
                </a:lnTo>
                <a:lnTo>
                  <a:pt x="1252" y="1614"/>
                </a:lnTo>
                <a:lnTo>
                  <a:pt x="1245" y="1607"/>
                </a:lnTo>
                <a:lnTo>
                  <a:pt x="1238" y="1599"/>
                </a:lnTo>
                <a:lnTo>
                  <a:pt x="1231" y="1590"/>
                </a:lnTo>
                <a:lnTo>
                  <a:pt x="1225" y="1581"/>
                </a:lnTo>
                <a:lnTo>
                  <a:pt x="1221" y="1571"/>
                </a:lnTo>
                <a:lnTo>
                  <a:pt x="1216" y="1559"/>
                </a:lnTo>
                <a:lnTo>
                  <a:pt x="1213" y="1546"/>
                </a:lnTo>
                <a:lnTo>
                  <a:pt x="1213" y="1546"/>
                </a:lnTo>
                <a:lnTo>
                  <a:pt x="1209" y="1528"/>
                </a:lnTo>
                <a:lnTo>
                  <a:pt x="1206" y="1514"/>
                </a:lnTo>
                <a:lnTo>
                  <a:pt x="1202" y="1504"/>
                </a:lnTo>
                <a:lnTo>
                  <a:pt x="1201" y="1495"/>
                </a:lnTo>
                <a:lnTo>
                  <a:pt x="1201" y="1488"/>
                </a:lnTo>
                <a:lnTo>
                  <a:pt x="1204" y="1481"/>
                </a:lnTo>
                <a:lnTo>
                  <a:pt x="1209" y="1474"/>
                </a:lnTo>
                <a:lnTo>
                  <a:pt x="1217" y="1466"/>
                </a:lnTo>
                <a:lnTo>
                  <a:pt x="1217" y="1466"/>
                </a:lnTo>
                <a:lnTo>
                  <a:pt x="1227" y="1456"/>
                </a:lnTo>
                <a:lnTo>
                  <a:pt x="1236" y="1446"/>
                </a:lnTo>
                <a:lnTo>
                  <a:pt x="1242" y="1438"/>
                </a:lnTo>
                <a:lnTo>
                  <a:pt x="1247" y="1430"/>
                </a:lnTo>
                <a:lnTo>
                  <a:pt x="1251" y="1422"/>
                </a:lnTo>
                <a:lnTo>
                  <a:pt x="1252" y="1415"/>
                </a:lnTo>
                <a:lnTo>
                  <a:pt x="1253" y="1408"/>
                </a:lnTo>
                <a:lnTo>
                  <a:pt x="1252" y="1401"/>
                </a:lnTo>
                <a:lnTo>
                  <a:pt x="1250" y="1396"/>
                </a:lnTo>
                <a:lnTo>
                  <a:pt x="1247" y="1390"/>
                </a:lnTo>
                <a:lnTo>
                  <a:pt x="1243" y="1384"/>
                </a:lnTo>
                <a:lnTo>
                  <a:pt x="1238" y="1378"/>
                </a:lnTo>
                <a:lnTo>
                  <a:pt x="1227" y="1369"/>
                </a:lnTo>
                <a:lnTo>
                  <a:pt x="1212" y="1361"/>
                </a:lnTo>
                <a:lnTo>
                  <a:pt x="1195" y="1353"/>
                </a:lnTo>
                <a:lnTo>
                  <a:pt x="1179" y="1345"/>
                </a:lnTo>
                <a:lnTo>
                  <a:pt x="1145" y="1331"/>
                </a:lnTo>
                <a:lnTo>
                  <a:pt x="1130" y="1324"/>
                </a:lnTo>
                <a:lnTo>
                  <a:pt x="1117" y="1316"/>
                </a:lnTo>
                <a:lnTo>
                  <a:pt x="1107" y="1308"/>
                </a:lnTo>
                <a:lnTo>
                  <a:pt x="1102" y="1305"/>
                </a:lnTo>
                <a:lnTo>
                  <a:pt x="1100" y="1300"/>
                </a:lnTo>
                <a:lnTo>
                  <a:pt x="1100" y="1300"/>
                </a:lnTo>
                <a:lnTo>
                  <a:pt x="1079" y="1263"/>
                </a:lnTo>
                <a:lnTo>
                  <a:pt x="1064" y="1236"/>
                </a:lnTo>
                <a:lnTo>
                  <a:pt x="1056" y="1217"/>
                </a:lnTo>
                <a:lnTo>
                  <a:pt x="1053" y="1207"/>
                </a:lnTo>
                <a:lnTo>
                  <a:pt x="1053" y="1204"/>
                </a:lnTo>
                <a:lnTo>
                  <a:pt x="1053" y="1202"/>
                </a:lnTo>
                <a:lnTo>
                  <a:pt x="1055" y="1201"/>
                </a:lnTo>
                <a:lnTo>
                  <a:pt x="1057" y="1202"/>
                </a:lnTo>
                <a:lnTo>
                  <a:pt x="1064" y="1206"/>
                </a:lnTo>
                <a:lnTo>
                  <a:pt x="1072" y="1210"/>
                </a:lnTo>
                <a:lnTo>
                  <a:pt x="1083" y="1217"/>
                </a:lnTo>
                <a:lnTo>
                  <a:pt x="1092" y="1222"/>
                </a:lnTo>
                <a:lnTo>
                  <a:pt x="1102" y="1227"/>
                </a:lnTo>
                <a:lnTo>
                  <a:pt x="1107" y="1227"/>
                </a:lnTo>
                <a:lnTo>
                  <a:pt x="1110" y="1227"/>
                </a:lnTo>
                <a:lnTo>
                  <a:pt x="1114" y="1225"/>
                </a:lnTo>
                <a:lnTo>
                  <a:pt x="1117" y="1222"/>
                </a:lnTo>
                <a:lnTo>
                  <a:pt x="1120" y="1217"/>
                </a:lnTo>
                <a:lnTo>
                  <a:pt x="1121" y="1212"/>
                </a:lnTo>
                <a:lnTo>
                  <a:pt x="1122" y="1204"/>
                </a:lnTo>
                <a:lnTo>
                  <a:pt x="1122" y="1194"/>
                </a:lnTo>
                <a:lnTo>
                  <a:pt x="1121" y="1183"/>
                </a:lnTo>
                <a:lnTo>
                  <a:pt x="1117" y="1168"/>
                </a:lnTo>
                <a:lnTo>
                  <a:pt x="1117" y="1168"/>
                </a:lnTo>
                <a:lnTo>
                  <a:pt x="1110" y="1163"/>
                </a:lnTo>
                <a:lnTo>
                  <a:pt x="1102" y="1158"/>
                </a:lnTo>
                <a:lnTo>
                  <a:pt x="1093" y="1154"/>
                </a:lnTo>
                <a:lnTo>
                  <a:pt x="1083" y="1151"/>
                </a:lnTo>
                <a:lnTo>
                  <a:pt x="1071" y="1148"/>
                </a:lnTo>
                <a:lnTo>
                  <a:pt x="1057" y="1147"/>
                </a:lnTo>
                <a:lnTo>
                  <a:pt x="1042" y="1148"/>
                </a:lnTo>
                <a:lnTo>
                  <a:pt x="1026" y="1149"/>
                </a:lnTo>
                <a:lnTo>
                  <a:pt x="1026" y="1149"/>
                </a:lnTo>
                <a:lnTo>
                  <a:pt x="996" y="1145"/>
                </a:lnTo>
                <a:lnTo>
                  <a:pt x="984" y="1141"/>
                </a:lnTo>
                <a:lnTo>
                  <a:pt x="972" y="1138"/>
                </a:lnTo>
                <a:lnTo>
                  <a:pt x="962" y="1135"/>
                </a:lnTo>
                <a:lnTo>
                  <a:pt x="953" y="1129"/>
                </a:lnTo>
                <a:lnTo>
                  <a:pt x="945" y="1122"/>
                </a:lnTo>
                <a:lnTo>
                  <a:pt x="938" y="1114"/>
                </a:lnTo>
                <a:lnTo>
                  <a:pt x="938" y="1114"/>
                </a:lnTo>
                <a:lnTo>
                  <a:pt x="941" y="1117"/>
                </a:lnTo>
                <a:lnTo>
                  <a:pt x="938" y="1114"/>
                </a:lnTo>
                <a:lnTo>
                  <a:pt x="938" y="1114"/>
                </a:lnTo>
                <a:lnTo>
                  <a:pt x="938" y="1114"/>
                </a:lnTo>
                <a:lnTo>
                  <a:pt x="932" y="1103"/>
                </a:lnTo>
                <a:lnTo>
                  <a:pt x="927" y="1091"/>
                </a:lnTo>
                <a:lnTo>
                  <a:pt x="923" y="1075"/>
                </a:lnTo>
                <a:lnTo>
                  <a:pt x="919" y="1055"/>
                </a:lnTo>
                <a:lnTo>
                  <a:pt x="919" y="1055"/>
                </a:lnTo>
                <a:lnTo>
                  <a:pt x="915" y="1049"/>
                </a:lnTo>
                <a:lnTo>
                  <a:pt x="910" y="1046"/>
                </a:lnTo>
                <a:lnTo>
                  <a:pt x="903" y="1042"/>
                </a:lnTo>
                <a:lnTo>
                  <a:pt x="899" y="1042"/>
                </a:lnTo>
                <a:lnTo>
                  <a:pt x="895" y="1042"/>
                </a:lnTo>
                <a:lnTo>
                  <a:pt x="891" y="1044"/>
                </a:lnTo>
                <a:lnTo>
                  <a:pt x="885" y="1047"/>
                </a:lnTo>
                <a:lnTo>
                  <a:pt x="880" y="1051"/>
                </a:lnTo>
                <a:lnTo>
                  <a:pt x="876" y="1056"/>
                </a:lnTo>
                <a:lnTo>
                  <a:pt x="870" y="1063"/>
                </a:lnTo>
                <a:lnTo>
                  <a:pt x="864" y="1072"/>
                </a:lnTo>
                <a:lnTo>
                  <a:pt x="864" y="1072"/>
                </a:lnTo>
                <a:lnTo>
                  <a:pt x="862" y="1077"/>
                </a:lnTo>
                <a:lnTo>
                  <a:pt x="862" y="1082"/>
                </a:lnTo>
                <a:lnTo>
                  <a:pt x="862" y="1086"/>
                </a:lnTo>
                <a:lnTo>
                  <a:pt x="863" y="1092"/>
                </a:lnTo>
                <a:lnTo>
                  <a:pt x="866" y="1103"/>
                </a:lnTo>
                <a:lnTo>
                  <a:pt x="871" y="1115"/>
                </a:lnTo>
                <a:lnTo>
                  <a:pt x="873" y="1126"/>
                </a:lnTo>
                <a:lnTo>
                  <a:pt x="872" y="1130"/>
                </a:lnTo>
                <a:lnTo>
                  <a:pt x="871" y="1135"/>
                </a:lnTo>
                <a:lnTo>
                  <a:pt x="869" y="1137"/>
                </a:lnTo>
                <a:lnTo>
                  <a:pt x="864" y="1139"/>
                </a:lnTo>
                <a:lnTo>
                  <a:pt x="858" y="1139"/>
                </a:lnTo>
                <a:lnTo>
                  <a:pt x="849" y="1139"/>
                </a:lnTo>
                <a:lnTo>
                  <a:pt x="849" y="1139"/>
                </a:lnTo>
                <a:lnTo>
                  <a:pt x="845" y="1137"/>
                </a:lnTo>
                <a:lnTo>
                  <a:pt x="840" y="1133"/>
                </a:lnTo>
                <a:lnTo>
                  <a:pt x="830" y="1125"/>
                </a:lnTo>
                <a:lnTo>
                  <a:pt x="819" y="1114"/>
                </a:lnTo>
                <a:lnTo>
                  <a:pt x="808" y="1100"/>
                </a:lnTo>
                <a:lnTo>
                  <a:pt x="796" y="1083"/>
                </a:lnTo>
                <a:lnTo>
                  <a:pt x="784" y="1064"/>
                </a:lnTo>
                <a:lnTo>
                  <a:pt x="757" y="1024"/>
                </a:lnTo>
                <a:lnTo>
                  <a:pt x="731" y="980"/>
                </a:lnTo>
                <a:lnTo>
                  <a:pt x="703" y="937"/>
                </a:lnTo>
                <a:lnTo>
                  <a:pt x="690" y="917"/>
                </a:lnTo>
                <a:lnTo>
                  <a:pt x="677" y="899"/>
                </a:lnTo>
                <a:lnTo>
                  <a:pt x="664" y="881"/>
                </a:lnTo>
                <a:lnTo>
                  <a:pt x="651" y="868"/>
                </a:lnTo>
                <a:lnTo>
                  <a:pt x="651" y="868"/>
                </a:lnTo>
                <a:lnTo>
                  <a:pt x="644" y="860"/>
                </a:lnTo>
                <a:lnTo>
                  <a:pt x="640" y="851"/>
                </a:lnTo>
                <a:lnTo>
                  <a:pt x="636" y="845"/>
                </a:lnTo>
                <a:lnTo>
                  <a:pt x="634" y="838"/>
                </a:lnTo>
                <a:lnTo>
                  <a:pt x="634" y="831"/>
                </a:lnTo>
                <a:lnTo>
                  <a:pt x="635" y="825"/>
                </a:lnTo>
                <a:lnTo>
                  <a:pt x="637" y="819"/>
                </a:lnTo>
                <a:lnTo>
                  <a:pt x="640" y="815"/>
                </a:lnTo>
                <a:lnTo>
                  <a:pt x="644" y="810"/>
                </a:lnTo>
                <a:lnTo>
                  <a:pt x="650" y="805"/>
                </a:lnTo>
                <a:lnTo>
                  <a:pt x="656" y="802"/>
                </a:lnTo>
                <a:lnTo>
                  <a:pt x="663" y="799"/>
                </a:lnTo>
                <a:lnTo>
                  <a:pt x="678" y="794"/>
                </a:lnTo>
                <a:lnTo>
                  <a:pt x="696" y="790"/>
                </a:lnTo>
                <a:lnTo>
                  <a:pt x="696" y="790"/>
                </a:lnTo>
                <a:lnTo>
                  <a:pt x="697" y="782"/>
                </a:lnTo>
                <a:lnTo>
                  <a:pt x="698" y="775"/>
                </a:lnTo>
                <a:lnTo>
                  <a:pt x="697" y="769"/>
                </a:lnTo>
                <a:lnTo>
                  <a:pt x="695" y="763"/>
                </a:lnTo>
                <a:lnTo>
                  <a:pt x="690" y="756"/>
                </a:lnTo>
                <a:lnTo>
                  <a:pt x="685" y="750"/>
                </a:lnTo>
                <a:lnTo>
                  <a:pt x="666" y="735"/>
                </a:lnTo>
                <a:lnTo>
                  <a:pt x="666" y="735"/>
                </a:lnTo>
                <a:lnTo>
                  <a:pt x="666" y="650"/>
                </a:lnTo>
                <a:lnTo>
                  <a:pt x="666" y="650"/>
                </a:lnTo>
                <a:lnTo>
                  <a:pt x="666" y="650"/>
                </a:lnTo>
                <a:lnTo>
                  <a:pt x="670" y="645"/>
                </a:lnTo>
                <a:lnTo>
                  <a:pt x="673" y="643"/>
                </a:lnTo>
                <a:lnTo>
                  <a:pt x="677" y="642"/>
                </a:lnTo>
                <a:lnTo>
                  <a:pt x="681" y="644"/>
                </a:lnTo>
                <a:lnTo>
                  <a:pt x="686" y="648"/>
                </a:lnTo>
                <a:lnTo>
                  <a:pt x="691" y="652"/>
                </a:lnTo>
                <a:lnTo>
                  <a:pt x="702" y="664"/>
                </a:lnTo>
                <a:lnTo>
                  <a:pt x="713" y="677"/>
                </a:lnTo>
                <a:lnTo>
                  <a:pt x="724" y="689"/>
                </a:lnTo>
                <a:lnTo>
                  <a:pt x="729" y="694"/>
                </a:lnTo>
                <a:lnTo>
                  <a:pt x="734" y="698"/>
                </a:lnTo>
                <a:lnTo>
                  <a:pt x="739" y="701"/>
                </a:lnTo>
                <a:lnTo>
                  <a:pt x="743" y="702"/>
                </a:lnTo>
                <a:lnTo>
                  <a:pt x="743" y="702"/>
                </a:lnTo>
                <a:lnTo>
                  <a:pt x="750" y="700"/>
                </a:lnTo>
                <a:lnTo>
                  <a:pt x="752" y="697"/>
                </a:lnTo>
                <a:lnTo>
                  <a:pt x="754" y="695"/>
                </a:lnTo>
                <a:lnTo>
                  <a:pt x="755" y="689"/>
                </a:lnTo>
                <a:lnTo>
                  <a:pt x="755" y="683"/>
                </a:lnTo>
                <a:lnTo>
                  <a:pt x="751" y="675"/>
                </a:lnTo>
                <a:lnTo>
                  <a:pt x="748" y="668"/>
                </a:lnTo>
                <a:lnTo>
                  <a:pt x="736" y="650"/>
                </a:lnTo>
                <a:lnTo>
                  <a:pt x="723" y="631"/>
                </a:lnTo>
                <a:lnTo>
                  <a:pt x="709" y="612"/>
                </a:lnTo>
                <a:lnTo>
                  <a:pt x="704" y="602"/>
                </a:lnTo>
                <a:lnTo>
                  <a:pt x="700" y="593"/>
                </a:lnTo>
                <a:lnTo>
                  <a:pt x="696" y="584"/>
                </a:lnTo>
                <a:lnTo>
                  <a:pt x="696" y="576"/>
                </a:lnTo>
                <a:lnTo>
                  <a:pt x="696" y="576"/>
                </a:lnTo>
                <a:lnTo>
                  <a:pt x="696" y="558"/>
                </a:lnTo>
                <a:lnTo>
                  <a:pt x="698" y="541"/>
                </a:lnTo>
                <a:lnTo>
                  <a:pt x="701" y="525"/>
                </a:lnTo>
                <a:lnTo>
                  <a:pt x="704" y="511"/>
                </a:lnTo>
                <a:lnTo>
                  <a:pt x="709" y="498"/>
                </a:lnTo>
                <a:lnTo>
                  <a:pt x="713" y="486"/>
                </a:lnTo>
                <a:lnTo>
                  <a:pt x="719" y="475"/>
                </a:lnTo>
                <a:lnTo>
                  <a:pt x="725" y="467"/>
                </a:lnTo>
                <a:lnTo>
                  <a:pt x="732" y="459"/>
                </a:lnTo>
                <a:lnTo>
                  <a:pt x="739" y="451"/>
                </a:lnTo>
                <a:lnTo>
                  <a:pt x="747" y="445"/>
                </a:lnTo>
                <a:lnTo>
                  <a:pt x="754" y="441"/>
                </a:lnTo>
                <a:lnTo>
                  <a:pt x="762" y="436"/>
                </a:lnTo>
                <a:lnTo>
                  <a:pt x="770" y="433"/>
                </a:lnTo>
                <a:lnTo>
                  <a:pt x="786" y="427"/>
                </a:lnTo>
                <a:lnTo>
                  <a:pt x="802" y="423"/>
                </a:lnTo>
                <a:lnTo>
                  <a:pt x="817" y="422"/>
                </a:lnTo>
                <a:lnTo>
                  <a:pt x="843" y="421"/>
                </a:lnTo>
                <a:lnTo>
                  <a:pt x="853" y="421"/>
                </a:lnTo>
                <a:lnTo>
                  <a:pt x="859" y="421"/>
                </a:lnTo>
                <a:lnTo>
                  <a:pt x="861" y="420"/>
                </a:lnTo>
                <a:lnTo>
                  <a:pt x="862" y="419"/>
                </a:lnTo>
                <a:lnTo>
                  <a:pt x="862" y="416"/>
                </a:lnTo>
                <a:lnTo>
                  <a:pt x="861" y="415"/>
                </a:lnTo>
                <a:lnTo>
                  <a:pt x="861" y="415"/>
                </a:lnTo>
                <a:lnTo>
                  <a:pt x="853" y="404"/>
                </a:lnTo>
                <a:lnTo>
                  <a:pt x="845" y="391"/>
                </a:lnTo>
                <a:lnTo>
                  <a:pt x="836" y="376"/>
                </a:lnTo>
                <a:lnTo>
                  <a:pt x="827" y="359"/>
                </a:lnTo>
                <a:lnTo>
                  <a:pt x="810" y="319"/>
                </a:lnTo>
                <a:lnTo>
                  <a:pt x="790" y="270"/>
                </a:lnTo>
                <a:lnTo>
                  <a:pt x="771" y="214"/>
                </a:lnTo>
                <a:lnTo>
                  <a:pt x="751" y="151"/>
                </a:lnTo>
                <a:lnTo>
                  <a:pt x="731" y="78"/>
                </a:lnTo>
                <a:lnTo>
                  <a:pt x="710" y="0"/>
                </a:lnTo>
                <a:lnTo>
                  <a:pt x="710" y="0"/>
                </a:lnTo>
                <a:lnTo>
                  <a:pt x="701" y="0"/>
                </a:lnTo>
                <a:lnTo>
                  <a:pt x="693" y="2"/>
                </a:lnTo>
                <a:lnTo>
                  <a:pt x="686" y="6"/>
                </a:lnTo>
                <a:lnTo>
                  <a:pt x="679" y="9"/>
                </a:lnTo>
                <a:lnTo>
                  <a:pt x="666" y="16"/>
                </a:lnTo>
                <a:lnTo>
                  <a:pt x="659" y="18"/>
                </a:lnTo>
                <a:lnTo>
                  <a:pt x="651" y="18"/>
                </a:lnTo>
                <a:lnTo>
                  <a:pt x="651" y="18"/>
                </a:lnTo>
                <a:lnTo>
                  <a:pt x="647" y="18"/>
                </a:lnTo>
                <a:lnTo>
                  <a:pt x="642" y="17"/>
                </a:lnTo>
                <a:lnTo>
                  <a:pt x="635" y="14"/>
                </a:lnTo>
                <a:lnTo>
                  <a:pt x="622" y="3"/>
                </a:lnTo>
                <a:lnTo>
                  <a:pt x="622" y="3"/>
                </a:lnTo>
                <a:lnTo>
                  <a:pt x="616" y="13"/>
                </a:lnTo>
                <a:lnTo>
                  <a:pt x="612" y="21"/>
                </a:lnTo>
                <a:lnTo>
                  <a:pt x="610" y="30"/>
                </a:lnTo>
                <a:lnTo>
                  <a:pt x="609" y="39"/>
                </a:lnTo>
                <a:lnTo>
                  <a:pt x="606" y="60"/>
                </a:lnTo>
                <a:lnTo>
                  <a:pt x="605" y="70"/>
                </a:lnTo>
                <a:lnTo>
                  <a:pt x="603" y="80"/>
                </a:lnTo>
                <a:lnTo>
                  <a:pt x="603" y="80"/>
                </a:lnTo>
                <a:lnTo>
                  <a:pt x="598" y="93"/>
                </a:lnTo>
                <a:lnTo>
                  <a:pt x="594" y="105"/>
                </a:lnTo>
                <a:lnTo>
                  <a:pt x="584" y="128"/>
                </a:lnTo>
                <a:lnTo>
                  <a:pt x="580" y="139"/>
                </a:lnTo>
                <a:lnTo>
                  <a:pt x="576" y="152"/>
                </a:lnTo>
                <a:lnTo>
                  <a:pt x="574" y="166"/>
                </a:lnTo>
                <a:lnTo>
                  <a:pt x="574" y="181"/>
                </a:lnTo>
                <a:lnTo>
                  <a:pt x="574" y="181"/>
                </a:lnTo>
                <a:lnTo>
                  <a:pt x="574" y="216"/>
                </a:lnTo>
                <a:lnTo>
                  <a:pt x="574" y="216"/>
                </a:lnTo>
                <a:lnTo>
                  <a:pt x="573" y="228"/>
                </a:lnTo>
                <a:lnTo>
                  <a:pt x="569" y="238"/>
                </a:lnTo>
                <a:lnTo>
                  <a:pt x="565" y="245"/>
                </a:lnTo>
                <a:lnTo>
                  <a:pt x="559" y="252"/>
                </a:lnTo>
                <a:lnTo>
                  <a:pt x="552" y="257"/>
                </a:lnTo>
                <a:lnTo>
                  <a:pt x="544" y="260"/>
                </a:lnTo>
                <a:lnTo>
                  <a:pt x="535" y="262"/>
                </a:lnTo>
                <a:lnTo>
                  <a:pt x="525" y="265"/>
                </a:lnTo>
                <a:lnTo>
                  <a:pt x="504" y="267"/>
                </a:lnTo>
                <a:lnTo>
                  <a:pt x="482" y="269"/>
                </a:lnTo>
                <a:lnTo>
                  <a:pt x="462" y="273"/>
                </a:lnTo>
                <a:lnTo>
                  <a:pt x="453" y="275"/>
                </a:lnTo>
                <a:lnTo>
                  <a:pt x="445" y="280"/>
                </a:lnTo>
                <a:lnTo>
                  <a:pt x="445" y="280"/>
                </a:lnTo>
                <a:lnTo>
                  <a:pt x="421" y="299"/>
                </a:lnTo>
                <a:lnTo>
                  <a:pt x="413" y="304"/>
                </a:lnTo>
                <a:lnTo>
                  <a:pt x="405" y="308"/>
                </a:lnTo>
                <a:lnTo>
                  <a:pt x="397" y="312"/>
                </a:lnTo>
                <a:lnTo>
                  <a:pt x="390" y="313"/>
                </a:lnTo>
                <a:lnTo>
                  <a:pt x="390" y="313"/>
                </a:lnTo>
                <a:lnTo>
                  <a:pt x="382" y="312"/>
                </a:lnTo>
                <a:lnTo>
                  <a:pt x="374" y="308"/>
                </a:lnTo>
                <a:lnTo>
                  <a:pt x="368" y="303"/>
                </a:lnTo>
                <a:lnTo>
                  <a:pt x="364" y="296"/>
                </a:lnTo>
                <a:lnTo>
                  <a:pt x="359" y="288"/>
                </a:lnTo>
                <a:lnTo>
                  <a:pt x="357" y="278"/>
                </a:lnTo>
                <a:lnTo>
                  <a:pt x="352" y="259"/>
                </a:lnTo>
                <a:lnTo>
                  <a:pt x="347" y="239"/>
                </a:lnTo>
                <a:lnTo>
                  <a:pt x="345" y="230"/>
                </a:lnTo>
                <a:lnTo>
                  <a:pt x="343" y="222"/>
                </a:lnTo>
                <a:lnTo>
                  <a:pt x="339" y="215"/>
                </a:lnTo>
                <a:lnTo>
                  <a:pt x="335" y="211"/>
                </a:lnTo>
                <a:lnTo>
                  <a:pt x="330" y="207"/>
                </a:lnTo>
                <a:lnTo>
                  <a:pt x="323" y="206"/>
                </a:lnTo>
                <a:lnTo>
                  <a:pt x="323" y="206"/>
                </a:lnTo>
                <a:lnTo>
                  <a:pt x="315" y="207"/>
                </a:lnTo>
                <a:lnTo>
                  <a:pt x="308" y="209"/>
                </a:lnTo>
                <a:lnTo>
                  <a:pt x="303" y="214"/>
                </a:lnTo>
                <a:lnTo>
                  <a:pt x="298" y="220"/>
                </a:lnTo>
                <a:lnTo>
                  <a:pt x="288" y="230"/>
                </a:lnTo>
                <a:lnTo>
                  <a:pt x="283" y="236"/>
                </a:lnTo>
                <a:lnTo>
                  <a:pt x="276" y="239"/>
                </a:lnTo>
                <a:lnTo>
                  <a:pt x="276" y="239"/>
                </a:lnTo>
                <a:lnTo>
                  <a:pt x="253" y="246"/>
                </a:lnTo>
                <a:lnTo>
                  <a:pt x="231" y="254"/>
                </a:lnTo>
                <a:lnTo>
                  <a:pt x="210" y="262"/>
                </a:lnTo>
                <a:lnTo>
                  <a:pt x="192" y="273"/>
                </a:lnTo>
                <a:lnTo>
                  <a:pt x="175" y="284"/>
                </a:lnTo>
                <a:lnTo>
                  <a:pt x="159" y="299"/>
                </a:lnTo>
                <a:lnTo>
                  <a:pt x="144" y="315"/>
                </a:lnTo>
                <a:lnTo>
                  <a:pt x="129" y="335"/>
                </a:lnTo>
                <a:lnTo>
                  <a:pt x="129" y="335"/>
                </a:lnTo>
                <a:lnTo>
                  <a:pt x="122" y="344"/>
                </a:lnTo>
                <a:lnTo>
                  <a:pt x="114" y="353"/>
                </a:lnTo>
                <a:lnTo>
                  <a:pt x="106" y="361"/>
                </a:lnTo>
                <a:lnTo>
                  <a:pt x="97" y="369"/>
                </a:lnTo>
                <a:lnTo>
                  <a:pt x="77" y="383"/>
                </a:lnTo>
                <a:lnTo>
                  <a:pt x="55" y="400"/>
                </a:lnTo>
                <a:lnTo>
                  <a:pt x="55" y="400"/>
                </a:lnTo>
                <a:lnTo>
                  <a:pt x="54" y="405"/>
                </a:lnTo>
                <a:lnTo>
                  <a:pt x="53" y="410"/>
                </a:lnTo>
                <a:lnTo>
                  <a:pt x="54" y="420"/>
                </a:lnTo>
                <a:lnTo>
                  <a:pt x="54" y="425"/>
                </a:lnTo>
                <a:lnTo>
                  <a:pt x="54" y="430"/>
                </a:lnTo>
                <a:lnTo>
                  <a:pt x="52" y="434"/>
                </a:lnTo>
                <a:lnTo>
                  <a:pt x="48" y="437"/>
                </a:lnTo>
                <a:lnTo>
                  <a:pt x="48" y="437"/>
                </a:lnTo>
                <a:lnTo>
                  <a:pt x="38" y="444"/>
                </a:lnTo>
                <a:lnTo>
                  <a:pt x="29" y="448"/>
                </a:lnTo>
                <a:lnTo>
                  <a:pt x="21" y="451"/>
                </a:lnTo>
                <a:lnTo>
                  <a:pt x="14" y="454"/>
                </a:lnTo>
                <a:lnTo>
                  <a:pt x="11" y="456"/>
                </a:lnTo>
                <a:lnTo>
                  <a:pt x="8" y="459"/>
                </a:lnTo>
                <a:lnTo>
                  <a:pt x="6" y="463"/>
                </a:lnTo>
                <a:lnTo>
                  <a:pt x="5" y="466"/>
                </a:lnTo>
                <a:lnTo>
                  <a:pt x="2" y="479"/>
                </a:lnTo>
                <a:lnTo>
                  <a:pt x="1" y="496"/>
                </a:lnTo>
                <a:lnTo>
                  <a:pt x="1" y="496"/>
                </a:lnTo>
                <a:lnTo>
                  <a:pt x="1" y="505"/>
                </a:lnTo>
                <a:lnTo>
                  <a:pt x="0" y="514"/>
                </a:lnTo>
                <a:lnTo>
                  <a:pt x="0" y="522"/>
                </a:lnTo>
                <a:lnTo>
                  <a:pt x="0" y="526"/>
                </a:lnTo>
                <a:lnTo>
                  <a:pt x="1" y="529"/>
                </a:lnTo>
                <a:lnTo>
                  <a:pt x="1" y="529"/>
                </a:lnTo>
                <a:lnTo>
                  <a:pt x="6" y="530"/>
                </a:lnTo>
                <a:lnTo>
                  <a:pt x="13" y="530"/>
                </a:lnTo>
                <a:lnTo>
                  <a:pt x="26" y="530"/>
                </a:lnTo>
                <a:lnTo>
                  <a:pt x="42" y="530"/>
                </a:lnTo>
                <a:lnTo>
                  <a:pt x="55" y="533"/>
                </a:lnTo>
                <a:lnTo>
                  <a:pt x="55" y="533"/>
                </a:lnTo>
                <a:lnTo>
                  <a:pt x="59" y="534"/>
                </a:lnTo>
                <a:lnTo>
                  <a:pt x="61" y="536"/>
                </a:lnTo>
                <a:lnTo>
                  <a:pt x="64" y="541"/>
                </a:lnTo>
                <a:lnTo>
                  <a:pt x="67" y="548"/>
                </a:lnTo>
                <a:lnTo>
                  <a:pt x="67" y="555"/>
                </a:lnTo>
                <a:lnTo>
                  <a:pt x="64" y="570"/>
                </a:lnTo>
                <a:lnTo>
                  <a:pt x="63" y="584"/>
                </a:lnTo>
                <a:lnTo>
                  <a:pt x="63" y="584"/>
                </a:lnTo>
                <a:lnTo>
                  <a:pt x="64" y="588"/>
                </a:lnTo>
                <a:lnTo>
                  <a:pt x="65" y="591"/>
                </a:lnTo>
                <a:lnTo>
                  <a:pt x="70" y="597"/>
                </a:lnTo>
                <a:lnTo>
                  <a:pt x="77" y="601"/>
                </a:lnTo>
                <a:lnTo>
                  <a:pt x="84" y="603"/>
                </a:lnTo>
                <a:lnTo>
                  <a:pt x="92" y="605"/>
                </a:lnTo>
                <a:lnTo>
                  <a:pt x="101" y="605"/>
                </a:lnTo>
                <a:lnTo>
                  <a:pt x="118" y="606"/>
                </a:lnTo>
                <a:lnTo>
                  <a:pt x="118" y="606"/>
                </a:lnTo>
                <a:lnTo>
                  <a:pt x="184" y="662"/>
                </a:lnTo>
                <a:lnTo>
                  <a:pt x="184" y="662"/>
                </a:lnTo>
                <a:lnTo>
                  <a:pt x="184" y="662"/>
                </a:lnTo>
                <a:lnTo>
                  <a:pt x="185" y="672"/>
                </a:lnTo>
                <a:lnTo>
                  <a:pt x="186" y="680"/>
                </a:lnTo>
                <a:lnTo>
                  <a:pt x="187" y="687"/>
                </a:lnTo>
                <a:lnTo>
                  <a:pt x="190" y="693"/>
                </a:lnTo>
                <a:lnTo>
                  <a:pt x="193" y="697"/>
                </a:lnTo>
                <a:lnTo>
                  <a:pt x="197" y="702"/>
                </a:lnTo>
                <a:lnTo>
                  <a:pt x="201" y="704"/>
                </a:lnTo>
                <a:lnTo>
                  <a:pt x="207" y="706"/>
                </a:lnTo>
                <a:lnTo>
                  <a:pt x="217" y="709"/>
                </a:lnTo>
                <a:lnTo>
                  <a:pt x="231" y="710"/>
                </a:lnTo>
                <a:lnTo>
                  <a:pt x="245" y="711"/>
                </a:lnTo>
                <a:lnTo>
                  <a:pt x="261" y="713"/>
                </a:lnTo>
                <a:lnTo>
                  <a:pt x="261" y="713"/>
                </a:lnTo>
                <a:lnTo>
                  <a:pt x="268" y="715"/>
                </a:lnTo>
                <a:lnTo>
                  <a:pt x="274" y="717"/>
                </a:lnTo>
                <a:lnTo>
                  <a:pt x="278" y="721"/>
                </a:lnTo>
                <a:lnTo>
                  <a:pt x="282" y="726"/>
                </a:lnTo>
                <a:lnTo>
                  <a:pt x="285" y="732"/>
                </a:lnTo>
                <a:lnTo>
                  <a:pt x="288" y="738"/>
                </a:lnTo>
                <a:lnTo>
                  <a:pt x="292" y="751"/>
                </a:lnTo>
                <a:lnTo>
                  <a:pt x="296" y="764"/>
                </a:lnTo>
                <a:lnTo>
                  <a:pt x="299" y="775"/>
                </a:lnTo>
                <a:lnTo>
                  <a:pt x="301" y="780"/>
                </a:lnTo>
                <a:lnTo>
                  <a:pt x="304" y="784"/>
                </a:lnTo>
                <a:lnTo>
                  <a:pt x="306" y="786"/>
                </a:lnTo>
                <a:lnTo>
                  <a:pt x="309" y="787"/>
                </a:lnTo>
                <a:lnTo>
                  <a:pt x="309" y="787"/>
                </a:lnTo>
                <a:lnTo>
                  <a:pt x="314" y="786"/>
                </a:lnTo>
                <a:lnTo>
                  <a:pt x="317" y="785"/>
                </a:lnTo>
                <a:lnTo>
                  <a:pt x="323" y="781"/>
                </a:lnTo>
                <a:lnTo>
                  <a:pt x="328" y="777"/>
                </a:lnTo>
                <a:lnTo>
                  <a:pt x="331" y="775"/>
                </a:lnTo>
                <a:lnTo>
                  <a:pt x="335" y="775"/>
                </a:lnTo>
                <a:lnTo>
                  <a:pt x="335" y="775"/>
                </a:lnTo>
                <a:lnTo>
                  <a:pt x="336" y="779"/>
                </a:lnTo>
                <a:lnTo>
                  <a:pt x="337" y="784"/>
                </a:lnTo>
                <a:lnTo>
                  <a:pt x="341" y="787"/>
                </a:lnTo>
                <a:lnTo>
                  <a:pt x="344" y="790"/>
                </a:lnTo>
                <a:lnTo>
                  <a:pt x="347" y="793"/>
                </a:lnTo>
                <a:lnTo>
                  <a:pt x="352" y="795"/>
                </a:lnTo>
                <a:lnTo>
                  <a:pt x="357" y="796"/>
                </a:lnTo>
                <a:lnTo>
                  <a:pt x="361" y="797"/>
                </a:lnTo>
                <a:lnTo>
                  <a:pt x="361" y="797"/>
                </a:lnTo>
                <a:lnTo>
                  <a:pt x="366" y="796"/>
                </a:lnTo>
                <a:lnTo>
                  <a:pt x="372" y="795"/>
                </a:lnTo>
                <a:lnTo>
                  <a:pt x="376" y="792"/>
                </a:lnTo>
                <a:lnTo>
                  <a:pt x="381" y="789"/>
                </a:lnTo>
                <a:lnTo>
                  <a:pt x="388" y="781"/>
                </a:lnTo>
                <a:lnTo>
                  <a:pt x="393" y="775"/>
                </a:lnTo>
                <a:lnTo>
                  <a:pt x="393" y="775"/>
                </a:lnTo>
                <a:lnTo>
                  <a:pt x="389" y="764"/>
                </a:lnTo>
                <a:lnTo>
                  <a:pt x="383" y="754"/>
                </a:lnTo>
                <a:lnTo>
                  <a:pt x="376" y="743"/>
                </a:lnTo>
                <a:lnTo>
                  <a:pt x="367" y="734"/>
                </a:lnTo>
                <a:lnTo>
                  <a:pt x="359" y="725"/>
                </a:lnTo>
                <a:lnTo>
                  <a:pt x="350" y="718"/>
                </a:lnTo>
                <a:lnTo>
                  <a:pt x="330" y="703"/>
                </a:lnTo>
                <a:lnTo>
                  <a:pt x="313" y="693"/>
                </a:lnTo>
                <a:lnTo>
                  <a:pt x="298" y="685"/>
                </a:lnTo>
                <a:lnTo>
                  <a:pt x="288" y="679"/>
                </a:lnTo>
                <a:lnTo>
                  <a:pt x="284" y="675"/>
                </a:lnTo>
                <a:lnTo>
                  <a:pt x="284" y="675"/>
                </a:lnTo>
                <a:lnTo>
                  <a:pt x="284" y="670"/>
                </a:lnTo>
                <a:lnTo>
                  <a:pt x="285" y="662"/>
                </a:lnTo>
                <a:lnTo>
                  <a:pt x="291" y="643"/>
                </a:lnTo>
                <a:lnTo>
                  <a:pt x="299" y="621"/>
                </a:lnTo>
                <a:lnTo>
                  <a:pt x="309" y="599"/>
                </a:lnTo>
                <a:lnTo>
                  <a:pt x="316" y="589"/>
                </a:lnTo>
                <a:lnTo>
                  <a:pt x="323" y="580"/>
                </a:lnTo>
                <a:lnTo>
                  <a:pt x="330" y="571"/>
                </a:lnTo>
                <a:lnTo>
                  <a:pt x="338" y="564"/>
                </a:lnTo>
                <a:lnTo>
                  <a:pt x="346" y="557"/>
                </a:lnTo>
                <a:lnTo>
                  <a:pt x="354" y="553"/>
                </a:lnTo>
                <a:lnTo>
                  <a:pt x="364" y="551"/>
                </a:lnTo>
                <a:lnTo>
                  <a:pt x="372" y="551"/>
                </a:lnTo>
                <a:lnTo>
                  <a:pt x="372" y="551"/>
                </a:lnTo>
                <a:lnTo>
                  <a:pt x="366" y="566"/>
                </a:lnTo>
                <a:lnTo>
                  <a:pt x="360" y="579"/>
                </a:lnTo>
                <a:lnTo>
                  <a:pt x="357" y="593"/>
                </a:lnTo>
                <a:lnTo>
                  <a:pt x="354" y="604"/>
                </a:lnTo>
                <a:lnTo>
                  <a:pt x="353" y="616"/>
                </a:lnTo>
                <a:lnTo>
                  <a:pt x="353" y="626"/>
                </a:lnTo>
                <a:lnTo>
                  <a:pt x="354" y="636"/>
                </a:lnTo>
                <a:lnTo>
                  <a:pt x="357" y="647"/>
                </a:lnTo>
                <a:lnTo>
                  <a:pt x="359" y="655"/>
                </a:lnTo>
                <a:lnTo>
                  <a:pt x="362" y="664"/>
                </a:lnTo>
                <a:lnTo>
                  <a:pt x="367" y="672"/>
                </a:lnTo>
                <a:lnTo>
                  <a:pt x="372" y="679"/>
                </a:lnTo>
                <a:lnTo>
                  <a:pt x="384" y="693"/>
                </a:lnTo>
                <a:lnTo>
                  <a:pt x="397" y="705"/>
                </a:lnTo>
                <a:lnTo>
                  <a:pt x="412" y="716"/>
                </a:lnTo>
                <a:lnTo>
                  <a:pt x="428" y="726"/>
                </a:lnTo>
                <a:lnTo>
                  <a:pt x="457" y="743"/>
                </a:lnTo>
                <a:lnTo>
                  <a:pt x="471" y="752"/>
                </a:lnTo>
                <a:lnTo>
                  <a:pt x="482" y="761"/>
                </a:lnTo>
                <a:lnTo>
                  <a:pt x="491" y="770"/>
                </a:lnTo>
                <a:lnTo>
                  <a:pt x="495" y="774"/>
                </a:lnTo>
                <a:lnTo>
                  <a:pt x="497" y="779"/>
                </a:lnTo>
                <a:lnTo>
                  <a:pt x="497" y="779"/>
                </a:lnTo>
                <a:lnTo>
                  <a:pt x="505" y="800"/>
                </a:lnTo>
                <a:lnTo>
                  <a:pt x="510" y="818"/>
                </a:lnTo>
                <a:lnTo>
                  <a:pt x="514" y="836"/>
                </a:lnTo>
                <a:lnTo>
                  <a:pt x="517" y="853"/>
                </a:lnTo>
                <a:lnTo>
                  <a:pt x="519" y="870"/>
                </a:lnTo>
                <a:lnTo>
                  <a:pt x="520" y="886"/>
                </a:lnTo>
                <a:lnTo>
                  <a:pt x="521" y="918"/>
                </a:lnTo>
                <a:lnTo>
                  <a:pt x="521" y="935"/>
                </a:lnTo>
                <a:lnTo>
                  <a:pt x="523" y="954"/>
                </a:lnTo>
                <a:lnTo>
                  <a:pt x="526" y="973"/>
                </a:lnTo>
                <a:lnTo>
                  <a:pt x="530" y="995"/>
                </a:lnTo>
                <a:lnTo>
                  <a:pt x="536" y="1018"/>
                </a:lnTo>
                <a:lnTo>
                  <a:pt x="543" y="1044"/>
                </a:lnTo>
                <a:lnTo>
                  <a:pt x="553" y="1071"/>
                </a:lnTo>
                <a:lnTo>
                  <a:pt x="567" y="1102"/>
                </a:lnTo>
                <a:lnTo>
                  <a:pt x="567" y="1102"/>
                </a:lnTo>
                <a:lnTo>
                  <a:pt x="575" y="1121"/>
                </a:lnTo>
                <a:lnTo>
                  <a:pt x="584" y="1143"/>
                </a:lnTo>
                <a:lnTo>
                  <a:pt x="603" y="1192"/>
                </a:lnTo>
                <a:lnTo>
                  <a:pt x="621" y="1246"/>
                </a:lnTo>
                <a:lnTo>
                  <a:pt x="636" y="1300"/>
                </a:lnTo>
                <a:lnTo>
                  <a:pt x="636" y="1300"/>
                </a:lnTo>
                <a:lnTo>
                  <a:pt x="644" y="1329"/>
                </a:lnTo>
                <a:lnTo>
                  <a:pt x="649" y="1354"/>
                </a:lnTo>
                <a:lnTo>
                  <a:pt x="650" y="1376"/>
                </a:lnTo>
                <a:lnTo>
                  <a:pt x="650" y="1396"/>
                </a:lnTo>
                <a:lnTo>
                  <a:pt x="648" y="1412"/>
                </a:lnTo>
                <a:lnTo>
                  <a:pt x="644" y="1426"/>
                </a:lnTo>
                <a:lnTo>
                  <a:pt x="637" y="1449"/>
                </a:lnTo>
                <a:lnTo>
                  <a:pt x="634" y="1458"/>
                </a:lnTo>
                <a:lnTo>
                  <a:pt x="633" y="1467"/>
                </a:lnTo>
                <a:lnTo>
                  <a:pt x="632" y="1475"/>
                </a:lnTo>
                <a:lnTo>
                  <a:pt x="634" y="1483"/>
                </a:lnTo>
                <a:lnTo>
                  <a:pt x="639" y="1492"/>
                </a:lnTo>
                <a:lnTo>
                  <a:pt x="648" y="1502"/>
                </a:lnTo>
                <a:lnTo>
                  <a:pt x="659" y="1512"/>
                </a:lnTo>
                <a:lnTo>
                  <a:pt x="677" y="1525"/>
                </a:lnTo>
                <a:lnTo>
                  <a:pt x="677" y="1525"/>
                </a:lnTo>
                <a:lnTo>
                  <a:pt x="686" y="1533"/>
                </a:lnTo>
                <a:lnTo>
                  <a:pt x="694" y="1541"/>
                </a:lnTo>
                <a:lnTo>
                  <a:pt x="698" y="1550"/>
                </a:lnTo>
                <a:lnTo>
                  <a:pt x="702" y="1559"/>
                </a:lnTo>
                <a:lnTo>
                  <a:pt x="704" y="1569"/>
                </a:lnTo>
                <a:lnTo>
                  <a:pt x="706" y="1580"/>
                </a:lnTo>
                <a:lnTo>
                  <a:pt x="710" y="1605"/>
                </a:lnTo>
                <a:lnTo>
                  <a:pt x="713" y="1619"/>
                </a:lnTo>
                <a:lnTo>
                  <a:pt x="718" y="1634"/>
                </a:lnTo>
                <a:lnTo>
                  <a:pt x="725" y="1649"/>
                </a:lnTo>
                <a:lnTo>
                  <a:pt x="733" y="1666"/>
                </a:lnTo>
                <a:lnTo>
                  <a:pt x="744" y="1685"/>
                </a:lnTo>
                <a:lnTo>
                  <a:pt x="761" y="1704"/>
                </a:lnTo>
                <a:lnTo>
                  <a:pt x="779" y="1726"/>
                </a:lnTo>
                <a:lnTo>
                  <a:pt x="802" y="1748"/>
                </a:lnTo>
                <a:lnTo>
                  <a:pt x="802" y="1748"/>
                </a:lnTo>
                <a:lnTo>
                  <a:pt x="802" y="1748"/>
                </a:lnTo>
                <a:lnTo>
                  <a:pt x="802" y="174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9" name="Freeform 104"/>
          <p:cNvSpPr>
            <a:spLocks/>
          </p:cNvSpPr>
          <p:nvPr/>
        </p:nvSpPr>
        <p:spPr bwMode="auto">
          <a:xfrm>
            <a:off x="4087813" y="3030538"/>
            <a:ext cx="44450" cy="50800"/>
          </a:xfrm>
          <a:custGeom>
            <a:avLst/>
            <a:gdLst/>
            <a:ahLst/>
            <a:cxnLst>
              <a:cxn ang="0">
                <a:pos x="44" y="25"/>
              </a:cxn>
              <a:cxn ang="0">
                <a:pos x="44" y="25"/>
              </a:cxn>
              <a:cxn ang="0">
                <a:pos x="41" y="25"/>
              </a:cxn>
              <a:cxn ang="0">
                <a:pos x="39" y="23"/>
              </a:cxn>
              <a:cxn ang="0">
                <a:pos x="38" y="21"/>
              </a:cxn>
              <a:cxn ang="0">
                <a:pos x="36" y="17"/>
              </a:cxn>
              <a:cxn ang="0">
                <a:pos x="36" y="8"/>
              </a:cxn>
              <a:cxn ang="0">
                <a:pos x="38" y="0"/>
              </a:cxn>
              <a:cxn ang="0">
                <a:pos x="38" y="0"/>
              </a:cxn>
              <a:cxn ang="0">
                <a:pos x="27" y="5"/>
              </a:cxn>
              <a:cxn ang="0">
                <a:pos x="15" y="13"/>
              </a:cxn>
              <a:cxn ang="0">
                <a:pos x="9" y="17"/>
              </a:cxn>
              <a:cxn ang="0">
                <a:pos x="4" y="23"/>
              </a:cxn>
              <a:cxn ang="0">
                <a:pos x="1" y="28"/>
              </a:cxn>
              <a:cxn ang="0">
                <a:pos x="0" y="33"/>
              </a:cxn>
              <a:cxn ang="0">
                <a:pos x="0" y="33"/>
              </a:cxn>
              <a:cxn ang="0">
                <a:pos x="1" y="37"/>
              </a:cxn>
              <a:cxn ang="0">
                <a:pos x="2" y="40"/>
              </a:cxn>
              <a:cxn ang="0">
                <a:pos x="5" y="46"/>
              </a:cxn>
              <a:cxn ang="0">
                <a:pos x="11" y="51"/>
              </a:cxn>
              <a:cxn ang="0">
                <a:pos x="18" y="54"/>
              </a:cxn>
              <a:cxn ang="0">
                <a:pos x="26" y="56"/>
              </a:cxn>
              <a:cxn ang="0">
                <a:pos x="34" y="57"/>
              </a:cxn>
              <a:cxn ang="0">
                <a:pos x="52" y="59"/>
              </a:cxn>
              <a:cxn ang="0">
                <a:pos x="52" y="59"/>
              </a:cxn>
              <a:cxn ang="0">
                <a:pos x="52" y="37"/>
              </a:cxn>
              <a:cxn ang="0">
                <a:pos x="52" y="37"/>
              </a:cxn>
              <a:cxn ang="0">
                <a:pos x="52" y="37"/>
              </a:cxn>
              <a:cxn ang="0">
                <a:pos x="50" y="37"/>
              </a:cxn>
              <a:cxn ang="0">
                <a:pos x="49" y="36"/>
              </a:cxn>
              <a:cxn ang="0">
                <a:pos x="48" y="31"/>
              </a:cxn>
              <a:cxn ang="0">
                <a:pos x="47" y="28"/>
              </a:cxn>
              <a:cxn ang="0">
                <a:pos x="46" y="26"/>
              </a:cxn>
              <a:cxn ang="0">
                <a:pos x="44" y="25"/>
              </a:cxn>
              <a:cxn ang="0">
                <a:pos x="44" y="25"/>
              </a:cxn>
              <a:cxn ang="0">
                <a:pos x="44" y="25"/>
              </a:cxn>
            </a:cxnLst>
            <a:rect l="0" t="0" r="r" b="b"/>
            <a:pathLst>
              <a:path w="52" h="59">
                <a:moveTo>
                  <a:pt x="44" y="25"/>
                </a:moveTo>
                <a:lnTo>
                  <a:pt x="44" y="25"/>
                </a:lnTo>
                <a:lnTo>
                  <a:pt x="41" y="25"/>
                </a:lnTo>
                <a:lnTo>
                  <a:pt x="39" y="23"/>
                </a:lnTo>
                <a:lnTo>
                  <a:pt x="38" y="21"/>
                </a:lnTo>
                <a:lnTo>
                  <a:pt x="36" y="17"/>
                </a:lnTo>
                <a:lnTo>
                  <a:pt x="36" y="8"/>
                </a:lnTo>
                <a:lnTo>
                  <a:pt x="38" y="0"/>
                </a:lnTo>
                <a:lnTo>
                  <a:pt x="38" y="0"/>
                </a:lnTo>
                <a:lnTo>
                  <a:pt x="27" y="5"/>
                </a:lnTo>
                <a:lnTo>
                  <a:pt x="15" y="13"/>
                </a:lnTo>
                <a:lnTo>
                  <a:pt x="9" y="17"/>
                </a:lnTo>
                <a:lnTo>
                  <a:pt x="4" y="23"/>
                </a:lnTo>
                <a:lnTo>
                  <a:pt x="1" y="28"/>
                </a:lnTo>
                <a:lnTo>
                  <a:pt x="0" y="33"/>
                </a:lnTo>
                <a:lnTo>
                  <a:pt x="0" y="33"/>
                </a:lnTo>
                <a:lnTo>
                  <a:pt x="1" y="37"/>
                </a:lnTo>
                <a:lnTo>
                  <a:pt x="2" y="40"/>
                </a:lnTo>
                <a:lnTo>
                  <a:pt x="5" y="46"/>
                </a:lnTo>
                <a:lnTo>
                  <a:pt x="11" y="51"/>
                </a:lnTo>
                <a:lnTo>
                  <a:pt x="18" y="54"/>
                </a:lnTo>
                <a:lnTo>
                  <a:pt x="26" y="56"/>
                </a:lnTo>
                <a:lnTo>
                  <a:pt x="34" y="57"/>
                </a:lnTo>
                <a:lnTo>
                  <a:pt x="52" y="59"/>
                </a:lnTo>
                <a:lnTo>
                  <a:pt x="52" y="59"/>
                </a:lnTo>
                <a:lnTo>
                  <a:pt x="52" y="37"/>
                </a:lnTo>
                <a:lnTo>
                  <a:pt x="52" y="37"/>
                </a:lnTo>
                <a:lnTo>
                  <a:pt x="52" y="37"/>
                </a:lnTo>
                <a:lnTo>
                  <a:pt x="50" y="37"/>
                </a:lnTo>
                <a:lnTo>
                  <a:pt x="49" y="36"/>
                </a:lnTo>
                <a:lnTo>
                  <a:pt x="48" y="31"/>
                </a:lnTo>
                <a:lnTo>
                  <a:pt x="47" y="28"/>
                </a:lnTo>
                <a:lnTo>
                  <a:pt x="46" y="26"/>
                </a:lnTo>
                <a:lnTo>
                  <a:pt x="44" y="25"/>
                </a:lnTo>
                <a:lnTo>
                  <a:pt x="44" y="25"/>
                </a:lnTo>
                <a:lnTo>
                  <a:pt x="44" y="2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0" name="Freeform 105"/>
          <p:cNvSpPr>
            <a:spLocks/>
          </p:cNvSpPr>
          <p:nvPr/>
        </p:nvSpPr>
        <p:spPr bwMode="auto">
          <a:xfrm>
            <a:off x="6145213" y="2222500"/>
            <a:ext cx="28575" cy="46038"/>
          </a:xfrm>
          <a:custGeom>
            <a:avLst/>
            <a:gdLst/>
            <a:ahLst/>
            <a:cxnLst>
              <a:cxn ang="0">
                <a:pos x="30" y="0"/>
              </a:cxn>
              <a:cxn ang="0">
                <a:pos x="30" y="0"/>
              </a:cxn>
              <a:cxn ang="0">
                <a:pos x="11" y="0"/>
              </a:cxn>
              <a:cxn ang="0">
                <a:pos x="11" y="0"/>
              </a:cxn>
              <a:cxn ang="0">
                <a:pos x="8" y="0"/>
              </a:cxn>
              <a:cxn ang="0">
                <a:pos x="4" y="2"/>
              </a:cxn>
              <a:cxn ang="0">
                <a:pos x="1" y="6"/>
              </a:cxn>
              <a:cxn ang="0">
                <a:pos x="0" y="10"/>
              </a:cxn>
              <a:cxn ang="0">
                <a:pos x="0" y="10"/>
              </a:cxn>
              <a:cxn ang="0">
                <a:pos x="1" y="15"/>
              </a:cxn>
              <a:cxn ang="0">
                <a:pos x="2" y="22"/>
              </a:cxn>
              <a:cxn ang="0">
                <a:pos x="4" y="27"/>
              </a:cxn>
              <a:cxn ang="0">
                <a:pos x="8" y="34"/>
              </a:cxn>
              <a:cxn ang="0">
                <a:pos x="11" y="40"/>
              </a:cxn>
              <a:cxn ang="0">
                <a:pos x="16" y="46"/>
              </a:cxn>
              <a:cxn ang="0">
                <a:pos x="20" y="49"/>
              </a:cxn>
              <a:cxn ang="0">
                <a:pos x="25" y="50"/>
              </a:cxn>
              <a:cxn ang="0">
                <a:pos x="25" y="50"/>
              </a:cxn>
              <a:cxn ang="0">
                <a:pos x="28" y="50"/>
              </a:cxn>
              <a:cxn ang="0">
                <a:pos x="31" y="48"/>
              </a:cxn>
              <a:cxn ang="0">
                <a:pos x="34" y="42"/>
              </a:cxn>
              <a:cxn ang="0">
                <a:pos x="35" y="37"/>
              </a:cxn>
              <a:cxn ang="0">
                <a:pos x="36" y="32"/>
              </a:cxn>
              <a:cxn ang="0">
                <a:pos x="36" y="32"/>
              </a:cxn>
              <a:cxn ang="0">
                <a:pos x="36" y="25"/>
              </a:cxn>
              <a:cxn ang="0">
                <a:pos x="34" y="19"/>
              </a:cxn>
              <a:cxn ang="0">
                <a:pos x="30" y="10"/>
              </a:cxn>
              <a:cxn ang="0">
                <a:pos x="30" y="10"/>
              </a:cxn>
              <a:cxn ang="0">
                <a:pos x="30" y="0"/>
              </a:cxn>
              <a:cxn ang="0">
                <a:pos x="30" y="0"/>
              </a:cxn>
            </a:cxnLst>
            <a:rect l="0" t="0" r="r" b="b"/>
            <a:pathLst>
              <a:path w="36" h="50">
                <a:moveTo>
                  <a:pt x="30" y="0"/>
                </a:moveTo>
                <a:lnTo>
                  <a:pt x="30" y="0"/>
                </a:lnTo>
                <a:lnTo>
                  <a:pt x="11" y="0"/>
                </a:lnTo>
                <a:lnTo>
                  <a:pt x="11" y="0"/>
                </a:lnTo>
                <a:lnTo>
                  <a:pt x="8" y="0"/>
                </a:lnTo>
                <a:lnTo>
                  <a:pt x="4" y="2"/>
                </a:lnTo>
                <a:lnTo>
                  <a:pt x="1" y="6"/>
                </a:lnTo>
                <a:lnTo>
                  <a:pt x="0" y="10"/>
                </a:lnTo>
                <a:lnTo>
                  <a:pt x="0" y="10"/>
                </a:lnTo>
                <a:lnTo>
                  <a:pt x="1" y="15"/>
                </a:lnTo>
                <a:lnTo>
                  <a:pt x="2" y="22"/>
                </a:lnTo>
                <a:lnTo>
                  <a:pt x="4" y="27"/>
                </a:lnTo>
                <a:lnTo>
                  <a:pt x="8" y="34"/>
                </a:lnTo>
                <a:lnTo>
                  <a:pt x="11" y="40"/>
                </a:lnTo>
                <a:lnTo>
                  <a:pt x="16" y="46"/>
                </a:lnTo>
                <a:lnTo>
                  <a:pt x="20" y="49"/>
                </a:lnTo>
                <a:lnTo>
                  <a:pt x="25" y="50"/>
                </a:lnTo>
                <a:lnTo>
                  <a:pt x="25" y="50"/>
                </a:lnTo>
                <a:lnTo>
                  <a:pt x="28" y="50"/>
                </a:lnTo>
                <a:lnTo>
                  <a:pt x="31" y="48"/>
                </a:lnTo>
                <a:lnTo>
                  <a:pt x="34" y="42"/>
                </a:lnTo>
                <a:lnTo>
                  <a:pt x="35" y="37"/>
                </a:lnTo>
                <a:lnTo>
                  <a:pt x="36" y="32"/>
                </a:lnTo>
                <a:lnTo>
                  <a:pt x="36" y="32"/>
                </a:lnTo>
                <a:lnTo>
                  <a:pt x="36" y="25"/>
                </a:lnTo>
                <a:lnTo>
                  <a:pt x="34" y="19"/>
                </a:lnTo>
                <a:lnTo>
                  <a:pt x="30" y="10"/>
                </a:lnTo>
                <a:lnTo>
                  <a:pt x="30" y="10"/>
                </a:lnTo>
                <a:lnTo>
                  <a:pt x="30" y="0"/>
                </a:lnTo>
                <a:lnTo>
                  <a:pt x="3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1" name="Freeform 106"/>
          <p:cNvSpPr>
            <a:spLocks/>
          </p:cNvSpPr>
          <p:nvPr/>
        </p:nvSpPr>
        <p:spPr bwMode="auto">
          <a:xfrm>
            <a:off x="5894388" y="2165350"/>
            <a:ext cx="38100" cy="57150"/>
          </a:xfrm>
          <a:custGeom>
            <a:avLst/>
            <a:gdLst/>
            <a:ahLst/>
            <a:cxnLst>
              <a:cxn ang="0">
                <a:pos x="37" y="29"/>
              </a:cxn>
              <a:cxn ang="0">
                <a:pos x="37" y="29"/>
              </a:cxn>
              <a:cxn ang="0">
                <a:pos x="35" y="29"/>
              </a:cxn>
              <a:cxn ang="0">
                <a:pos x="35" y="28"/>
              </a:cxn>
              <a:cxn ang="0">
                <a:pos x="35" y="25"/>
              </a:cxn>
              <a:cxn ang="0">
                <a:pos x="34" y="22"/>
              </a:cxn>
              <a:cxn ang="0">
                <a:pos x="33" y="18"/>
              </a:cxn>
              <a:cxn ang="0">
                <a:pos x="33" y="18"/>
              </a:cxn>
              <a:cxn ang="0">
                <a:pos x="31" y="16"/>
              </a:cxn>
              <a:cxn ang="0">
                <a:pos x="27" y="13"/>
              </a:cxn>
              <a:cxn ang="0">
                <a:pos x="19" y="8"/>
              </a:cxn>
              <a:cxn ang="0">
                <a:pos x="9" y="4"/>
              </a:cxn>
              <a:cxn ang="0">
                <a:pos x="0" y="0"/>
              </a:cxn>
              <a:cxn ang="0">
                <a:pos x="0" y="0"/>
              </a:cxn>
              <a:cxn ang="0">
                <a:pos x="0" y="12"/>
              </a:cxn>
              <a:cxn ang="0">
                <a:pos x="0" y="12"/>
              </a:cxn>
              <a:cxn ang="0">
                <a:pos x="1" y="16"/>
              </a:cxn>
              <a:cxn ang="0">
                <a:pos x="4" y="24"/>
              </a:cxn>
              <a:cxn ang="0">
                <a:pos x="14" y="43"/>
              </a:cxn>
              <a:cxn ang="0">
                <a:pos x="25" y="60"/>
              </a:cxn>
              <a:cxn ang="0">
                <a:pos x="30" y="64"/>
              </a:cxn>
              <a:cxn ang="0">
                <a:pos x="33" y="67"/>
              </a:cxn>
              <a:cxn ang="0">
                <a:pos x="33" y="67"/>
              </a:cxn>
              <a:cxn ang="0">
                <a:pos x="37" y="66"/>
              </a:cxn>
              <a:cxn ang="0">
                <a:pos x="39" y="64"/>
              </a:cxn>
              <a:cxn ang="0">
                <a:pos x="41" y="62"/>
              </a:cxn>
              <a:cxn ang="0">
                <a:pos x="42" y="60"/>
              </a:cxn>
              <a:cxn ang="0">
                <a:pos x="43" y="55"/>
              </a:cxn>
              <a:cxn ang="0">
                <a:pos x="45" y="52"/>
              </a:cxn>
              <a:cxn ang="0">
                <a:pos x="45" y="52"/>
              </a:cxn>
              <a:cxn ang="0">
                <a:pos x="42" y="39"/>
              </a:cxn>
              <a:cxn ang="0">
                <a:pos x="40" y="32"/>
              </a:cxn>
              <a:cxn ang="0">
                <a:pos x="39" y="30"/>
              </a:cxn>
              <a:cxn ang="0">
                <a:pos x="37" y="29"/>
              </a:cxn>
              <a:cxn ang="0">
                <a:pos x="37" y="29"/>
              </a:cxn>
              <a:cxn ang="0">
                <a:pos x="37" y="29"/>
              </a:cxn>
            </a:cxnLst>
            <a:rect l="0" t="0" r="r" b="b"/>
            <a:pathLst>
              <a:path w="45" h="67">
                <a:moveTo>
                  <a:pt x="37" y="29"/>
                </a:moveTo>
                <a:lnTo>
                  <a:pt x="37" y="29"/>
                </a:lnTo>
                <a:lnTo>
                  <a:pt x="35" y="29"/>
                </a:lnTo>
                <a:lnTo>
                  <a:pt x="35" y="28"/>
                </a:lnTo>
                <a:lnTo>
                  <a:pt x="35" y="25"/>
                </a:lnTo>
                <a:lnTo>
                  <a:pt x="34" y="22"/>
                </a:lnTo>
                <a:lnTo>
                  <a:pt x="33" y="18"/>
                </a:lnTo>
                <a:lnTo>
                  <a:pt x="33" y="18"/>
                </a:lnTo>
                <a:lnTo>
                  <a:pt x="31" y="16"/>
                </a:lnTo>
                <a:lnTo>
                  <a:pt x="27" y="13"/>
                </a:lnTo>
                <a:lnTo>
                  <a:pt x="19" y="8"/>
                </a:lnTo>
                <a:lnTo>
                  <a:pt x="9" y="4"/>
                </a:lnTo>
                <a:lnTo>
                  <a:pt x="0" y="0"/>
                </a:lnTo>
                <a:lnTo>
                  <a:pt x="0" y="0"/>
                </a:lnTo>
                <a:lnTo>
                  <a:pt x="0" y="12"/>
                </a:lnTo>
                <a:lnTo>
                  <a:pt x="0" y="12"/>
                </a:lnTo>
                <a:lnTo>
                  <a:pt x="1" y="16"/>
                </a:lnTo>
                <a:lnTo>
                  <a:pt x="4" y="24"/>
                </a:lnTo>
                <a:lnTo>
                  <a:pt x="14" y="43"/>
                </a:lnTo>
                <a:lnTo>
                  <a:pt x="25" y="60"/>
                </a:lnTo>
                <a:lnTo>
                  <a:pt x="30" y="64"/>
                </a:lnTo>
                <a:lnTo>
                  <a:pt x="33" y="67"/>
                </a:lnTo>
                <a:lnTo>
                  <a:pt x="33" y="67"/>
                </a:lnTo>
                <a:lnTo>
                  <a:pt x="37" y="66"/>
                </a:lnTo>
                <a:lnTo>
                  <a:pt x="39" y="64"/>
                </a:lnTo>
                <a:lnTo>
                  <a:pt x="41" y="62"/>
                </a:lnTo>
                <a:lnTo>
                  <a:pt x="42" y="60"/>
                </a:lnTo>
                <a:lnTo>
                  <a:pt x="43" y="55"/>
                </a:lnTo>
                <a:lnTo>
                  <a:pt x="45" y="52"/>
                </a:lnTo>
                <a:lnTo>
                  <a:pt x="45" y="52"/>
                </a:lnTo>
                <a:lnTo>
                  <a:pt x="42" y="39"/>
                </a:lnTo>
                <a:lnTo>
                  <a:pt x="40" y="32"/>
                </a:lnTo>
                <a:lnTo>
                  <a:pt x="39" y="30"/>
                </a:lnTo>
                <a:lnTo>
                  <a:pt x="37" y="29"/>
                </a:lnTo>
                <a:lnTo>
                  <a:pt x="37" y="29"/>
                </a:lnTo>
                <a:lnTo>
                  <a:pt x="37" y="2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2" name="Freeform 107"/>
          <p:cNvSpPr>
            <a:spLocks/>
          </p:cNvSpPr>
          <p:nvPr/>
        </p:nvSpPr>
        <p:spPr bwMode="auto">
          <a:xfrm>
            <a:off x="2058988" y="4665663"/>
            <a:ext cx="476250" cy="692150"/>
          </a:xfrm>
          <a:custGeom>
            <a:avLst/>
            <a:gdLst/>
            <a:ahLst/>
            <a:cxnLst>
              <a:cxn ang="0">
                <a:pos x="329" y="679"/>
              </a:cxn>
              <a:cxn ang="0">
                <a:pos x="372" y="621"/>
              </a:cxn>
              <a:cxn ang="0">
                <a:pos x="392" y="559"/>
              </a:cxn>
              <a:cxn ang="0">
                <a:pos x="454" y="516"/>
              </a:cxn>
              <a:cxn ang="0">
                <a:pos x="482" y="524"/>
              </a:cxn>
              <a:cxn ang="0">
                <a:pos x="503" y="512"/>
              </a:cxn>
              <a:cxn ang="0">
                <a:pos x="541" y="423"/>
              </a:cxn>
              <a:cxn ang="0">
                <a:pos x="478" y="437"/>
              </a:cxn>
              <a:cxn ang="0">
                <a:pos x="417" y="426"/>
              </a:cxn>
              <a:cxn ang="0">
                <a:pos x="380" y="420"/>
              </a:cxn>
              <a:cxn ang="0">
                <a:pos x="354" y="396"/>
              </a:cxn>
              <a:cxn ang="0">
                <a:pos x="344" y="323"/>
              </a:cxn>
              <a:cxn ang="0">
                <a:pos x="380" y="287"/>
              </a:cxn>
              <a:cxn ang="0">
                <a:pos x="420" y="291"/>
              </a:cxn>
              <a:cxn ang="0">
                <a:pos x="425" y="316"/>
              </a:cxn>
              <a:cxn ang="0">
                <a:pos x="405" y="342"/>
              </a:cxn>
              <a:cxn ang="0">
                <a:pos x="439" y="342"/>
              </a:cxn>
              <a:cxn ang="0">
                <a:pos x="458" y="370"/>
              </a:cxn>
              <a:cxn ang="0">
                <a:pos x="480" y="363"/>
              </a:cxn>
              <a:cxn ang="0">
                <a:pos x="529" y="344"/>
              </a:cxn>
              <a:cxn ang="0">
                <a:pos x="568" y="331"/>
              </a:cxn>
              <a:cxn ang="0">
                <a:pos x="557" y="279"/>
              </a:cxn>
              <a:cxn ang="0">
                <a:pos x="573" y="229"/>
              </a:cxn>
              <a:cxn ang="0">
                <a:pos x="577" y="214"/>
              </a:cxn>
              <a:cxn ang="0">
                <a:pos x="553" y="224"/>
              </a:cxn>
              <a:cxn ang="0">
                <a:pos x="471" y="183"/>
              </a:cxn>
              <a:cxn ang="0">
                <a:pos x="447" y="144"/>
              </a:cxn>
              <a:cxn ang="0">
                <a:pos x="423" y="145"/>
              </a:cxn>
              <a:cxn ang="0">
                <a:pos x="398" y="138"/>
              </a:cxn>
              <a:cxn ang="0">
                <a:pos x="396" y="104"/>
              </a:cxn>
              <a:cxn ang="0">
                <a:pos x="374" y="88"/>
              </a:cxn>
              <a:cxn ang="0">
                <a:pos x="354" y="70"/>
              </a:cxn>
              <a:cxn ang="0">
                <a:pos x="323" y="61"/>
              </a:cxn>
              <a:cxn ang="0">
                <a:pos x="282" y="39"/>
              </a:cxn>
              <a:cxn ang="0">
                <a:pos x="259" y="0"/>
              </a:cxn>
              <a:cxn ang="0">
                <a:pos x="188" y="39"/>
              </a:cxn>
              <a:cxn ang="0">
                <a:pos x="159" y="47"/>
              </a:cxn>
              <a:cxn ang="0">
                <a:pos x="178" y="92"/>
              </a:cxn>
              <a:cxn ang="0">
                <a:pos x="157" y="114"/>
              </a:cxn>
              <a:cxn ang="0">
                <a:pos x="60" y="129"/>
              </a:cxn>
              <a:cxn ang="0">
                <a:pos x="75" y="163"/>
              </a:cxn>
              <a:cxn ang="0">
                <a:pos x="67" y="195"/>
              </a:cxn>
              <a:cxn ang="0">
                <a:pos x="12" y="246"/>
              </a:cxn>
              <a:cxn ang="0">
                <a:pos x="0" y="284"/>
              </a:cxn>
              <a:cxn ang="0">
                <a:pos x="7" y="373"/>
              </a:cxn>
              <a:cxn ang="0">
                <a:pos x="48" y="463"/>
              </a:cxn>
              <a:cxn ang="0">
                <a:pos x="60" y="533"/>
              </a:cxn>
              <a:cxn ang="0">
                <a:pos x="65" y="592"/>
              </a:cxn>
              <a:cxn ang="0">
                <a:pos x="88" y="588"/>
              </a:cxn>
              <a:cxn ang="0">
                <a:pos x="109" y="584"/>
              </a:cxn>
              <a:cxn ang="0">
                <a:pos x="130" y="618"/>
              </a:cxn>
              <a:cxn ang="0">
                <a:pos x="118" y="634"/>
              </a:cxn>
              <a:cxn ang="0">
                <a:pos x="90" y="655"/>
              </a:cxn>
              <a:cxn ang="0">
                <a:pos x="109" y="681"/>
              </a:cxn>
              <a:cxn ang="0">
                <a:pos x="106" y="713"/>
              </a:cxn>
              <a:cxn ang="0">
                <a:pos x="94" y="739"/>
              </a:cxn>
              <a:cxn ang="0">
                <a:pos x="144" y="768"/>
              </a:cxn>
              <a:cxn ang="0">
                <a:pos x="173" y="757"/>
              </a:cxn>
              <a:cxn ang="0">
                <a:pos x="195" y="763"/>
              </a:cxn>
              <a:cxn ang="0">
                <a:pos x="229" y="793"/>
              </a:cxn>
              <a:cxn ang="0">
                <a:pos x="260" y="787"/>
              </a:cxn>
              <a:cxn ang="0">
                <a:pos x="318" y="732"/>
              </a:cxn>
            </a:cxnLst>
            <a:rect l="0" t="0" r="r" b="b"/>
            <a:pathLst>
              <a:path w="583" h="794">
                <a:moveTo>
                  <a:pt x="314" y="717"/>
                </a:moveTo>
                <a:lnTo>
                  <a:pt x="314" y="717"/>
                </a:lnTo>
                <a:lnTo>
                  <a:pt x="316" y="705"/>
                </a:lnTo>
                <a:lnTo>
                  <a:pt x="318" y="695"/>
                </a:lnTo>
                <a:lnTo>
                  <a:pt x="323" y="687"/>
                </a:lnTo>
                <a:lnTo>
                  <a:pt x="329" y="679"/>
                </a:lnTo>
                <a:lnTo>
                  <a:pt x="343" y="664"/>
                </a:lnTo>
                <a:lnTo>
                  <a:pt x="351" y="656"/>
                </a:lnTo>
                <a:lnTo>
                  <a:pt x="358" y="648"/>
                </a:lnTo>
                <a:lnTo>
                  <a:pt x="358" y="648"/>
                </a:lnTo>
                <a:lnTo>
                  <a:pt x="367" y="633"/>
                </a:lnTo>
                <a:lnTo>
                  <a:pt x="372" y="621"/>
                </a:lnTo>
                <a:lnTo>
                  <a:pt x="374" y="611"/>
                </a:lnTo>
                <a:lnTo>
                  <a:pt x="375" y="602"/>
                </a:lnTo>
                <a:lnTo>
                  <a:pt x="377" y="592"/>
                </a:lnTo>
                <a:lnTo>
                  <a:pt x="379" y="582"/>
                </a:lnTo>
                <a:lnTo>
                  <a:pt x="384" y="572"/>
                </a:lnTo>
                <a:lnTo>
                  <a:pt x="392" y="559"/>
                </a:lnTo>
                <a:lnTo>
                  <a:pt x="392" y="559"/>
                </a:lnTo>
                <a:lnTo>
                  <a:pt x="403" y="549"/>
                </a:lnTo>
                <a:lnTo>
                  <a:pt x="423" y="534"/>
                </a:lnTo>
                <a:lnTo>
                  <a:pt x="434" y="527"/>
                </a:lnTo>
                <a:lnTo>
                  <a:pt x="445" y="521"/>
                </a:lnTo>
                <a:lnTo>
                  <a:pt x="454" y="516"/>
                </a:lnTo>
                <a:lnTo>
                  <a:pt x="461" y="515"/>
                </a:lnTo>
                <a:lnTo>
                  <a:pt x="461" y="515"/>
                </a:lnTo>
                <a:lnTo>
                  <a:pt x="465" y="515"/>
                </a:lnTo>
                <a:lnTo>
                  <a:pt x="469" y="516"/>
                </a:lnTo>
                <a:lnTo>
                  <a:pt x="476" y="520"/>
                </a:lnTo>
                <a:lnTo>
                  <a:pt x="482" y="524"/>
                </a:lnTo>
                <a:lnTo>
                  <a:pt x="486" y="526"/>
                </a:lnTo>
                <a:lnTo>
                  <a:pt x="491" y="526"/>
                </a:lnTo>
                <a:lnTo>
                  <a:pt x="491" y="526"/>
                </a:lnTo>
                <a:lnTo>
                  <a:pt x="493" y="524"/>
                </a:lnTo>
                <a:lnTo>
                  <a:pt x="495" y="522"/>
                </a:lnTo>
                <a:lnTo>
                  <a:pt x="503" y="512"/>
                </a:lnTo>
                <a:lnTo>
                  <a:pt x="511" y="496"/>
                </a:lnTo>
                <a:lnTo>
                  <a:pt x="520" y="478"/>
                </a:lnTo>
                <a:lnTo>
                  <a:pt x="535" y="444"/>
                </a:lnTo>
                <a:lnTo>
                  <a:pt x="540" y="430"/>
                </a:lnTo>
                <a:lnTo>
                  <a:pt x="541" y="423"/>
                </a:lnTo>
                <a:lnTo>
                  <a:pt x="541" y="423"/>
                </a:lnTo>
                <a:lnTo>
                  <a:pt x="524" y="423"/>
                </a:lnTo>
                <a:lnTo>
                  <a:pt x="524" y="423"/>
                </a:lnTo>
                <a:lnTo>
                  <a:pt x="524" y="423"/>
                </a:lnTo>
                <a:lnTo>
                  <a:pt x="512" y="428"/>
                </a:lnTo>
                <a:lnTo>
                  <a:pt x="497" y="434"/>
                </a:lnTo>
                <a:lnTo>
                  <a:pt x="478" y="437"/>
                </a:lnTo>
                <a:lnTo>
                  <a:pt x="457" y="438"/>
                </a:lnTo>
                <a:lnTo>
                  <a:pt x="457" y="438"/>
                </a:lnTo>
                <a:lnTo>
                  <a:pt x="448" y="437"/>
                </a:lnTo>
                <a:lnTo>
                  <a:pt x="441" y="436"/>
                </a:lnTo>
                <a:lnTo>
                  <a:pt x="428" y="430"/>
                </a:lnTo>
                <a:lnTo>
                  <a:pt x="417" y="426"/>
                </a:lnTo>
                <a:lnTo>
                  <a:pt x="410" y="423"/>
                </a:lnTo>
                <a:lnTo>
                  <a:pt x="402" y="423"/>
                </a:lnTo>
                <a:lnTo>
                  <a:pt x="402" y="423"/>
                </a:lnTo>
                <a:lnTo>
                  <a:pt x="394" y="423"/>
                </a:lnTo>
                <a:lnTo>
                  <a:pt x="387" y="422"/>
                </a:lnTo>
                <a:lnTo>
                  <a:pt x="380" y="420"/>
                </a:lnTo>
                <a:lnTo>
                  <a:pt x="374" y="417"/>
                </a:lnTo>
                <a:lnTo>
                  <a:pt x="369" y="414"/>
                </a:lnTo>
                <a:lnTo>
                  <a:pt x="364" y="411"/>
                </a:lnTo>
                <a:lnTo>
                  <a:pt x="361" y="406"/>
                </a:lnTo>
                <a:lnTo>
                  <a:pt x="356" y="401"/>
                </a:lnTo>
                <a:lnTo>
                  <a:pt x="354" y="396"/>
                </a:lnTo>
                <a:lnTo>
                  <a:pt x="350" y="389"/>
                </a:lnTo>
                <a:lnTo>
                  <a:pt x="347" y="374"/>
                </a:lnTo>
                <a:lnTo>
                  <a:pt x="344" y="355"/>
                </a:lnTo>
                <a:lnTo>
                  <a:pt x="343" y="335"/>
                </a:lnTo>
                <a:lnTo>
                  <a:pt x="343" y="335"/>
                </a:lnTo>
                <a:lnTo>
                  <a:pt x="344" y="323"/>
                </a:lnTo>
                <a:lnTo>
                  <a:pt x="347" y="313"/>
                </a:lnTo>
                <a:lnTo>
                  <a:pt x="350" y="305"/>
                </a:lnTo>
                <a:lnTo>
                  <a:pt x="355" y="298"/>
                </a:lnTo>
                <a:lnTo>
                  <a:pt x="362" y="293"/>
                </a:lnTo>
                <a:lnTo>
                  <a:pt x="370" y="290"/>
                </a:lnTo>
                <a:lnTo>
                  <a:pt x="380" y="287"/>
                </a:lnTo>
                <a:lnTo>
                  <a:pt x="392" y="286"/>
                </a:lnTo>
                <a:lnTo>
                  <a:pt x="392" y="286"/>
                </a:lnTo>
                <a:lnTo>
                  <a:pt x="403" y="287"/>
                </a:lnTo>
                <a:lnTo>
                  <a:pt x="409" y="287"/>
                </a:lnTo>
                <a:lnTo>
                  <a:pt x="415" y="289"/>
                </a:lnTo>
                <a:lnTo>
                  <a:pt x="420" y="291"/>
                </a:lnTo>
                <a:lnTo>
                  <a:pt x="424" y="294"/>
                </a:lnTo>
                <a:lnTo>
                  <a:pt x="426" y="299"/>
                </a:lnTo>
                <a:lnTo>
                  <a:pt x="427" y="306"/>
                </a:lnTo>
                <a:lnTo>
                  <a:pt x="427" y="306"/>
                </a:lnTo>
                <a:lnTo>
                  <a:pt x="427" y="312"/>
                </a:lnTo>
                <a:lnTo>
                  <a:pt x="425" y="316"/>
                </a:lnTo>
                <a:lnTo>
                  <a:pt x="423" y="320"/>
                </a:lnTo>
                <a:lnTo>
                  <a:pt x="419" y="323"/>
                </a:lnTo>
                <a:lnTo>
                  <a:pt x="412" y="331"/>
                </a:lnTo>
                <a:lnTo>
                  <a:pt x="409" y="336"/>
                </a:lnTo>
                <a:lnTo>
                  <a:pt x="405" y="342"/>
                </a:lnTo>
                <a:lnTo>
                  <a:pt x="405" y="342"/>
                </a:lnTo>
                <a:lnTo>
                  <a:pt x="411" y="344"/>
                </a:lnTo>
                <a:lnTo>
                  <a:pt x="415" y="345"/>
                </a:lnTo>
                <a:lnTo>
                  <a:pt x="419" y="345"/>
                </a:lnTo>
                <a:lnTo>
                  <a:pt x="423" y="345"/>
                </a:lnTo>
                <a:lnTo>
                  <a:pt x="430" y="343"/>
                </a:lnTo>
                <a:lnTo>
                  <a:pt x="439" y="342"/>
                </a:lnTo>
                <a:lnTo>
                  <a:pt x="439" y="342"/>
                </a:lnTo>
                <a:lnTo>
                  <a:pt x="441" y="350"/>
                </a:lnTo>
                <a:lnTo>
                  <a:pt x="446" y="360"/>
                </a:lnTo>
                <a:lnTo>
                  <a:pt x="449" y="365"/>
                </a:lnTo>
                <a:lnTo>
                  <a:pt x="454" y="368"/>
                </a:lnTo>
                <a:lnTo>
                  <a:pt x="458" y="370"/>
                </a:lnTo>
                <a:lnTo>
                  <a:pt x="464" y="371"/>
                </a:lnTo>
                <a:lnTo>
                  <a:pt x="464" y="371"/>
                </a:lnTo>
                <a:lnTo>
                  <a:pt x="470" y="370"/>
                </a:lnTo>
                <a:lnTo>
                  <a:pt x="473" y="369"/>
                </a:lnTo>
                <a:lnTo>
                  <a:pt x="477" y="367"/>
                </a:lnTo>
                <a:lnTo>
                  <a:pt x="480" y="363"/>
                </a:lnTo>
                <a:lnTo>
                  <a:pt x="481" y="359"/>
                </a:lnTo>
                <a:lnTo>
                  <a:pt x="484" y="354"/>
                </a:lnTo>
                <a:lnTo>
                  <a:pt x="486" y="342"/>
                </a:lnTo>
                <a:lnTo>
                  <a:pt x="486" y="342"/>
                </a:lnTo>
                <a:lnTo>
                  <a:pt x="504" y="343"/>
                </a:lnTo>
                <a:lnTo>
                  <a:pt x="529" y="344"/>
                </a:lnTo>
                <a:lnTo>
                  <a:pt x="540" y="343"/>
                </a:lnTo>
                <a:lnTo>
                  <a:pt x="552" y="340"/>
                </a:lnTo>
                <a:lnTo>
                  <a:pt x="561" y="337"/>
                </a:lnTo>
                <a:lnTo>
                  <a:pt x="564" y="333"/>
                </a:lnTo>
                <a:lnTo>
                  <a:pt x="568" y="331"/>
                </a:lnTo>
                <a:lnTo>
                  <a:pt x="568" y="331"/>
                </a:lnTo>
                <a:lnTo>
                  <a:pt x="563" y="323"/>
                </a:lnTo>
                <a:lnTo>
                  <a:pt x="558" y="315"/>
                </a:lnTo>
                <a:lnTo>
                  <a:pt x="557" y="305"/>
                </a:lnTo>
                <a:lnTo>
                  <a:pt x="556" y="291"/>
                </a:lnTo>
                <a:lnTo>
                  <a:pt x="556" y="291"/>
                </a:lnTo>
                <a:lnTo>
                  <a:pt x="557" y="279"/>
                </a:lnTo>
                <a:lnTo>
                  <a:pt x="560" y="270"/>
                </a:lnTo>
                <a:lnTo>
                  <a:pt x="562" y="261"/>
                </a:lnTo>
                <a:lnTo>
                  <a:pt x="565" y="254"/>
                </a:lnTo>
                <a:lnTo>
                  <a:pt x="569" y="246"/>
                </a:lnTo>
                <a:lnTo>
                  <a:pt x="571" y="238"/>
                </a:lnTo>
                <a:lnTo>
                  <a:pt x="573" y="229"/>
                </a:lnTo>
                <a:lnTo>
                  <a:pt x="575" y="217"/>
                </a:lnTo>
                <a:lnTo>
                  <a:pt x="575" y="217"/>
                </a:lnTo>
                <a:lnTo>
                  <a:pt x="579" y="214"/>
                </a:lnTo>
                <a:lnTo>
                  <a:pt x="583" y="213"/>
                </a:lnTo>
                <a:lnTo>
                  <a:pt x="583" y="213"/>
                </a:lnTo>
                <a:lnTo>
                  <a:pt x="577" y="214"/>
                </a:lnTo>
                <a:lnTo>
                  <a:pt x="572" y="215"/>
                </a:lnTo>
                <a:lnTo>
                  <a:pt x="564" y="218"/>
                </a:lnTo>
                <a:lnTo>
                  <a:pt x="558" y="223"/>
                </a:lnTo>
                <a:lnTo>
                  <a:pt x="555" y="224"/>
                </a:lnTo>
                <a:lnTo>
                  <a:pt x="553" y="224"/>
                </a:lnTo>
                <a:lnTo>
                  <a:pt x="553" y="224"/>
                </a:lnTo>
                <a:lnTo>
                  <a:pt x="546" y="224"/>
                </a:lnTo>
                <a:lnTo>
                  <a:pt x="539" y="222"/>
                </a:lnTo>
                <a:lnTo>
                  <a:pt x="523" y="216"/>
                </a:lnTo>
                <a:lnTo>
                  <a:pt x="504" y="207"/>
                </a:lnTo>
                <a:lnTo>
                  <a:pt x="487" y="195"/>
                </a:lnTo>
                <a:lnTo>
                  <a:pt x="471" y="183"/>
                </a:lnTo>
                <a:lnTo>
                  <a:pt x="458" y="169"/>
                </a:lnTo>
                <a:lnTo>
                  <a:pt x="454" y="162"/>
                </a:lnTo>
                <a:lnTo>
                  <a:pt x="449" y="155"/>
                </a:lnTo>
                <a:lnTo>
                  <a:pt x="447" y="149"/>
                </a:lnTo>
                <a:lnTo>
                  <a:pt x="447" y="144"/>
                </a:lnTo>
                <a:lnTo>
                  <a:pt x="447" y="144"/>
                </a:lnTo>
                <a:lnTo>
                  <a:pt x="443" y="147"/>
                </a:lnTo>
                <a:lnTo>
                  <a:pt x="441" y="148"/>
                </a:lnTo>
                <a:lnTo>
                  <a:pt x="438" y="148"/>
                </a:lnTo>
                <a:lnTo>
                  <a:pt x="434" y="148"/>
                </a:lnTo>
                <a:lnTo>
                  <a:pt x="427" y="145"/>
                </a:lnTo>
                <a:lnTo>
                  <a:pt x="423" y="145"/>
                </a:lnTo>
                <a:lnTo>
                  <a:pt x="417" y="144"/>
                </a:lnTo>
                <a:lnTo>
                  <a:pt x="417" y="144"/>
                </a:lnTo>
                <a:lnTo>
                  <a:pt x="410" y="144"/>
                </a:lnTo>
                <a:lnTo>
                  <a:pt x="405" y="142"/>
                </a:lnTo>
                <a:lnTo>
                  <a:pt x="401" y="140"/>
                </a:lnTo>
                <a:lnTo>
                  <a:pt x="398" y="138"/>
                </a:lnTo>
                <a:lnTo>
                  <a:pt x="396" y="134"/>
                </a:lnTo>
                <a:lnTo>
                  <a:pt x="396" y="131"/>
                </a:lnTo>
                <a:lnTo>
                  <a:pt x="396" y="124"/>
                </a:lnTo>
                <a:lnTo>
                  <a:pt x="396" y="116"/>
                </a:lnTo>
                <a:lnTo>
                  <a:pt x="397" y="108"/>
                </a:lnTo>
                <a:lnTo>
                  <a:pt x="396" y="104"/>
                </a:lnTo>
                <a:lnTo>
                  <a:pt x="396" y="101"/>
                </a:lnTo>
                <a:lnTo>
                  <a:pt x="394" y="99"/>
                </a:lnTo>
                <a:lnTo>
                  <a:pt x="392" y="96"/>
                </a:lnTo>
                <a:lnTo>
                  <a:pt x="392" y="96"/>
                </a:lnTo>
                <a:lnTo>
                  <a:pt x="381" y="91"/>
                </a:lnTo>
                <a:lnTo>
                  <a:pt x="374" y="88"/>
                </a:lnTo>
                <a:lnTo>
                  <a:pt x="370" y="87"/>
                </a:lnTo>
                <a:lnTo>
                  <a:pt x="366" y="87"/>
                </a:lnTo>
                <a:lnTo>
                  <a:pt x="363" y="86"/>
                </a:lnTo>
                <a:lnTo>
                  <a:pt x="361" y="84"/>
                </a:lnTo>
                <a:lnTo>
                  <a:pt x="357" y="79"/>
                </a:lnTo>
                <a:lnTo>
                  <a:pt x="354" y="70"/>
                </a:lnTo>
                <a:lnTo>
                  <a:pt x="354" y="70"/>
                </a:lnTo>
                <a:lnTo>
                  <a:pt x="351" y="67"/>
                </a:lnTo>
                <a:lnTo>
                  <a:pt x="348" y="64"/>
                </a:lnTo>
                <a:lnTo>
                  <a:pt x="342" y="63"/>
                </a:lnTo>
                <a:lnTo>
                  <a:pt x="336" y="62"/>
                </a:lnTo>
                <a:lnTo>
                  <a:pt x="323" y="61"/>
                </a:lnTo>
                <a:lnTo>
                  <a:pt x="310" y="60"/>
                </a:lnTo>
                <a:lnTo>
                  <a:pt x="310" y="60"/>
                </a:lnTo>
                <a:lnTo>
                  <a:pt x="301" y="57"/>
                </a:lnTo>
                <a:lnTo>
                  <a:pt x="294" y="53"/>
                </a:lnTo>
                <a:lnTo>
                  <a:pt x="287" y="47"/>
                </a:lnTo>
                <a:lnTo>
                  <a:pt x="282" y="39"/>
                </a:lnTo>
                <a:lnTo>
                  <a:pt x="278" y="31"/>
                </a:lnTo>
                <a:lnTo>
                  <a:pt x="274" y="22"/>
                </a:lnTo>
                <a:lnTo>
                  <a:pt x="272" y="11"/>
                </a:lnTo>
                <a:lnTo>
                  <a:pt x="270" y="0"/>
                </a:lnTo>
                <a:lnTo>
                  <a:pt x="270" y="0"/>
                </a:lnTo>
                <a:lnTo>
                  <a:pt x="259" y="0"/>
                </a:lnTo>
                <a:lnTo>
                  <a:pt x="259" y="0"/>
                </a:lnTo>
                <a:lnTo>
                  <a:pt x="239" y="15"/>
                </a:lnTo>
                <a:lnTo>
                  <a:pt x="227" y="23"/>
                </a:lnTo>
                <a:lnTo>
                  <a:pt x="214" y="30"/>
                </a:lnTo>
                <a:lnTo>
                  <a:pt x="202" y="35"/>
                </a:lnTo>
                <a:lnTo>
                  <a:pt x="188" y="39"/>
                </a:lnTo>
                <a:lnTo>
                  <a:pt x="181" y="39"/>
                </a:lnTo>
                <a:lnTo>
                  <a:pt x="174" y="40"/>
                </a:lnTo>
                <a:lnTo>
                  <a:pt x="167" y="39"/>
                </a:lnTo>
                <a:lnTo>
                  <a:pt x="159" y="38"/>
                </a:lnTo>
                <a:lnTo>
                  <a:pt x="159" y="38"/>
                </a:lnTo>
                <a:lnTo>
                  <a:pt x="159" y="47"/>
                </a:lnTo>
                <a:lnTo>
                  <a:pt x="160" y="55"/>
                </a:lnTo>
                <a:lnTo>
                  <a:pt x="164" y="62"/>
                </a:lnTo>
                <a:lnTo>
                  <a:pt x="167" y="68"/>
                </a:lnTo>
                <a:lnTo>
                  <a:pt x="174" y="78"/>
                </a:lnTo>
                <a:lnTo>
                  <a:pt x="176" y="85"/>
                </a:lnTo>
                <a:lnTo>
                  <a:pt x="178" y="92"/>
                </a:lnTo>
                <a:lnTo>
                  <a:pt x="178" y="92"/>
                </a:lnTo>
                <a:lnTo>
                  <a:pt x="176" y="98"/>
                </a:lnTo>
                <a:lnTo>
                  <a:pt x="174" y="102"/>
                </a:lnTo>
                <a:lnTo>
                  <a:pt x="170" y="107"/>
                </a:lnTo>
                <a:lnTo>
                  <a:pt x="164" y="110"/>
                </a:lnTo>
                <a:lnTo>
                  <a:pt x="157" y="114"/>
                </a:lnTo>
                <a:lnTo>
                  <a:pt x="149" y="117"/>
                </a:lnTo>
                <a:lnTo>
                  <a:pt x="132" y="122"/>
                </a:lnTo>
                <a:lnTo>
                  <a:pt x="112" y="125"/>
                </a:lnTo>
                <a:lnTo>
                  <a:pt x="92" y="127"/>
                </a:lnTo>
                <a:lnTo>
                  <a:pt x="75" y="129"/>
                </a:lnTo>
                <a:lnTo>
                  <a:pt x="60" y="129"/>
                </a:lnTo>
                <a:lnTo>
                  <a:pt x="60" y="129"/>
                </a:lnTo>
                <a:lnTo>
                  <a:pt x="61" y="134"/>
                </a:lnTo>
                <a:lnTo>
                  <a:pt x="62" y="139"/>
                </a:lnTo>
                <a:lnTo>
                  <a:pt x="68" y="148"/>
                </a:lnTo>
                <a:lnTo>
                  <a:pt x="73" y="157"/>
                </a:lnTo>
                <a:lnTo>
                  <a:pt x="75" y="163"/>
                </a:lnTo>
                <a:lnTo>
                  <a:pt x="75" y="169"/>
                </a:lnTo>
                <a:lnTo>
                  <a:pt x="75" y="169"/>
                </a:lnTo>
                <a:lnTo>
                  <a:pt x="75" y="176"/>
                </a:lnTo>
                <a:lnTo>
                  <a:pt x="73" y="183"/>
                </a:lnTo>
                <a:lnTo>
                  <a:pt x="71" y="190"/>
                </a:lnTo>
                <a:lnTo>
                  <a:pt x="67" y="195"/>
                </a:lnTo>
                <a:lnTo>
                  <a:pt x="62" y="201"/>
                </a:lnTo>
                <a:lnTo>
                  <a:pt x="57" y="206"/>
                </a:lnTo>
                <a:lnTo>
                  <a:pt x="46" y="215"/>
                </a:lnTo>
                <a:lnTo>
                  <a:pt x="25" y="232"/>
                </a:lnTo>
                <a:lnTo>
                  <a:pt x="15" y="241"/>
                </a:lnTo>
                <a:lnTo>
                  <a:pt x="12" y="246"/>
                </a:lnTo>
                <a:lnTo>
                  <a:pt x="8" y="251"/>
                </a:lnTo>
                <a:lnTo>
                  <a:pt x="8" y="251"/>
                </a:lnTo>
                <a:lnTo>
                  <a:pt x="4" y="259"/>
                </a:lnTo>
                <a:lnTo>
                  <a:pt x="2" y="267"/>
                </a:lnTo>
                <a:lnTo>
                  <a:pt x="0" y="275"/>
                </a:lnTo>
                <a:lnTo>
                  <a:pt x="0" y="284"/>
                </a:lnTo>
                <a:lnTo>
                  <a:pt x="0" y="302"/>
                </a:lnTo>
                <a:lnTo>
                  <a:pt x="2" y="323"/>
                </a:lnTo>
                <a:lnTo>
                  <a:pt x="2" y="323"/>
                </a:lnTo>
                <a:lnTo>
                  <a:pt x="3" y="342"/>
                </a:lnTo>
                <a:lnTo>
                  <a:pt x="5" y="358"/>
                </a:lnTo>
                <a:lnTo>
                  <a:pt x="7" y="373"/>
                </a:lnTo>
                <a:lnTo>
                  <a:pt x="11" y="385"/>
                </a:lnTo>
                <a:lnTo>
                  <a:pt x="15" y="398"/>
                </a:lnTo>
                <a:lnTo>
                  <a:pt x="20" y="409"/>
                </a:lnTo>
                <a:lnTo>
                  <a:pt x="31" y="431"/>
                </a:lnTo>
                <a:lnTo>
                  <a:pt x="42" y="453"/>
                </a:lnTo>
                <a:lnTo>
                  <a:pt x="48" y="463"/>
                </a:lnTo>
                <a:lnTo>
                  <a:pt x="51" y="475"/>
                </a:lnTo>
                <a:lnTo>
                  <a:pt x="56" y="488"/>
                </a:lnTo>
                <a:lnTo>
                  <a:pt x="58" y="501"/>
                </a:lnTo>
                <a:lnTo>
                  <a:pt x="60" y="516"/>
                </a:lnTo>
                <a:lnTo>
                  <a:pt x="60" y="533"/>
                </a:lnTo>
                <a:lnTo>
                  <a:pt x="60" y="533"/>
                </a:lnTo>
                <a:lnTo>
                  <a:pt x="60" y="566"/>
                </a:lnTo>
                <a:lnTo>
                  <a:pt x="60" y="566"/>
                </a:lnTo>
                <a:lnTo>
                  <a:pt x="61" y="576"/>
                </a:lnTo>
                <a:lnTo>
                  <a:pt x="62" y="587"/>
                </a:lnTo>
                <a:lnTo>
                  <a:pt x="64" y="590"/>
                </a:lnTo>
                <a:lnTo>
                  <a:pt x="65" y="592"/>
                </a:lnTo>
                <a:lnTo>
                  <a:pt x="68" y="595"/>
                </a:lnTo>
                <a:lnTo>
                  <a:pt x="72" y="596"/>
                </a:lnTo>
                <a:lnTo>
                  <a:pt x="72" y="596"/>
                </a:lnTo>
                <a:lnTo>
                  <a:pt x="76" y="595"/>
                </a:lnTo>
                <a:lnTo>
                  <a:pt x="81" y="594"/>
                </a:lnTo>
                <a:lnTo>
                  <a:pt x="88" y="588"/>
                </a:lnTo>
                <a:lnTo>
                  <a:pt x="94" y="583"/>
                </a:lnTo>
                <a:lnTo>
                  <a:pt x="97" y="581"/>
                </a:lnTo>
                <a:lnTo>
                  <a:pt x="100" y="581"/>
                </a:lnTo>
                <a:lnTo>
                  <a:pt x="100" y="581"/>
                </a:lnTo>
                <a:lnTo>
                  <a:pt x="104" y="582"/>
                </a:lnTo>
                <a:lnTo>
                  <a:pt x="109" y="584"/>
                </a:lnTo>
                <a:lnTo>
                  <a:pt x="113" y="589"/>
                </a:lnTo>
                <a:lnTo>
                  <a:pt x="118" y="594"/>
                </a:lnTo>
                <a:lnTo>
                  <a:pt x="122" y="599"/>
                </a:lnTo>
                <a:lnTo>
                  <a:pt x="127" y="606"/>
                </a:lnTo>
                <a:lnTo>
                  <a:pt x="129" y="612"/>
                </a:lnTo>
                <a:lnTo>
                  <a:pt x="130" y="618"/>
                </a:lnTo>
                <a:lnTo>
                  <a:pt x="130" y="618"/>
                </a:lnTo>
                <a:lnTo>
                  <a:pt x="129" y="621"/>
                </a:lnTo>
                <a:lnTo>
                  <a:pt x="128" y="625"/>
                </a:lnTo>
                <a:lnTo>
                  <a:pt x="126" y="628"/>
                </a:lnTo>
                <a:lnTo>
                  <a:pt x="123" y="630"/>
                </a:lnTo>
                <a:lnTo>
                  <a:pt x="118" y="634"/>
                </a:lnTo>
                <a:lnTo>
                  <a:pt x="110" y="637"/>
                </a:lnTo>
                <a:lnTo>
                  <a:pt x="103" y="641"/>
                </a:lnTo>
                <a:lnTo>
                  <a:pt x="96" y="644"/>
                </a:lnTo>
                <a:lnTo>
                  <a:pt x="91" y="649"/>
                </a:lnTo>
                <a:lnTo>
                  <a:pt x="90" y="651"/>
                </a:lnTo>
                <a:lnTo>
                  <a:pt x="90" y="655"/>
                </a:lnTo>
                <a:lnTo>
                  <a:pt x="90" y="655"/>
                </a:lnTo>
                <a:lnTo>
                  <a:pt x="91" y="659"/>
                </a:lnTo>
                <a:lnTo>
                  <a:pt x="94" y="664"/>
                </a:lnTo>
                <a:lnTo>
                  <a:pt x="100" y="672"/>
                </a:lnTo>
                <a:lnTo>
                  <a:pt x="105" y="676"/>
                </a:lnTo>
                <a:lnTo>
                  <a:pt x="109" y="681"/>
                </a:lnTo>
                <a:lnTo>
                  <a:pt x="111" y="687"/>
                </a:lnTo>
                <a:lnTo>
                  <a:pt x="112" y="695"/>
                </a:lnTo>
                <a:lnTo>
                  <a:pt x="112" y="695"/>
                </a:lnTo>
                <a:lnTo>
                  <a:pt x="111" y="703"/>
                </a:lnTo>
                <a:lnTo>
                  <a:pt x="109" y="709"/>
                </a:lnTo>
                <a:lnTo>
                  <a:pt x="106" y="713"/>
                </a:lnTo>
                <a:lnTo>
                  <a:pt x="103" y="717"/>
                </a:lnTo>
                <a:lnTo>
                  <a:pt x="99" y="720"/>
                </a:lnTo>
                <a:lnTo>
                  <a:pt x="96" y="725"/>
                </a:lnTo>
                <a:lnTo>
                  <a:pt x="95" y="730"/>
                </a:lnTo>
                <a:lnTo>
                  <a:pt x="94" y="739"/>
                </a:lnTo>
                <a:lnTo>
                  <a:pt x="94" y="739"/>
                </a:lnTo>
                <a:lnTo>
                  <a:pt x="96" y="741"/>
                </a:lnTo>
                <a:lnTo>
                  <a:pt x="100" y="745"/>
                </a:lnTo>
                <a:lnTo>
                  <a:pt x="115" y="755"/>
                </a:lnTo>
                <a:lnTo>
                  <a:pt x="133" y="764"/>
                </a:lnTo>
                <a:lnTo>
                  <a:pt x="140" y="767"/>
                </a:lnTo>
                <a:lnTo>
                  <a:pt x="144" y="768"/>
                </a:lnTo>
                <a:lnTo>
                  <a:pt x="144" y="768"/>
                </a:lnTo>
                <a:lnTo>
                  <a:pt x="150" y="767"/>
                </a:lnTo>
                <a:lnTo>
                  <a:pt x="153" y="766"/>
                </a:lnTo>
                <a:lnTo>
                  <a:pt x="161" y="763"/>
                </a:lnTo>
                <a:lnTo>
                  <a:pt x="168" y="759"/>
                </a:lnTo>
                <a:lnTo>
                  <a:pt x="173" y="757"/>
                </a:lnTo>
                <a:lnTo>
                  <a:pt x="178" y="757"/>
                </a:lnTo>
                <a:lnTo>
                  <a:pt x="178" y="757"/>
                </a:lnTo>
                <a:lnTo>
                  <a:pt x="183" y="757"/>
                </a:lnTo>
                <a:lnTo>
                  <a:pt x="187" y="758"/>
                </a:lnTo>
                <a:lnTo>
                  <a:pt x="191" y="760"/>
                </a:lnTo>
                <a:lnTo>
                  <a:pt x="195" y="763"/>
                </a:lnTo>
                <a:lnTo>
                  <a:pt x="202" y="768"/>
                </a:lnTo>
                <a:lnTo>
                  <a:pt x="207" y="775"/>
                </a:lnTo>
                <a:lnTo>
                  <a:pt x="213" y="782"/>
                </a:lnTo>
                <a:lnTo>
                  <a:pt x="220" y="788"/>
                </a:lnTo>
                <a:lnTo>
                  <a:pt x="225" y="790"/>
                </a:lnTo>
                <a:lnTo>
                  <a:pt x="229" y="793"/>
                </a:lnTo>
                <a:lnTo>
                  <a:pt x="235" y="794"/>
                </a:lnTo>
                <a:lnTo>
                  <a:pt x="241" y="794"/>
                </a:lnTo>
                <a:lnTo>
                  <a:pt x="241" y="794"/>
                </a:lnTo>
                <a:lnTo>
                  <a:pt x="245" y="794"/>
                </a:lnTo>
                <a:lnTo>
                  <a:pt x="250" y="791"/>
                </a:lnTo>
                <a:lnTo>
                  <a:pt x="260" y="787"/>
                </a:lnTo>
                <a:lnTo>
                  <a:pt x="270" y="778"/>
                </a:lnTo>
                <a:lnTo>
                  <a:pt x="280" y="768"/>
                </a:lnTo>
                <a:lnTo>
                  <a:pt x="300" y="747"/>
                </a:lnTo>
                <a:lnTo>
                  <a:pt x="309" y="739"/>
                </a:lnTo>
                <a:lnTo>
                  <a:pt x="318" y="732"/>
                </a:lnTo>
                <a:lnTo>
                  <a:pt x="318" y="732"/>
                </a:lnTo>
                <a:lnTo>
                  <a:pt x="314" y="717"/>
                </a:lnTo>
                <a:lnTo>
                  <a:pt x="314" y="7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3" name="Freeform 108"/>
          <p:cNvSpPr>
            <a:spLocks/>
          </p:cNvSpPr>
          <p:nvPr/>
        </p:nvSpPr>
        <p:spPr bwMode="auto">
          <a:xfrm>
            <a:off x="1382713" y="4352925"/>
            <a:ext cx="319087" cy="246063"/>
          </a:xfrm>
          <a:custGeom>
            <a:avLst/>
            <a:gdLst/>
            <a:ahLst/>
            <a:cxnLst>
              <a:cxn ang="0">
                <a:pos x="107" y="11"/>
              </a:cxn>
              <a:cxn ang="0">
                <a:pos x="94" y="35"/>
              </a:cxn>
              <a:cxn ang="0">
                <a:pos x="65" y="61"/>
              </a:cxn>
              <a:cxn ang="0">
                <a:pos x="15" y="88"/>
              </a:cxn>
              <a:cxn ang="0">
                <a:pos x="3" y="103"/>
              </a:cxn>
              <a:cxn ang="0">
                <a:pos x="22" y="129"/>
              </a:cxn>
              <a:cxn ang="0">
                <a:pos x="47" y="145"/>
              </a:cxn>
              <a:cxn ang="0">
                <a:pos x="60" y="146"/>
              </a:cxn>
              <a:cxn ang="0">
                <a:pos x="81" y="137"/>
              </a:cxn>
              <a:cxn ang="0">
                <a:pos x="89" y="136"/>
              </a:cxn>
              <a:cxn ang="0">
                <a:pos x="111" y="146"/>
              </a:cxn>
              <a:cxn ang="0">
                <a:pos x="120" y="170"/>
              </a:cxn>
              <a:cxn ang="0">
                <a:pos x="126" y="220"/>
              </a:cxn>
              <a:cxn ang="0">
                <a:pos x="136" y="240"/>
              </a:cxn>
              <a:cxn ang="0">
                <a:pos x="151" y="245"/>
              </a:cxn>
              <a:cxn ang="0">
                <a:pos x="164" y="237"/>
              </a:cxn>
              <a:cxn ang="0">
                <a:pos x="175" y="224"/>
              </a:cxn>
              <a:cxn ang="0">
                <a:pos x="187" y="220"/>
              </a:cxn>
              <a:cxn ang="0">
                <a:pos x="204" y="224"/>
              </a:cxn>
              <a:cxn ang="0">
                <a:pos x="226" y="243"/>
              </a:cxn>
              <a:cxn ang="0">
                <a:pos x="248" y="262"/>
              </a:cxn>
              <a:cxn ang="0">
                <a:pos x="265" y="268"/>
              </a:cxn>
              <a:cxn ang="0">
                <a:pos x="280" y="268"/>
              </a:cxn>
              <a:cxn ang="0">
                <a:pos x="281" y="266"/>
              </a:cxn>
              <a:cxn ang="0">
                <a:pos x="287" y="264"/>
              </a:cxn>
              <a:cxn ang="0">
                <a:pos x="301" y="267"/>
              </a:cxn>
              <a:cxn ang="0">
                <a:pos x="325" y="279"/>
              </a:cxn>
              <a:cxn ang="0">
                <a:pos x="342" y="283"/>
              </a:cxn>
              <a:cxn ang="0">
                <a:pos x="354" y="278"/>
              </a:cxn>
              <a:cxn ang="0">
                <a:pos x="364" y="261"/>
              </a:cxn>
              <a:cxn ang="0">
                <a:pos x="367" y="220"/>
              </a:cxn>
              <a:cxn ang="0">
                <a:pos x="371" y="213"/>
              </a:cxn>
              <a:cxn ang="0">
                <a:pos x="388" y="198"/>
              </a:cxn>
              <a:cxn ang="0">
                <a:pos x="389" y="190"/>
              </a:cxn>
              <a:cxn ang="0">
                <a:pos x="382" y="182"/>
              </a:cxn>
              <a:cxn ang="0">
                <a:pos x="374" y="171"/>
              </a:cxn>
              <a:cxn ang="0">
                <a:pos x="344" y="141"/>
              </a:cxn>
              <a:cxn ang="0">
                <a:pos x="339" y="132"/>
              </a:cxn>
              <a:cxn ang="0">
                <a:pos x="313" y="138"/>
              </a:cxn>
              <a:cxn ang="0">
                <a:pos x="275" y="159"/>
              </a:cxn>
              <a:cxn ang="0">
                <a:pos x="248" y="171"/>
              </a:cxn>
              <a:cxn ang="0">
                <a:pos x="234" y="170"/>
              </a:cxn>
              <a:cxn ang="0">
                <a:pos x="214" y="156"/>
              </a:cxn>
              <a:cxn ang="0">
                <a:pos x="203" y="130"/>
              </a:cxn>
              <a:cxn ang="0">
                <a:pos x="202" y="98"/>
              </a:cxn>
              <a:cxn ang="0">
                <a:pos x="194" y="54"/>
              </a:cxn>
              <a:cxn ang="0">
                <a:pos x="184" y="39"/>
              </a:cxn>
              <a:cxn ang="0">
                <a:pos x="168" y="32"/>
              </a:cxn>
              <a:cxn ang="0">
                <a:pos x="144" y="29"/>
              </a:cxn>
              <a:cxn ang="0">
                <a:pos x="118" y="16"/>
              </a:cxn>
              <a:cxn ang="0">
                <a:pos x="111" y="4"/>
              </a:cxn>
              <a:cxn ang="0">
                <a:pos x="110" y="0"/>
              </a:cxn>
            </a:cxnLst>
            <a:rect l="0" t="0" r="r" b="b"/>
            <a:pathLst>
              <a:path w="389" h="283">
                <a:moveTo>
                  <a:pt x="110" y="3"/>
                </a:moveTo>
                <a:lnTo>
                  <a:pt x="110" y="3"/>
                </a:lnTo>
                <a:lnTo>
                  <a:pt x="107" y="11"/>
                </a:lnTo>
                <a:lnTo>
                  <a:pt x="104" y="20"/>
                </a:lnTo>
                <a:lnTo>
                  <a:pt x="99" y="27"/>
                </a:lnTo>
                <a:lnTo>
                  <a:pt x="94" y="35"/>
                </a:lnTo>
                <a:lnTo>
                  <a:pt x="87" y="42"/>
                </a:lnTo>
                <a:lnTo>
                  <a:pt x="80" y="49"/>
                </a:lnTo>
                <a:lnTo>
                  <a:pt x="65" y="61"/>
                </a:lnTo>
                <a:lnTo>
                  <a:pt x="47" y="72"/>
                </a:lnTo>
                <a:lnTo>
                  <a:pt x="31" y="80"/>
                </a:lnTo>
                <a:lnTo>
                  <a:pt x="15" y="88"/>
                </a:lnTo>
                <a:lnTo>
                  <a:pt x="0" y="94"/>
                </a:lnTo>
                <a:lnTo>
                  <a:pt x="0" y="94"/>
                </a:lnTo>
                <a:lnTo>
                  <a:pt x="3" y="103"/>
                </a:lnTo>
                <a:lnTo>
                  <a:pt x="7" y="113"/>
                </a:lnTo>
                <a:lnTo>
                  <a:pt x="14" y="121"/>
                </a:lnTo>
                <a:lnTo>
                  <a:pt x="22" y="129"/>
                </a:lnTo>
                <a:lnTo>
                  <a:pt x="30" y="136"/>
                </a:lnTo>
                <a:lnTo>
                  <a:pt x="39" y="141"/>
                </a:lnTo>
                <a:lnTo>
                  <a:pt x="47" y="145"/>
                </a:lnTo>
                <a:lnTo>
                  <a:pt x="56" y="147"/>
                </a:lnTo>
                <a:lnTo>
                  <a:pt x="56" y="147"/>
                </a:lnTo>
                <a:lnTo>
                  <a:pt x="60" y="146"/>
                </a:lnTo>
                <a:lnTo>
                  <a:pt x="65" y="145"/>
                </a:lnTo>
                <a:lnTo>
                  <a:pt x="73" y="141"/>
                </a:lnTo>
                <a:lnTo>
                  <a:pt x="81" y="137"/>
                </a:lnTo>
                <a:lnTo>
                  <a:pt x="84" y="136"/>
                </a:lnTo>
                <a:lnTo>
                  <a:pt x="89" y="136"/>
                </a:lnTo>
                <a:lnTo>
                  <a:pt x="89" y="136"/>
                </a:lnTo>
                <a:lnTo>
                  <a:pt x="97" y="137"/>
                </a:lnTo>
                <a:lnTo>
                  <a:pt x="105" y="140"/>
                </a:lnTo>
                <a:lnTo>
                  <a:pt x="111" y="146"/>
                </a:lnTo>
                <a:lnTo>
                  <a:pt x="114" y="153"/>
                </a:lnTo>
                <a:lnTo>
                  <a:pt x="118" y="161"/>
                </a:lnTo>
                <a:lnTo>
                  <a:pt x="120" y="170"/>
                </a:lnTo>
                <a:lnTo>
                  <a:pt x="122" y="191"/>
                </a:lnTo>
                <a:lnTo>
                  <a:pt x="125" y="210"/>
                </a:lnTo>
                <a:lnTo>
                  <a:pt x="126" y="220"/>
                </a:lnTo>
                <a:lnTo>
                  <a:pt x="128" y="228"/>
                </a:lnTo>
                <a:lnTo>
                  <a:pt x="131" y="234"/>
                </a:lnTo>
                <a:lnTo>
                  <a:pt x="136" y="240"/>
                </a:lnTo>
                <a:lnTo>
                  <a:pt x="143" y="244"/>
                </a:lnTo>
                <a:lnTo>
                  <a:pt x="151" y="245"/>
                </a:lnTo>
                <a:lnTo>
                  <a:pt x="151" y="245"/>
                </a:lnTo>
                <a:lnTo>
                  <a:pt x="156" y="244"/>
                </a:lnTo>
                <a:lnTo>
                  <a:pt x="160" y="241"/>
                </a:lnTo>
                <a:lnTo>
                  <a:pt x="164" y="237"/>
                </a:lnTo>
                <a:lnTo>
                  <a:pt x="167" y="232"/>
                </a:lnTo>
                <a:lnTo>
                  <a:pt x="172" y="228"/>
                </a:lnTo>
                <a:lnTo>
                  <a:pt x="175" y="224"/>
                </a:lnTo>
                <a:lnTo>
                  <a:pt x="181" y="221"/>
                </a:lnTo>
                <a:lnTo>
                  <a:pt x="187" y="220"/>
                </a:lnTo>
                <a:lnTo>
                  <a:pt x="187" y="220"/>
                </a:lnTo>
                <a:lnTo>
                  <a:pt x="194" y="221"/>
                </a:lnTo>
                <a:lnTo>
                  <a:pt x="198" y="222"/>
                </a:lnTo>
                <a:lnTo>
                  <a:pt x="204" y="224"/>
                </a:lnTo>
                <a:lnTo>
                  <a:pt x="209" y="226"/>
                </a:lnTo>
                <a:lnTo>
                  <a:pt x="218" y="234"/>
                </a:lnTo>
                <a:lnTo>
                  <a:pt x="226" y="243"/>
                </a:lnTo>
                <a:lnTo>
                  <a:pt x="234" y="251"/>
                </a:lnTo>
                <a:lnTo>
                  <a:pt x="243" y="259"/>
                </a:lnTo>
                <a:lnTo>
                  <a:pt x="248" y="262"/>
                </a:lnTo>
                <a:lnTo>
                  <a:pt x="253" y="264"/>
                </a:lnTo>
                <a:lnTo>
                  <a:pt x="259" y="267"/>
                </a:lnTo>
                <a:lnTo>
                  <a:pt x="265" y="268"/>
                </a:lnTo>
                <a:lnTo>
                  <a:pt x="265" y="268"/>
                </a:lnTo>
                <a:lnTo>
                  <a:pt x="280" y="268"/>
                </a:lnTo>
                <a:lnTo>
                  <a:pt x="280" y="268"/>
                </a:lnTo>
                <a:lnTo>
                  <a:pt x="280" y="268"/>
                </a:lnTo>
                <a:lnTo>
                  <a:pt x="282" y="267"/>
                </a:lnTo>
                <a:lnTo>
                  <a:pt x="281" y="266"/>
                </a:lnTo>
                <a:lnTo>
                  <a:pt x="281" y="266"/>
                </a:lnTo>
                <a:lnTo>
                  <a:pt x="281" y="264"/>
                </a:lnTo>
                <a:lnTo>
                  <a:pt x="287" y="264"/>
                </a:lnTo>
                <a:lnTo>
                  <a:pt x="287" y="264"/>
                </a:lnTo>
                <a:lnTo>
                  <a:pt x="294" y="264"/>
                </a:lnTo>
                <a:lnTo>
                  <a:pt x="301" y="267"/>
                </a:lnTo>
                <a:lnTo>
                  <a:pt x="313" y="274"/>
                </a:lnTo>
                <a:lnTo>
                  <a:pt x="319" y="277"/>
                </a:lnTo>
                <a:lnTo>
                  <a:pt x="325" y="279"/>
                </a:lnTo>
                <a:lnTo>
                  <a:pt x="333" y="282"/>
                </a:lnTo>
                <a:lnTo>
                  <a:pt x="342" y="283"/>
                </a:lnTo>
                <a:lnTo>
                  <a:pt x="342" y="283"/>
                </a:lnTo>
                <a:lnTo>
                  <a:pt x="347" y="282"/>
                </a:lnTo>
                <a:lnTo>
                  <a:pt x="350" y="281"/>
                </a:lnTo>
                <a:lnTo>
                  <a:pt x="354" y="278"/>
                </a:lnTo>
                <a:lnTo>
                  <a:pt x="357" y="276"/>
                </a:lnTo>
                <a:lnTo>
                  <a:pt x="362" y="269"/>
                </a:lnTo>
                <a:lnTo>
                  <a:pt x="364" y="261"/>
                </a:lnTo>
                <a:lnTo>
                  <a:pt x="366" y="251"/>
                </a:lnTo>
                <a:lnTo>
                  <a:pt x="367" y="240"/>
                </a:lnTo>
                <a:lnTo>
                  <a:pt x="367" y="220"/>
                </a:lnTo>
                <a:lnTo>
                  <a:pt x="367" y="220"/>
                </a:lnTo>
                <a:lnTo>
                  <a:pt x="369" y="216"/>
                </a:lnTo>
                <a:lnTo>
                  <a:pt x="371" y="213"/>
                </a:lnTo>
                <a:lnTo>
                  <a:pt x="379" y="207"/>
                </a:lnTo>
                <a:lnTo>
                  <a:pt x="386" y="201"/>
                </a:lnTo>
                <a:lnTo>
                  <a:pt x="388" y="198"/>
                </a:lnTo>
                <a:lnTo>
                  <a:pt x="389" y="194"/>
                </a:lnTo>
                <a:lnTo>
                  <a:pt x="389" y="194"/>
                </a:lnTo>
                <a:lnTo>
                  <a:pt x="389" y="190"/>
                </a:lnTo>
                <a:lnTo>
                  <a:pt x="387" y="186"/>
                </a:lnTo>
                <a:lnTo>
                  <a:pt x="385" y="184"/>
                </a:lnTo>
                <a:lnTo>
                  <a:pt x="382" y="182"/>
                </a:lnTo>
                <a:lnTo>
                  <a:pt x="377" y="178"/>
                </a:lnTo>
                <a:lnTo>
                  <a:pt x="375" y="176"/>
                </a:lnTo>
                <a:lnTo>
                  <a:pt x="374" y="171"/>
                </a:lnTo>
                <a:lnTo>
                  <a:pt x="374" y="171"/>
                </a:lnTo>
                <a:lnTo>
                  <a:pt x="357" y="154"/>
                </a:lnTo>
                <a:lnTo>
                  <a:pt x="344" y="141"/>
                </a:lnTo>
                <a:lnTo>
                  <a:pt x="340" y="136"/>
                </a:lnTo>
                <a:lnTo>
                  <a:pt x="339" y="132"/>
                </a:lnTo>
                <a:lnTo>
                  <a:pt x="339" y="132"/>
                </a:lnTo>
                <a:lnTo>
                  <a:pt x="332" y="132"/>
                </a:lnTo>
                <a:lnTo>
                  <a:pt x="326" y="133"/>
                </a:lnTo>
                <a:lnTo>
                  <a:pt x="313" y="138"/>
                </a:lnTo>
                <a:lnTo>
                  <a:pt x="299" y="145"/>
                </a:lnTo>
                <a:lnTo>
                  <a:pt x="288" y="152"/>
                </a:lnTo>
                <a:lnTo>
                  <a:pt x="275" y="159"/>
                </a:lnTo>
                <a:lnTo>
                  <a:pt x="264" y="165"/>
                </a:lnTo>
                <a:lnTo>
                  <a:pt x="252" y="170"/>
                </a:lnTo>
                <a:lnTo>
                  <a:pt x="248" y="171"/>
                </a:lnTo>
                <a:lnTo>
                  <a:pt x="242" y="171"/>
                </a:lnTo>
                <a:lnTo>
                  <a:pt x="242" y="171"/>
                </a:lnTo>
                <a:lnTo>
                  <a:pt x="234" y="170"/>
                </a:lnTo>
                <a:lnTo>
                  <a:pt x="227" y="168"/>
                </a:lnTo>
                <a:lnTo>
                  <a:pt x="220" y="162"/>
                </a:lnTo>
                <a:lnTo>
                  <a:pt x="214" y="156"/>
                </a:lnTo>
                <a:lnTo>
                  <a:pt x="209" y="148"/>
                </a:lnTo>
                <a:lnTo>
                  <a:pt x="205" y="139"/>
                </a:lnTo>
                <a:lnTo>
                  <a:pt x="203" y="130"/>
                </a:lnTo>
                <a:lnTo>
                  <a:pt x="202" y="121"/>
                </a:lnTo>
                <a:lnTo>
                  <a:pt x="202" y="121"/>
                </a:lnTo>
                <a:lnTo>
                  <a:pt x="202" y="98"/>
                </a:lnTo>
                <a:lnTo>
                  <a:pt x="201" y="83"/>
                </a:lnTo>
                <a:lnTo>
                  <a:pt x="197" y="68"/>
                </a:lnTo>
                <a:lnTo>
                  <a:pt x="194" y="54"/>
                </a:lnTo>
                <a:lnTo>
                  <a:pt x="191" y="48"/>
                </a:lnTo>
                <a:lnTo>
                  <a:pt x="188" y="43"/>
                </a:lnTo>
                <a:lnTo>
                  <a:pt x="184" y="39"/>
                </a:lnTo>
                <a:lnTo>
                  <a:pt x="180" y="35"/>
                </a:lnTo>
                <a:lnTo>
                  <a:pt x="175" y="33"/>
                </a:lnTo>
                <a:lnTo>
                  <a:pt x="168" y="32"/>
                </a:lnTo>
                <a:lnTo>
                  <a:pt x="168" y="32"/>
                </a:lnTo>
                <a:lnTo>
                  <a:pt x="153" y="31"/>
                </a:lnTo>
                <a:lnTo>
                  <a:pt x="144" y="29"/>
                </a:lnTo>
                <a:lnTo>
                  <a:pt x="134" y="25"/>
                </a:lnTo>
                <a:lnTo>
                  <a:pt x="125" y="22"/>
                </a:lnTo>
                <a:lnTo>
                  <a:pt x="118" y="16"/>
                </a:lnTo>
                <a:lnTo>
                  <a:pt x="114" y="12"/>
                </a:lnTo>
                <a:lnTo>
                  <a:pt x="112" y="8"/>
                </a:lnTo>
                <a:lnTo>
                  <a:pt x="111" y="4"/>
                </a:lnTo>
                <a:lnTo>
                  <a:pt x="110" y="0"/>
                </a:lnTo>
                <a:lnTo>
                  <a:pt x="110" y="0"/>
                </a:lnTo>
                <a:lnTo>
                  <a:pt x="110" y="0"/>
                </a:lnTo>
                <a:lnTo>
                  <a:pt x="110" y="3"/>
                </a:lnTo>
                <a:lnTo>
                  <a:pt x="110" y="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4" name="Freeform 109"/>
          <p:cNvSpPr>
            <a:spLocks/>
          </p:cNvSpPr>
          <p:nvPr/>
        </p:nvSpPr>
        <p:spPr bwMode="auto">
          <a:xfrm>
            <a:off x="4083050" y="5822950"/>
            <a:ext cx="438150" cy="458788"/>
          </a:xfrm>
          <a:custGeom>
            <a:avLst/>
            <a:gdLst/>
            <a:ahLst/>
            <a:cxnLst>
              <a:cxn ang="0">
                <a:pos x="3" y="300"/>
              </a:cxn>
              <a:cxn ang="0">
                <a:pos x="1" y="315"/>
              </a:cxn>
              <a:cxn ang="0">
                <a:pos x="9" y="336"/>
              </a:cxn>
              <a:cxn ang="0">
                <a:pos x="42" y="355"/>
              </a:cxn>
              <a:cxn ang="0">
                <a:pos x="71" y="372"/>
              </a:cxn>
              <a:cxn ang="0">
                <a:pos x="70" y="407"/>
              </a:cxn>
              <a:cxn ang="0">
                <a:pos x="73" y="425"/>
              </a:cxn>
              <a:cxn ang="0">
                <a:pos x="88" y="440"/>
              </a:cxn>
              <a:cxn ang="0">
                <a:pos x="135" y="451"/>
              </a:cxn>
              <a:cxn ang="0">
                <a:pos x="149" y="462"/>
              </a:cxn>
              <a:cxn ang="0">
                <a:pos x="162" y="475"/>
              </a:cxn>
              <a:cxn ang="0">
                <a:pos x="178" y="476"/>
              </a:cxn>
              <a:cxn ang="0">
                <a:pos x="200" y="463"/>
              </a:cxn>
              <a:cxn ang="0">
                <a:pos x="225" y="438"/>
              </a:cxn>
              <a:cxn ang="0">
                <a:pos x="242" y="432"/>
              </a:cxn>
              <a:cxn ang="0">
                <a:pos x="246" y="491"/>
              </a:cxn>
              <a:cxn ang="0">
                <a:pos x="269" y="517"/>
              </a:cxn>
              <a:cxn ang="0">
                <a:pos x="292" y="525"/>
              </a:cxn>
              <a:cxn ang="0">
                <a:pos x="339" y="516"/>
              </a:cxn>
              <a:cxn ang="0">
                <a:pos x="356" y="502"/>
              </a:cxn>
              <a:cxn ang="0">
                <a:pos x="374" y="472"/>
              </a:cxn>
              <a:cxn ang="0">
                <a:pos x="405" y="463"/>
              </a:cxn>
              <a:cxn ang="0">
                <a:pos x="463" y="458"/>
              </a:cxn>
              <a:cxn ang="0">
                <a:pos x="497" y="436"/>
              </a:cxn>
              <a:cxn ang="0">
                <a:pos x="506" y="399"/>
              </a:cxn>
              <a:cxn ang="0">
                <a:pos x="496" y="370"/>
              </a:cxn>
              <a:cxn ang="0">
                <a:pos x="499" y="354"/>
              </a:cxn>
              <a:cxn ang="0">
                <a:pos x="513" y="339"/>
              </a:cxn>
              <a:cxn ang="0">
                <a:pos x="536" y="337"/>
              </a:cxn>
              <a:cxn ang="0">
                <a:pos x="530" y="315"/>
              </a:cxn>
              <a:cxn ang="0">
                <a:pos x="500" y="285"/>
              </a:cxn>
              <a:cxn ang="0">
                <a:pos x="465" y="249"/>
              </a:cxn>
              <a:cxn ang="0">
                <a:pos x="455" y="214"/>
              </a:cxn>
              <a:cxn ang="0">
                <a:pos x="437" y="171"/>
              </a:cxn>
              <a:cxn ang="0">
                <a:pos x="414" y="197"/>
              </a:cxn>
              <a:cxn ang="0">
                <a:pos x="398" y="200"/>
              </a:cxn>
              <a:cxn ang="0">
                <a:pos x="364" y="187"/>
              </a:cxn>
              <a:cxn ang="0">
                <a:pos x="361" y="171"/>
              </a:cxn>
              <a:cxn ang="0">
                <a:pos x="367" y="135"/>
              </a:cxn>
              <a:cxn ang="0">
                <a:pos x="358" y="128"/>
              </a:cxn>
              <a:cxn ang="0">
                <a:pos x="358" y="113"/>
              </a:cxn>
              <a:cxn ang="0">
                <a:pos x="381" y="80"/>
              </a:cxn>
              <a:cxn ang="0">
                <a:pos x="408" y="51"/>
              </a:cxn>
              <a:cxn ang="0">
                <a:pos x="389" y="27"/>
              </a:cxn>
              <a:cxn ang="0">
                <a:pos x="340" y="18"/>
              </a:cxn>
              <a:cxn ang="0">
                <a:pos x="293" y="4"/>
              </a:cxn>
              <a:cxn ang="0">
                <a:pos x="263" y="5"/>
              </a:cxn>
              <a:cxn ang="0">
                <a:pos x="244" y="23"/>
              </a:cxn>
              <a:cxn ang="0">
                <a:pos x="245" y="46"/>
              </a:cxn>
              <a:cxn ang="0">
                <a:pos x="257" y="69"/>
              </a:cxn>
              <a:cxn ang="0">
                <a:pos x="260" y="89"/>
              </a:cxn>
              <a:cxn ang="0">
                <a:pos x="245" y="107"/>
              </a:cxn>
              <a:cxn ang="0">
                <a:pos x="191" y="119"/>
              </a:cxn>
              <a:cxn ang="0">
                <a:pos x="157" y="124"/>
              </a:cxn>
              <a:cxn ang="0">
                <a:pos x="129" y="139"/>
              </a:cxn>
              <a:cxn ang="0">
                <a:pos x="36" y="182"/>
              </a:cxn>
              <a:cxn ang="0">
                <a:pos x="2" y="208"/>
              </a:cxn>
              <a:cxn ang="0">
                <a:pos x="2" y="219"/>
              </a:cxn>
              <a:cxn ang="0">
                <a:pos x="23" y="234"/>
              </a:cxn>
              <a:cxn ang="0">
                <a:pos x="42" y="248"/>
              </a:cxn>
              <a:cxn ang="0">
                <a:pos x="43" y="261"/>
              </a:cxn>
              <a:cxn ang="0">
                <a:pos x="34" y="277"/>
              </a:cxn>
              <a:cxn ang="0">
                <a:pos x="3" y="296"/>
              </a:cxn>
            </a:cxnLst>
            <a:rect l="0" t="0" r="r" b="b"/>
            <a:pathLst>
              <a:path w="536" h="525">
                <a:moveTo>
                  <a:pt x="7" y="293"/>
                </a:moveTo>
                <a:lnTo>
                  <a:pt x="7" y="293"/>
                </a:lnTo>
                <a:lnTo>
                  <a:pt x="7" y="296"/>
                </a:lnTo>
                <a:lnTo>
                  <a:pt x="3" y="300"/>
                </a:lnTo>
                <a:lnTo>
                  <a:pt x="1" y="304"/>
                </a:lnTo>
                <a:lnTo>
                  <a:pt x="0" y="307"/>
                </a:lnTo>
                <a:lnTo>
                  <a:pt x="0" y="307"/>
                </a:lnTo>
                <a:lnTo>
                  <a:pt x="1" y="315"/>
                </a:lnTo>
                <a:lnTo>
                  <a:pt x="2" y="321"/>
                </a:lnTo>
                <a:lnTo>
                  <a:pt x="3" y="326"/>
                </a:lnTo>
                <a:lnTo>
                  <a:pt x="7" y="331"/>
                </a:lnTo>
                <a:lnTo>
                  <a:pt x="9" y="336"/>
                </a:lnTo>
                <a:lnTo>
                  <a:pt x="13" y="339"/>
                </a:lnTo>
                <a:lnTo>
                  <a:pt x="22" y="346"/>
                </a:lnTo>
                <a:lnTo>
                  <a:pt x="32" y="350"/>
                </a:lnTo>
                <a:lnTo>
                  <a:pt x="42" y="355"/>
                </a:lnTo>
                <a:lnTo>
                  <a:pt x="63" y="362"/>
                </a:lnTo>
                <a:lnTo>
                  <a:pt x="63" y="362"/>
                </a:lnTo>
                <a:lnTo>
                  <a:pt x="68" y="367"/>
                </a:lnTo>
                <a:lnTo>
                  <a:pt x="71" y="372"/>
                </a:lnTo>
                <a:lnTo>
                  <a:pt x="72" y="379"/>
                </a:lnTo>
                <a:lnTo>
                  <a:pt x="73" y="385"/>
                </a:lnTo>
                <a:lnTo>
                  <a:pt x="71" y="400"/>
                </a:lnTo>
                <a:lnTo>
                  <a:pt x="70" y="407"/>
                </a:lnTo>
                <a:lnTo>
                  <a:pt x="70" y="414"/>
                </a:lnTo>
                <a:lnTo>
                  <a:pt x="70" y="414"/>
                </a:lnTo>
                <a:lnTo>
                  <a:pt x="71" y="420"/>
                </a:lnTo>
                <a:lnTo>
                  <a:pt x="73" y="425"/>
                </a:lnTo>
                <a:lnTo>
                  <a:pt x="76" y="430"/>
                </a:lnTo>
                <a:lnTo>
                  <a:pt x="79" y="433"/>
                </a:lnTo>
                <a:lnTo>
                  <a:pt x="84" y="437"/>
                </a:lnTo>
                <a:lnTo>
                  <a:pt x="88" y="440"/>
                </a:lnTo>
                <a:lnTo>
                  <a:pt x="99" y="445"/>
                </a:lnTo>
                <a:lnTo>
                  <a:pt x="111" y="448"/>
                </a:lnTo>
                <a:lnTo>
                  <a:pt x="123" y="449"/>
                </a:lnTo>
                <a:lnTo>
                  <a:pt x="135" y="451"/>
                </a:lnTo>
                <a:lnTo>
                  <a:pt x="147" y="451"/>
                </a:lnTo>
                <a:lnTo>
                  <a:pt x="147" y="451"/>
                </a:lnTo>
                <a:lnTo>
                  <a:pt x="148" y="458"/>
                </a:lnTo>
                <a:lnTo>
                  <a:pt x="149" y="462"/>
                </a:lnTo>
                <a:lnTo>
                  <a:pt x="152" y="467"/>
                </a:lnTo>
                <a:lnTo>
                  <a:pt x="154" y="470"/>
                </a:lnTo>
                <a:lnTo>
                  <a:pt x="158" y="474"/>
                </a:lnTo>
                <a:lnTo>
                  <a:pt x="162" y="475"/>
                </a:lnTo>
                <a:lnTo>
                  <a:pt x="167" y="476"/>
                </a:lnTo>
                <a:lnTo>
                  <a:pt x="172" y="477"/>
                </a:lnTo>
                <a:lnTo>
                  <a:pt x="172" y="477"/>
                </a:lnTo>
                <a:lnTo>
                  <a:pt x="178" y="476"/>
                </a:lnTo>
                <a:lnTo>
                  <a:pt x="184" y="475"/>
                </a:lnTo>
                <a:lnTo>
                  <a:pt x="188" y="472"/>
                </a:lnTo>
                <a:lnTo>
                  <a:pt x="192" y="470"/>
                </a:lnTo>
                <a:lnTo>
                  <a:pt x="200" y="463"/>
                </a:lnTo>
                <a:lnTo>
                  <a:pt x="207" y="456"/>
                </a:lnTo>
                <a:lnTo>
                  <a:pt x="213" y="448"/>
                </a:lnTo>
                <a:lnTo>
                  <a:pt x="221" y="440"/>
                </a:lnTo>
                <a:lnTo>
                  <a:pt x="225" y="438"/>
                </a:lnTo>
                <a:lnTo>
                  <a:pt x="230" y="436"/>
                </a:lnTo>
                <a:lnTo>
                  <a:pt x="236" y="433"/>
                </a:lnTo>
                <a:lnTo>
                  <a:pt x="242" y="432"/>
                </a:lnTo>
                <a:lnTo>
                  <a:pt x="242" y="432"/>
                </a:lnTo>
                <a:lnTo>
                  <a:pt x="242" y="477"/>
                </a:lnTo>
                <a:lnTo>
                  <a:pt x="242" y="477"/>
                </a:lnTo>
                <a:lnTo>
                  <a:pt x="244" y="484"/>
                </a:lnTo>
                <a:lnTo>
                  <a:pt x="246" y="491"/>
                </a:lnTo>
                <a:lnTo>
                  <a:pt x="249" y="497"/>
                </a:lnTo>
                <a:lnTo>
                  <a:pt x="254" y="501"/>
                </a:lnTo>
                <a:lnTo>
                  <a:pt x="264" y="512"/>
                </a:lnTo>
                <a:lnTo>
                  <a:pt x="269" y="517"/>
                </a:lnTo>
                <a:lnTo>
                  <a:pt x="271" y="524"/>
                </a:lnTo>
                <a:lnTo>
                  <a:pt x="271" y="524"/>
                </a:lnTo>
                <a:lnTo>
                  <a:pt x="282" y="525"/>
                </a:lnTo>
                <a:lnTo>
                  <a:pt x="292" y="525"/>
                </a:lnTo>
                <a:lnTo>
                  <a:pt x="305" y="525"/>
                </a:lnTo>
                <a:lnTo>
                  <a:pt x="318" y="524"/>
                </a:lnTo>
                <a:lnTo>
                  <a:pt x="332" y="520"/>
                </a:lnTo>
                <a:lnTo>
                  <a:pt x="339" y="516"/>
                </a:lnTo>
                <a:lnTo>
                  <a:pt x="345" y="513"/>
                </a:lnTo>
                <a:lnTo>
                  <a:pt x="352" y="508"/>
                </a:lnTo>
                <a:lnTo>
                  <a:pt x="356" y="502"/>
                </a:lnTo>
                <a:lnTo>
                  <a:pt x="356" y="502"/>
                </a:lnTo>
                <a:lnTo>
                  <a:pt x="359" y="492"/>
                </a:lnTo>
                <a:lnTo>
                  <a:pt x="363" y="484"/>
                </a:lnTo>
                <a:lnTo>
                  <a:pt x="368" y="478"/>
                </a:lnTo>
                <a:lnTo>
                  <a:pt x="374" y="472"/>
                </a:lnTo>
                <a:lnTo>
                  <a:pt x="381" y="469"/>
                </a:lnTo>
                <a:lnTo>
                  <a:pt x="389" y="467"/>
                </a:lnTo>
                <a:lnTo>
                  <a:pt x="397" y="464"/>
                </a:lnTo>
                <a:lnTo>
                  <a:pt x="405" y="463"/>
                </a:lnTo>
                <a:lnTo>
                  <a:pt x="422" y="462"/>
                </a:lnTo>
                <a:lnTo>
                  <a:pt x="439" y="461"/>
                </a:lnTo>
                <a:lnTo>
                  <a:pt x="456" y="459"/>
                </a:lnTo>
                <a:lnTo>
                  <a:pt x="463" y="458"/>
                </a:lnTo>
                <a:lnTo>
                  <a:pt x="470" y="454"/>
                </a:lnTo>
                <a:lnTo>
                  <a:pt x="470" y="454"/>
                </a:lnTo>
                <a:lnTo>
                  <a:pt x="484" y="446"/>
                </a:lnTo>
                <a:lnTo>
                  <a:pt x="497" y="436"/>
                </a:lnTo>
                <a:lnTo>
                  <a:pt x="522" y="417"/>
                </a:lnTo>
                <a:lnTo>
                  <a:pt x="522" y="417"/>
                </a:lnTo>
                <a:lnTo>
                  <a:pt x="514" y="410"/>
                </a:lnTo>
                <a:lnTo>
                  <a:pt x="506" y="399"/>
                </a:lnTo>
                <a:lnTo>
                  <a:pt x="501" y="393"/>
                </a:lnTo>
                <a:lnTo>
                  <a:pt x="499" y="386"/>
                </a:lnTo>
                <a:lnTo>
                  <a:pt x="497" y="378"/>
                </a:lnTo>
                <a:lnTo>
                  <a:pt x="496" y="370"/>
                </a:lnTo>
                <a:lnTo>
                  <a:pt x="496" y="370"/>
                </a:lnTo>
                <a:lnTo>
                  <a:pt x="496" y="364"/>
                </a:lnTo>
                <a:lnTo>
                  <a:pt x="497" y="360"/>
                </a:lnTo>
                <a:lnTo>
                  <a:pt x="499" y="354"/>
                </a:lnTo>
                <a:lnTo>
                  <a:pt x="501" y="349"/>
                </a:lnTo>
                <a:lnTo>
                  <a:pt x="505" y="345"/>
                </a:lnTo>
                <a:lnTo>
                  <a:pt x="508" y="341"/>
                </a:lnTo>
                <a:lnTo>
                  <a:pt x="513" y="339"/>
                </a:lnTo>
                <a:lnTo>
                  <a:pt x="519" y="337"/>
                </a:lnTo>
                <a:lnTo>
                  <a:pt x="519" y="337"/>
                </a:lnTo>
                <a:lnTo>
                  <a:pt x="536" y="337"/>
                </a:lnTo>
                <a:lnTo>
                  <a:pt x="536" y="337"/>
                </a:lnTo>
                <a:lnTo>
                  <a:pt x="536" y="337"/>
                </a:lnTo>
                <a:lnTo>
                  <a:pt x="536" y="329"/>
                </a:lnTo>
                <a:lnTo>
                  <a:pt x="534" y="322"/>
                </a:lnTo>
                <a:lnTo>
                  <a:pt x="530" y="315"/>
                </a:lnTo>
                <a:lnTo>
                  <a:pt x="526" y="308"/>
                </a:lnTo>
                <a:lnTo>
                  <a:pt x="520" y="302"/>
                </a:lnTo>
                <a:lnTo>
                  <a:pt x="514" y="296"/>
                </a:lnTo>
                <a:lnTo>
                  <a:pt x="500" y="285"/>
                </a:lnTo>
                <a:lnTo>
                  <a:pt x="486" y="273"/>
                </a:lnTo>
                <a:lnTo>
                  <a:pt x="475" y="262"/>
                </a:lnTo>
                <a:lnTo>
                  <a:pt x="469" y="256"/>
                </a:lnTo>
                <a:lnTo>
                  <a:pt x="465" y="249"/>
                </a:lnTo>
                <a:lnTo>
                  <a:pt x="461" y="241"/>
                </a:lnTo>
                <a:lnTo>
                  <a:pt x="459" y="233"/>
                </a:lnTo>
                <a:lnTo>
                  <a:pt x="459" y="233"/>
                </a:lnTo>
                <a:lnTo>
                  <a:pt x="455" y="214"/>
                </a:lnTo>
                <a:lnTo>
                  <a:pt x="451" y="197"/>
                </a:lnTo>
                <a:lnTo>
                  <a:pt x="445" y="184"/>
                </a:lnTo>
                <a:lnTo>
                  <a:pt x="437" y="171"/>
                </a:lnTo>
                <a:lnTo>
                  <a:pt x="437" y="171"/>
                </a:lnTo>
                <a:lnTo>
                  <a:pt x="431" y="179"/>
                </a:lnTo>
                <a:lnTo>
                  <a:pt x="423" y="189"/>
                </a:lnTo>
                <a:lnTo>
                  <a:pt x="419" y="194"/>
                </a:lnTo>
                <a:lnTo>
                  <a:pt x="414" y="197"/>
                </a:lnTo>
                <a:lnTo>
                  <a:pt x="409" y="200"/>
                </a:lnTo>
                <a:lnTo>
                  <a:pt x="404" y="201"/>
                </a:lnTo>
                <a:lnTo>
                  <a:pt x="404" y="201"/>
                </a:lnTo>
                <a:lnTo>
                  <a:pt x="398" y="200"/>
                </a:lnTo>
                <a:lnTo>
                  <a:pt x="391" y="199"/>
                </a:lnTo>
                <a:lnTo>
                  <a:pt x="376" y="194"/>
                </a:lnTo>
                <a:lnTo>
                  <a:pt x="370" y="191"/>
                </a:lnTo>
                <a:lnTo>
                  <a:pt x="364" y="187"/>
                </a:lnTo>
                <a:lnTo>
                  <a:pt x="361" y="182"/>
                </a:lnTo>
                <a:lnTo>
                  <a:pt x="360" y="179"/>
                </a:lnTo>
                <a:lnTo>
                  <a:pt x="360" y="179"/>
                </a:lnTo>
                <a:lnTo>
                  <a:pt x="361" y="171"/>
                </a:lnTo>
                <a:lnTo>
                  <a:pt x="362" y="164"/>
                </a:lnTo>
                <a:lnTo>
                  <a:pt x="367" y="149"/>
                </a:lnTo>
                <a:lnTo>
                  <a:pt x="367" y="149"/>
                </a:lnTo>
                <a:lnTo>
                  <a:pt x="367" y="135"/>
                </a:lnTo>
                <a:lnTo>
                  <a:pt x="367" y="135"/>
                </a:lnTo>
                <a:lnTo>
                  <a:pt x="367" y="135"/>
                </a:lnTo>
                <a:lnTo>
                  <a:pt x="362" y="132"/>
                </a:lnTo>
                <a:lnTo>
                  <a:pt x="358" y="128"/>
                </a:lnTo>
                <a:lnTo>
                  <a:pt x="356" y="126"/>
                </a:lnTo>
                <a:lnTo>
                  <a:pt x="356" y="124"/>
                </a:lnTo>
                <a:lnTo>
                  <a:pt x="356" y="124"/>
                </a:lnTo>
                <a:lnTo>
                  <a:pt x="358" y="113"/>
                </a:lnTo>
                <a:lnTo>
                  <a:pt x="361" y="103"/>
                </a:lnTo>
                <a:lnTo>
                  <a:pt x="366" y="95"/>
                </a:lnTo>
                <a:lnTo>
                  <a:pt x="372" y="87"/>
                </a:lnTo>
                <a:lnTo>
                  <a:pt x="381" y="80"/>
                </a:lnTo>
                <a:lnTo>
                  <a:pt x="389" y="73"/>
                </a:lnTo>
                <a:lnTo>
                  <a:pt x="407" y="62"/>
                </a:lnTo>
                <a:lnTo>
                  <a:pt x="407" y="62"/>
                </a:lnTo>
                <a:lnTo>
                  <a:pt x="408" y="51"/>
                </a:lnTo>
                <a:lnTo>
                  <a:pt x="406" y="43"/>
                </a:lnTo>
                <a:lnTo>
                  <a:pt x="401" y="36"/>
                </a:lnTo>
                <a:lnTo>
                  <a:pt x="395" y="32"/>
                </a:lnTo>
                <a:lnTo>
                  <a:pt x="389" y="27"/>
                </a:lnTo>
                <a:lnTo>
                  <a:pt x="381" y="25"/>
                </a:lnTo>
                <a:lnTo>
                  <a:pt x="371" y="23"/>
                </a:lnTo>
                <a:lnTo>
                  <a:pt x="361" y="20"/>
                </a:lnTo>
                <a:lnTo>
                  <a:pt x="340" y="18"/>
                </a:lnTo>
                <a:lnTo>
                  <a:pt x="318" y="14"/>
                </a:lnTo>
                <a:lnTo>
                  <a:pt x="309" y="12"/>
                </a:lnTo>
                <a:lnTo>
                  <a:pt x="300" y="9"/>
                </a:lnTo>
                <a:lnTo>
                  <a:pt x="293" y="4"/>
                </a:lnTo>
                <a:lnTo>
                  <a:pt x="286" y="0"/>
                </a:lnTo>
                <a:lnTo>
                  <a:pt x="286" y="0"/>
                </a:lnTo>
                <a:lnTo>
                  <a:pt x="270" y="3"/>
                </a:lnTo>
                <a:lnTo>
                  <a:pt x="263" y="5"/>
                </a:lnTo>
                <a:lnTo>
                  <a:pt x="256" y="8"/>
                </a:lnTo>
                <a:lnTo>
                  <a:pt x="251" y="12"/>
                </a:lnTo>
                <a:lnTo>
                  <a:pt x="246" y="17"/>
                </a:lnTo>
                <a:lnTo>
                  <a:pt x="244" y="23"/>
                </a:lnTo>
                <a:lnTo>
                  <a:pt x="242" y="28"/>
                </a:lnTo>
                <a:lnTo>
                  <a:pt x="242" y="28"/>
                </a:lnTo>
                <a:lnTo>
                  <a:pt x="244" y="39"/>
                </a:lnTo>
                <a:lnTo>
                  <a:pt x="245" y="46"/>
                </a:lnTo>
                <a:lnTo>
                  <a:pt x="248" y="52"/>
                </a:lnTo>
                <a:lnTo>
                  <a:pt x="252" y="57"/>
                </a:lnTo>
                <a:lnTo>
                  <a:pt x="255" y="63"/>
                </a:lnTo>
                <a:lnTo>
                  <a:pt x="257" y="69"/>
                </a:lnTo>
                <a:lnTo>
                  <a:pt x="260" y="74"/>
                </a:lnTo>
                <a:lnTo>
                  <a:pt x="261" y="84"/>
                </a:lnTo>
                <a:lnTo>
                  <a:pt x="261" y="84"/>
                </a:lnTo>
                <a:lnTo>
                  <a:pt x="260" y="89"/>
                </a:lnTo>
                <a:lnTo>
                  <a:pt x="257" y="94"/>
                </a:lnTo>
                <a:lnTo>
                  <a:pt x="254" y="98"/>
                </a:lnTo>
                <a:lnTo>
                  <a:pt x="249" y="103"/>
                </a:lnTo>
                <a:lnTo>
                  <a:pt x="245" y="107"/>
                </a:lnTo>
                <a:lnTo>
                  <a:pt x="238" y="109"/>
                </a:lnTo>
                <a:lnTo>
                  <a:pt x="224" y="113"/>
                </a:lnTo>
                <a:lnTo>
                  <a:pt x="208" y="117"/>
                </a:lnTo>
                <a:lnTo>
                  <a:pt x="191" y="119"/>
                </a:lnTo>
                <a:lnTo>
                  <a:pt x="176" y="121"/>
                </a:lnTo>
                <a:lnTo>
                  <a:pt x="162" y="124"/>
                </a:lnTo>
                <a:lnTo>
                  <a:pt x="162" y="124"/>
                </a:lnTo>
                <a:lnTo>
                  <a:pt x="157" y="124"/>
                </a:lnTo>
                <a:lnTo>
                  <a:pt x="153" y="125"/>
                </a:lnTo>
                <a:lnTo>
                  <a:pt x="145" y="128"/>
                </a:lnTo>
                <a:lnTo>
                  <a:pt x="138" y="133"/>
                </a:lnTo>
                <a:lnTo>
                  <a:pt x="129" y="139"/>
                </a:lnTo>
                <a:lnTo>
                  <a:pt x="129" y="139"/>
                </a:lnTo>
                <a:lnTo>
                  <a:pt x="102" y="150"/>
                </a:lnTo>
                <a:lnTo>
                  <a:pt x="58" y="171"/>
                </a:lnTo>
                <a:lnTo>
                  <a:pt x="36" y="182"/>
                </a:lnTo>
                <a:lnTo>
                  <a:pt x="18" y="194"/>
                </a:lnTo>
                <a:lnTo>
                  <a:pt x="11" y="199"/>
                </a:lnTo>
                <a:lnTo>
                  <a:pt x="5" y="204"/>
                </a:lnTo>
                <a:lnTo>
                  <a:pt x="2" y="208"/>
                </a:lnTo>
                <a:lnTo>
                  <a:pt x="0" y="212"/>
                </a:lnTo>
                <a:lnTo>
                  <a:pt x="0" y="212"/>
                </a:lnTo>
                <a:lnTo>
                  <a:pt x="1" y="216"/>
                </a:lnTo>
                <a:lnTo>
                  <a:pt x="2" y="219"/>
                </a:lnTo>
                <a:lnTo>
                  <a:pt x="4" y="222"/>
                </a:lnTo>
                <a:lnTo>
                  <a:pt x="7" y="225"/>
                </a:lnTo>
                <a:lnTo>
                  <a:pt x="15" y="230"/>
                </a:lnTo>
                <a:lnTo>
                  <a:pt x="23" y="234"/>
                </a:lnTo>
                <a:lnTo>
                  <a:pt x="31" y="238"/>
                </a:lnTo>
                <a:lnTo>
                  <a:pt x="38" y="242"/>
                </a:lnTo>
                <a:lnTo>
                  <a:pt x="40" y="246"/>
                </a:lnTo>
                <a:lnTo>
                  <a:pt x="42" y="248"/>
                </a:lnTo>
                <a:lnTo>
                  <a:pt x="43" y="252"/>
                </a:lnTo>
                <a:lnTo>
                  <a:pt x="45" y="256"/>
                </a:lnTo>
                <a:lnTo>
                  <a:pt x="45" y="256"/>
                </a:lnTo>
                <a:lnTo>
                  <a:pt x="43" y="261"/>
                </a:lnTo>
                <a:lnTo>
                  <a:pt x="43" y="265"/>
                </a:lnTo>
                <a:lnTo>
                  <a:pt x="41" y="269"/>
                </a:lnTo>
                <a:lnTo>
                  <a:pt x="40" y="272"/>
                </a:lnTo>
                <a:lnTo>
                  <a:pt x="34" y="277"/>
                </a:lnTo>
                <a:lnTo>
                  <a:pt x="28" y="280"/>
                </a:lnTo>
                <a:lnTo>
                  <a:pt x="15" y="286"/>
                </a:lnTo>
                <a:lnTo>
                  <a:pt x="9" y="291"/>
                </a:lnTo>
                <a:lnTo>
                  <a:pt x="3" y="296"/>
                </a:lnTo>
                <a:lnTo>
                  <a:pt x="3" y="296"/>
                </a:lnTo>
                <a:lnTo>
                  <a:pt x="7" y="293"/>
                </a:lnTo>
                <a:lnTo>
                  <a:pt x="7" y="29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5" name="Freeform 110"/>
          <p:cNvSpPr>
            <a:spLocks/>
          </p:cNvSpPr>
          <p:nvPr/>
        </p:nvSpPr>
        <p:spPr bwMode="auto">
          <a:xfrm>
            <a:off x="5162550" y="4881563"/>
            <a:ext cx="1185863" cy="1157287"/>
          </a:xfrm>
          <a:custGeom>
            <a:avLst/>
            <a:gdLst/>
            <a:ahLst/>
            <a:cxnLst>
              <a:cxn ang="0">
                <a:pos x="1333" y="253"/>
              </a:cxn>
              <a:cxn ang="0">
                <a:pos x="1249" y="99"/>
              </a:cxn>
              <a:cxn ang="0">
                <a:pos x="1249" y="44"/>
              </a:cxn>
              <a:cxn ang="0">
                <a:pos x="1216" y="22"/>
              </a:cxn>
              <a:cxn ang="0">
                <a:pos x="1142" y="128"/>
              </a:cxn>
              <a:cxn ang="0">
                <a:pos x="1113" y="165"/>
              </a:cxn>
              <a:cxn ang="0">
                <a:pos x="1065" y="159"/>
              </a:cxn>
              <a:cxn ang="0">
                <a:pos x="1014" y="138"/>
              </a:cxn>
              <a:cxn ang="0">
                <a:pos x="954" y="157"/>
              </a:cxn>
              <a:cxn ang="0">
                <a:pos x="908" y="156"/>
              </a:cxn>
              <a:cxn ang="0">
                <a:pos x="841" y="193"/>
              </a:cxn>
              <a:cxn ang="0">
                <a:pos x="803" y="228"/>
              </a:cxn>
              <a:cxn ang="0">
                <a:pos x="736" y="275"/>
              </a:cxn>
              <a:cxn ang="0">
                <a:pos x="731" y="325"/>
              </a:cxn>
              <a:cxn ang="0">
                <a:pos x="766" y="384"/>
              </a:cxn>
              <a:cxn ang="0">
                <a:pos x="762" y="473"/>
              </a:cxn>
              <a:cxn ang="0">
                <a:pos x="804" y="531"/>
              </a:cxn>
              <a:cxn ang="0">
                <a:pos x="799" y="443"/>
              </a:cxn>
              <a:cxn ang="0">
                <a:pos x="828" y="382"/>
              </a:cxn>
              <a:cxn ang="0">
                <a:pos x="864" y="543"/>
              </a:cxn>
              <a:cxn ang="0">
                <a:pos x="891" y="634"/>
              </a:cxn>
              <a:cxn ang="0">
                <a:pos x="854" y="684"/>
              </a:cxn>
              <a:cxn ang="0">
                <a:pos x="858" y="716"/>
              </a:cxn>
              <a:cxn ang="0">
                <a:pos x="872" y="749"/>
              </a:cxn>
              <a:cxn ang="0">
                <a:pos x="816" y="846"/>
              </a:cxn>
              <a:cxn ang="0">
                <a:pos x="740" y="903"/>
              </a:cxn>
              <a:cxn ang="0">
                <a:pos x="689" y="955"/>
              </a:cxn>
              <a:cxn ang="0">
                <a:pos x="668" y="1059"/>
              </a:cxn>
              <a:cxn ang="0">
                <a:pos x="553" y="1120"/>
              </a:cxn>
              <a:cxn ang="0">
                <a:pos x="509" y="1180"/>
              </a:cxn>
              <a:cxn ang="0">
                <a:pos x="492" y="1160"/>
              </a:cxn>
              <a:cxn ang="0">
                <a:pos x="445" y="1142"/>
              </a:cxn>
              <a:cxn ang="0">
                <a:pos x="399" y="1085"/>
              </a:cxn>
              <a:cxn ang="0">
                <a:pos x="332" y="1045"/>
              </a:cxn>
              <a:cxn ang="0">
                <a:pos x="269" y="1025"/>
              </a:cxn>
              <a:cxn ang="0">
                <a:pos x="155" y="976"/>
              </a:cxn>
              <a:cxn ang="0">
                <a:pos x="122" y="912"/>
              </a:cxn>
              <a:cxn ang="0">
                <a:pos x="64" y="961"/>
              </a:cxn>
              <a:cxn ang="0">
                <a:pos x="9" y="1009"/>
              </a:cxn>
              <a:cxn ang="0">
                <a:pos x="0" y="1058"/>
              </a:cxn>
              <a:cxn ang="0">
                <a:pos x="36" y="1119"/>
              </a:cxn>
              <a:cxn ang="0">
                <a:pos x="354" y="1197"/>
              </a:cxn>
              <a:cxn ang="0">
                <a:pos x="429" y="1317"/>
              </a:cxn>
              <a:cxn ang="0">
                <a:pos x="532" y="1320"/>
              </a:cxn>
              <a:cxn ang="0">
                <a:pos x="693" y="1244"/>
              </a:cxn>
              <a:cxn ang="0">
                <a:pos x="829" y="1268"/>
              </a:cxn>
              <a:cxn ang="0">
                <a:pos x="889" y="1266"/>
              </a:cxn>
              <a:cxn ang="0">
                <a:pos x="941" y="1197"/>
              </a:cxn>
              <a:cxn ang="0">
                <a:pos x="903" y="1157"/>
              </a:cxn>
              <a:cxn ang="0">
                <a:pos x="916" y="1096"/>
              </a:cxn>
              <a:cxn ang="0">
                <a:pos x="904" y="1046"/>
              </a:cxn>
              <a:cxn ang="0">
                <a:pos x="979" y="1023"/>
              </a:cxn>
              <a:cxn ang="0">
                <a:pos x="1033" y="981"/>
              </a:cxn>
              <a:cxn ang="0">
                <a:pos x="1105" y="964"/>
              </a:cxn>
              <a:cxn ang="0">
                <a:pos x="1149" y="893"/>
              </a:cxn>
              <a:cxn ang="0">
                <a:pos x="1216" y="811"/>
              </a:cxn>
              <a:cxn ang="0">
                <a:pos x="1325" y="715"/>
              </a:cxn>
              <a:cxn ang="0">
                <a:pos x="1312" y="638"/>
              </a:cxn>
              <a:cxn ang="0">
                <a:pos x="1267" y="579"/>
              </a:cxn>
              <a:cxn ang="0">
                <a:pos x="1319" y="520"/>
              </a:cxn>
              <a:cxn ang="0">
                <a:pos x="1400" y="386"/>
              </a:cxn>
              <a:cxn ang="0">
                <a:pos x="1452" y="324"/>
              </a:cxn>
            </a:cxnLst>
            <a:rect l="0" t="0" r="r" b="b"/>
            <a:pathLst>
              <a:path w="1452" h="1328">
                <a:moveTo>
                  <a:pt x="1407" y="272"/>
                </a:moveTo>
                <a:lnTo>
                  <a:pt x="1407" y="272"/>
                </a:lnTo>
                <a:lnTo>
                  <a:pt x="1397" y="265"/>
                </a:lnTo>
                <a:lnTo>
                  <a:pt x="1389" y="261"/>
                </a:lnTo>
                <a:lnTo>
                  <a:pt x="1381" y="259"/>
                </a:lnTo>
                <a:lnTo>
                  <a:pt x="1373" y="258"/>
                </a:lnTo>
                <a:lnTo>
                  <a:pt x="1355" y="258"/>
                </a:lnTo>
                <a:lnTo>
                  <a:pt x="1345" y="257"/>
                </a:lnTo>
                <a:lnTo>
                  <a:pt x="1333" y="253"/>
                </a:lnTo>
                <a:lnTo>
                  <a:pt x="1333" y="253"/>
                </a:lnTo>
                <a:lnTo>
                  <a:pt x="1320" y="225"/>
                </a:lnTo>
                <a:lnTo>
                  <a:pt x="1310" y="202"/>
                </a:lnTo>
                <a:lnTo>
                  <a:pt x="1304" y="187"/>
                </a:lnTo>
                <a:lnTo>
                  <a:pt x="1304" y="187"/>
                </a:lnTo>
                <a:lnTo>
                  <a:pt x="1295" y="166"/>
                </a:lnTo>
                <a:lnTo>
                  <a:pt x="1285" y="149"/>
                </a:lnTo>
                <a:lnTo>
                  <a:pt x="1261" y="109"/>
                </a:lnTo>
                <a:lnTo>
                  <a:pt x="1261" y="109"/>
                </a:lnTo>
                <a:lnTo>
                  <a:pt x="1255" y="105"/>
                </a:lnTo>
                <a:lnTo>
                  <a:pt x="1249" y="99"/>
                </a:lnTo>
                <a:lnTo>
                  <a:pt x="1246" y="96"/>
                </a:lnTo>
                <a:lnTo>
                  <a:pt x="1243" y="91"/>
                </a:lnTo>
                <a:lnTo>
                  <a:pt x="1242" y="86"/>
                </a:lnTo>
                <a:lnTo>
                  <a:pt x="1241" y="81"/>
                </a:lnTo>
                <a:lnTo>
                  <a:pt x="1241" y="81"/>
                </a:lnTo>
                <a:lnTo>
                  <a:pt x="1241" y="68"/>
                </a:lnTo>
                <a:lnTo>
                  <a:pt x="1242" y="61"/>
                </a:lnTo>
                <a:lnTo>
                  <a:pt x="1243" y="54"/>
                </a:lnTo>
                <a:lnTo>
                  <a:pt x="1246" y="48"/>
                </a:lnTo>
                <a:lnTo>
                  <a:pt x="1249" y="44"/>
                </a:lnTo>
                <a:lnTo>
                  <a:pt x="1254" y="40"/>
                </a:lnTo>
                <a:lnTo>
                  <a:pt x="1261" y="39"/>
                </a:lnTo>
                <a:lnTo>
                  <a:pt x="1267" y="17"/>
                </a:lnTo>
                <a:lnTo>
                  <a:pt x="1267" y="0"/>
                </a:lnTo>
                <a:lnTo>
                  <a:pt x="1267" y="0"/>
                </a:lnTo>
                <a:lnTo>
                  <a:pt x="1254" y="0"/>
                </a:lnTo>
                <a:lnTo>
                  <a:pt x="1242" y="2"/>
                </a:lnTo>
                <a:lnTo>
                  <a:pt x="1232" y="7"/>
                </a:lnTo>
                <a:lnTo>
                  <a:pt x="1224" y="14"/>
                </a:lnTo>
                <a:lnTo>
                  <a:pt x="1216" y="22"/>
                </a:lnTo>
                <a:lnTo>
                  <a:pt x="1209" y="31"/>
                </a:lnTo>
                <a:lnTo>
                  <a:pt x="1203" y="42"/>
                </a:lnTo>
                <a:lnTo>
                  <a:pt x="1198" y="53"/>
                </a:lnTo>
                <a:lnTo>
                  <a:pt x="1187" y="76"/>
                </a:lnTo>
                <a:lnTo>
                  <a:pt x="1182" y="86"/>
                </a:lnTo>
                <a:lnTo>
                  <a:pt x="1175" y="98"/>
                </a:lnTo>
                <a:lnTo>
                  <a:pt x="1170" y="107"/>
                </a:lnTo>
                <a:lnTo>
                  <a:pt x="1162" y="115"/>
                </a:lnTo>
                <a:lnTo>
                  <a:pt x="1152" y="122"/>
                </a:lnTo>
                <a:lnTo>
                  <a:pt x="1142" y="128"/>
                </a:lnTo>
                <a:lnTo>
                  <a:pt x="1142" y="128"/>
                </a:lnTo>
                <a:lnTo>
                  <a:pt x="1140" y="130"/>
                </a:lnTo>
                <a:lnTo>
                  <a:pt x="1139" y="135"/>
                </a:lnTo>
                <a:lnTo>
                  <a:pt x="1134" y="147"/>
                </a:lnTo>
                <a:lnTo>
                  <a:pt x="1132" y="154"/>
                </a:lnTo>
                <a:lnTo>
                  <a:pt x="1127" y="160"/>
                </a:lnTo>
                <a:lnTo>
                  <a:pt x="1125" y="161"/>
                </a:lnTo>
                <a:lnTo>
                  <a:pt x="1121" y="164"/>
                </a:lnTo>
                <a:lnTo>
                  <a:pt x="1118" y="165"/>
                </a:lnTo>
                <a:lnTo>
                  <a:pt x="1113" y="165"/>
                </a:lnTo>
                <a:lnTo>
                  <a:pt x="1113" y="165"/>
                </a:lnTo>
                <a:lnTo>
                  <a:pt x="1109" y="165"/>
                </a:lnTo>
                <a:lnTo>
                  <a:pt x="1104" y="164"/>
                </a:lnTo>
                <a:lnTo>
                  <a:pt x="1095" y="159"/>
                </a:lnTo>
                <a:lnTo>
                  <a:pt x="1088" y="156"/>
                </a:lnTo>
                <a:lnTo>
                  <a:pt x="1083" y="153"/>
                </a:lnTo>
                <a:lnTo>
                  <a:pt x="1083" y="153"/>
                </a:lnTo>
                <a:lnTo>
                  <a:pt x="1079" y="154"/>
                </a:lnTo>
                <a:lnTo>
                  <a:pt x="1074" y="156"/>
                </a:lnTo>
                <a:lnTo>
                  <a:pt x="1065" y="159"/>
                </a:lnTo>
                <a:lnTo>
                  <a:pt x="1057" y="164"/>
                </a:lnTo>
                <a:lnTo>
                  <a:pt x="1052" y="165"/>
                </a:lnTo>
                <a:lnTo>
                  <a:pt x="1046" y="165"/>
                </a:lnTo>
                <a:lnTo>
                  <a:pt x="1046" y="165"/>
                </a:lnTo>
                <a:lnTo>
                  <a:pt x="1038" y="164"/>
                </a:lnTo>
                <a:lnTo>
                  <a:pt x="1032" y="161"/>
                </a:lnTo>
                <a:lnTo>
                  <a:pt x="1027" y="158"/>
                </a:lnTo>
                <a:lnTo>
                  <a:pt x="1023" y="153"/>
                </a:lnTo>
                <a:lnTo>
                  <a:pt x="1017" y="143"/>
                </a:lnTo>
                <a:lnTo>
                  <a:pt x="1014" y="138"/>
                </a:lnTo>
                <a:lnTo>
                  <a:pt x="1010" y="136"/>
                </a:lnTo>
                <a:lnTo>
                  <a:pt x="1010" y="136"/>
                </a:lnTo>
                <a:lnTo>
                  <a:pt x="1005" y="141"/>
                </a:lnTo>
                <a:lnTo>
                  <a:pt x="999" y="145"/>
                </a:lnTo>
                <a:lnTo>
                  <a:pt x="994" y="149"/>
                </a:lnTo>
                <a:lnTo>
                  <a:pt x="987" y="152"/>
                </a:lnTo>
                <a:lnTo>
                  <a:pt x="979" y="154"/>
                </a:lnTo>
                <a:lnTo>
                  <a:pt x="972" y="156"/>
                </a:lnTo>
                <a:lnTo>
                  <a:pt x="954" y="157"/>
                </a:lnTo>
                <a:lnTo>
                  <a:pt x="954" y="157"/>
                </a:lnTo>
                <a:lnTo>
                  <a:pt x="950" y="157"/>
                </a:lnTo>
                <a:lnTo>
                  <a:pt x="945" y="154"/>
                </a:lnTo>
                <a:lnTo>
                  <a:pt x="934" y="146"/>
                </a:lnTo>
                <a:lnTo>
                  <a:pt x="925" y="139"/>
                </a:lnTo>
                <a:lnTo>
                  <a:pt x="919" y="136"/>
                </a:lnTo>
                <a:lnTo>
                  <a:pt x="919" y="136"/>
                </a:lnTo>
                <a:lnTo>
                  <a:pt x="915" y="137"/>
                </a:lnTo>
                <a:lnTo>
                  <a:pt x="914" y="139"/>
                </a:lnTo>
                <a:lnTo>
                  <a:pt x="911" y="146"/>
                </a:lnTo>
                <a:lnTo>
                  <a:pt x="908" y="156"/>
                </a:lnTo>
                <a:lnTo>
                  <a:pt x="907" y="165"/>
                </a:lnTo>
                <a:lnTo>
                  <a:pt x="905" y="181"/>
                </a:lnTo>
                <a:lnTo>
                  <a:pt x="905" y="188"/>
                </a:lnTo>
                <a:lnTo>
                  <a:pt x="904" y="191"/>
                </a:lnTo>
                <a:lnTo>
                  <a:pt x="904" y="191"/>
                </a:lnTo>
                <a:lnTo>
                  <a:pt x="891" y="193"/>
                </a:lnTo>
                <a:lnTo>
                  <a:pt x="877" y="195"/>
                </a:lnTo>
                <a:lnTo>
                  <a:pt x="865" y="195"/>
                </a:lnTo>
                <a:lnTo>
                  <a:pt x="852" y="193"/>
                </a:lnTo>
                <a:lnTo>
                  <a:pt x="841" y="193"/>
                </a:lnTo>
                <a:lnTo>
                  <a:pt x="831" y="193"/>
                </a:lnTo>
                <a:lnTo>
                  <a:pt x="822" y="195"/>
                </a:lnTo>
                <a:lnTo>
                  <a:pt x="819" y="196"/>
                </a:lnTo>
                <a:lnTo>
                  <a:pt x="815" y="198"/>
                </a:lnTo>
                <a:lnTo>
                  <a:pt x="815" y="198"/>
                </a:lnTo>
                <a:lnTo>
                  <a:pt x="808" y="204"/>
                </a:lnTo>
                <a:lnTo>
                  <a:pt x="805" y="210"/>
                </a:lnTo>
                <a:lnTo>
                  <a:pt x="804" y="215"/>
                </a:lnTo>
                <a:lnTo>
                  <a:pt x="804" y="221"/>
                </a:lnTo>
                <a:lnTo>
                  <a:pt x="803" y="228"/>
                </a:lnTo>
                <a:lnTo>
                  <a:pt x="803" y="234"/>
                </a:lnTo>
                <a:lnTo>
                  <a:pt x="800" y="240"/>
                </a:lnTo>
                <a:lnTo>
                  <a:pt x="797" y="245"/>
                </a:lnTo>
                <a:lnTo>
                  <a:pt x="797" y="245"/>
                </a:lnTo>
                <a:lnTo>
                  <a:pt x="792" y="249"/>
                </a:lnTo>
                <a:lnTo>
                  <a:pt x="788" y="252"/>
                </a:lnTo>
                <a:lnTo>
                  <a:pt x="776" y="258"/>
                </a:lnTo>
                <a:lnTo>
                  <a:pt x="752" y="267"/>
                </a:lnTo>
                <a:lnTo>
                  <a:pt x="742" y="272"/>
                </a:lnTo>
                <a:lnTo>
                  <a:pt x="736" y="275"/>
                </a:lnTo>
                <a:lnTo>
                  <a:pt x="732" y="280"/>
                </a:lnTo>
                <a:lnTo>
                  <a:pt x="729" y="284"/>
                </a:lnTo>
                <a:lnTo>
                  <a:pt x="725" y="290"/>
                </a:lnTo>
                <a:lnTo>
                  <a:pt x="724" y="297"/>
                </a:lnTo>
                <a:lnTo>
                  <a:pt x="724" y="304"/>
                </a:lnTo>
                <a:lnTo>
                  <a:pt x="724" y="304"/>
                </a:lnTo>
                <a:lnTo>
                  <a:pt x="724" y="310"/>
                </a:lnTo>
                <a:lnTo>
                  <a:pt x="725" y="314"/>
                </a:lnTo>
                <a:lnTo>
                  <a:pt x="728" y="320"/>
                </a:lnTo>
                <a:lnTo>
                  <a:pt x="731" y="325"/>
                </a:lnTo>
                <a:lnTo>
                  <a:pt x="739" y="333"/>
                </a:lnTo>
                <a:lnTo>
                  <a:pt x="750" y="341"/>
                </a:lnTo>
                <a:lnTo>
                  <a:pt x="760" y="348"/>
                </a:lnTo>
                <a:lnTo>
                  <a:pt x="770" y="353"/>
                </a:lnTo>
                <a:lnTo>
                  <a:pt x="780" y="358"/>
                </a:lnTo>
                <a:lnTo>
                  <a:pt x="786" y="363"/>
                </a:lnTo>
                <a:lnTo>
                  <a:pt x="786" y="363"/>
                </a:lnTo>
                <a:lnTo>
                  <a:pt x="778" y="370"/>
                </a:lnTo>
                <a:lnTo>
                  <a:pt x="771" y="376"/>
                </a:lnTo>
                <a:lnTo>
                  <a:pt x="766" y="384"/>
                </a:lnTo>
                <a:lnTo>
                  <a:pt x="761" y="393"/>
                </a:lnTo>
                <a:lnTo>
                  <a:pt x="758" y="401"/>
                </a:lnTo>
                <a:lnTo>
                  <a:pt x="754" y="411"/>
                </a:lnTo>
                <a:lnTo>
                  <a:pt x="753" y="421"/>
                </a:lnTo>
                <a:lnTo>
                  <a:pt x="752" y="433"/>
                </a:lnTo>
                <a:lnTo>
                  <a:pt x="752" y="433"/>
                </a:lnTo>
                <a:lnTo>
                  <a:pt x="753" y="443"/>
                </a:lnTo>
                <a:lnTo>
                  <a:pt x="755" y="454"/>
                </a:lnTo>
                <a:lnTo>
                  <a:pt x="758" y="464"/>
                </a:lnTo>
                <a:lnTo>
                  <a:pt x="762" y="473"/>
                </a:lnTo>
                <a:lnTo>
                  <a:pt x="767" y="481"/>
                </a:lnTo>
                <a:lnTo>
                  <a:pt x="773" y="489"/>
                </a:lnTo>
                <a:lnTo>
                  <a:pt x="780" y="495"/>
                </a:lnTo>
                <a:lnTo>
                  <a:pt x="786" y="498"/>
                </a:lnTo>
                <a:lnTo>
                  <a:pt x="786" y="498"/>
                </a:lnTo>
                <a:lnTo>
                  <a:pt x="791" y="512"/>
                </a:lnTo>
                <a:lnTo>
                  <a:pt x="793" y="526"/>
                </a:lnTo>
                <a:lnTo>
                  <a:pt x="798" y="551"/>
                </a:lnTo>
                <a:lnTo>
                  <a:pt x="798" y="551"/>
                </a:lnTo>
                <a:lnTo>
                  <a:pt x="804" y="531"/>
                </a:lnTo>
                <a:lnTo>
                  <a:pt x="809" y="510"/>
                </a:lnTo>
                <a:lnTo>
                  <a:pt x="814" y="492"/>
                </a:lnTo>
                <a:lnTo>
                  <a:pt x="815" y="481"/>
                </a:lnTo>
                <a:lnTo>
                  <a:pt x="815" y="481"/>
                </a:lnTo>
                <a:lnTo>
                  <a:pt x="815" y="473"/>
                </a:lnTo>
                <a:lnTo>
                  <a:pt x="813" y="466"/>
                </a:lnTo>
                <a:lnTo>
                  <a:pt x="809" y="460"/>
                </a:lnTo>
                <a:lnTo>
                  <a:pt x="806" y="455"/>
                </a:lnTo>
                <a:lnTo>
                  <a:pt x="803" y="449"/>
                </a:lnTo>
                <a:lnTo>
                  <a:pt x="799" y="443"/>
                </a:lnTo>
                <a:lnTo>
                  <a:pt x="798" y="437"/>
                </a:lnTo>
                <a:lnTo>
                  <a:pt x="797" y="429"/>
                </a:lnTo>
                <a:lnTo>
                  <a:pt x="797" y="429"/>
                </a:lnTo>
                <a:lnTo>
                  <a:pt x="797" y="421"/>
                </a:lnTo>
                <a:lnTo>
                  <a:pt x="799" y="412"/>
                </a:lnTo>
                <a:lnTo>
                  <a:pt x="803" y="404"/>
                </a:lnTo>
                <a:lnTo>
                  <a:pt x="807" y="397"/>
                </a:lnTo>
                <a:lnTo>
                  <a:pt x="813" y="390"/>
                </a:lnTo>
                <a:lnTo>
                  <a:pt x="820" y="386"/>
                </a:lnTo>
                <a:lnTo>
                  <a:pt x="828" y="382"/>
                </a:lnTo>
                <a:lnTo>
                  <a:pt x="837" y="381"/>
                </a:lnTo>
                <a:lnTo>
                  <a:pt x="837" y="381"/>
                </a:lnTo>
                <a:lnTo>
                  <a:pt x="841" y="382"/>
                </a:lnTo>
                <a:lnTo>
                  <a:pt x="843" y="384"/>
                </a:lnTo>
                <a:lnTo>
                  <a:pt x="850" y="395"/>
                </a:lnTo>
                <a:lnTo>
                  <a:pt x="855" y="409"/>
                </a:lnTo>
                <a:lnTo>
                  <a:pt x="861" y="425"/>
                </a:lnTo>
                <a:lnTo>
                  <a:pt x="870" y="456"/>
                </a:lnTo>
                <a:lnTo>
                  <a:pt x="874" y="473"/>
                </a:lnTo>
                <a:lnTo>
                  <a:pt x="864" y="543"/>
                </a:lnTo>
                <a:lnTo>
                  <a:pt x="864" y="543"/>
                </a:lnTo>
                <a:lnTo>
                  <a:pt x="865" y="543"/>
                </a:lnTo>
                <a:lnTo>
                  <a:pt x="866" y="546"/>
                </a:lnTo>
                <a:lnTo>
                  <a:pt x="870" y="554"/>
                </a:lnTo>
                <a:lnTo>
                  <a:pt x="881" y="578"/>
                </a:lnTo>
                <a:lnTo>
                  <a:pt x="889" y="604"/>
                </a:lnTo>
                <a:lnTo>
                  <a:pt x="891" y="613"/>
                </a:lnTo>
                <a:lnTo>
                  <a:pt x="892" y="620"/>
                </a:lnTo>
                <a:lnTo>
                  <a:pt x="892" y="620"/>
                </a:lnTo>
                <a:lnTo>
                  <a:pt x="891" y="634"/>
                </a:lnTo>
                <a:lnTo>
                  <a:pt x="889" y="647"/>
                </a:lnTo>
                <a:lnTo>
                  <a:pt x="885" y="658"/>
                </a:lnTo>
                <a:lnTo>
                  <a:pt x="882" y="666"/>
                </a:lnTo>
                <a:lnTo>
                  <a:pt x="876" y="673"/>
                </a:lnTo>
                <a:lnTo>
                  <a:pt x="870" y="679"/>
                </a:lnTo>
                <a:lnTo>
                  <a:pt x="865" y="681"/>
                </a:lnTo>
                <a:lnTo>
                  <a:pt x="860" y="683"/>
                </a:lnTo>
                <a:lnTo>
                  <a:pt x="860" y="683"/>
                </a:lnTo>
                <a:lnTo>
                  <a:pt x="857" y="684"/>
                </a:lnTo>
                <a:lnTo>
                  <a:pt x="854" y="684"/>
                </a:lnTo>
                <a:lnTo>
                  <a:pt x="851" y="686"/>
                </a:lnTo>
                <a:lnTo>
                  <a:pt x="850" y="686"/>
                </a:lnTo>
                <a:lnTo>
                  <a:pt x="849" y="686"/>
                </a:lnTo>
                <a:lnTo>
                  <a:pt x="841" y="683"/>
                </a:lnTo>
                <a:lnTo>
                  <a:pt x="841" y="683"/>
                </a:lnTo>
                <a:lnTo>
                  <a:pt x="841" y="719"/>
                </a:lnTo>
                <a:lnTo>
                  <a:pt x="841" y="719"/>
                </a:lnTo>
                <a:lnTo>
                  <a:pt x="845" y="718"/>
                </a:lnTo>
                <a:lnTo>
                  <a:pt x="851" y="717"/>
                </a:lnTo>
                <a:lnTo>
                  <a:pt x="858" y="716"/>
                </a:lnTo>
                <a:lnTo>
                  <a:pt x="864" y="715"/>
                </a:lnTo>
                <a:lnTo>
                  <a:pt x="869" y="716"/>
                </a:lnTo>
                <a:lnTo>
                  <a:pt x="874" y="718"/>
                </a:lnTo>
                <a:lnTo>
                  <a:pt x="875" y="719"/>
                </a:lnTo>
                <a:lnTo>
                  <a:pt x="876" y="723"/>
                </a:lnTo>
                <a:lnTo>
                  <a:pt x="877" y="731"/>
                </a:lnTo>
                <a:lnTo>
                  <a:pt x="877" y="731"/>
                </a:lnTo>
                <a:lnTo>
                  <a:pt x="877" y="734"/>
                </a:lnTo>
                <a:lnTo>
                  <a:pt x="876" y="739"/>
                </a:lnTo>
                <a:lnTo>
                  <a:pt x="872" y="749"/>
                </a:lnTo>
                <a:lnTo>
                  <a:pt x="866" y="760"/>
                </a:lnTo>
                <a:lnTo>
                  <a:pt x="858" y="770"/>
                </a:lnTo>
                <a:lnTo>
                  <a:pt x="841" y="790"/>
                </a:lnTo>
                <a:lnTo>
                  <a:pt x="826" y="805"/>
                </a:lnTo>
                <a:lnTo>
                  <a:pt x="826" y="805"/>
                </a:lnTo>
                <a:lnTo>
                  <a:pt x="823" y="810"/>
                </a:lnTo>
                <a:lnTo>
                  <a:pt x="821" y="816"/>
                </a:lnTo>
                <a:lnTo>
                  <a:pt x="820" y="831"/>
                </a:lnTo>
                <a:lnTo>
                  <a:pt x="819" y="839"/>
                </a:lnTo>
                <a:lnTo>
                  <a:pt x="816" y="846"/>
                </a:lnTo>
                <a:lnTo>
                  <a:pt x="813" y="853"/>
                </a:lnTo>
                <a:lnTo>
                  <a:pt x="808" y="859"/>
                </a:lnTo>
                <a:lnTo>
                  <a:pt x="808" y="859"/>
                </a:lnTo>
                <a:lnTo>
                  <a:pt x="793" y="867"/>
                </a:lnTo>
                <a:lnTo>
                  <a:pt x="776" y="874"/>
                </a:lnTo>
                <a:lnTo>
                  <a:pt x="760" y="883"/>
                </a:lnTo>
                <a:lnTo>
                  <a:pt x="753" y="889"/>
                </a:lnTo>
                <a:lnTo>
                  <a:pt x="745" y="895"/>
                </a:lnTo>
                <a:lnTo>
                  <a:pt x="745" y="895"/>
                </a:lnTo>
                <a:lnTo>
                  <a:pt x="740" y="903"/>
                </a:lnTo>
                <a:lnTo>
                  <a:pt x="733" y="916"/>
                </a:lnTo>
                <a:lnTo>
                  <a:pt x="725" y="929"/>
                </a:lnTo>
                <a:lnTo>
                  <a:pt x="721" y="935"/>
                </a:lnTo>
                <a:lnTo>
                  <a:pt x="716" y="939"/>
                </a:lnTo>
                <a:lnTo>
                  <a:pt x="716" y="939"/>
                </a:lnTo>
                <a:lnTo>
                  <a:pt x="709" y="944"/>
                </a:lnTo>
                <a:lnTo>
                  <a:pt x="704" y="946"/>
                </a:lnTo>
                <a:lnTo>
                  <a:pt x="694" y="949"/>
                </a:lnTo>
                <a:lnTo>
                  <a:pt x="691" y="952"/>
                </a:lnTo>
                <a:lnTo>
                  <a:pt x="689" y="955"/>
                </a:lnTo>
                <a:lnTo>
                  <a:pt x="687" y="960"/>
                </a:lnTo>
                <a:lnTo>
                  <a:pt x="686" y="969"/>
                </a:lnTo>
                <a:lnTo>
                  <a:pt x="686" y="969"/>
                </a:lnTo>
                <a:lnTo>
                  <a:pt x="686" y="1009"/>
                </a:lnTo>
                <a:lnTo>
                  <a:pt x="686" y="1009"/>
                </a:lnTo>
                <a:lnTo>
                  <a:pt x="686" y="1020"/>
                </a:lnTo>
                <a:lnTo>
                  <a:pt x="683" y="1030"/>
                </a:lnTo>
                <a:lnTo>
                  <a:pt x="679" y="1040"/>
                </a:lnTo>
                <a:lnTo>
                  <a:pt x="674" y="1050"/>
                </a:lnTo>
                <a:lnTo>
                  <a:pt x="668" y="1059"/>
                </a:lnTo>
                <a:lnTo>
                  <a:pt x="660" y="1067"/>
                </a:lnTo>
                <a:lnTo>
                  <a:pt x="652" y="1075"/>
                </a:lnTo>
                <a:lnTo>
                  <a:pt x="643" y="1083"/>
                </a:lnTo>
                <a:lnTo>
                  <a:pt x="632" y="1090"/>
                </a:lnTo>
                <a:lnTo>
                  <a:pt x="622" y="1096"/>
                </a:lnTo>
                <a:lnTo>
                  <a:pt x="610" y="1101"/>
                </a:lnTo>
                <a:lnTo>
                  <a:pt x="599" y="1106"/>
                </a:lnTo>
                <a:lnTo>
                  <a:pt x="576" y="1115"/>
                </a:lnTo>
                <a:lnTo>
                  <a:pt x="553" y="1120"/>
                </a:lnTo>
                <a:lnTo>
                  <a:pt x="553" y="1120"/>
                </a:lnTo>
                <a:lnTo>
                  <a:pt x="556" y="1131"/>
                </a:lnTo>
                <a:lnTo>
                  <a:pt x="557" y="1138"/>
                </a:lnTo>
                <a:lnTo>
                  <a:pt x="557" y="1145"/>
                </a:lnTo>
                <a:lnTo>
                  <a:pt x="557" y="1145"/>
                </a:lnTo>
                <a:lnTo>
                  <a:pt x="551" y="1150"/>
                </a:lnTo>
                <a:lnTo>
                  <a:pt x="542" y="1154"/>
                </a:lnTo>
                <a:lnTo>
                  <a:pt x="526" y="1161"/>
                </a:lnTo>
                <a:lnTo>
                  <a:pt x="519" y="1166"/>
                </a:lnTo>
                <a:lnTo>
                  <a:pt x="514" y="1172"/>
                </a:lnTo>
                <a:lnTo>
                  <a:pt x="509" y="1180"/>
                </a:lnTo>
                <a:lnTo>
                  <a:pt x="508" y="1184"/>
                </a:lnTo>
                <a:lnTo>
                  <a:pt x="507" y="1189"/>
                </a:lnTo>
                <a:lnTo>
                  <a:pt x="507" y="1189"/>
                </a:lnTo>
                <a:lnTo>
                  <a:pt x="500" y="1188"/>
                </a:lnTo>
                <a:lnTo>
                  <a:pt x="496" y="1185"/>
                </a:lnTo>
                <a:lnTo>
                  <a:pt x="495" y="1182"/>
                </a:lnTo>
                <a:lnTo>
                  <a:pt x="495" y="1178"/>
                </a:lnTo>
                <a:lnTo>
                  <a:pt x="496" y="1170"/>
                </a:lnTo>
                <a:lnTo>
                  <a:pt x="495" y="1165"/>
                </a:lnTo>
                <a:lnTo>
                  <a:pt x="492" y="1160"/>
                </a:lnTo>
                <a:lnTo>
                  <a:pt x="492" y="1160"/>
                </a:lnTo>
                <a:lnTo>
                  <a:pt x="487" y="1151"/>
                </a:lnTo>
                <a:lnTo>
                  <a:pt x="481" y="1144"/>
                </a:lnTo>
                <a:lnTo>
                  <a:pt x="477" y="1141"/>
                </a:lnTo>
                <a:lnTo>
                  <a:pt x="472" y="1139"/>
                </a:lnTo>
                <a:lnTo>
                  <a:pt x="467" y="1139"/>
                </a:lnTo>
                <a:lnTo>
                  <a:pt x="461" y="1141"/>
                </a:lnTo>
                <a:lnTo>
                  <a:pt x="453" y="1141"/>
                </a:lnTo>
                <a:lnTo>
                  <a:pt x="445" y="1142"/>
                </a:lnTo>
                <a:lnTo>
                  <a:pt x="445" y="1142"/>
                </a:lnTo>
                <a:lnTo>
                  <a:pt x="437" y="1141"/>
                </a:lnTo>
                <a:lnTo>
                  <a:pt x="431" y="1138"/>
                </a:lnTo>
                <a:lnTo>
                  <a:pt x="427" y="1134"/>
                </a:lnTo>
                <a:lnTo>
                  <a:pt x="424" y="1128"/>
                </a:lnTo>
                <a:lnTo>
                  <a:pt x="419" y="1116"/>
                </a:lnTo>
                <a:lnTo>
                  <a:pt x="415" y="1105"/>
                </a:lnTo>
                <a:lnTo>
                  <a:pt x="415" y="1105"/>
                </a:lnTo>
                <a:lnTo>
                  <a:pt x="411" y="1099"/>
                </a:lnTo>
                <a:lnTo>
                  <a:pt x="407" y="1093"/>
                </a:lnTo>
                <a:lnTo>
                  <a:pt x="399" y="1085"/>
                </a:lnTo>
                <a:lnTo>
                  <a:pt x="388" y="1078"/>
                </a:lnTo>
                <a:lnTo>
                  <a:pt x="378" y="1073"/>
                </a:lnTo>
                <a:lnTo>
                  <a:pt x="368" y="1068"/>
                </a:lnTo>
                <a:lnTo>
                  <a:pt x="358" y="1061"/>
                </a:lnTo>
                <a:lnTo>
                  <a:pt x="349" y="1053"/>
                </a:lnTo>
                <a:lnTo>
                  <a:pt x="346" y="1047"/>
                </a:lnTo>
                <a:lnTo>
                  <a:pt x="341" y="1042"/>
                </a:lnTo>
                <a:lnTo>
                  <a:pt x="341" y="1042"/>
                </a:lnTo>
                <a:lnTo>
                  <a:pt x="337" y="1044"/>
                </a:lnTo>
                <a:lnTo>
                  <a:pt x="332" y="1045"/>
                </a:lnTo>
                <a:lnTo>
                  <a:pt x="327" y="1045"/>
                </a:lnTo>
                <a:lnTo>
                  <a:pt x="324" y="1045"/>
                </a:lnTo>
                <a:lnTo>
                  <a:pt x="318" y="1043"/>
                </a:lnTo>
                <a:lnTo>
                  <a:pt x="312" y="1042"/>
                </a:lnTo>
                <a:lnTo>
                  <a:pt x="312" y="1042"/>
                </a:lnTo>
                <a:lnTo>
                  <a:pt x="305" y="1042"/>
                </a:lnTo>
                <a:lnTo>
                  <a:pt x="299" y="1040"/>
                </a:lnTo>
                <a:lnTo>
                  <a:pt x="287" y="1037"/>
                </a:lnTo>
                <a:lnTo>
                  <a:pt x="277" y="1032"/>
                </a:lnTo>
                <a:lnTo>
                  <a:pt x="269" y="1025"/>
                </a:lnTo>
                <a:lnTo>
                  <a:pt x="249" y="1010"/>
                </a:lnTo>
                <a:lnTo>
                  <a:pt x="238" y="1004"/>
                </a:lnTo>
                <a:lnTo>
                  <a:pt x="224" y="998"/>
                </a:lnTo>
                <a:lnTo>
                  <a:pt x="224" y="998"/>
                </a:lnTo>
                <a:lnTo>
                  <a:pt x="213" y="994"/>
                </a:lnTo>
                <a:lnTo>
                  <a:pt x="202" y="992"/>
                </a:lnTo>
                <a:lnTo>
                  <a:pt x="181" y="987"/>
                </a:lnTo>
                <a:lnTo>
                  <a:pt x="172" y="985"/>
                </a:lnTo>
                <a:lnTo>
                  <a:pt x="163" y="981"/>
                </a:lnTo>
                <a:lnTo>
                  <a:pt x="155" y="976"/>
                </a:lnTo>
                <a:lnTo>
                  <a:pt x="147" y="969"/>
                </a:lnTo>
                <a:lnTo>
                  <a:pt x="147" y="969"/>
                </a:lnTo>
                <a:lnTo>
                  <a:pt x="144" y="966"/>
                </a:lnTo>
                <a:lnTo>
                  <a:pt x="142" y="962"/>
                </a:lnTo>
                <a:lnTo>
                  <a:pt x="140" y="953"/>
                </a:lnTo>
                <a:lnTo>
                  <a:pt x="135" y="933"/>
                </a:lnTo>
                <a:lnTo>
                  <a:pt x="133" y="924"/>
                </a:lnTo>
                <a:lnTo>
                  <a:pt x="129" y="917"/>
                </a:lnTo>
                <a:lnTo>
                  <a:pt x="126" y="914"/>
                </a:lnTo>
                <a:lnTo>
                  <a:pt x="122" y="912"/>
                </a:lnTo>
                <a:lnTo>
                  <a:pt x="118" y="910"/>
                </a:lnTo>
                <a:lnTo>
                  <a:pt x="113" y="909"/>
                </a:lnTo>
                <a:lnTo>
                  <a:pt x="113" y="909"/>
                </a:lnTo>
                <a:lnTo>
                  <a:pt x="105" y="910"/>
                </a:lnTo>
                <a:lnTo>
                  <a:pt x="97" y="914"/>
                </a:lnTo>
                <a:lnTo>
                  <a:pt x="91" y="920"/>
                </a:lnTo>
                <a:lnTo>
                  <a:pt x="84" y="926"/>
                </a:lnTo>
                <a:lnTo>
                  <a:pt x="80" y="933"/>
                </a:lnTo>
                <a:lnTo>
                  <a:pt x="74" y="943"/>
                </a:lnTo>
                <a:lnTo>
                  <a:pt x="64" y="961"/>
                </a:lnTo>
                <a:lnTo>
                  <a:pt x="53" y="978"/>
                </a:lnTo>
                <a:lnTo>
                  <a:pt x="48" y="985"/>
                </a:lnTo>
                <a:lnTo>
                  <a:pt x="42" y="992"/>
                </a:lnTo>
                <a:lnTo>
                  <a:pt x="35" y="997"/>
                </a:lnTo>
                <a:lnTo>
                  <a:pt x="27" y="999"/>
                </a:lnTo>
                <a:lnTo>
                  <a:pt x="18" y="1000"/>
                </a:lnTo>
                <a:lnTo>
                  <a:pt x="7" y="998"/>
                </a:lnTo>
                <a:lnTo>
                  <a:pt x="7" y="998"/>
                </a:lnTo>
                <a:lnTo>
                  <a:pt x="6" y="1004"/>
                </a:lnTo>
                <a:lnTo>
                  <a:pt x="9" y="1009"/>
                </a:lnTo>
                <a:lnTo>
                  <a:pt x="12" y="1021"/>
                </a:lnTo>
                <a:lnTo>
                  <a:pt x="14" y="1027"/>
                </a:lnTo>
                <a:lnTo>
                  <a:pt x="14" y="1031"/>
                </a:lnTo>
                <a:lnTo>
                  <a:pt x="13" y="1033"/>
                </a:lnTo>
                <a:lnTo>
                  <a:pt x="12" y="1035"/>
                </a:lnTo>
                <a:lnTo>
                  <a:pt x="7" y="1038"/>
                </a:lnTo>
                <a:lnTo>
                  <a:pt x="7" y="1038"/>
                </a:lnTo>
                <a:lnTo>
                  <a:pt x="6" y="1044"/>
                </a:lnTo>
                <a:lnTo>
                  <a:pt x="4" y="1051"/>
                </a:lnTo>
                <a:lnTo>
                  <a:pt x="0" y="1058"/>
                </a:lnTo>
                <a:lnTo>
                  <a:pt x="0" y="1068"/>
                </a:lnTo>
                <a:lnTo>
                  <a:pt x="0" y="1068"/>
                </a:lnTo>
                <a:lnTo>
                  <a:pt x="2" y="1077"/>
                </a:lnTo>
                <a:lnTo>
                  <a:pt x="5" y="1085"/>
                </a:lnTo>
                <a:lnTo>
                  <a:pt x="10" y="1092"/>
                </a:lnTo>
                <a:lnTo>
                  <a:pt x="15" y="1099"/>
                </a:lnTo>
                <a:lnTo>
                  <a:pt x="28" y="1111"/>
                </a:lnTo>
                <a:lnTo>
                  <a:pt x="33" y="1115"/>
                </a:lnTo>
                <a:lnTo>
                  <a:pt x="36" y="1119"/>
                </a:lnTo>
                <a:lnTo>
                  <a:pt x="36" y="1119"/>
                </a:lnTo>
                <a:lnTo>
                  <a:pt x="72" y="1127"/>
                </a:lnTo>
                <a:lnTo>
                  <a:pt x="109" y="1135"/>
                </a:lnTo>
                <a:lnTo>
                  <a:pt x="187" y="1151"/>
                </a:lnTo>
                <a:lnTo>
                  <a:pt x="263" y="1167"/>
                </a:lnTo>
                <a:lnTo>
                  <a:pt x="300" y="1176"/>
                </a:lnTo>
                <a:lnTo>
                  <a:pt x="334" y="1185"/>
                </a:lnTo>
                <a:lnTo>
                  <a:pt x="334" y="1185"/>
                </a:lnTo>
                <a:lnTo>
                  <a:pt x="340" y="1188"/>
                </a:lnTo>
                <a:lnTo>
                  <a:pt x="345" y="1190"/>
                </a:lnTo>
                <a:lnTo>
                  <a:pt x="354" y="1197"/>
                </a:lnTo>
                <a:lnTo>
                  <a:pt x="361" y="1205"/>
                </a:lnTo>
                <a:lnTo>
                  <a:pt x="368" y="1215"/>
                </a:lnTo>
                <a:lnTo>
                  <a:pt x="373" y="1227"/>
                </a:lnTo>
                <a:lnTo>
                  <a:pt x="378" y="1238"/>
                </a:lnTo>
                <a:lnTo>
                  <a:pt x="388" y="1264"/>
                </a:lnTo>
                <a:lnTo>
                  <a:pt x="394" y="1276"/>
                </a:lnTo>
                <a:lnTo>
                  <a:pt x="401" y="1288"/>
                </a:lnTo>
                <a:lnTo>
                  <a:pt x="408" y="1299"/>
                </a:lnTo>
                <a:lnTo>
                  <a:pt x="417" y="1309"/>
                </a:lnTo>
                <a:lnTo>
                  <a:pt x="429" y="1317"/>
                </a:lnTo>
                <a:lnTo>
                  <a:pt x="434" y="1320"/>
                </a:lnTo>
                <a:lnTo>
                  <a:pt x="441" y="1323"/>
                </a:lnTo>
                <a:lnTo>
                  <a:pt x="448" y="1326"/>
                </a:lnTo>
                <a:lnTo>
                  <a:pt x="456" y="1327"/>
                </a:lnTo>
                <a:lnTo>
                  <a:pt x="464" y="1328"/>
                </a:lnTo>
                <a:lnTo>
                  <a:pt x="473" y="1328"/>
                </a:lnTo>
                <a:lnTo>
                  <a:pt x="473" y="1328"/>
                </a:lnTo>
                <a:lnTo>
                  <a:pt x="495" y="1327"/>
                </a:lnTo>
                <a:lnTo>
                  <a:pt x="515" y="1325"/>
                </a:lnTo>
                <a:lnTo>
                  <a:pt x="532" y="1320"/>
                </a:lnTo>
                <a:lnTo>
                  <a:pt x="547" y="1314"/>
                </a:lnTo>
                <a:lnTo>
                  <a:pt x="562" y="1307"/>
                </a:lnTo>
                <a:lnTo>
                  <a:pt x="575" y="1300"/>
                </a:lnTo>
                <a:lnTo>
                  <a:pt x="600" y="1284"/>
                </a:lnTo>
                <a:lnTo>
                  <a:pt x="613" y="1276"/>
                </a:lnTo>
                <a:lnTo>
                  <a:pt x="625" y="1268"/>
                </a:lnTo>
                <a:lnTo>
                  <a:pt x="640" y="1260"/>
                </a:lnTo>
                <a:lnTo>
                  <a:pt x="655" y="1254"/>
                </a:lnTo>
                <a:lnTo>
                  <a:pt x="674" y="1249"/>
                </a:lnTo>
                <a:lnTo>
                  <a:pt x="693" y="1244"/>
                </a:lnTo>
                <a:lnTo>
                  <a:pt x="716" y="1241"/>
                </a:lnTo>
                <a:lnTo>
                  <a:pt x="742" y="1241"/>
                </a:lnTo>
                <a:lnTo>
                  <a:pt x="742" y="1241"/>
                </a:lnTo>
                <a:lnTo>
                  <a:pt x="752" y="1241"/>
                </a:lnTo>
                <a:lnTo>
                  <a:pt x="762" y="1242"/>
                </a:lnTo>
                <a:lnTo>
                  <a:pt x="771" y="1244"/>
                </a:lnTo>
                <a:lnTo>
                  <a:pt x="781" y="1246"/>
                </a:lnTo>
                <a:lnTo>
                  <a:pt x="798" y="1253"/>
                </a:lnTo>
                <a:lnTo>
                  <a:pt x="814" y="1261"/>
                </a:lnTo>
                <a:lnTo>
                  <a:pt x="829" y="1268"/>
                </a:lnTo>
                <a:lnTo>
                  <a:pt x="843" y="1273"/>
                </a:lnTo>
                <a:lnTo>
                  <a:pt x="849" y="1274"/>
                </a:lnTo>
                <a:lnTo>
                  <a:pt x="855" y="1275"/>
                </a:lnTo>
                <a:lnTo>
                  <a:pt x="861" y="1275"/>
                </a:lnTo>
                <a:lnTo>
                  <a:pt x="867" y="1274"/>
                </a:lnTo>
                <a:lnTo>
                  <a:pt x="867" y="1274"/>
                </a:lnTo>
                <a:lnTo>
                  <a:pt x="873" y="1272"/>
                </a:lnTo>
                <a:lnTo>
                  <a:pt x="877" y="1271"/>
                </a:lnTo>
                <a:lnTo>
                  <a:pt x="884" y="1269"/>
                </a:lnTo>
                <a:lnTo>
                  <a:pt x="889" y="1266"/>
                </a:lnTo>
                <a:lnTo>
                  <a:pt x="889" y="1269"/>
                </a:lnTo>
                <a:lnTo>
                  <a:pt x="889" y="1269"/>
                </a:lnTo>
                <a:lnTo>
                  <a:pt x="891" y="1261"/>
                </a:lnTo>
                <a:lnTo>
                  <a:pt x="893" y="1254"/>
                </a:lnTo>
                <a:lnTo>
                  <a:pt x="897" y="1248"/>
                </a:lnTo>
                <a:lnTo>
                  <a:pt x="901" y="1241"/>
                </a:lnTo>
                <a:lnTo>
                  <a:pt x="911" y="1229"/>
                </a:lnTo>
                <a:lnTo>
                  <a:pt x="921" y="1219"/>
                </a:lnTo>
                <a:lnTo>
                  <a:pt x="931" y="1208"/>
                </a:lnTo>
                <a:lnTo>
                  <a:pt x="941" y="1197"/>
                </a:lnTo>
                <a:lnTo>
                  <a:pt x="945" y="1191"/>
                </a:lnTo>
                <a:lnTo>
                  <a:pt x="948" y="1185"/>
                </a:lnTo>
                <a:lnTo>
                  <a:pt x="950" y="1178"/>
                </a:lnTo>
                <a:lnTo>
                  <a:pt x="951" y="1170"/>
                </a:lnTo>
                <a:lnTo>
                  <a:pt x="951" y="1170"/>
                </a:lnTo>
                <a:lnTo>
                  <a:pt x="938" y="1168"/>
                </a:lnTo>
                <a:lnTo>
                  <a:pt x="929" y="1167"/>
                </a:lnTo>
                <a:lnTo>
                  <a:pt x="920" y="1165"/>
                </a:lnTo>
                <a:lnTo>
                  <a:pt x="911" y="1161"/>
                </a:lnTo>
                <a:lnTo>
                  <a:pt x="903" y="1157"/>
                </a:lnTo>
                <a:lnTo>
                  <a:pt x="900" y="1153"/>
                </a:lnTo>
                <a:lnTo>
                  <a:pt x="898" y="1150"/>
                </a:lnTo>
                <a:lnTo>
                  <a:pt x="897" y="1146"/>
                </a:lnTo>
                <a:lnTo>
                  <a:pt x="896" y="1142"/>
                </a:lnTo>
                <a:lnTo>
                  <a:pt x="896" y="1142"/>
                </a:lnTo>
                <a:lnTo>
                  <a:pt x="897" y="1132"/>
                </a:lnTo>
                <a:lnTo>
                  <a:pt x="899" y="1124"/>
                </a:lnTo>
                <a:lnTo>
                  <a:pt x="903" y="1116"/>
                </a:lnTo>
                <a:lnTo>
                  <a:pt x="906" y="1109"/>
                </a:lnTo>
                <a:lnTo>
                  <a:pt x="916" y="1096"/>
                </a:lnTo>
                <a:lnTo>
                  <a:pt x="926" y="1083"/>
                </a:lnTo>
                <a:lnTo>
                  <a:pt x="926" y="1083"/>
                </a:lnTo>
                <a:lnTo>
                  <a:pt x="919" y="1077"/>
                </a:lnTo>
                <a:lnTo>
                  <a:pt x="912" y="1070"/>
                </a:lnTo>
                <a:lnTo>
                  <a:pt x="908" y="1066"/>
                </a:lnTo>
                <a:lnTo>
                  <a:pt x="906" y="1061"/>
                </a:lnTo>
                <a:lnTo>
                  <a:pt x="904" y="1057"/>
                </a:lnTo>
                <a:lnTo>
                  <a:pt x="904" y="1050"/>
                </a:lnTo>
                <a:lnTo>
                  <a:pt x="904" y="1050"/>
                </a:lnTo>
                <a:lnTo>
                  <a:pt x="904" y="1046"/>
                </a:lnTo>
                <a:lnTo>
                  <a:pt x="905" y="1043"/>
                </a:lnTo>
                <a:lnTo>
                  <a:pt x="907" y="1039"/>
                </a:lnTo>
                <a:lnTo>
                  <a:pt x="911" y="1036"/>
                </a:lnTo>
                <a:lnTo>
                  <a:pt x="918" y="1031"/>
                </a:lnTo>
                <a:lnTo>
                  <a:pt x="927" y="1029"/>
                </a:lnTo>
                <a:lnTo>
                  <a:pt x="938" y="1027"/>
                </a:lnTo>
                <a:lnTo>
                  <a:pt x="950" y="1024"/>
                </a:lnTo>
                <a:lnTo>
                  <a:pt x="973" y="1024"/>
                </a:lnTo>
                <a:lnTo>
                  <a:pt x="973" y="1024"/>
                </a:lnTo>
                <a:lnTo>
                  <a:pt x="979" y="1023"/>
                </a:lnTo>
                <a:lnTo>
                  <a:pt x="984" y="1022"/>
                </a:lnTo>
                <a:lnTo>
                  <a:pt x="989" y="1020"/>
                </a:lnTo>
                <a:lnTo>
                  <a:pt x="992" y="1017"/>
                </a:lnTo>
                <a:lnTo>
                  <a:pt x="999" y="1009"/>
                </a:lnTo>
                <a:lnTo>
                  <a:pt x="1005" y="1001"/>
                </a:lnTo>
                <a:lnTo>
                  <a:pt x="1011" y="993"/>
                </a:lnTo>
                <a:lnTo>
                  <a:pt x="1018" y="986"/>
                </a:lnTo>
                <a:lnTo>
                  <a:pt x="1022" y="984"/>
                </a:lnTo>
                <a:lnTo>
                  <a:pt x="1027" y="982"/>
                </a:lnTo>
                <a:lnTo>
                  <a:pt x="1033" y="981"/>
                </a:lnTo>
                <a:lnTo>
                  <a:pt x="1040" y="979"/>
                </a:lnTo>
                <a:lnTo>
                  <a:pt x="1040" y="979"/>
                </a:lnTo>
                <a:lnTo>
                  <a:pt x="1057" y="981"/>
                </a:lnTo>
                <a:lnTo>
                  <a:pt x="1073" y="979"/>
                </a:lnTo>
                <a:lnTo>
                  <a:pt x="1081" y="978"/>
                </a:lnTo>
                <a:lnTo>
                  <a:pt x="1089" y="976"/>
                </a:lnTo>
                <a:lnTo>
                  <a:pt x="1096" y="974"/>
                </a:lnTo>
                <a:lnTo>
                  <a:pt x="1102" y="969"/>
                </a:lnTo>
                <a:lnTo>
                  <a:pt x="1102" y="969"/>
                </a:lnTo>
                <a:lnTo>
                  <a:pt x="1105" y="964"/>
                </a:lnTo>
                <a:lnTo>
                  <a:pt x="1106" y="960"/>
                </a:lnTo>
                <a:lnTo>
                  <a:pt x="1107" y="954"/>
                </a:lnTo>
                <a:lnTo>
                  <a:pt x="1107" y="949"/>
                </a:lnTo>
                <a:lnTo>
                  <a:pt x="1107" y="944"/>
                </a:lnTo>
                <a:lnTo>
                  <a:pt x="1109" y="939"/>
                </a:lnTo>
                <a:lnTo>
                  <a:pt x="1110" y="933"/>
                </a:lnTo>
                <a:lnTo>
                  <a:pt x="1113" y="928"/>
                </a:lnTo>
                <a:lnTo>
                  <a:pt x="1113" y="928"/>
                </a:lnTo>
                <a:lnTo>
                  <a:pt x="1137" y="905"/>
                </a:lnTo>
                <a:lnTo>
                  <a:pt x="1149" y="893"/>
                </a:lnTo>
                <a:lnTo>
                  <a:pt x="1158" y="883"/>
                </a:lnTo>
                <a:lnTo>
                  <a:pt x="1166" y="870"/>
                </a:lnTo>
                <a:lnTo>
                  <a:pt x="1174" y="856"/>
                </a:lnTo>
                <a:lnTo>
                  <a:pt x="1181" y="839"/>
                </a:lnTo>
                <a:lnTo>
                  <a:pt x="1187" y="818"/>
                </a:lnTo>
                <a:lnTo>
                  <a:pt x="1187" y="818"/>
                </a:lnTo>
                <a:lnTo>
                  <a:pt x="1194" y="817"/>
                </a:lnTo>
                <a:lnTo>
                  <a:pt x="1202" y="816"/>
                </a:lnTo>
                <a:lnTo>
                  <a:pt x="1209" y="814"/>
                </a:lnTo>
                <a:lnTo>
                  <a:pt x="1216" y="811"/>
                </a:lnTo>
                <a:lnTo>
                  <a:pt x="1229" y="805"/>
                </a:lnTo>
                <a:lnTo>
                  <a:pt x="1242" y="795"/>
                </a:lnTo>
                <a:lnTo>
                  <a:pt x="1255" y="785"/>
                </a:lnTo>
                <a:lnTo>
                  <a:pt x="1266" y="773"/>
                </a:lnTo>
                <a:lnTo>
                  <a:pt x="1285" y="753"/>
                </a:lnTo>
                <a:lnTo>
                  <a:pt x="1285" y="753"/>
                </a:lnTo>
                <a:lnTo>
                  <a:pt x="1303" y="738"/>
                </a:lnTo>
                <a:lnTo>
                  <a:pt x="1312" y="731"/>
                </a:lnTo>
                <a:lnTo>
                  <a:pt x="1319" y="723"/>
                </a:lnTo>
                <a:lnTo>
                  <a:pt x="1325" y="715"/>
                </a:lnTo>
                <a:lnTo>
                  <a:pt x="1330" y="704"/>
                </a:lnTo>
                <a:lnTo>
                  <a:pt x="1333" y="693"/>
                </a:lnTo>
                <a:lnTo>
                  <a:pt x="1333" y="679"/>
                </a:lnTo>
                <a:lnTo>
                  <a:pt x="1333" y="679"/>
                </a:lnTo>
                <a:lnTo>
                  <a:pt x="1333" y="670"/>
                </a:lnTo>
                <a:lnTo>
                  <a:pt x="1331" y="662"/>
                </a:lnTo>
                <a:lnTo>
                  <a:pt x="1327" y="655"/>
                </a:lnTo>
                <a:lnTo>
                  <a:pt x="1323" y="649"/>
                </a:lnTo>
                <a:lnTo>
                  <a:pt x="1318" y="643"/>
                </a:lnTo>
                <a:lnTo>
                  <a:pt x="1312" y="638"/>
                </a:lnTo>
                <a:lnTo>
                  <a:pt x="1301" y="628"/>
                </a:lnTo>
                <a:lnTo>
                  <a:pt x="1288" y="619"/>
                </a:lnTo>
                <a:lnTo>
                  <a:pt x="1282" y="615"/>
                </a:lnTo>
                <a:lnTo>
                  <a:pt x="1278" y="610"/>
                </a:lnTo>
                <a:lnTo>
                  <a:pt x="1273" y="604"/>
                </a:lnTo>
                <a:lnTo>
                  <a:pt x="1270" y="599"/>
                </a:lnTo>
                <a:lnTo>
                  <a:pt x="1267" y="592"/>
                </a:lnTo>
                <a:lnTo>
                  <a:pt x="1267" y="584"/>
                </a:lnTo>
                <a:lnTo>
                  <a:pt x="1267" y="584"/>
                </a:lnTo>
                <a:lnTo>
                  <a:pt x="1267" y="579"/>
                </a:lnTo>
                <a:lnTo>
                  <a:pt x="1269" y="574"/>
                </a:lnTo>
                <a:lnTo>
                  <a:pt x="1270" y="571"/>
                </a:lnTo>
                <a:lnTo>
                  <a:pt x="1272" y="569"/>
                </a:lnTo>
                <a:lnTo>
                  <a:pt x="1278" y="563"/>
                </a:lnTo>
                <a:lnTo>
                  <a:pt x="1285" y="558"/>
                </a:lnTo>
                <a:lnTo>
                  <a:pt x="1300" y="550"/>
                </a:lnTo>
                <a:lnTo>
                  <a:pt x="1307" y="546"/>
                </a:lnTo>
                <a:lnTo>
                  <a:pt x="1311" y="540"/>
                </a:lnTo>
                <a:lnTo>
                  <a:pt x="1311" y="540"/>
                </a:lnTo>
                <a:lnTo>
                  <a:pt x="1319" y="520"/>
                </a:lnTo>
                <a:lnTo>
                  <a:pt x="1328" y="498"/>
                </a:lnTo>
                <a:lnTo>
                  <a:pt x="1338" y="477"/>
                </a:lnTo>
                <a:lnTo>
                  <a:pt x="1347" y="454"/>
                </a:lnTo>
                <a:lnTo>
                  <a:pt x="1358" y="433"/>
                </a:lnTo>
                <a:lnTo>
                  <a:pt x="1370" y="413"/>
                </a:lnTo>
                <a:lnTo>
                  <a:pt x="1377" y="405"/>
                </a:lnTo>
                <a:lnTo>
                  <a:pt x="1384" y="397"/>
                </a:lnTo>
                <a:lnTo>
                  <a:pt x="1392" y="390"/>
                </a:lnTo>
                <a:lnTo>
                  <a:pt x="1400" y="386"/>
                </a:lnTo>
                <a:lnTo>
                  <a:pt x="1400" y="386"/>
                </a:lnTo>
                <a:lnTo>
                  <a:pt x="1408" y="380"/>
                </a:lnTo>
                <a:lnTo>
                  <a:pt x="1417" y="375"/>
                </a:lnTo>
                <a:lnTo>
                  <a:pt x="1425" y="371"/>
                </a:lnTo>
                <a:lnTo>
                  <a:pt x="1433" y="365"/>
                </a:lnTo>
                <a:lnTo>
                  <a:pt x="1441" y="358"/>
                </a:lnTo>
                <a:lnTo>
                  <a:pt x="1446" y="349"/>
                </a:lnTo>
                <a:lnTo>
                  <a:pt x="1448" y="344"/>
                </a:lnTo>
                <a:lnTo>
                  <a:pt x="1449" y="337"/>
                </a:lnTo>
                <a:lnTo>
                  <a:pt x="1450" y="330"/>
                </a:lnTo>
                <a:lnTo>
                  <a:pt x="1452" y="324"/>
                </a:lnTo>
                <a:lnTo>
                  <a:pt x="1452" y="324"/>
                </a:lnTo>
                <a:lnTo>
                  <a:pt x="1450" y="313"/>
                </a:lnTo>
                <a:lnTo>
                  <a:pt x="1447" y="305"/>
                </a:lnTo>
                <a:lnTo>
                  <a:pt x="1442" y="298"/>
                </a:lnTo>
                <a:lnTo>
                  <a:pt x="1438" y="291"/>
                </a:lnTo>
                <a:lnTo>
                  <a:pt x="1431" y="287"/>
                </a:lnTo>
                <a:lnTo>
                  <a:pt x="1423" y="281"/>
                </a:lnTo>
                <a:lnTo>
                  <a:pt x="1407" y="272"/>
                </a:lnTo>
                <a:lnTo>
                  <a:pt x="1407" y="27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6" name="Freeform 111"/>
          <p:cNvSpPr>
            <a:spLocks/>
          </p:cNvSpPr>
          <p:nvPr/>
        </p:nvSpPr>
        <p:spPr bwMode="auto">
          <a:xfrm>
            <a:off x="5292080" y="1916832"/>
            <a:ext cx="2181225" cy="2884488"/>
          </a:xfrm>
          <a:custGeom>
            <a:avLst/>
            <a:gdLst/>
            <a:ahLst/>
            <a:cxnLst>
              <a:cxn ang="0">
                <a:pos x="2493" y="1466"/>
              </a:cxn>
              <a:cxn ang="0">
                <a:pos x="2473" y="1235"/>
              </a:cxn>
              <a:cxn ang="0">
                <a:pos x="2466" y="1160"/>
              </a:cxn>
              <a:cxn ang="0">
                <a:pos x="2562" y="1080"/>
              </a:cxn>
              <a:cxn ang="0">
                <a:pos x="2636" y="943"/>
              </a:cxn>
              <a:cxn ang="0">
                <a:pos x="2569" y="794"/>
              </a:cxn>
              <a:cxn ang="0">
                <a:pos x="2530" y="702"/>
              </a:cxn>
              <a:cxn ang="0">
                <a:pos x="2600" y="590"/>
              </a:cxn>
              <a:cxn ang="0">
                <a:pos x="2666" y="489"/>
              </a:cxn>
              <a:cxn ang="0">
                <a:pos x="2554" y="396"/>
              </a:cxn>
              <a:cxn ang="0">
                <a:pos x="2434" y="339"/>
              </a:cxn>
              <a:cxn ang="0">
                <a:pos x="2475" y="157"/>
              </a:cxn>
              <a:cxn ang="0">
                <a:pos x="2391" y="7"/>
              </a:cxn>
              <a:cxn ang="0">
                <a:pos x="2428" y="141"/>
              </a:cxn>
              <a:cxn ang="0">
                <a:pos x="2236" y="98"/>
              </a:cxn>
              <a:cxn ang="0">
                <a:pos x="2011" y="72"/>
              </a:cxn>
              <a:cxn ang="0">
                <a:pos x="1886" y="320"/>
              </a:cxn>
              <a:cxn ang="0">
                <a:pos x="1690" y="354"/>
              </a:cxn>
              <a:cxn ang="0">
                <a:pos x="1559" y="350"/>
              </a:cxn>
              <a:cxn ang="0">
                <a:pos x="1537" y="418"/>
              </a:cxn>
              <a:cxn ang="0">
                <a:pos x="1510" y="389"/>
              </a:cxn>
              <a:cxn ang="0">
                <a:pos x="1311" y="532"/>
              </a:cxn>
              <a:cxn ang="0">
                <a:pos x="1324" y="616"/>
              </a:cxn>
              <a:cxn ang="0">
                <a:pos x="1315" y="733"/>
              </a:cxn>
              <a:cxn ang="0">
                <a:pos x="1223" y="808"/>
              </a:cxn>
              <a:cxn ang="0">
                <a:pos x="1073" y="890"/>
              </a:cxn>
              <a:cxn ang="0">
                <a:pos x="1055" y="1063"/>
              </a:cxn>
              <a:cxn ang="0">
                <a:pos x="892" y="900"/>
              </a:cxn>
              <a:cxn ang="0">
                <a:pos x="725" y="798"/>
              </a:cxn>
              <a:cxn ang="0">
                <a:pos x="563" y="853"/>
              </a:cxn>
              <a:cxn ang="0">
                <a:pos x="567" y="1004"/>
              </a:cxn>
              <a:cxn ang="0">
                <a:pos x="372" y="972"/>
              </a:cxn>
              <a:cxn ang="0">
                <a:pos x="137" y="1022"/>
              </a:cxn>
              <a:cxn ang="0">
                <a:pos x="47" y="1150"/>
              </a:cxn>
              <a:cxn ang="0">
                <a:pos x="183" y="1338"/>
              </a:cxn>
              <a:cxn ang="0">
                <a:pos x="228" y="1472"/>
              </a:cxn>
              <a:cxn ang="0">
                <a:pos x="136" y="1703"/>
              </a:cxn>
              <a:cxn ang="0">
                <a:pos x="68" y="1924"/>
              </a:cxn>
              <a:cxn ang="0">
                <a:pos x="52" y="2190"/>
              </a:cxn>
              <a:cxn ang="0">
                <a:pos x="121" y="2315"/>
              </a:cxn>
              <a:cxn ang="0">
                <a:pos x="152" y="2556"/>
              </a:cxn>
              <a:cxn ang="0">
                <a:pos x="350" y="2595"/>
              </a:cxn>
              <a:cxn ang="0">
                <a:pos x="437" y="2755"/>
              </a:cxn>
              <a:cxn ang="0">
                <a:pos x="511" y="2908"/>
              </a:cxn>
              <a:cxn ang="0">
                <a:pos x="583" y="3273"/>
              </a:cxn>
              <a:cxn ang="0">
                <a:pos x="772" y="3188"/>
              </a:cxn>
              <a:cxn ang="0">
                <a:pos x="896" y="3130"/>
              </a:cxn>
              <a:cxn ang="0">
                <a:pos x="1057" y="2945"/>
              </a:cxn>
              <a:cxn ang="0">
                <a:pos x="1220" y="3003"/>
              </a:cxn>
              <a:cxn ang="0">
                <a:pos x="1365" y="3190"/>
              </a:cxn>
              <a:cxn ang="0">
                <a:pos x="1712" y="3260"/>
              </a:cxn>
              <a:cxn ang="0">
                <a:pos x="1885" y="3281"/>
              </a:cxn>
              <a:cxn ang="0">
                <a:pos x="2116" y="3182"/>
              </a:cxn>
              <a:cxn ang="0">
                <a:pos x="2317" y="3039"/>
              </a:cxn>
              <a:cxn ang="0">
                <a:pos x="2241" y="2815"/>
              </a:cxn>
              <a:cxn ang="0">
                <a:pos x="2218" y="2657"/>
              </a:cxn>
              <a:cxn ang="0">
                <a:pos x="2284" y="2428"/>
              </a:cxn>
              <a:cxn ang="0">
                <a:pos x="2389" y="2323"/>
              </a:cxn>
              <a:cxn ang="0">
                <a:pos x="2445" y="2182"/>
              </a:cxn>
              <a:cxn ang="0">
                <a:pos x="2346" y="1950"/>
              </a:cxn>
              <a:cxn ang="0">
                <a:pos x="2345" y="1732"/>
              </a:cxn>
              <a:cxn ang="0">
                <a:pos x="2530" y="1660"/>
              </a:cxn>
              <a:cxn ang="0">
                <a:pos x="2568" y="1592"/>
              </a:cxn>
            </a:cxnLst>
            <a:rect l="0" t="0" r="r" b="b"/>
            <a:pathLst>
              <a:path w="2667" h="3308">
                <a:moveTo>
                  <a:pt x="2568" y="1592"/>
                </a:moveTo>
                <a:lnTo>
                  <a:pt x="2568" y="1592"/>
                </a:lnTo>
                <a:lnTo>
                  <a:pt x="2567" y="1582"/>
                </a:lnTo>
                <a:lnTo>
                  <a:pt x="2565" y="1573"/>
                </a:lnTo>
                <a:lnTo>
                  <a:pt x="2561" y="1567"/>
                </a:lnTo>
                <a:lnTo>
                  <a:pt x="2557" y="1560"/>
                </a:lnTo>
                <a:lnTo>
                  <a:pt x="2550" y="1548"/>
                </a:lnTo>
                <a:lnTo>
                  <a:pt x="2548" y="1542"/>
                </a:lnTo>
                <a:lnTo>
                  <a:pt x="2546" y="1537"/>
                </a:lnTo>
                <a:lnTo>
                  <a:pt x="2546" y="1537"/>
                </a:lnTo>
                <a:lnTo>
                  <a:pt x="2546" y="1511"/>
                </a:lnTo>
                <a:lnTo>
                  <a:pt x="2546" y="1511"/>
                </a:lnTo>
                <a:lnTo>
                  <a:pt x="2546" y="1506"/>
                </a:lnTo>
                <a:lnTo>
                  <a:pt x="2544" y="1502"/>
                </a:lnTo>
                <a:lnTo>
                  <a:pt x="2542" y="1498"/>
                </a:lnTo>
                <a:lnTo>
                  <a:pt x="2539" y="1494"/>
                </a:lnTo>
                <a:lnTo>
                  <a:pt x="2531" y="1489"/>
                </a:lnTo>
                <a:lnTo>
                  <a:pt x="2523" y="1485"/>
                </a:lnTo>
                <a:lnTo>
                  <a:pt x="2513" y="1480"/>
                </a:lnTo>
                <a:lnTo>
                  <a:pt x="2505" y="1476"/>
                </a:lnTo>
                <a:lnTo>
                  <a:pt x="2497" y="1470"/>
                </a:lnTo>
                <a:lnTo>
                  <a:pt x="2493" y="1466"/>
                </a:lnTo>
                <a:lnTo>
                  <a:pt x="2491" y="1463"/>
                </a:lnTo>
                <a:lnTo>
                  <a:pt x="2491" y="1463"/>
                </a:lnTo>
                <a:lnTo>
                  <a:pt x="2481" y="1446"/>
                </a:lnTo>
                <a:lnTo>
                  <a:pt x="2470" y="1432"/>
                </a:lnTo>
                <a:lnTo>
                  <a:pt x="2459" y="1417"/>
                </a:lnTo>
                <a:lnTo>
                  <a:pt x="2449" y="1402"/>
                </a:lnTo>
                <a:lnTo>
                  <a:pt x="2439" y="1387"/>
                </a:lnTo>
                <a:lnTo>
                  <a:pt x="2436" y="1378"/>
                </a:lnTo>
                <a:lnTo>
                  <a:pt x="2432" y="1369"/>
                </a:lnTo>
                <a:lnTo>
                  <a:pt x="2429" y="1358"/>
                </a:lnTo>
                <a:lnTo>
                  <a:pt x="2427" y="1347"/>
                </a:lnTo>
                <a:lnTo>
                  <a:pt x="2426" y="1334"/>
                </a:lnTo>
                <a:lnTo>
                  <a:pt x="2426" y="1320"/>
                </a:lnTo>
                <a:lnTo>
                  <a:pt x="2426" y="1320"/>
                </a:lnTo>
                <a:lnTo>
                  <a:pt x="2427" y="1308"/>
                </a:lnTo>
                <a:lnTo>
                  <a:pt x="2429" y="1294"/>
                </a:lnTo>
                <a:lnTo>
                  <a:pt x="2434" y="1281"/>
                </a:lnTo>
                <a:lnTo>
                  <a:pt x="2439" y="1270"/>
                </a:lnTo>
                <a:lnTo>
                  <a:pt x="2446" y="1258"/>
                </a:lnTo>
                <a:lnTo>
                  <a:pt x="2454" y="1249"/>
                </a:lnTo>
                <a:lnTo>
                  <a:pt x="2464" y="1241"/>
                </a:lnTo>
                <a:lnTo>
                  <a:pt x="2473" y="1235"/>
                </a:lnTo>
                <a:lnTo>
                  <a:pt x="2473" y="1235"/>
                </a:lnTo>
                <a:lnTo>
                  <a:pt x="2481" y="1233"/>
                </a:lnTo>
                <a:lnTo>
                  <a:pt x="2487" y="1233"/>
                </a:lnTo>
                <a:lnTo>
                  <a:pt x="2496" y="1231"/>
                </a:lnTo>
                <a:lnTo>
                  <a:pt x="2499" y="1229"/>
                </a:lnTo>
                <a:lnTo>
                  <a:pt x="2500" y="1226"/>
                </a:lnTo>
                <a:lnTo>
                  <a:pt x="2502" y="1221"/>
                </a:lnTo>
                <a:lnTo>
                  <a:pt x="2503" y="1213"/>
                </a:lnTo>
                <a:lnTo>
                  <a:pt x="2503" y="1213"/>
                </a:lnTo>
                <a:lnTo>
                  <a:pt x="2502" y="1208"/>
                </a:lnTo>
                <a:lnTo>
                  <a:pt x="2500" y="1203"/>
                </a:lnTo>
                <a:lnTo>
                  <a:pt x="2499" y="1199"/>
                </a:lnTo>
                <a:lnTo>
                  <a:pt x="2497" y="1196"/>
                </a:lnTo>
                <a:lnTo>
                  <a:pt x="2490" y="1190"/>
                </a:lnTo>
                <a:lnTo>
                  <a:pt x="2484" y="1185"/>
                </a:lnTo>
                <a:lnTo>
                  <a:pt x="2477" y="1181"/>
                </a:lnTo>
                <a:lnTo>
                  <a:pt x="2470" y="1176"/>
                </a:lnTo>
                <a:lnTo>
                  <a:pt x="2467" y="1172"/>
                </a:lnTo>
                <a:lnTo>
                  <a:pt x="2466" y="1168"/>
                </a:lnTo>
                <a:lnTo>
                  <a:pt x="2465" y="1165"/>
                </a:lnTo>
                <a:lnTo>
                  <a:pt x="2465" y="1165"/>
                </a:lnTo>
                <a:lnTo>
                  <a:pt x="2466" y="1160"/>
                </a:lnTo>
                <a:lnTo>
                  <a:pt x="2467" y="1156"/>
                </a:lnTo>
                <a:lnTo>
                  <a:pt x="2469" y="1151"/>
                </a:lnTo>
                <a:lnTo>
                  <a:pt x="2473" y="1148"/>
                </a:lnTo>
                <a:lnTo>
                  <a:pt x="2480" y="1141"/>
                </a:lnTo>
                <a:lnTo>
                  <a:pt x="2489" y="1134"/>
                </a:lnTo>
                <a:lnTo>
                  <a:pt x="2498" y="1128"/>
                </a:lnTo>
                <a:lnTo>
                  <a:pt x="2507" y="1121"/>
                </a:lnTo>
                <a:lnTo>
                  <a:pt x="2515" y="1113"/>
                </a:lnTo>
                <a:lnTo>
                  <a:pt x="2518" y="1109"/>
                </a:lnTo>
                <a:lnTo>
                  <a:pt x="2521" y="1103"/>
                </a:lnTo>
                <a:lnTo>
                  <a:pt x="2521" y="1103"/>
                </a:lnTo>
                <a:lnTo>
                  <a:pt x="2522" y="1095"/>
                </a:lnTo>
                <a:lnTo>
                  <a:pt x="2525" y="1083"/>
                </a:lnTo>
                <a:lnTo>
                  <a:pt x="2527" y="1079"/>
                </a:lnTo>
                <a:lnTo>
                  <a:pt x="2529" y="1074"/>
                </a:lnTo>
                <a:lnTo>
                  <a:pt x="2531" y="1072"/>
                </a:lnTo>
                <a:lnTo>
                  <a:pt x="2535" y="1071"/>
                </a:lnTo>
                <a:lnTo>
                  <a:pt x="2535" y="1071"/>
                </a:lnTo>
                <a:lnTo>
                  <a:pt x="2542" y="1071"/>
                </a:lnTo>
                <a:lnTo>
                  <a:pt x="2546" y="1072"/>
                </a:lnTo>
                <a:lnTo>
                  <a:pt x="2554" y="1076"/>
                </a:lnTo>
                <a:lnTo>
                  <a:pt x="2562" y="1080"/>
                </a:lnTo>
                <a:lnTo>
                  <a:pt x="2568" y="1081"/>
                </a:lnTo>
                <a:lnTo>
                  <a:pt x="2576" y="1081"/>
                </a:lnTo>
                <a:lnTo>
                  <a:pt x="2576" y="1081"/>
                </a:lnTo>
                <a:lnTo>
                  <a:pt x="2586" y="1080"/>
                </a:lnTo>
                <a:lnTo>
                  <a:pt x="2592" y="1077"/>
                </a:lnTo>
                <a:lnTo>
                  <a:pt x="2598" y="1073"/>
                </a:lnTo>
                <a:lnTo>
                  <a:pt x="2603" y="1066"/>
                </a:lnTo>
                <a:lnTo>
                  <a:pt x="2607" y="1059"/>
                </a:lnTo>
                <a:lnTo>
                  <a:pt x="2610" y="1050"/>
                </a:lnTo>
                <a:lnTo>
                  <a:pt x="2613" y="1030"/>
                </a:lnTo>
                <a:lnTo>
                  <a:pt x="2617" y="1011"/>
                </a:lnTo>
                <a:lnTo>
                  <a:pt x="2619" y="1000"/>
                </a:lnTo>
                <a:lnTo>
                  <a:pt x="2622" y="991"/>
                </a:lnTo>
                <a:lnTo>
                  <a:pt x="2626" y="983"/>
                </a:lnTo>
                <a:lnTo>
                  <a:pt x="2632" y="975"/>
                </a:lnTo>
                <a:lnTo>
                  <a:pt x="2637" y="968"/>
                </a:lnTo>
                <a:lnTo>
                  <a:pt x="2645" y="964"/>
                </a:lnTo>
                <a:lnTo>
                  <a:pt x="2645" y="964"/>
                </a:lnTo>
                <a:lnTo>
                  <a:pt x="2645" y="960"/>
                </a:lnTo>
                <a:lnTo>
                  <a:pt x="2644" y="956"/>
                </a:lnTo>
                <a:lnTo>
                  <a:pt x="2641" y="950"/>
                </a:lnTo>
                <a:lnTo>
                  <a:pt x="2636" y="943"/>
                </a:lnTo>
                <a:lnTo>
                  <a:pt x="2635" y="941"/>
                </a:lnTo>
                <a:lnTo>
                  <a:pt x="2635" y="938"/>
                </a:lnTo>
                <a:lnTo>
                  <a:pt x="2635" y="938"/>
                </a:lnTo>
                <a:lnTo>
                  <a:pt x="2634" y="931"/>
                </a:lnTo>
                <a:lnTo>
                  <a:pt x="2633" y="926"/>
                </a:lnTo>
                <a:lnTo>
                  <a:pt x="2630" y="920"/>
                </a:lnTo>
                <a:lnTo>
                  <a:pt x="2627" y="915"/>
                </a:lnTo>
                <a:lnTo>
                  <a:pt x="2619" y="907"/>
                </a:lnTo>
                <a:lnTo>
                  <a:pt x="2610" y="901"/>
                </a:lnTo>
                <a:lnTo>
                  <a:pt x="2591" y="889"/>
                </a:lnTo>
                <a:lnTo>
                  <a:pt x="2584" y="883"/>
                </a:lnTo>
                <a:lnTo>
                  <a:pt x="2581" y="880"/>
                </a:lnTo>
                <a:lnTo>
                  <a:pt x="2580" y="876"/>
                </a:lnTo>
                <a:lnTo>
                  <a:pt x="2580" y="876"/>
                </a:lnTo>
                <a:lnTo>
                  <a:pt x="2580" y="858"/>
                </a:lnTo>
                <a:lnTo>
                  <a:pt x="2580" y="837"/>
                </a:lnTo>
                <a:lnTo>
                  <a:pt x="2579" y="825"/>
                </a:lnTo>
                <a:lnTo>
                  <a:pt x="2577" y="815"/>
                </a:lnTo>
                <a:lnTo>
                  <a:pt x="2575" y="806"/>
                </a:lnTo>
                <a:lnTo>
                  <a:pt x="2573" y="798"/>
                </a:lnTo>
                <a:lnTo>
                  <a:pt x="2573" y="798"/>
                </a:lnTo>
                <a:lnTo>
                  <a:pt x="2569" y="794"/>
                </a:lnTo>
                <a:lnTo>
                  <a:pt x="2567" y="792"/>
                </a:lnTo>
                <a:lnTo>
                  <a:pt x="2560" y="789"/>
                </a:lnTo>
                <a:lnTo>
                  <a:pt x="2546" y="783"/>
                </a:lnTo>
                <a:lnTo>
                  <a:pt x="2539" y="781"/>
                </a:lnTo>
                <a:lnTo>
                  <a:pt x="2534" y="776"/>
                </a:lnTo>
                <a:lnTo>
                  <a:pt x="2531" y="773"/>
                </a:lnTo>
                <a:lnTo>
                  <a:pt x="2529" y="768"/>
                </a:lnTo>
                <a:lnTo>
                  <a:pt x="2529" y="763"/>
                </a:lnTo>
                <a:lnTo>
                  <a:pt x="2528" y="758"/>
                </a:lnTo>
                <a:lnTo>
                  <a:pt x="2528" y="758"/>
                </a:lnTo>
                <a:lnTo>
                  <a:pt x="2529" y="753"/>
                </a:lnTo>
                <a:lnTo>
                  <a:pt x="2531" y="748"/>
                </a:lnTo>
                <a:lnTo>
                  <a:pt x="2538" y="738"/>
                </a:lnTo>
                <a:lnTo>
                  <a:pt x="2546" y="730"/>
                </a:lnTo>
                <a:lnTo>
                  <a:pt x="2553" y="724"/>
                </a:lnTo>
                <a:lnTo>
                  <a:pt x="2553" y="724"/>
                </a:lnTo>
                <a:lnTo>
                  <a:pt x="2552" y="721"/>
                </a:lnTo>
                <a:lnTo>
                  <a:pt x="2551" y="717"/>
                </a:lnTo>
                <a:lnTo>
                  <a:pt x="2546" y="713"/>
                </a:lnTo>
                <a:lnTo>
                  <a:pt x="2542" y="709"/>
                </a:lnTo>
                <a:lnTo>
                  <a:pt x="2536" y="706"/>
                </a:lnTo>
                <a:lnTo>
                  <a:pt x="2530" y="702"/>
                </a:lnTo>
                <a:lnTo>
                  <a:pt x="2526" y="698"/>
                </a:lnTo>
                <a:lnTo>
                  <a:pt x="2522" y="692"/>
                </a:lnTo>
                <a:lnTo>
                  <a:pt x="2521" y="689"/>
                </a:lnTo>
                <a:lnTo>
                  <a:pt x="2521" y="684"/>
                </a:lnTo>
                <a:lnTo>
                  <a:pt x="2521" y="684"/>
                </a:lnTo>
                <a:lnTo>
                  <a:pt x="2521" y="677"/>
                </a:lnTo>
                <a:lnTo>
                  <a:pt x="2523" y="671"/>
                </a:lnTo>
                <a:lnTo>
                  <a:pt x="2526" y="666"/>
                </a:lnTo>
                <a:lnTo>
                  <a:pt x="2529" y="661"/>
                </a:lnTo>
                <a:lnTo>
                  <a:pt x="2534" y="656"/>
                </a:lnTo>
                <a:lnTo>
                  <a:pt x="2539" y="652"/>
                </a:lnTo>
                <a:lnTo>
                  <a:pt x="2551" y="645"/>
                </a:lnTo>
                <a:lnTo>
                  <a:pt x="2562" y="638"/>
                </a:lnTo>
                <a:lnTo>
                  <a:pt x="2575" y="631"/>
                </a:lnTo>
                <a:lnTo>
                  <a:pt x="2581" y="626"/>
                </a:lnTo>
                <a:lnTo>
                  <a:pt x="2586" y="622"/>
                </a:lnTo>
                <a:lnTo>
                  <a:pt x="2590" y="617"/>
                </a:lnTo>
                <a:lnTo>
                  <a:pt x="2594" y="611"/>
                </a:lnTo>
                <a:lnTo>
                  <a:pt x="2594" y="611"/>
                </a:lnTo>
                <a:lnTo>
                  <a:pt x="2597" y="606"/>
                </a:lnTo>
                <a:lnTo>
                  <a:pt x="2599" y="600"/>
                </a:lnTo>
                <a:lnTo>
                  <a:pt x="2600" y="590"/>
                </a:lnTo>
                <a:lnTo>
                  <a:pt x="2602" y="585"/>
                </a:lnTo>
                <a:lnTo>
                  <a:pt x="2603" y="582"/>
                </a:lnTo>
                <a:lnTo>
                  <a:pt x="2606" y="579"/>
                </a:lnTo>
                <a:lnTo>
                  <a:pt x="2612" y="578"/>
                </a:lnTo>
                <a:lnTo>
                  <a:pt x="2612" y="578"/>
                </a:lnTo>
                <a:lnTo>
                  <a:pt x="2622" y="578"/>
                </a:lnTo>
                <a:lnTo>
                  <a:pt x="2632" y="579"/>
                </a:lnTo>
                <a:lnTo>
                  <a:pt x="2640" y="579"/>
                </a:lnTo>
                <a:lnTo>
                  <a:pt x="2645" y="578"/>
                </a:lnTo>
                <a:lnTo>
                  <a:pt x="2645" y="578"/>
                </a:lnTo>
                <a:lnTo>
                  <a:pt x="2645" y="538"/>
                </a:lnTo>
                <a:lnTo>
                  <a:pt x="2645" y="538"/>
                </a:lnTo>
                <a:lnTo>
                  <a:pt x="2646" y="531"/>
                </a:lnTo>
                <a:lnTo>
                  <a:pt x="2649" y="525"/>
                </a:lnTo>
                <a:lnTo>
                  <a:pt x="2652" y="521"/>
                </a:lnTo>
                <a:lnTo>
                  <a:pt x="2657" y="516"/>
                </a:lnTo>
                <a:lnTo>
                  <a:pt x="2660" y="510"/>
                </a:lnTo>
                <a:lnTo>
                  <a:pt x="2664" y="506"/>
                </a:lnTo>
                <a:lnTo>
                  <a:pt x="2666" y="500"/>
                </a:lnTo>
                <a:lnTo>
                  <a:pt x="2667" y="493"/>
                </a:lnTo>
                <a:lnTo>
                  <a:pt x="2667" y="493"/>
                </a:lnTo>
                <a:lnTo>
                  <a:pt x="2666" y="489"/>
                </a:lnTo>
                <a:lnTo>
                  <a:pt x="2664" y="485"/>
                </a:lnTo>
                <a:lnTo>
                  <a:pt x="2656" y="476"/>
                </a:lnTo>
                <a:lnTo>
                  <a:pt x="2648" y="466"/>
                </a:lnTo>
                <a:lnTo>
                  <a:pt x="2642" y="461"/>
                </a:lnTo>
                <a:lnTo>
                  <a:pt x="2642" y="461"/>
                </a:lnTo>
                <a:lnTo>
                  <a:pt x="2635" y="460"/>
                </a:lnTo>
                <a:lnTo>
                  <a:pt x="2629" y="456"/>
                </a:lnTo>
                <a:lnTo>
                  <a:pt x="2625" y="453"/>
                </a:lnTo>
                <a:lnTo>
                  <a:pt x="2621" y="448"/>
                </a:lnTo>
                <a:lnTo>
                  <a:pt x="2619" y="443"/>
                </a:lnTo>
                <a:lnTo>
                  <a:pt x="2617" y="438"/>
                </a:lnTo>
                <a:lnTo>
                  <a:pt x="2612" y="426"/>
                </a:lnTo>
                <a:lnTo>
                  <a:pt x="2606" y="414"/>
                </a:lnTo>
                <a:lnTo>
                  <a:pt x="2603" y="409"/>
                </a:lnTo>
                <a:lnTo>
                  <a:pt x="2599" y="404"/>
                </a:lnTo>
                <a:lnTo>
                  <a:pt x="2594" y="400"/>
                </a:lnTo>
                <a:lnTo>
                  <a:pt x="2587" y="396"/>
                </a:lnTo>
                <a:lnTo>
                  <a:pt x="2579" y="395"/>
                </a:lnTo>
                <a:lnTo>
                  <a:pt x="2568" y="394"/>
                </a:lnTo>
                <a:lnTo>
                  <a:pt x="2568" y="394"/>
                </a:lnTo>
                <a:lnTo>
                  <a:pt x="2561" y="394"/>
                </a:lnTo>
                <a:lnTo>
                  <a:pt x="2554" y="396"/>
                </a:lnTo>
                <a:lnTo>
                  <a:pt x="2543" y="400"/>
                </a:lnTo>
                <a:lnTo>
                  <a:pt x="2530" y="403"/>
                </a:lnTo>
                <a:lnTo>
                  <a:pt x="2523" y="404"/>
                </a:lnTo>
                <a:lnTo>
                  <a:pt x="2516" y="405"/>
                </a:lnTo>
                <a:lnTo>
                  <a:pt x="2516" y="405"/>
                </a:lnTo>
                <a:lnTo>
                  <a:pt x="2506" y="404"/>
                </a:lnTo>
                <a:lnTo>
                  <a:pt x="2496" y="402"/>
                </a:lnTo>
                <a:lnTo>
                  <a:pt x="2487" y="399"/>
                </a:lnTo>
                <a:lnTo>
                  <a:pt x="2478" y="395"/>
                </a:lnTo>
                <a:lnTo>
                  <a:pt x="2472" y="391"/>
                </a:lnTo>
                <a:lnTo>
                  <a:pt x="2466" y="385"/>
                </a:lnTo>
                <a:lnTo>
                  <a:pt x="2462" y="380"/>
                </a:lnTo>
                <a:lnTo>
                  <a:pt x="2461" y="376"/>
                </a:lnTo>
                <a:lnTo>
                  <a:pt x="2461" y="376"/>
                </a:lnTo>
                <a:lnTo>
                  <a:pt x="2462" y="358"/>
                </a:lnTo>
                <a:lnTo>
                  <a:pt x="2461" y="349"/>
                </a:lnTo>
                <a:lnTo>
                  <a:pt x="2460" y="344"/>
                </a:lnTo>
                <a:lnTo>
                  <a:pt x="2458" y="339"/>
                </a:lnTo>
                <a:lnTo>
                  <a:pt x="2458" y="339"/>
                </a:lnTo>
                <a:lnTo>
                  <a:pt x="2449" y="340"/>
                </a:lnTo>
                <a:lnTo>
                  <a:pt x="2441" y="340"/>
                </a:lnTo>
                <a:lnTo>
                  <a:pt x="2434" y="339"/>
                </a:lnTo>
                <a:lnTo>
                  <a:pt x="2428" y="336"/>
                </a:lnTo>
                <a:lnTo>
                  <a:pt x="2423" y="333"/>
                </a:lnTo>
                <a:lnTo>
                  <a:pt x="2420" y="327"/>
                </a:lnTo>
                <a:lnTo>
                  <a:pt x="2419" y="319"/>
                </a:lnTo>
                <a:lnTo>
                  <a:pt x="2418" y="309"/>
                </a:lnTo>
                <a:lnTo>
                  <a:pt x="2418" y="309"/>
                </a:lnTo>
                <a:lnTo>
                  <a:pt x="2419" y="300"/>
                </a:lnTo>
                <a:lnTo>
                  <a:pt x="2420" y="292"/>
                </a:lnTo>
                <a:lnTo>
                  <a:pt x="2422" y="284"/>
                </a:lnTo>
                <a:lnTo>
                  <a:pt x="2424" y="275"/>
                </a:lnTo>
                <a:lnTo>
                  <a:pt x="2432" y="262"/>
                </a:lnTo>
                <a:lnTo>
                  <a:pt x="2442" y="248"/>
                </a:lnTo>
                <a:lnTo>
                  <a:pt x="2461" y="221"/>
                </a:lnTo>
                <a:lnTo>
                  <a:pt x="2469" y="208"/>
                </a:lnTo>
                <a:lnTo>
                  <a:pt x="2474" y="201"/>
                </a:lnTo>
                <a:lnTo>
                  <a:pt x="2476" y="193"/>
                </a:lnTo>
                <a:lnTo>
                  <a:pt x="2476" y="193"/>
                </a:lnTo>
                <a:lnTo>
                  <a:pt x="2477" y="187"/>
                </a:lnTo>
                <a:lnTo>
                  <a:pt x="2477" y="182"/>
                </a:lnTo>
                <a:lnTo>
                  <a:pt x="2475" y="172"/>
                </a:lnTo>
                <a:lnTo>
                  <a:pt x="2474" y="163"/>
                </a:lnTo>
                <a:lnTo>
                  <a:pt x="2475" y="157"/>
                </a:lnTo>
                <a:lnTo>
                  <a:pt x="2476" y="152"/>
                </a:lnTo>
                <a:lnTo>
                  <a:pt x="2476" y="152"/>
                </a:lnTo>
                <a:lnTo>
                  <a:pt x="2478" y="145"/>
                </a:lnTo>
                <a:lnTo>
                  <a:pt x="2482" y="141"/>
                </a:lnTo>
                <a:lnTo>
                  <a:pt x="2491" y="132"/>
                </a:lnTo>
                <a:lnTo>
                  <a:pt x="2495" y="126"/>
                </a:lnTo>
                <a:lnTo>
                  <a:pt x="2499" y="118"/>
                </a:lnTo>
                <a:lnTo>
                  <a:pt x="2502" y="109"/>
                </a:lnTo>
                <a:lnTo>
                  <a:pt x="2503" y="96"/>
                </a:lnTo>
                <a:lnTo>
                  <a:pt x="2503" y="96"/>
                </a:lnTo>
                <a:lnTo>
                  <a:pt x="2502" y="88"/>
                </a:lnTo>
                <a:lnTo>
                  <a:pt x="2498" y="80"/>
                </a:lnTo>
                <a:lnTo>
                  <a:pt x="2493" y="72"/>
                </a:lnTo>
                <a:lnTo>
                  <a:pt x="2488" y="64"/>
                </a:lnTo>
                <a:lnTo>
                  <a:pt x="2481" y="56"/>
                </a:lnTo>
                <a:lnTo>
                  <a:pt x="2473" y="48"/>
                </a:lnTo>
                <a:lnTo>
                  <a:pt x="2464" y="41"/>
                </a:lnTo>
                <a:lnTo>
                  <a:pt x="2453" y="34"/>
                </a:lnTo>
                <a:lnTo>
                  <a:pt x="2432" y="22"/>
                </a:lnTo>
                <a:lnTo>
                  <a:pt x="2411" y="13"/>
                </a:lnTo>
                <a:lnTo>
                  <a:pt x="2400" y="10"/>
                </a:lnTo>
                <a:lnTo>
                  <a:pt x="2391" y="7"/>
                </a:lnTo>
                <a:lnTo>
                  <a:pt x="2382" y="5"/>
                </a:lnTo>
                <a:lnTo>
                  <a:pt x="2374" y="5"/>
                </a:lnTo>
                <a:lnTo>
                  <a:pt x="2374" y="5"/>
                </a:lnTo>
                <a:lnTo>
                  <a:pt x="2369" y="4"/>
                </a:lnTo>
                <a:lnTo>
                  <a:pt x="2363" y="2"/>
                </a:lnTo>
                <a:lnTo>
                  <a:pt x="2355" y="0"/>
                </a:lnTo>
                <a:lnTo>
                  <a:pt x="2351" y="0"/>
                </a:lnTo>
                <a:lnTo>
                  <a:pt x="2344" y="2"/>
                </a:lnTo>
                <a:lnTo>
                  <a:pt x="2344" y="2"/>
                </a:lnTo>
                <a:lnTo>
                  <a:pt x="2350" y="18"/>
                </a:lnTo>
                <a:lnTo>
                  <a:pt x="2358" y="35"/>
                </a:lnTo>
                <a:lnTo>
                  <a:pt x="2367" y="51"/>
                </a:lnTo>
                <a:lnTo>
                  <a:pt x="2377" y="66"/>
                </a:lnTo>
                <a:lnTo>
                  <a:pt x="2388" y="80"/>
                </a:lnTo>
                <a:lnTo>
                  <a:pt x="2399" y="92"/>
                </a:lnTo>
                <a:lnTo>
                  <a:pt x="2408" y="103"/>
                </a:lnTo>
                <a:lnTo>
                  <a:pt x="2418" y="111"/>
                </a:lnTo>
                <a:lnTo>
                  <a:pt x="2418" y="111"/>
                </a:lnTo>
                <a:lnTo>
                  <a:pt x="2426" y="127"/>
                </a:lnTo>
                <a:lnTo>
                  <a:pt x="2429" y="136"/>
                </a:lnTo>
                <a:lnTo>
                  <a:pt x="2429" y="139"/>
                </a:lnTo>
                <a:lnTo>
                  <a:pt x="2428" y="141"/>
                </a:lnTo>
                <a:lnTo>
                  <a:pt x="2426" y="141"/>
                </a:lnTo>
                <a:lnTo>
                  <a:pt x="2423" y="141"/>
                </a:lnTo>
                <a:lnTo>
                  <a:pt x="2415" y="136"/>
                </a:lnTo>
                <a:lnTo>
                  <a:pt x="2405" y="130"/>
                </a:lnTo>
                <a:lnTo>
                  <a:pt x="2377" y="112"/>
                </a:lnTo>
                <a:lnTo>
                  <a:pt x="2361" y="102"/>
                </a:lnTo>
                <a:lnTo>
                  <a:pt x="2344" y="92"/>
                </a:lnTo>
                <a:lnTo>
                  <a:pt x="2328" y="83"/>
                </a:lnTo>
                <a:lnTo>
                  <a:pt x="2310" y="78"/>
                </a:lnTo>
                <a:lnTo>
                  <a:pt x="2302" y="74"/>
                </a:lnTo>
                <a:lnTo>
                  <a:pt x="2294" y="73"/>
                </a:lnTo>
                <a:lnTo>
                  <a:pt x="2287" y="72"/>
                </a:lnTo>
                <a:lnTo>
                  <a:pt x="2279" y="73"/>
                </a:lnTo>
                <a:lnTo>
                  <a:pt x="2274" y="74"/>
                </a:lnTo>
                <a:lnTo>
                  <a:pt x="2267" y="76"/>
                </a:lnTo>
                <a:lnTo>
                  <a:pt x="2261" y="80"/>
                </a:lnTo>
                <a:lnTo>
                  <a:pt x="2256" y="86"/>
                </a:lnTo>
                <a:lnTo>
                  <a:pt x="2256" y="86"/>
                </a:lnTo>
                <a:lnTo>
                  <a:pt x="2250" y="92"/>
                </a:lnTo>
                <a:lnTo>
                  <a:pt x="2244" y="96"/>
                </a:lnTo>
                <a:lnTo>
                  <a:pt x="2239" y="98"/>
                </a:lnTo>
                <a:lnTo>
                  <a:pt x="2236" y="98"/>
                </a:lnTo>
                <a:lnTo>
                  <a:pt x="2233" y="97"/>
                </a:lnTo>
                <a:lnTo>
                  <a:pt x="2230" y="94"/>
                </a:lnTo>
                <a:lnTo>
                  <a:pt x="2223" y="82"/>
                </a:lnTo>
                <a:lnTo>
                  <a:pt x="2218" y="76"/>
                </a:lnTo>
                <a:lnTo>
                  <a:pt x="2212" y="69"/>
                </a:lnTo>
                <a:lnTo>
                  <a:pt x="2205" y="61"/>
                </a:lnTo>
                <a:lnTo>
                  <a:pt x="2194" y="55"/>
                </a:lnTo>
                <a:lnTo>
                  <a:pt x="2183" y="48"/>
                </a:lnTo>
                <a:lnTo>
                  <a:pt x="2169" y="41"/>
                </a:lnTo>
                <a:lnTo>
                  <a:pt x="2152" y="35"/>
                </a:lnTo>
                <a:lnTo>
                  <a:pt x="2131" y="30"/>
                </a:lnTo>
                <a:lnTo>
                  <a:pt x="2131" y="30"/>
                </a:lnTo>
                <a:lnTo>
                  <a:pt x="2121" y="29"/>
                </a:lnTo>
                <a:lnTo>
                  <a:pt x="2111" y="29"/>
                </a:lnTo>
                <a:lnTo>
                  <a:pt x="2101" y="29"/>
                </a:lnTo>
                <a:lnTo>
                  <a:pt x="2092" y="30"/>
                </a:lnTo>
                <a:lnTo>
                  <a:pt x="2083" y="32"/>
                </a:lnTo>
                <a:lnTo>
                  <a:pt x="2073" y="34"/>
                </a:lnTo>
                <a:lnTo>
                  <a:pt x="2056" y="41"/>
                </a:lnTo>
                <a:lnTo>
                  <a:pt x="2040" y="50"/>
                </a:lnTo>
                <a:lnTo>
                  <a:pt x="2025" y="60"/>
                </a:lnTo>
                <a:lnTo>
                  <a:pt x="2011" y="72"/>
                </a:lnTo>
                <a:lnTo>
                  <a:pt x="1999" y="86"/>
                </a:lnTo>
                <a:lnTo>
                  <a:pt x="1987" y="99"/>
                </a:lnTo>
                <a:lnTo>
                  <a:pt x="1977" y="113"/>
                </a:lnTo>
                <a:lnTo>
                  <a:pt x="1968" y="128"/>
                </a:lnTo>
                <a:lnTo>
                  <a:pt x="1961" y="143"/>
                </a:lnTo>
                <a:lnTo>
                  <a:pt x="1955" y="157"/>
                </a:lnTo>
                <a:lnTo>
                  <a:pt x="1951" y="170"/>
                </a:lnTo>
                <a:lnTo>
                  <a:pt x="1949" y="182"/>
                </a:lnTo>
                <a:lnTo>
                  <a:pt x="1948" y="193"/>
                </a:lnTo>
                <a:lnTo>
                  <a:pt x="1948" y="193"/>
                </a:lnTo>
                <a:lnTo>
                  <a:pt x="1947" y="208"/>
                </a:lnTo>
                <a:lnTo>
                  <a:pt x="1943" y="231"/>
                </a:lnTo>
                <a:lnTo>
                  <a:pt x="1941" y="244"/>
                </a:lnTo>
                <a:lnTo>
                  <a:pt x="1937" y="257"/>
                </a:lnTo>
                <a:lnTo>
                  <a:pt x="1932" y="271"/>
                </a:lnTo>
                <a:lnTo>
                  <a:pt x="1926" y="284"/>
                </a:lnTo>
                <a:lnTo>
                  <a:pt x="1918" y="295"/>
                </a:lnTo>
                <a:lnTo>
                  <a:pt x="1909" y="305"/>
                </a:lnTo>
                <a:lnTo>
                  <a:pt x="1904" y="310"/>
                </a:lnTo>
                <a:lnTo>
                  <a:pt x="1899" y="315"/>
                </a:lnTo>
                <a:lnTo>
                  <a:pt x="1893" y="317"/>
                </a:lnTo>
                <a:lnTo>
                  <a:pt x="1886" y="320"/>
                </a:lnTo>
                <a:lnTo>
                  <a:pt x="1879" y="321"/>
                </a:lnTo>
                <a:lnTo>
                  <a:pt x="1871" y="323"/>
                </a:lnTo>
                <a:lnTo>
                  <a:pt x="1864" y="323"/>
                </a:lnTo>
                <a:lnTo>
                  <a:pt x="1855" y="323"/>
                </a:lnTo>
                <a:lnTo>
                  <a:pt x="1846" y="320"/>
                </a:lnTo>
                <a:lnTo>
                  <a:pt x="1836" y="318"/>
                </a:lnTo>
                <a:lnTo>
                  <a:pt x="1826" y="315"/>
                </a:lnTo>
                <a:lnTo>
                  <a:pt x="1816" y="309"/>
                </a:lnTo>
                <a:lnTo>
                  <a:pt x="1816" y="309"/>
                </a:lnTo>
                <a:lnTo>
                  <a:pt x="1798" y="313"/>
                </a:lnTo>
                <a:lnTo>
                  <a:pt x="1783" y="318"/>
                </a:lnTo>
                <a:lnTo>
                  <a:pt x="1770" y="323"/>
                </a:lnTo>
                <a:lnTo>
                  <a:pt x="1757" y="328"/>
                </a:lnTo>
                <a:lnTo>
                  <a:pt x="1735" y="339"/>
                </a:lnTo>
                <a:lnTo>
                  <a:pt x="1718" y="349"/>
                </a:lnTo>
                <a:lnTo>
                  <a:pt x="1705" y="357"/>
                </a:lnTo>
                <a:lnTo>
                  <a:pt x="1697" y="362"/>
                </a:lnTo>
                <a:lnTo>
                  <a:pt x="1694" y="362"/>
                </a:lnTo>
                <a:lnTo>
                  <a:pt x="1691" y="361"/>
                </a:lnTo>
                <a:lnTo>
                  <a:pt x="1690" y="358"/>
                </a:lnTo>
                <a:lnTo>
                  <a:pt x="1690" y="354"/>
                </a:lnTo>
                <a:lnTo>
                  <a:pt x="1690" y="354"/>
                </a:lnTo>
                <a:lnTo>
                  <a:pt x="1691" y="341"/>
                </a:lnTo>
                <a:lnTo>
                  <a:pt x="1694" y="326"/>
                </a:lnTo>
                <a:lnTo>
                  <a:pt x="1695" y="312"/>
                </a:lnTo>
                <a:lnTo>
                  <a:pt x="1695" y="305"/>
                </a:lnTo>
                <a:lnTo>
                  <a:pt x="1694" y="300"/>
                </a:lnTo>
                <a:lnTo>
                  <a:pt x="1690" y="295"/>
                </a:lnTo>
                <a:lnTo>
                  <a:pt x="1685" y="292"/>
                </a:lnTo>
                <a:lnTo>
                  <a:pt x="1678" y="289"/>
                </a:lnTo>
                <a:lnTo>
                  <a:pt x="1668" y="289"/>
                </a:lnTo>
                <a:lnTo>
                  <a:pt x="1657" y="290"/>
                </a:lnTo>
                <a:lnTo>
                  <a:pt x="1642" y="294"/>
                </a:lnTo>
                <a:lnTo>
                  <a:pt x="1624" y="301"/>
                </a:lnTo>
                <a:lnTo>
                  <a:pt x="1602" y="309"/>
                </a:lnTo>
                <a:lnTo>
                  <a:pt x="1602" y="309"/>
                </a:lnTo>
                <a:lnTo>
                  <a:pt x="1594" y="312"/>
                </a:lnTo>
                <a:lnTo>
                  <a:pt x="1586" y="317"/>
                </a:lnTo>
                <a:lnTo>
                  <a:pt x="1579" y="321"/>
                </a:lnTo>
                <a:lnTo>
                  <a:pt x="1573" y="326"/>
                </a:lnTo>
                <a:lnTo>
                  <a:pt x="1568" y="332"/>
                </a:lnTo>
                <a:lnTo>
                  <a:pt x="1564" y="338"/>
                </a:lnTo>
                <a:lnTo>
                  <a:pt x="1561" y="344"/>
                </a:lnTo>
                <a:lnTo>
                  <a:pt x="1559" y="350"/>
                </a:lnTo>
                <a:lnTo>
                  <a:pt x="1557" y="365"/>
                </a:lnTo>
                <a:lnTo>
                  <a:pt x="1557" y="380"/>
                </a:lnTo>
                <a:lnTo>
                  <a:pt x="1558" y="395"/>
                </a:lnTo>
                <a:lnTo>
                  <a:pt x="1561" y="410"/>
                </a:lnTo>
                <a:lnTo>
                  <a:pt x="1567" y="441"/>
                </a:lnTo>
                <a:lnTo>
                  <a:pt x="1571" y="455"/>
                </a:lnTo>
                <a:lnTo>
                  <a:pt x="1572" y="468"/>
                </a:lnTo>
                <a:lnTo>
                  <a:pt x="1573" y="479"/>
                </a:lnTo>
                <a:lnTo>
                  <a:pt x="1572" y="484"/>
                </a:lnTo>
                <a:lnTo>
                  <a:pt x="1571" y="488"/>
                </a:lnTo>
                <a:lnTo>
                  <a:pt x="1568" y="492"/>
                </a:lnTo>
                <a:lnTo>
                  <a:pt x="1566" y="495"/>
                </a:lnTo>
                <a:lnTo>
                  <a:pt x="1563" y="499"/>
                </a:lnTo>
                <a:lnTo>
                  <a:pt x="1558" y="500"/>
                </a:lnTo>
                <a:lnTo>
                  <a:pt x="1558" y="500"/>
                </a:lnTo>
                <a:lnTo>
                  <a:pt x="1557" y="502"/>
                </a:lnTo>
                <a:lnTo>
                  <a:pt x="1556" y="500"/>
                </a:lnTo>
                <a:lnTo>
                  <a:pt x="1553" y="491"/>
                </a:lnTo>
                <a:lnTo>
                  <a:pt x="1548" y="457"/>
                </a:lnTo>
                <a:lnTo>
                  <a:pt x="1544" y="439"/>
                </a:lnTo>
                <a:lnTo>
                  <a:pt x="1540" y="424"/>
                </a:lnTo>
                <a:lnTo>
                  <a:pt x="1537" y="418"/>
                </a:lnTo>
                <a:lnTo>
                  <a:pt x="1535" y="415"/>
                </a:lnTo>
                <a:lnTo>
                  <a:pt x="1531" y="415"/>
                </a:lnTo>
                <a:lnTo>
                  <a:pt x="1528" y="416"/>
                </a:lnTo>
                <a:lnTo>
                  <a:pt x="1528" y="416"/>
                </a:lnTo>
                <a:lnTo>
                  <a:pt x="1517" y="426"/>
                </a:lnTo>
                <a:lnTo>
                  <a:pt x="1504" y="437"/>
                </a:lnTo>
                <a:lnTo>
                  <a:pt x="1491" y="446"/>
                </a:lnTo>
                <a:lnTo>
                  <a:pt x="1477" y="456"/>
                </a:lnTo>
                <a:lnTo>
                  <a:pt x="1477" y="456"/>
                </a:lnTo>
                <a:lnTo>
                  <a:pt x="1473" y="453"/>
                </a:lnTo>
                <a:lnTo>
                  <a:pt x="1470" y="449"/>
                </a:lnTo>
                <a:lnTo>
                  <a:pt x="1470" y="446"/>
                </a:lnTo>
                <a:lnTo>
                  <a:pt x="1473" y="442"/>
                </a:lnTo>
                <a:lnTo>
                  <a:pt x="1475" y="438"/>
                </a:lnTo>
                <a:lnTo>
                  <a:pt x="1479" y="434"/>
                </a:lnTo>
                <a:lnTo>
                  <a:pt x="1488" y="425"/>
                </a:lnTo>
                <a:lnTo>
                  <a:pt x="1498" y="416"/>
                </a:lnTo>
                <a:lnTo>
                  <a:pt x="1503" y="411"/>
                </a:lnTo>
                <a:lnTo>
                  <a:pt x="1506" y="405"/>
                </a:lnTo>
                <a:lnTo>
                  <a:pt x="1508" y="401"/>
                </a:lnTo>
                <a:lnTo>
                  <a:pt x="1510" y="395"/>
                </a:lnTo>
                <a:lnTo>
                  <a:pt x="1510" y="389"/>
                </a:lnTo>
                <a:lnTo>
                  <a:pt x="1507" y="382"/>
                </a:lnTo>
                <a:lnTo>
                  <a:pt x="1507" y="382"/>
                </a:lnTo>
                <a:lnTo>
                  <a:pt x="1493" y="387"/>
                </a:lnTo>
                <a:lnTo>
                  <a:pt x="1481" y="393"/>
                </a:lnTo>
                <a:lnTo>
                  <a:pt x="1467" y="400"/>
                </a:lnTo>
                <a:lnTo>
                  <a:pt x="1453" y="408"/>
                </a:lnTo>
                <a:lnTo>
                  <a:pt x="1426" y="428"/>
                </a:lnTo>
                <a:lnTo>
                  <a:pt x="1397" y="449"/>
                </a:lnTo>
                <a:lnTo>
                  <a:pt x="1382" y="460"/>
                </a:lnTo>
                <a:lnTo>
                  <a:pt x="1367" y="469"/>
                </a:lnTo>
                <a:lnTo>
                  <a:pt x="1352" y="477"/>
                </a:lnTo>
                <a:lnTo>
                  <a:pt x="1337" y="485"/>
                </a:lnTo>
                <a:lnTo>
                  <a:pt x="1322" y="489"/>
                </a:lnTo>
                <a:lnTo>
                  <a:pt x="1307" y="493"/>
                </a:lnTo>
                <a:lnTo>
                  <a:pt x="1291" y="495"/>
                </a:lnTo>
                <a:lnTo>
                  <a:pt x="1283" y="494"/>
                </a:lnTo>
                <a:lnTo>
                  <a:pt x="1275" y="493"/>
                </a:lnTo>
                <a:lnTo>
                  <a:pt x="1275" y="493"/>
                </a:lnTo>
                <a:lnTo>
                  <a:pt x="1289" y="506"/>
                </a:lnTo>
                <a:lnTo>
                  <a:pt x="1299" y="516"/>
                </a:lnTo>
                <a:lnTo>
                  <a:pt x="1306" y="525"/>
                </a:lnTo>
                <a:lnTo>
                  <a:pt x="1311" y="532"/>
                </a:lnTo>
                <a:lnTo>
                  <a:pt x="1312" y="539"/>
                </a:lnTo>
                <a:lnTo>
                  <a:pt x="1311" y="546"/>
                </a:lnTo>
                <a:lnTo>
                  <a:pt x="1308" y="552"/>
                </a:lnTo>
                <a:lnTo>
                  <a:pt x="1305" y="557"/>
                </a:lnTo>
                <a:lnTo>
                  <a:pt x="1293" y="571"/>
                </a:lnTo>
                <a:lnTo>
                  <a:pt x="1288" y="579"/>
                </a:lnTo>
                <a:lnTo>
                  <a:pt x="1281" y="588"/>
                </a:lnTo>
                <a:lnTo>
                  <a:pt x="1275" y="599"/>
                </a:lnTo>
                <a:lnTo>
                  <a:pt x="1270" y="611"/>
                </a:lnTo>
                <a:lnTo>
                  <a:pt x="1267" y="626"/>
                </a:lnTo>
                <a:lnTo>
                  <a:pt x="1265" y="644"/>
                </a:lnTo>
                <a:lnTo>
                  <a:pt x="1265" y="644"/>
                </a:lnTo>
                <a:lnTo>
                  <a:pt x="1276" y="644"/>
                </a:lnTo>
                <a:lnTo>
                  <a:pt x="1286" y="641"/>
                </a:lnTo>
                <a:lnTo>
                  <a:pt x="1294" y="637"/>
                </a:lnTo>
                <a:lnTo>
                  <a:pt x="1301" y="632"/>
                </a:lnTo>
                <a:lnTo>
                  <a:pt x="1306" y="628"/>
                </a:lnTo>
                <a:lnTo>
                  <a:pt x="1311" y="623"/>
                </a:lnTo>
                <a:lnTo>
                  <a:pt x="1317" y="615"/>
                </a:lnTo>
                <a:lnTo>
                  <a:pt x="1320" y="613"/>
                </a:lnTo>
                <a:lnTo>
                  <a:pt x="1322" y="613"/>
                </a:lnTo>
                <a:lnTo>
                  <a:pt x="1324" y="616"/>
                </a:lnTo>
                <a:lnTo>
                  <a:pt x="1327" y="622"/>
                </a:lnTo>
                <a:lnTo>
                  <a:pt x="1334" y="644"/>
                </a:lnTo>
                <a:lnTo>
                  <a:pt x="1345" y="684"/>
                </a:lnTo>
                <a:lnTo>
                  <a:pt x="1345" y="684"/>
                </a:lnTo>
                <a:lnTo>
                  <a:pt x="1360" y="690"/>
                </a:lnTo>
                <a:lnTo>
                  <a:pt x="1373" y="695"/>
                </a:lnTo>
                <a:lnTo>
                  <a:pt x="1382" y="701"/>
                </a:lnTo>
                <a:lnTo>
                  <a:pt x="1388" y="707"/>
                </a:lnTo>
                <a:lnTo>
                  <a:pt x="1392" y="712"/>
                </a:lnTo>
                <a:lnTo>
                  <a:pt x="1395" y="717"/>
                </a:lnTo>
                <a:lnTo>
                  <a:pt x="1393" y="722"/>
                </a:lnTo>
                <a:lnTo>
                  <a:pt x="1391" y="725"/>
                </a:lnTo>
                <a:lnTo>
                  <a:pt x="1388" y="729"/>
                </a:lnTo>
                <a:lnTo>
                  <a:pt x="1382" y="732"/>
                </a:lnTo>
                <a:lnTo>
                  <a:pt x="1374" y="733"/>
                </a:lnTo>
                <a:lnTo>
                  <a:pt x="1366" y="735"/>
                </a:lnTo>
                <a:lnTo>
                  <a:pt x="1355" y="735"/>
                </a:lnTo>
                <a:lnTo>
                  <a:pt x="1344" y="735"/>
                </a:lnTo>
                <a:lnTo>
                  <a:pt x="1332" y="732"/>
                </a:lnTo>
                <a:lnTo>
                  <a:pt x="1320" y="729"/>
                </a:lnTo>
                <a:lnTo>
                  <a:pt x="1320" y="729"/>
                </a:lnTo>
                <a:lnTo>
                  <a:pt x="1315" y="733"/>
                </a:lnTo>
                <a:lnTo>
                  <a:pt x="1312" y="738"/>
                </a:lnTo>
                <a:lnTo>
                  <a:pt x="1308" y="743"/>
                </a:lnTo>
                <a:lnTo>
                  <a:pt x="1307" y="747"/>
                </a:lnTo>
                <a:lnTo>
                  <a:pt x="1306" y="752"/>
                </a:lnTo>
                <a:lnTo>
                  <a:pt x="1306" y="756"/>
                </a:lnTo>
                <a:lnTo>
                  <a:pt x="1308" y="766"/>
                </a:lnTo>
                <a:lnTo>
                  <a:pt x="1313" y="775"/>
                </a:lnTo>
                <a:lnTo>
                  <a:pt x="1317" y="784"/>
                </a:lnTo>
                <a:lnTo>
                  <a:pt x="1330" y="799"/>
                </a:lnTo>
                <a:lnTo>
                  <a:pt x="1338" y="811"/>
                </a:lnTo>
                <a:lnTo>
                  <a:pt x="1340" y="815"/>
                </a:lnTo>
                <a:lnTo>
                  <a:pt x="1340" y="816"/>
                </a:lnTo>
                <a:lnTo>
                  <a:pt x="1339" y="817"/>
                </a:lnTo>
                <a:lnTo>
                  <a:pt x="1335" y="817"/>
                </a:lnTo>
                <a:lnTo>
                  <a:pt x="1325" y="817"/>
                </a:lnTo>
                <a:lnTo>
                  <a:pt x="1313" y="814"/>
                </a:lnTo>
                <a:lnTo>
                  <a:pt x="1293" y="809"/>
                </a:lnTo>
                <a:lnTo>
                  <a:pt x="1293" y="809"/>
                </a:lnTo>
                <a:lnTo>
                  <a:pt x="1260" y="808"/>
                </a:lnTo>
                <a:lnTo>
                  <a:pt x="1238" y="808"/>
                </a:lnTo>
                <a:lnTo>
                  <a:pt x="1230" y="808"/>
                </a:lnTo>
                <a:lnTo>
                  <a:pt x="1223" y="808"/>
                </a:lnTo>
                <a:lnTo>
                  <a:pt x="1218" y="811"/>
                </a:lnTo>
                <a:lnTo>
                  <a:pt x="1215" y="813"/>
                </a:lnTo>
                <a:lnTo>
                  <a:pt x="1210" y="816"/>
                </a:lnTo>
                <a:lnTo>
                  <a:pt x="1207" y="821"/>
                </a:lnTo>
                <a:lnTo>
                  <a:pt x="1200" y="836"/>
                </a:lnTo>
                <a:lnTo>
                  <a:pt x="1187" y="858"/>
                </a:lnTo>
                <a:lnTo>
                  <a:pt x="1169" y="890"/>
                </a:lnTo>
                <a:lnTo>
                  <a:pt x="1169" y="890"/>
                </a:lnTo>
                <a:lnTo>
                  <a:pt x="1157" y="898"/>
                </a:lnTo>
                <a:lnTo>
                  <a:pt x="1148" y="904"/>
                </a:lnTo>
                <a:lnTo>
                  <a:pt x="1138" y="906"/>
                </a:lnTo>
                <a:lnTo>
                  <a:pt x="1129" y="906"/>
                </a:lnTo>
                <a:lnTo>
                  <a:pt x="1121" y="904"/>
                </a:lnTo>
                <a:lnTo>
                  <a:pt x="1113" y="901"/>
                </a:lnTo>
                <a:lnTo>
                  <a:pt x="1106" y="898"/>
                </a:lnTo>
                <a:lnTo>
                  <a:pt x="1099" y="893"/>
                </a:lnTo>
                <a:lnTo>
                  <a:pt x="1088" y="886"/>
                </a:lnTo>
                <a:lnTo>
                  <a:pt x="1084" y="883"/>
                </a:lnTo>
                <a:lnTo>
                  <a:pt x="1080" y="882"/>
                </a:lnTo>
                <a:lnTo>
                  <a:pt x="1077" y="882"/>
                </a:lnTo>
                <a:lnTo>
                  <a:pt x="1076" y="884"/>
                </a:lnTo>
                <a:lnTo>
                  <a:pt x="1073" y="890"/>
                </a:lnTo>
                <a:lnTo>
                  <a:pt x="1073" y="897"/>
                </a:lnTo>
                <a:lnTo>
                  <a:pt x="1073" y="897"/>
                </a:lnTo>
                <a:lnTo>
                  <a:pt x="1075" y="907"/>
                </a:lnTo>
                <a:lnTo>
                  <a:pt x="1077" y="919"/>
                </a:lnTo>
                <a:lnTo>
                  <a:pt x="1086" y="946"/>
                </a:lnTo>
                <a:lnTo>
                  <a:pt x="1097" y="976"/>
                </a:lnTo>
                <a:lnTo>
                  <a:pt x="1101" y="992"/>
                </a:lnTo>
                <a:lnTo>
                  <a:pt x="1106" y="1007"/>
                </a:lnTo>
                <a:lnTo>
                  <a:pt x="1108" y="1022"/>
                </a:lnTo>
                <a:lnTo>
                  <a:pt x="1109" y="1035"/>
                </a:lnTo>
                <a:lnTo>
                  <a:pt x="1108" y="1046"/>
                </a:lnTo>
                <a:lnTo>
                  <a:pt x="1107" y="1051"/>
                </a:lnTo>
                <a:lnTo>
                  <a:pt x="1105" y="1056"/>
                </a:lnTo>
                <a:lnTo>
                  <a:pt x="1101" y="1059"/>
                </a:lnTo>
                <a:lnTo>
                  <a:pt x="1098" y="1063"/>
                </a:lnTo>
                <a:lnTo>
                  <a:pt x="1093" y="1064"/>
                </a:lnTo>
                <a:lnTo>
                  <a:pt x="1087" y="1066"/>
                </a:lnTo>
                <a:lnTo>
                  <a:pt x="1080" y="1066"/>
                </a:lnTo>
                <a:lnTo>
                  <a:pt x="1073" y="1066"/>
                </a:lnTo>
                <a:lnTo>
                  <a:pt x="1064" y="1065"/>
                </a:lnTo>
                <a:lnTo>
                  <a:pt x="1055" y="1063"/>
                </a:lnTo>
                <a:lnTo>
                  <a:pt x="1055" y="1063"/>
                </a:lnTo>
                <a:lnTo>
                  <a:pt x="1029" y="1054"/>
                </a:lnTo>
                <a:lnTo>
                  <a:pt x="1016" y="1050"/>
                </a:lnTo>
                <a:lnTo>
                  <a:pt x="1004" y="1045"/>
                </a:lnTo>
                <a:lnTo>
                  <a:pt x="993" y="1040"/>
                </a:lnTo>
                <a:lnTo>
                  <a:pt x="983" y="1033"/>
                </a:lnTo>
                <a:lnTo>
                  <a:pt x="973" y="1026"/>
                </a:lnTo>
                <a:lnTo>
                  <a:pt x="965" y="1018"/>
                </a:lnTo>
                <a:lnTo>
                  <a:pt x="957" y="1008"/>
                </a:lnTo>
                <a:lnTo>
                  <a:pt x="950" y="999"/>
                </a:lnTo>
                <a:lnTo>
                  <a:pt x="945" y="988"/>
                </a:lnTo>
                <a:lnTo>
                  <a:pt x="939" y="976"/>
                </a:lnTo>
                <a:lnTo>
                  <a:pt x="935" y="964"/>
                </a:lnTo>
                <a:lnTo>
                  <a:pt x="932" y="951"/>
                </a:lnTo>
                <a:lnTo>
                  <a:pt x="931" y="936"/>
                </a:lnTo>
                <a:lnTo>
                  <a:pt x="930" y="920"/>
                </a:lnTo>
                <a:lnTo>
                  <a:pt x="930" y="920"/>
                </a:lnTo>
                <a:lnTo>
                  <a:pt x="929" y="915"/>
                </a:lnTo>
                <a:lnTo>
                  <a:pt x="925" y="911"/>
                </a:lnTo>
                <a:lnTo>
                  <a:pt x="920" y="908"/>
                </a:lnTo>
                <a:lnTo>
                  <a:pt x="916" y="906"/>
                </a:lnTo>
                <a:lnTo>
                  <a:pt x="904" y="903"/>
                </a:lnTo>
                <a:lnTo>
                  <a:pt x="892" y="900"/>
                </a:lnTo>
                <a:lnTo>
                  <a:pt x="879" y="897"/>
                </a:lnTo>
                <a:lnTo>
                  <a:pt x="874" y="893"/>
                </a:lnTo>
                <a:lnTo>
                  <a:pt x="870" y="890"/>
                </a:lnTo>
                <a:lnTo>
                  <a:pt x="866" y="886"/>
                </a:lnTo>
                <a:lnTo>
                  <a:pt x="864" y="881"/>
                </a:lnTo>
                <a:lnTo>
                  <a:pt x="863" y="873"/>
                </a:lnTo>
                <a:lnTo>
                  <a:pt x="864" y="865"/>
                </a:lnTo>
                <a:lnTo>
                  <a:pt x="864" y="865"/>
                </a:lnTo>
                <a:lnTo>
                  <a:pt x="858" y="858"/>
                </a:lnTo>
                <a:lnTo>
                  <a:pt x="854" y="852"/>
                </a:lnTo>
                <a:lnTo>
                  <a:pt x="849" y="838"/>
                </a:lnTo>
                <a:lnTo>
                  <a:pt x="843" y="825"/>
                </a:lnTo>
                <a:lnTo>
                  <a:pt x="841" y="819"/>
                </a:lnTo>
                <a:lnTo>
                  <a:pt x="836" y="813"/>
                </a:lnTo>
                <a:lnTo>
                  <a:pt x="832" y="808"/>
                </a:lnTo>
                <a:lnTo>
                  <a:pt x="824" y="804"/>
                </a:lnTo>
                <a:lnTo>
                  <a:pt x="815" y="800"/>
                </a:lnTo>
                <a:lnTo>
                  <a:pt x="803" y="798"/>
                </a:lnTo>
                <a:lnTo>
                  <a:pt x="789" y="796"/>
                </a:lnTo>
                <a:lnTo>
                  <a:pt x="771" y="796"/>
                </a:lnTo>
                <a:lnTo>
                  <a:pt x="750" y="796"/>
                </a:lnTo>
                <a:lnTo>
                  <a:pt x="725" y="798"/>
                </a:lnTo>
                <a:lnTo>
                  <a:pt x="725" y="798"/>
                </a:lnTo>
                <a:lnTo>
                  <a:pt x="724" y="805"/>
                </a:lnTo>
                <a:lnTo>
                  <a:pt x="721" y="812"/>
                </a:lnTo>
                <a:lnTo>
                  <a:pt x="719" y="816"/>
                </a:lnTo>
                <a:lnTo>
                  <a:pt x="717" y="822"/>
                </a:lnTo>
                <a:lnTo>
                  <a:pt x="713" y="825"/>
                </a:lnTo>
                <a:lnTo>
                  <a:pt x="710" y="829"/>
                </a:lnTo>
                <a:lnTo>
                  <a:pt x="705" y="831"/>
                </a:lnTo>
                <a:lnTo>
                  <a:pt x="701" y="834"/>
                </a:lnTo>
                <a:lnTo>
                  <a:pt x="690" y="837"/>
                </a:lnTo>
                <a:lnTo>
                  <a:pt x="679" y="838"/>
                </a:lnTo>
                <a:lnTo>
                  <a:pt x="666" y="838"/>
                </a:lnTo>
                <a:lnTo>
                  <a:pt x="652" y="837"/>
                </a:lnTo>
                <a:lnTo>
                  <a:pt x="626" y="835"/>
                </a:lnTo>
                <a:lnTo>
                  <a:pt x="613" y="834"/>
                </a:lnTo>
                <a:lnTo>
                  <a:pt x="601" y="835"/>
                </a:lnTo>
                <a:lnTo>
                  <a:pt x="589" y="836"/>
                </a:lnTo>
                <a:lnTo>
                  <a:pt x="579" y="839"/>
                </a:lnTo>
                <a:lnTo>
                  <a:pt x="574" y="842"/>
                </a:lnTo>
                <a:lnTo>
                  <a:pt x="569" y="845"/>
                </a:lnTo>
                <a:lnTo>
                  <a:pt x="566" y="849"/>
                </a:lnTo>
                <a:lnTo>
                  <a:pt x="563" y="853"/>
                </a:lnTo>
                <a:lnTo>
                  <a:pt x="563" y="853"/>
                </a:lnTo>
                <a:lnTo>
                  <a:pt x="559" y="857"/>
                </a:lnTo>
                <a:lnTo>
                  <a:pt x="557" y="860"/>
                </a:lnTo>
                <a:lnTo>
                  <a:pt x="556" y="866"/>
                </a:lnTo>
                <a:lnTo>
                  <a:pt x="557" y="870"/>
                </a:lnTo>
                <a:lnTo>
                  <a:pt x="558" y="876"/>
                </a:lnTo>
                <a:lnTo>
                  <a:pt x="561" y="883"/>
                </a:lnTo>
                <a:lnTo>
                  <a:pt x="568" y="896"/>
                </a:lnTo>
                <a:lnTo>
                  <a:pt x="578" y="909"/>
                </a:lnTo>
                <a:lnTo>
                  <a:pt x="587" y="922"/>
                </a:lnTo>
                <a:lnTo>
                  <a:pt x="595" y="933"/>
                </a:lnTo>
                <a:lnTo>
                  <a:pt x="599" y="942"/>
                </a:lnTo>
                <a:lnTo>
                  <a:pt x="599" y="942"/>
                </a:lnTo>
                <a:lnTo>
                  <a:pt x="604" y="954"/>
                </a:lnTo>
                <a:lnTo>
                  <a:pt x="606" y="965"/>
                </a:lnTo>
                <a:lnTo>
                  <a:pt x="605" y="970"/>
                </a:lnTo>
                <a:lnTo>
                  <a:pt x="605" y="975"/>
                </a:lnTo>
                <a:lnTo>
                  <a:pt x="601" y="982"/>
                </a:lnTo>
                <a:lnTo>
                  <a:pt x="595" y="989"/>
                </a:lnTo>
                <a:lnTo>
                  <a:pt x="588" y="995"/>
                </a:lnTo>
                <a:lnTo>
                  <a:pt x="579" y="999"/>
                </a:lnTo>
                <a:lnTo>
                  <a:pt x="567" y="1004"/>
                </a:lnTo>
                <a:lnTo>
                  <a:pt x="543" y="1010"/>
                </a:lnTo>
                <a:lnTo>
                  <a:pt x="515" y="1015"/>
                </a:lnTo>
                <a:lnTo>
                  <a:pt x="489" y="1021"/>
                </a:lnTo>
                <a:lnTo>
                  <a:pt x="475" y="1026"/>
                </a:lnTo>
                <a:lnTo>
                  <a:pt x="464" y="1029"/>
                </a:lnTo>
                <a:lnTo>
                  <a:pt x="464" y="1029"/>
                </a:lnTo>
                <a:lnTo>
                  <a:pt x="444" y="1036"/>
                </a:lnTo>
                <a:lnTo>
                  <a:pt x="429" y="1040"/>
                </a:lnTo>
                <a:lnTo>
                  <a:pt x="422" y="1041"/>
                </a:lnTo>
                <a:lnTo>
                  <a:pt x="416" y="1041"/>
                </a:lnTo>
                <a:lnTo>
                  <a:pt x="411" y="1040"/>
                </a:lnTo>
                <a:lnTo>
                  <a:pt x="406" y="1038"/>
                </a:lnTo>
                <a:lnTo>
                  <a:pt x="401" y="1036"/>
                </a:lnTo>
                <a:lnTo>
                  <a:pt x="398" y="1034"/>
                </a:lnTo>
                <a:lnTo>
                  <a:pt x="392" y="1027"/>
                </a:lnTo>
                <a:lnTo>
                  <a:pt x="388" y="1020"/>
                </a:lnTo>
                <a:lnTo>
                  <a:pt x="385" y="1012"/>
                </a:lnTo>
                <a:lnTo>
                  <a:pt x="381" y="995"/>
                </a:lnTo>
                <a:lnTo>
                  <a:pt x="378" y="981"/>
                </a:lnTo>
                <a:lnTo>
                  <a:pt x="376" y="975"/>
                </a:lnTo>
                <a:lnTo>
                  <a:pt x="374" y="973"/>
                </a:lnTo>
                <a:lnTo>
                  <a:pt x="372" y="972"/>
                </a:lnTo>
                <a:lnTo>
                  <a:pt x="369" y="972"/>
                </a:lnTo>
                <a:lnTo>
                  <a:pt x="365" y="974"/>
                </a:lnTo>
                <a:lnTo>
                  <a:pt x="365" y="974"/>
                </a:lnTo>
                <a:lnTo>
                  <a:pt x="247" y="1000"/>
                </a:lnTo>
                <a:lnTo>
                  <a:pt x="247" y="1000"/>
                </a:lnTo>
                <a:lnTo>
                  <a:pt x="247" y="1000"/>
                </a:lnTo>
                <a:lnTo>
                  <a:pt x="225" y="1018"/>
                </a:lnTo>
                <a:lnTo>
                  <a:pt x="212" y="1027"/>
                </a:lnTo>
                <a:lnTo>
                  <a:pt x="198" y="1035"/>
                </a:lnTo>
                <a:lnTo>
                  <a:pt x="185" y="1042"/>
                </a:lnTo>
                <a:lnTo>
                  <a:pt x="178" y="1043"/>
                </a:lnTo>
                <a:lnTo>
                  <a:pt x="172" y="1045"/>
                </a:lnTo>
                <a:lnTo>
                  <a:pt x="167" y="1045"/>
                </a:lnTo>
                <a:lnTo>
                  <a:pt x="162" y="1044"/>
                </a:lnTo>
                <a:lnTo>
                  <a:pt x="159" y="1042"/>
                </a:lnTo>
                <a:lnTo>
                  <a:pt x="155" y="1037"/>
                </a:lnTo>
                <a:lnTo>
                  <a:pt x="155" y="1037"/>
                </a:lnTo>
                <a:lnTo>
                  <a:pt x="151" y="1029"/>
                </a:lnTo>
                <a:lnTo>
                  <a:pt x="147" y="1025"/>
                </a:lnTo>
                <a:lnTo>
                  <a:pt x="144" y="1022"/>
                </a:lnTo>
                <a:lnTo>
                  <a:pt x="140" y="1021"/>
                </a:lnTo>
                <a:lnTo>
                  <a:pt x="137" y="1022"/>
                </a:lnTo>
                <a:lnTo>
                  <a:pt x="133" y="1025"/>
                </a:lnTo>
                <a:lnTo>
                  <a:pt x="126" y="1031"/>
                </a:lnTo>
                <a:lnTo>
                  <a:pt x="116" y="1040"/>
                </a:lnTo>
                <a:lnTo>
                  <a:pt x="110" y="1044"/>
                </a:lnTo>
                <a:lnTo>
                  <a:pt x="103" y="1048"/>
                </a:lnTo>
                <a:lnTo>
                  <a:pt x="94" y="1050"/>
                </a:lnTo>
                <a:lnTo>
                  <a:pt x="84" y="1051"/>
                </a:lnTo>
                <a:lnTo>
                  <a:pt x="72" y="1050"/>
                </a:lnTo>
                <a:lnTo>
                  <a:pt x="60" y="1048"/>
                </a:lnTo>
                <a:lnTo>
                  <a:pt x="60" y="1048"/>
                </a:lnTo>
                <a:lnTo>
                  <a:pt x="59" y="1066"/>
                </a:lnTo>
                <a:lnTo>
                  <a:pt x="56" y="1077"/>
                </a:lnTo>
                <a:lnTo>
                  <a:pt x="53" y="1084"/>
                </a:lnTo>
                <a:lnTo>
                  <a:pt x="52" y="1092"/>
                </a:lnTo>
                <a:lnTo>
                  <a:pt x="52" y="1092"/>
                </a:lnTo>
                <a:lnTo>
                  <a:pt x="52" y="1097"/>
                </a:lnTo>
                <a:lnTo>
                  <a:pt x="51" y="1103"/>
                </a:lnTo>
                <a:lnTo>
                  <a:pt x="46" y="1113"/>
                </a:lnTo>
                <a:lnTo>
                  <a:pt x="39" y="1127"/>
                </a:lnTo>
                <a:lnTo>
                  <a:pt x="33" y="1144"/>
                </a:lnTo>
                <a:lnTo>
                  <a:pt x="33" y="1144"/>
                </a:lnTo>
                <a:lnTo>
                  <a:pt x="47" y="1150"/>
                </a:lnTo>
                <a:lnTo>
                  <a:pt x="53" y="1152"/>
                </a:lnTo>
                <a:lnTo>
                  <a:pt x="56" y="1156"/>
                </a:lnTo>
                <a:lnTo>
                  <a:pt x="60" y="1160"/>
                </a:lnTo>
                <a:lnTo>
                  <a:pt x="62" y="1164"/>
                </a:lnTo>
                <a:lnTo>
                  <a:pt x="65" y="1172"/>
                </a:lnTo>
                <a:lnTo>
                  <a:pt x="71" y="1193"/>
                </a:lnTo>
                <a:lnTo>
                  <a:pt x="75" y="1204"/>
                </a:lnTo>
                <a:lnTo>
                  <a:pt x="82" y="1217"/>
                </a:lnTo>
                <a:lnTo>
                  <a:pt x="82" y="1217"/>
                </a:lnTo>
                <a:lnTo>
                  <a:pt x="86" y="1225"/>
                </a:lnTo>
                <a:lnTo>
                  <a:pt x="91" y="1232"/>
                </a:lnTo>
                <a:lnTo>
                  <a:pt x="100" y="1244"/>
                </a:lnTo>
                <a:lnTo>
                  <a:pt x="112" y="1255"/>
                </a:lnTo>
                <a:lnTo>
                  <a:pt x="123" y="1264"/>
                </a:lnTo>
                <a:lnTo>
                  <a:pt x="147" y="1282"/>
                </a:lnTo>
                <a:lnTo>
                  <a:pt x="159" y="1293"/>
                </a:lnTo>
                <a:lnTo>
                  <a:pt x="170" y="1305"/>
                </a:lnTo>
                <a:lnTo>
                  <a:pt x="170" y="1305"/>
                </a:lnTo>
                <a:lnTo>
                  <a:pt x="174" y="1310"/>
                </a:lnTo>
                <a:lnTo>
                  <a:pt x="176" y="1316"/>
                </a:lnTo>
                <a:lnTo>
                  <a:pt x="181" y="1326"/>
                </a:lnTo>
                <a:lnTo>
                  <a:pt x="183" y="1338"/>
                </a:lnTo>
                <a:lnTo>
                  <a:pt x="184" y="1350"/>
                </a:lnTo>
                <a:lnTo>
                  <a:pt x="185" y="1362"/>
                </a:lnTo>
                <a:lnTo>
                  <a:pt x="186" y="1374"/>
                </a:lnTo>
                <a:lnTo>
                  <a:pt x="190" y="1386"/>
                </a:lnTo>
                <a:lnTo>
                  <a:pt x="192" y="1392"/>
                </a:lnTo>
                <a:lnTo>
                  <a:pt x="196" y="1397"/>
                </a:lnTo>
                <a:lnTo>
                  <a:pt x="196" y="1397"/>
                </a:lnTo>
                <a:lnTo>
                  <a:pt x="200" y="1402"/>
                </a:lnTo>
                <a:lnTo>
                  <a:pt x="207" y="1407"/>
                </a:lnTo>
                <a:lnTo>
                  <a:pt x="221" y="1416"/>
                </a:lnTo>
                <a:lnTo>
                  <a:pt x="228" y="1420"/>
                </a:lnTo>
                <a:lnTo>
                  <a:pt x="233" y="1427"/>
                </a:lnTo>
                <a:lnTo>
                  <a:pt x="236" y="1431"/>
                </a:lnTo>
                <a:lnTo>
                  <a:pt x="238" y="1435"/>
                </a:lnTo>
                <a:lnTo>
                  <a:pt x="239" y="1440"/>
                </a:lnTo>
                <a:lnTo>
                  <a:pt x="239" y="1445"/>
                </a:lnTo>
                <a:lnTo>
                  <a:pt x="239" y="1445"/>
                </a:lnTo>
                <a:lnTo>
                  <a:pt x="238" y="1451"/>
                </a:lnTo>
                <a:lnTo>
                  <a:pt x="237" y="1457"/>
                </a:lnTo>
                <a:lnTo>
                  <a:pt x="235" y="1463"/>
                </a:lnTo>
                <a:lnTo>
                  <a:pt x="231" y="1468"/>
                </a:lnTo>
                <a:lnTo>
                  <a:pt x="228" y="1472"/>
                </a:lnTo>
                <a:lnTo>
                  <a:pt x="223" y="1476"/>
                </a:lnTo>
                <a:lnTo>
                  <a:pt x="214" y="1483"/>
                </a:lnTo>
                <a:lnTo>
                  <a:pt x="204" y="1488"/>
                </a:lnTo>
                <a:lnTo>
                  <a:pt x="193" y="1493"/>
                </a:lnTo>
                <a:lnTo>
                  <a:pt x="184" y="1499"/>
                </a:lnTo>
                <a:lnTo>
                  <a:pt x="177" y="1503"/>
                </a:lnTo>
                <a:lnTo>
                  <a:pt x="177" y="1503"/>
                </a:lnTo>
                <a:lnTo>
                  <a:pt x="125" y="1636"/>
                </a:lnTo>
                <a:lnTo>
                  <a:pt x="125" y="1636"/>
                </a:lnTo>
                <a:lnTo>
                  <a:pt x="125" y="1636"/>
                </a:lnTo>
                <a:lnTo>
                  <a:pt x="126" y="1642"/>
                </a:lnTo>
                <a:lnTo>
                  <a:pt x="129" y="1648"/>
                </a:lnTo>
                <a:lnTo>
                  <a:pt x="135" y="1660"/>
                </a:lnTo>
                <a:lnTo>
                  <a:pt x="141" y="1671"/>
                </a:lnTo>
                <a:lnTo>
                  <a:pt x="144" y="1677"/>
                </a:lnTo>
                <a:lnTo>
                  <a:pt x="144" y="1684"/>
                </a:lnTo>
                <a:lnTo>
                  <a:pt x="144" y="1684"/>
                </a:lnTo>
                <a:lnTo>
                  <a:pt x="144" y="1690"/>
                </a:lnTo>
                <a:lnTo>
                  <a:pt x="143" y="1694"/>
                </a:lnTo>
                <a:lnTo>
                  <a:pt x="140" y="1699"/>
                </a:lnTo>
                <a:lnTo>
                  <a:pt x="138" y="1701"/>
                </a:lnTo>
                <a:lnTo>
                  <a:pt x="136" y="1703"/>
                </a:lnTo>
                <a:lnTo>
                  <a:pt x="132" y="1705"/>
                </a:lnTo>
                <a:lnTo>
                  <a:pt x="124" y="1706"/>
                </a:lnTo>
                <a:lnTo>
                  <a:pt x="106" y="1706"/>
                </a:lnTo>
                <a:lnTo>
                  <a:pt x="95" y="1707"/>
                </a:lnTo>
                <a:lnTo>
                  <a:pt x="90" y="1708"/>
                </a:lnTo>
                <a:lnTo>
                  <a:pt x="85" y="1709"/>
                </a:lnTo>
                <a:lnTo>
                  <a:pt x="85" y="1709"/>
                </a:lnTo>
                <a:lnTo>
                  <a:pt x="80" y="1712"/>
                </a:lnTo>
                <a:lnTo>
                  <a:pt x="77" y="1714"/>
                </a:lnTo>
                <a:lnTo>
                  <a:pt x="67" y="1723"/>
                </a:lnTo>
                <a:lnTo>
                  <a:pt x="57" y="1735"/>
                </a:lnTo>
                <a:lnTo>
                  <a:pt x="47" y="1747"/>
                </a:lnTo>
                <a:lnTo>
                  <a:pt x="36" y="1760"/>
                </a:lnTo>
                <a:lnTo>
                  <a:pt x="24" y="1773"/>
                </a:lnTo>
                <a:lnTo>
                  <a:pt x="13" y="1783"/>
                </a:lnTo>
                <a:lnTo>
                  <a:pt x="7" y="1786"/>
                </a:lnTo>
                <a:lnTo>
                  <a:pt x="0" y="1790"/>
                </a:lnTo>
                <a:lnTo>
                  <a:pt x="0" y="1790"/>
                </a:lnTo>
                <a:lnTo>
                  <a:pt x="22" y="1827"/>
                </a:lnTo>
                <a:lnTo>
                  <a:pt x="41" y="1865"/>
                </a:lnTo>
                <a:lnTo>
                  <a:pt x="60" y="1904"/>
                </a:lnTo>
                <a:lnTo>
                  <a:pt x="68" y="1924"/>
                </a:lnTo>
                <a:lnTo>
                  <a:pt x="76" y="1944"/>
                </a:lnTo>
                <a:lnTo>
                  <a:pt x="83" y="1965"/>
                </a:lnTo>
                <a:lnTo>
                  <a:pt x="88" y="1987"/>
                </a:lnTo>
                <a:lnTo>
                  <a:pt x="94" y="2008"/>
                </a:lnTo>
                <a:lnTo>
                  <a:pt x="99" y="2030"/>
                </a:lnTo>
                <a:lnTo>
                  <a:pt x="102" y="2052"/>
                </a:lnTo>
                <a:lnTo>
                  <a:pt x="105" y="2075"/>
                </a:lnTo>
                <a:lnTo>
                  <a:pt x="106" y="2098"/>
                </a:lnTo>
                <a:lnTo>
                  <a:pt x="107" y="2121"/>
                </a:lnTo>
                <a:lnTo>
                  <a:pt x="107" y="2121"/>
                </a:lnTo>
                <a:lnTo>
                  <a:pt x="106" y="2127"/>
                </a:lnTo>
                <a:lnTo>
                  <a:pt x="105" y="2133"/>
                </a:lnTo>
                <a:lnTo>
                  <a:pt x="102" y="2137"/>
                </a:lnTo>
                <a:lnTo>
                  <a:pt x="99" y="2142"/>
                </a:lnTo>
                <a:lnTo>
                  <a:pt x="92" y="2149"/>
                </a:lnTo>
                <a:lnTo>
                  <a:pt x="83" y="2156"/>
                </a:lnTo>
                <a:lnTo>
                  <a:pt x="72" y="2161"/>
                </a:lnTo>
                <a:lnTo>
                  <a:pt x="63" y="2170"/>
                </a:lnTo>
                <a:lnTo>
                  <a:pt x="60" y="2173"/>
                </a:lnTo>
                <a:lnTo>
                  <a:pt x="56" y="2179"/>
                </a:lnTo>
                <a:lnTo>
                  <a:pt x="54" y="2183"/>
                </a:lnTo>
                <a:lnTo>
                  <a:pt x="52" y="2190"/>
                </a:lnTo>
                <a:lnTo>
                  <a:pt x="52" y="2190"/>
                </a:lnTo>
                <a:lnTo>
                  <a:pt x="70" y="2194"/>
                </a:lnTo>
                <a:lnTo>
                  <a:pt x="88" y="2198"/>
                </a:lnTo>
                <a:lnTo>
                  <a:pt x="97" y="2201"/>
                </a:lnTo>
                <a:lnTo>
                  <a:pt x="103" y="2205"/>
                </a:lnTo>
                <a:lnTo>
                  <a:pt x="108" y="2210"/>
                </a:lnTo>
                <a:lnTo>
                  <a:pt x="110" y="2213"/>
                </a:lnTo>
                <a:lnTo>
                  <a:pt x="112" y="2217"/>
                </a:lnTo>
                <a:lnTo>
                  <a:pt x="112" y="2217"/>
                </a:lnTo>
                <a:lnTo>
                  <a:pt x="113" y="2225"/>
                </a:lnTo>
                <a:lnTo>
                  <a:pt x="113" y="2233"/>
                </a:lnTo>
                <a:lnTo>
                  <a:pt x="112" y="2240"/>
                </a:lnTo>
                <a:lnTo>
                  <a:pt x="109" y="2248"/>
                </a:lnTo>
                <a:lnTo>
                  <a:pt x="107" y="2256"/>
                </a:lnTo>
                <a:lnTo>
                  <a:pt x="106" y="2265"/>
                </a:lnTo>
                <a:lnTo>
                  <a:pt x="106" y="2273"/>
                </a:lnTo>
                <a:lnTo>
                  <a:pt x="107" y="2282"/>
                </a:lnTo>
                <a:lnTo>
                  <a:pt x="107" y="2282"/>
                </a:lnTo>
                <a:lnTo>
                  <a:pt x="109" y="2291"/>
                </a:lnTo>
                <a:lnTo>
                  <a:pt x="112" y="2300"/>
                </a:lnTo>
                <a:lnTo>
                  <a:pt x="116" y="2308"/>
                </a:lnTo>
                <a:lnTo>
                  <a:pt x="121" y="2315"/>
                </a:lnTo>
                <a:lnTo>
                  <a:pt x="132" y="2329"/>
                </a:lnTo>
                <a:lnTo>
                  <a:pt x="145" y="2343"/>
                </a:lnTo>
                <a:lnTo>
                  <a:pt x="156" y="2357"/>
                </a:lnTo>
                <a:lnTo>
                  <a:pt x="167" y="2371"/>
                </a:lnTo>
                <a:lnTo>
                  <a:pt x="171" y="2379"/>
                </a:lnTo>
                <a:lnTo>
                  <a:pt x="174" y="2387"/>
                </a:lnTo>
                <a:lnTo>
                  <a:pt x="176" y="2395"/>
                </a:lnTo>
                <a:lnTo>
                  <a:pt x="177" y="2404"/>
                </a:lnTo>
                <a:lnTo>
                  <a:pt x="177" y="2404"/>
                </a:lnTo>
                <a:lnTo>
                  <a:pt x="176" y="2407"/>
                </a:lnTo>
                <a:lnTo>
                  <a:pt x="176" y="2410"/>
                </a:lnTo>
                <a:lnTo>
                  <a:pt x="171" y="2417"/>
                </a:lnTo>
                <a:lnTo>
                  <a:pt x="160" y="2431"/>
                </a:lnTo>
                <a:lnTo>
                  <a:pt x="154" y="2439"/>
                </a:lnTo>
                <a:lnTo>
                  <a:pt x="149" y="2448"/>
                </a:lnTo>
                <a:lnTo>
                  <a:pt x="145" y="2458"/>
                </a:lnTo>
                <a:lnTo>
                  <a:pt x="145" y="2464"/>
                </a:lnTo>
                <a:lnTo>
                  <a:pt x="144" y="2470"/>
                </a:lnTo>
                <a:lnTo>
                  <a:pt x="144" y="2470"/>
                </a:lnTo>
                <a:lnTo>
                  <a:pt x="144" y="2554"/>
                </a:lnTo>
                <a:lnTo>
                  <a:pt x="144" y="2554"/>
                </a:lnTo>
                <a:lnTo>
                  <a:pt x="152" y="2556"/>
                </a:lnTo>
                <a:lnTo>
                  <a:pt x="160" y="2557"/>
                </a:lnTo>
                <a:lnTo>
                  <a:pt x="177" y="2557"/>
                </a:lnTo>
                <a:lnTo>
                  <a:pt x="193" y="2555"/>
                </a:lnTo>
                <a:lnTo>
                  <a:pt x="209" y="2554"/>
                </a:lnTo>
                <a:lnTo>
                  <a:pt x="209" y="2554"/>
                </a:lnTo>
                <a:lnTo>
                  <a:pt x="220" y="2555"/>
                </a:lnTo>
                <a:lnTo>
                  <a:pt x="229" y="2558"/>
                </a:lnTo>
                <a:lnTo>
                  <a:pt x="240" y="2563"/>
                </a:lnTo>
                <a:lnTo>
                  <a:pt x="254" y="2569"/>
                </a:lnTo>
                <a:lnTo>
                  <a:pt x="254" y="2569"/>
                </a:lnTo>
                <a:lnTo>
                  <a:pt x="261" y="2571"/>
                </a:lnTo>
                <a:lnTo>
                  <a:pt x="269" y="2571"/>
                </a:lnTo>
                <a:lnTo>
                  <a:pt x="284" y="2572"/>
                </a:lnTo>
                <a:lnTo>
                  <a:pt x="315" y="2571"/>
                </a:lnTo>
                <a:lnTo>
                  <a:pt x="329" y="2572"/>
                </a:lnTo>
                <a:lnTo>
                  <a:pt x="335" y="2573"/>
                </a:lnTo>
                <a:lnTo>
                  <a:pt x="341" y="2576"/>
                </a:lnTo>
                <a:lnTo>
                  <a:pt x="344" y="2578"/>
                </a:lnTo>
                <a:lnTo>
                  <a:pt x="347" y="2583"/>
                </a:lnTo>
                <a:lnTo>
                  <a:pt x="349" y="2588"/>
                </a:lnTo>
                <a:lnTo>
                  <a:pt x="350" y="2595"/>
                </a:lnTo>
                <a:lnTo>
                  <a:pt x="350" y="2595"/>
                </a:lnTo>
                <a:lnTo>
                  <a:pt x="349" y="2602"/>
                </a:lnTo>
                <a:lnTo>
                  <a:pt x="347" y="2608"/>
                </a:lnTo>
                <a:lnTo>
                  <a:pt x="345" y="2614"/>
                </a:lnTo>
                <a:lnTo>
                  <a:pt x="342" y="2618"/>
                </a:lnTo>
                <a:lnTo>
                  <a:pt x="336" y="2627"/>
                </a:lnTo>
                <a:lnTo>
                  <a:pt x="332" y="2632"/>
                </a:lnTo>
                <a:lnTo>
                  <a:pt x="331" y="2639"/>
                </a:lnTo>
                <a:lnTo>
                  <a:pt x="331" y="2639"/>
                </a:lnTo>
                <a:lnTo>
                  <a:pt x="349" y="2642"/>
                </a:lnTo>
                <a:lnTo>
                  <a:pt x="365" y="2646"/>
                </a:lnTo>
                <a:lnTo>
                  <a:pt x="378" y="2651"/>
                </a:lnTo>
                <a:lnTo>
                  <a:pt x="391" y="2657"/>
                </a:lnTo>
                <a:lnTo>
                  <a:pt x="401" y="2665"/>
                </a:lnTo>
                <a:lnTo>
                  <a:pt x="410" y="2676"/>
                </a:lnTo>
                <a:lnTo>
                  <a:pt x="418" y="2687"/>
                </a:lnTo>
                <a:lnTo>
                  <a:pt x="423" y="2701"/>
                </a:lnTo>
                <a:lnTo>
                  <a:pt x="423" y="2701"/>
                </a:lnTo>
                <a:lnTo>
                  <a:pt x="429" y="2713"/>
                </a:lnTo>
                <a:lnTo>
                  <a:pt x="433" y="2723"/>
                </a:lnTo>
                <a:lnTo>
                  <a:pt x="435" y="2733"/>
                </a:lnTo>
                <a:lnTo>
                  <a:pt x="436" y="2744"/>
                </a:lnTo>
                <a:lnTo>
                  <a:pt x="437" y="2755"/>
                </a:lnTo>
                <a:lnTo>
                  <a:pt x="439" y="2766"/>
                </a:lnTo>
                <a:lnTo>
                  <a:pt x="443" y="2777"/>
                </a:lnTo>
                <a:lnTo>
                  <a:pt x="449" y="2790"/>
                </a:lnTo>
                <a:lnTo>
                  <a:pt x="449" y="2790"/>
                </a:lnTo>
                <a:lnTo>
                  <a:pt x="451" y="2792"/>
                </a:lnTo>
                <a:lnTo>
                  <a:pt x="454" y="2795"/>
                </a:lnTo>
                <a:lnTo>
                  <a:pt x="461" y="2799"/>
                </a:lnTo>
                <a:lnTo>
                  <a:pt x="481" y="2806"/>
                </a:lnTo>
                <a:lnTo>
                  <a:pt x="489" y="2810"/>
                </a:lnTo>
                <a:lnTo>
                  <a:pt x="494" y="2813"/>
                </a:lnTo>
                <a:lnTo>
                  <a:pt x="497" y="2815"/>
                </a:lnTo>
                <a:lnTo>
                  <a:pt x="499" y="2819"/>
                </a:lnTo>
                <a:lnTo>
                  <a:pt x="502" y="2823"/>
                </a:lnTo>
                <a:lnTo>
                  <a:pt x="503" y="2828"/>
                </a:lnTo>
                <a:lnTo>
                  <a:pt x="504" y="2833"/>
                </a:lnTo>
                <a:lnTo>
                  <a:pt x="504" y="2833"/>
                </a:lnTo>
                <a:lnTo>
                  <a:pt x="504" y="2874"/>
                </a:lnTo>
                <a:lnTo>
                  <a:pt x="504" y="2874"/>
                </a:lnTo>
                <a:lnTo>
                  <a:pt x="504" y="2883"/>
                </a:lnTo>
                <a:lnTo>
                  <a:pt x="505" y="2892"/>
                </a:lnTo>
                <a:lnTo>
                  <a:pt x="507" y="2900"/>
                </a:lnTo>
                <a:lnTo>
                  <a:pt x="511" y="2908"/>
                </a:lnTo>
                <a:lnTo>
                  <a:pt x="514" y="2916"/>
                </a:lnTo>
                <a:lnTo>
                  <a:pt x="519" y="2923"/>
                </a:lnTo>
                <a:lnTo>
                  <a:pt x="523" y="2930"/>
                </a:lnTo>
                <a:lnTo>
                  <a:pt x="529" y="2937"/>
                </a:lnTo>
                <a:lnTo>
                  <a:pt x="543" y="2949"/>
                </a:lnTo>
                <a:lnTo>
                  <a:pt x="558" y="2960"/>
                </a:lnTo>
                <a:lnTo>
                  <a:pt x="576" y="2970"/>
                </a:lnTo>
                <a:lnTo>
                  <a:pt x="596" y="2981"/>
                </a:lnTo>
                <a:lnTo>
                  <a:pt x="596" y="2981"/>
                </a:lnTo>
                <a:lnTo>
                  <a:pt x="594" y="2991"/>
                </a:lnTo>
                <a:lnTo>
                  <a:pt x="591" y="3001"/>
                </a:lnTo>
                <a:lnTo>
                  <a:pt x="586" y="3020"/>
                </a:lnTo>
                <a:lnTo>
                  <a:pt x="582" y="3029"/>
                </a:lnTo>
                <a:lnTo>
                  <a:pt x="580" y="3038"/>
                </a:lnTo>
                <a:lnTo>
                  <a:pt x="578" y="3050"/>
                </a:lnTo>
                <a:lnTo>
                  <a:pt x="578" y="3061"/>
                </a:lnTo>
                <a:lnTo>
                  <a:pt x="578" y="3061"/>
                </a:lnTo>
                <a:lnTo>
                  <a:pt x="578" y="3234"/>
                </a:lnTo>
                <a:lnTo>
                  <a:pt x="578" y="3234"/>
                </a:lnTo>
                <a:lnTo>
                  <a:pt x="578" y="3255"/>
                </a:lnTo>
                <a:lnTo>
                  <a:pt x="580" y="3264"/>
                </a:lnTo>
                <a:lnTo>
                  <a:pt x="583" y="3273"/>
                </a:lnTo>
                <a:lnTo>
                  <a:pt x="586" y="3278"/>
                </a:lnTo>
                <a:lnTo>
                  <a:pt x="588" y="3281"/>
                </a:lnTo>
                <a:lnTo>
                  <a:pt x="591" y="3285"/>
                </a:lnTo>
                <a:lnTo>
                  <a:pt x="596" y="3287"/>
                </a:lnTo>
                <a:lnTo>
                  <a:pt x="601" y="3289"/>
                </a:lnTo>
                <a:lnTo>
                  <a:pt x="606" y="3291"/>
                </a:lnTo>
                <a:lnTo>
                  <a:pt x="613" y="3293"/>
                </a:lnTo>
                <a:lnTo>
                  <a:pt x="621" y="3293"/>
                </a:lnTo>
                <a:lnTo>
                  <a:pt x="621" y="3293"/>
                </a:lnTo>
                <a:lnTo>
                  <a:pt x="635" y="3291"/>
                </a:lnTo>
                <a:lnTo>
                  <a:pt x="648" y="3288"/>
                </a:lnTo>
                <a:lnTo>
                  <a:pt x="659" y="3283"/>
                </a:lnTo>
                <a:lnTo>
                  <a:pt x="671" y="3276"/>
                </a:lnTo>
                <a:lnTo>
                  <a:pt x="680" y="3268"/>
                </a:lnTo>
                <a:lnTo>
                  <a:pt x="690" y="3259"/>
                </a:lnTo>
                <a:lnTo>
                  <a:pt x="708" y="3240"/>
                </a:lnTo>
                <a:lnTo>
                  <a:pt x="725" y="3220"/>
                </a:lnTo>
                <a:lnTo>
                  <a:pt x="734" y="3211"/>
                </a:lnTo>
                <a:lnTo>
                  <a:pt x="742" y="3203"/>
                </a:lnTo>
                <a:lnTo>
                  <a:pt x="751" y="3196"/>
                </a:lnTo>
                <a:lnTo>
                  <a:pt x="762" y="3191"/>
                </a:lnTo>
                <a:lnTo>
                  <a:pt x="772" y="3188"/>
                </a:lnTo>
                <a:lnTo>
                  <a:pt x="784" y="3187"/>
                </a:lnTo>
                <a:lnTo>
                  <a:pt x="784" y="3187"/>
                </a:lnTo>
                <a:lnTo>
                  <a:pt x="786" y="3187"/>
                </a:lnTo>
                <a:lnTo>
                  <a:pt x="789" y="3188"/>
                </a:lnTo>
                <a:lnTo>
                  <a:pt x="795" y="3192"/>
                </a:lnTo>
                <a:lnTo>
                  <a:pt x="801" y="3199"/>
                </a:lnTo>
                <a:lnTo>
                  <a:pt x="807" y="3206"/>
                </a:lnTo>
                <a:lnTo>
                  <a:pt x="813" y="3213"/>
                </a:lnTo>
                <a:lnTo>
                  <a:pt x="821" y="3220"/>
                </a:lnTo>
                <a:lnTo>
                  <a:pt x="826" y="3222"/>
                </a:lnTo>
                <a:lnTo>
                  <a:pt x="831" y="3225"/>
                </a:lnTo>
                <a:lnTo>
                  <a:pt x="836" y="3226"/>
                </a:lnTo>
                <a:lnTo>
                  <a:pt x="842" y="3226"/>
                </a:lnTo>
                <a:lnTo>
                  <a:pt x="842" y="3226"/>
                </a:lnTo>
                <a:lnTo>
                  <a:pt x="843" y="3217"/>
                </a:lnTo>
                <a:lnTo>
                  <a:pt x="847" y="3209"/>
                </a:lnTo>
                <a:lnTo>
                  <a:pt x="849" y="3199"/>
                </a:lnTo>
                <a:lnTo>
                  <a:pt x="854" y="3191"/>
                </a:lnTo>
                <a:lnTo>
                  <a:pt x="863" y="3176"/>
                </a:lnTo>
                <a:lnTo>
                  <a:pt x="874" y="3161"/>
                </a:lnTo>
                <a:lnTo>
                  <a:pt x="885" y="3146"/>
                </a:lnTo>
                <a:lnTo>
                  <a:pt x="896" y="3130"/>
                </a:lnTo>
                <a:lnTo>
                  <a:pt x="905" y="3113"/>
                </a:lnTo>
                <a:lnTo>
                  <a:pt x="909" y="3104"/>
                </a:lnTo>
                <a:lnTo>
                  <a:pt x="912" y="3094"/>
                </a:lnTo>
                <a:lnTo>
                  <a:pt x="912" y="3094"/>
                </a:lnTo>
                <a:lnTo>
                  <a:pt x="916" y="3076"/>
                </a:lnTo>
                <a:lnTo>
                  <a:pt x="919" y="3059"/>
                </a:lnTo>
                <a:lnTo>
                  <a:pt x="923" y="3028"/>
                </a:lnTo>
                <a:lnTo>
                  <a:pt x="926" y="3000"/>
                </a:lnTo>
                <a:lnTo>
                  <a:pt x="929" y="2989"/>
                </a:lnTo>
                <a:lnTo>
                  <a:pt x="932" y="2978"/>
                </a:lnTo>
                <a:lnTo>
                  <a:pt x="937" y="2968"/>
                </a:lnTo>
                <a:lnTo>
                  <a:pt x="942" y="2960"/>
                </a:lnTo>
                <a:lnTo>
                  <a:pt x="949" y="2953"/>
                </a:lnTo>
                <a:lnTo>
                  <a:pt x="958" y="2947"/>
                </a:lnTo>
                <a:lnTo>
                  <a:pt x="970" y="2943"/>
                </a:lnTo>
                <a:lnTo>
                  <a:pt x="984" y="2939"/>
                </a:lnTo>
                <a:lnTo>
                  <a:pt x="1001" y="2937"/>
                </a:lnTo>
                <a:lnTo>
                  <a:pt x="1022" y="2937"/>
                </a:lnTo>
                <a:lnTo>
                  <a:pt x="1022" y="2937"/>
                </a:lnTo>
                <a:lnTo>
                  <a:pt x="1036" y="2937"/>
                </a:lnTo>
                <a:lnTo>
                  <a:pt x="1048" y="2940"/>
                </a:lnTo>
                <a:lnTo>
                  <a:pt x="1057" y="2945"/>
                </a:lnTo>
                <a:lnTo>
                  <a:pt x="1067" y="2952"/>
                </a:lnTo>
                <a:lnTo>
                  <a:pt x="1073" y="2959"/>
                </a:lnTo>
                <a:lnTo>
                  <a:pt x="1079" y="2968"/>
                </a:lnTo>
                <a:lnTo>
                  <a:pt x="1091" y="2985"/>
                </a:lnTo>
                <a:lnTo>
                  <a:pt x="1100" y="3004"/>
                </a:lnTo>
                <a:lnTo>
                  <a:pt x="1106" y="3012"/>
                </a:lnTo>
                <a:lnTo>
                  <a:pt x="1113" y="3020"/>
                </a:lnTo>
                <a:lnTo>
                  <a:pt x="1120" y="3026"/>
                </a:lnTo>
                <a:lnTo>
                  <a:pt x="1129" y="3031"/>
                </a:lnTo>
                <a:lnTo>
                  <a:pt x="1138" y="3034"/>
                </a:lnTo>
                <a:lnTo>
                  <a:pt x="1151" y="3035"/>
                </a:lnTo>
                <a:lnTo>
                  <a:pt x="1151" y="3035"/>
                </a:lnTo>
                <a:lnTo>
                  <a:pt x="1159" y="3035"/>
                </a:lnTo>
                <a:lnTo>
                  <a:pt x="1166" y="3034"/>
                </a:lnTo>
                <a:lnTo>
                  <a:pt x="1171" y="3030"/>
                </a:lnTo>
                <a:lnTo>
                  <a:pt x="1175" y="3027"/>
                </a:lnTo>
                <a:lnTo>
                  <a:pt x="1178" y="3022"/>
                </a:lnTo>
                <a:lnTo>
                  <a:pt x="1181" y="3016"/>
                </a:lnTo>
                <a:lnTo>
                  <a:pt x="1184" y="3003"/>
                </a:lnTo>
                <a:lnTo>
                  <a:pt x="1184" y="3003"/>
                </a:lnTo>
                <a:lnTo>
                  <a:pt x="1220" y="3003"/>
                </a:lnTo>
                <a:lnTo>
                  <a:pt x="1220" y="3003"/>
                </a:lnTo>
                <a:lnTo>
                  <a:pt x="1220" y="3003"/>
                </a:lnTo>
                <a:lnTo>
                  <a:pt x="1229" y="3010"/>
                </a:lnTo>
                <a:lnTo>
                  <a:pt x="1235" y="3016"/>
                </a:lnTo>
                <a:lnTo>
                  <a:pt x="1239" y="3024"/>
                </a:lnTo>
                <a:lnTo>
                  <a:pt x="1243" y="3034"/>
                </a:lnTo>
                <a:lnTo>
                  <a:pt x="1247" y="3053"/>
                </a:lnTo>
                <a:lnTo>
                  <a:pt x="1250" y="3064"/>
                </a:lnTo>
                <a:lnTo>
                  <a:pt x="1253" y="3076"/>
                </a:lnTo>
                <a:lnTo>
                  <a:pt x="1253" y="3076"/>
                </a:lnTo>
                <a:lnTo>
                  <a:pt x="1255" y="3081"/>
                </a:lnTo>
                <a:lnTo>
                  <a:pt x="1259" y="3085"/>
                </a:lnTo>
                <a:lnTo>
                  <a:pt x="1267" y="3095"/>
                </a:lnTo>
                <a:lnTo>
                  <a:pt x="1277" y="3103"/>
                </a:lnTo>
                <a:lnTo>
                  <a:pt x="1289" y="3112"/>
                </a:lnTo>
                <a:lnTo>
                  <a:pt x="1312" y="3128"/>
                </a:lnTo>
                <a:lnTo>
                  <a:pt x="1322" y="3135"/>
                </a:lnTo>
                <a:lnTo>
                  <a:pt x="1330" y="3142"/>
                </a:lnTo>
                <a:lnTo>
                  <a:pt x="1330" y="3142"/>
                </a:lnTo>
                <a:lnTo>
                  <a:pt x="1340" y="3152"/>
                </a:lnTo>
                <a:lnTo>
                  <a:pt x="1350" y="3164"/>
                </a:lnTo>
                <a:lnTo>
                  <a:pt x="1358" y="3176"/>
                </a:lnTo>
                <a:lnTo>
                  <a:pt x="1365" y="3190"/>
                </a:lnTo>
                <a:lnTo>
                  <a:pt x="1378" y="3217"/>
                </a:lnTo>
                <a:lnTo>
                  <a:pt x="1392" y="3244"/>
                </a:lnTo>
                <a:lnTo>
                  <a:pt x="1399" y="3257"/>
                </a:lnTo>
                <a:lnTo>
                  <a:pt x="1408" y="3268"/>
                </a:lnTo>
                <a:lnTo>
                  <a:pt x="1418" y="3280"/>
                </a:lnTo>
                <a:lnTo>
                  <a:pt x="1429" y="3289"/>
                </a:lnTo>
                <a:lnTo>
                  <a:pt x="1442" y="3296"/>
                </a:lnTo>
                <a:lnTo>
                  <a:pt x="1456" y="3303"/>
                </a:lnTo>
                <a:lnTo>
                  <a:pt x="1464" y="3304"/>
                </a:lnTo>
                <a:lnTo>
                  <a:pt x="1473" y="3306"/>
                </a:lnTo>
                <a:lnTo>
                  <a:pt x="1492" y="3308"/>
                </a:lnTo>
                <a:lnTo>
                  <a:pt x="1492" y="3308"/>
                </a:lnTo>
                <a:lnTo>
                  <a:pt x="1498" y="3300"/>
                </a:lnTo>
                <a:lnTo>
                  <a:pt x="1505" y="3290"/>
                </a:lnTo>
                <a:lnTo>
                  <a:pt x="1512" y="3282"/>
                </a:lnTo>
                <a:lnTo>
                  <a:pt x="1521" y="3275"/>
                </a:lnTo>
                <a:lnTo>
                  <a:pt x="1530" y="3270"/>
                </a:lnTo>
                <a:lnTo>
                  <a:pt x="1542" y="3264"/>
                </a:lnTo>
                <a:lnTo>
                  <a:pt x="1554" y="3262"/>
                </a:lnTo>
                <a:lnTo>
                  <a:pt x="1569" y="3260"/>
                </a:lnTo>
                <a:lnTo>
                  <a:pt x="1569" y="3260"/>
                </a:lnTo>
                <a:lnTo>
                  <a:pt x="1712" y="3260"/>
                </a:lnTo>
                <a:lnTo>
                  <a:pt x="1712" y="3260"/>
                </a:lnTo>
                <a:lnTo>
                  <a:pt x="1722" y="3259"/>
                </a:lnTo>
                <a:lnTo>
                  <a:pt x="1732" y="3257"/>
                </a:lnTo>
                <a:lnTo>
                  <a:pt x="1750" y="3250"/>
                </a:lnTo>
                <a:lnTo>
                  <a:pt x="1760" y="3247"/>
                </a:lnTo>
                <a:lnTo>
                  <a:pt x="1771" y="3244"/>
                </a:lnTo>
                <a:lnTo>
                  <a:pt x="1781" y="3242"/>
                </a:lnTo>
                <a:lnTo>
                  <a:pt x="1793" y="3241"/>
                </a:lnTo>
                <a:lnTo>
                  <a:pt x="1793" y="3241"/>
                </a:lnTo>
                <a:lnTo>
                  <a:pt x="1800" y="3242"/>
                </a:lnTo>
                <a:lnTo>
                  <a:pt x="1806" y="3243"/>
                </a:lnTo>
                <a:lnTo>
                  <a:pt x="1811" y="3244"/>
                </a:lnTo>
                <a:lnTo>
                  <a:pt x="1817" y="3248"/>
                </a:lnTo>
                <a:lnTo>
                  <a:pt x="1827" y="3253"/>
                </a:lnTo>
                <a:lnTo>
                  <a:pt x="1836" y="3262"/>
                </a:lnTo>
                <a:lnTo>
                  <a:pt x="1847" y="3268"/>
                </a:lnTo>
                <a:lnTo>
                  <a:pt x="1857" y="3275"/>
                </a:lnTo>
                <a:lnTo>
                  <a:pt x="1863" y="3278"/>
                </a:lnTo>
                <a:lnTo>
                  <a:pt x="1870" y="3280"/>
                </a:lnTo>
                <a:lnTo>
                  <a:pt x="1877" y="3281"/>
                </a:lnTo>
                <a:lnTo>
                  <a:pt x="1885" y="3281"/>
                </a:lnTo>
                <a:lnTo>
                  <a:pt x="1885" y="3281"/>
                </a:lnTo>
                <a:lnTo>
                  <a:pt x="1894" y="3281"/>
                </a:lnTo>
                <a:lnTo>
                  <a:pt x="1902" y="3280"/>
                </a:lnTo>
                <a:lnTo>
                  <a:pt x="1918" y="3276"/>
                </a:lnTo>
                <a:lnTo>
                  <a:pt x="1932" y="3271"/>
                </a:lnTo>
                <a:lnTo>
                  <a:pt x="1947" y="3265"/>
                </a:lnTo>
                <a:lnTo>
                  <a:pt x="1962" y="3259"/>
                </a:lnTo>
                <a:lnTo>
                  <a:pt x="1977" y="3253"/>
                </a:lnTo>
                <a:lnTo>
                  <a:pt x="1994" y="3250"/>
                </a:lnTo>
                <a:lnTo>
                  <a:pt x="2003" y="3249"/>
                </a:lnTo>
                <a:lnTo>
                  <a:pt x="2014" y="3249"/>
                </a:lnTo>
                <a:lnTo>
                  <a:pt x="2014" y="3249"/>
                </a:lnTo>
                <a:lnTo>
                  <a:pt x="2023" y="3248"/>
                </a:lnTo>
                <a:lnTo>
                  <a:pt x="2032" y="3247"/>
                </a:lnTo>
                <a:lnTo>
                  <a:pt x="2040" y="3244"/>
                </a:lnTo>
                <a:lnTo>
                  <a:pt x="2048" y="3242"/>
                </a:lnTo>
                <a:lnTo>
                  <a:pt x="2055" y="3239"/>
                </a:lnTo>
                <a:lnTo>
                  <a:pt x="2062" y="3234"/>
                </a:lnTo>
                <a:lnTo>
                  <a:pt x="2075" y="3225"/>
                </a:lnTo>
                <a:lnTo>
                  <a:pt x="2086" y="3214"/>
                </a:lnTo>
                <a:lnTo>
                  <a:pt x="2096" y="3204"/>
                </a:lnTo>
                <a:lnTo>
                  <a:pt x="2116" y="3182"/>
                </a:lnTo>
                <a:lnTo>
                  <a:pt x="2116" y="3182"/>
                </a:lnTo>
                <a:lnTo>
                  <a:pt x="2121" y="3179"/>
                </a:lnTo>
                <a:lnTo>
                  <a:pt x="2124" y="3176"/>
                </a:lnTo>
                <a:lnTo>
                  <a:pt x="2134" y="3173"/>
                </a:lnTo>
                <a:lnTo>
                  <a:pt x="2146" y="3169"/>
                </a:lnTo>
                <a:lnTo>
                  <a:pt x="2157" y="3167"/>
                </a:lnTo>
                <a:lnTo>
                  <a:pt x="2169" y="3166"/>
                </a:lnTo>
                <a:lnTo>
                  <a:pt x="2182" y="3163"/>
                </a:lnTo>
                <a:lnTo>
                  <a:pt x="2192" y="3159"/>
                </a:lnTo>
                <a:lnTo>
                  <a:pt x="2197" y="3156"/>
                </a:lnTo>
                <a:lnTo>
                  <a:pt x="2201" y="3152"/>
                </a:lnTo>
                <a:lnTo>
                  <a:pt x="2201" y="3152"/>
                </a:lnTo>
                <a:lnTo>
                  <a:pt x="2213" y="3145"/>
                </a:lnTo>
                <a:lnTo>
                  <a:pt x="2222" y="3137"/>
                </a:lnTo>
                <a:lnTo>
                  <a:pt x="2231" y="3129"/>
                </a:lnTo>
                <a:lnTo>
                  <a:pt x="2239" y="3120"/>
                </a:lnTo>
                <a:lnTo>
                  <a:pt x="2254" y="3103"/>
                </a:lnTo>
                <a:lnTo>
                  <a:pt x="2268" y="3085"/>
                </a:lnTo>
                <a:lnTo>
                  <a:pt x="2282" y="3068"/>
                </a:lnTo>
                <a:lnTo>
                  <a:pt x="2290" y="3060"/>
                </a:lnTo>
                <a:lnTo>
                  <a:pt x="2298" y="3053"/>
                </a:lnTo>
                <a:lnTo>
                  <a:pt x="2307" y="3046"/>
                </a:lnTo>
                <a:lnTo>
                  <a:pt x="2317" y="3039"/>
                </a:lnTo>
                <a:lnTo>
                  <a:pt x="2328" y="3034"/>
                </a:lnTo>
                <a:lnTo>
                  <a:pt x="2340" y="3028"/>
                </a:lnTo>
                <a:lnTo>
                  <a:pt x="2340" y="3028"/>
                </a:lnTo>
                <a:lnTo>
                  <a:pt x="2336" y="2988"/>
                </a:lnTo>
                <a:lnTo>
                  <a:pt x="2332" y="2950"/>
                </a:lnTo>
                <a:lnTo>
                  <a:pt x="2330" y="2914"/>
                </a:lnTo>
                <a:lnTo>
                  <a:pt x="2329" y="2881"/>
                </a:lnTo>
                <a:lnTo>
                  <a:pt x="2329" y="2881"/>
                </a:lnTo>
                <a:lnTo>
                  <a:pt x="2329" y="2873"/>
                </a:lnTo>
                <a:lnTo>
                  <a:pt x="2325" y="2865"/>
                </a:lnTo>
                <a:lnTo>
                  <a:pt x="2321" y="2859"/>
                </a:lnTo>
                <a:lnTo>
                  <a:pt x="2315" y="2854"/>
                </a:lnTo>
                <a:lnTo>
                  <a:pt x="2309" y="2850"/>
                </a:lnTo>
                <a:lnTo>
                  <a:pt x="2301" y="2846"/>
                </a:lnTo>
                <a:lnTo>
                  <a:pt x="2285" y="2842"/>
                </a:lnTo>
                <a:lnTo>
                  <a:pt x="2269" y="2837"/>
                </a:lnTo>
                <a:lnTo>
                  <a:pt x="2255" y="2832"/>
                </a:lnTo>
                <a:lnTo>
                  <a:pt x="2250" y="2829"/>
                </a:lnTo>
                <a:lnTo>
                  <a:pt x="2245" y="2825"/>
                </a:lnTo>
                <a:lnTo>
                  <a:pt x="2243" y="2821"/>
                </a:lnTo>
                <a:lnTo>
                  <a:pt x="2241" y="2815"/>
                </a:lnTo>
                <a:lnTo>
                  <a:pt x="2241" y="2815"/>
                </a:lnTo>
                <a:lnTo>
                  <a:pt x="2241" y="2810"/>
                </a:lnTo>
                <a:lnTo>
                  <a:pt x="2243" y="2806"/>
                </a:lnTo>
                <a:lnTo>
                  <a:pt x="2247" y="2798"/>
                </a:lnTo>
                <a:lnTo>
                  <a:pt x="2254" y="2790"/>
                </a:lnTo>
                <a:lnTo>
                  <a:pt x="2260" y="2782"/>
                </a:lnTo>
                <a:lnTo>
                  <a:pt x="2260" y="2782"/>
                </a:lnTo>
                <a:lnTo>
                  <a:pt x="2260" y="2728"/>
                </a:lnTo>
                <a:lnTo>
                  <a:pt x="2260" y="2728"/>
                </a:lnTo>
                <a:lnTo>
                  <a:pt x="2260" y="2728"/>
                </a:lnTo>
                <a:lnTo>
                  <a:pt x="2232" y="2723"/>
                </a:lnTo>
                <a:lnTo>
                  <a:pt x="2222" y="2721"/>
                </a:lnTo>
                <a:lnTo>
                  <a:pt x="2213" y="2718"/>
                </a:lnTo>
                <a:lnTo>
                  <a:pt x="2205" y="2715"/>
                </a:lnTo>
                <a:lnTo>
                  <a:pt x="2198" y="2710"/>
                </a:lnTo>
                <a:lnTo>
                  <a:pt x="2191" y="2703"/>
                </a:lnTo>
                <a:lnTo>
                  <a:pt x="2183" y="2693"/>
                </a:lnTo>
                <a:lnTo>
                  <a:pt x="2183" y="2693"/>
                </a:lnTo>
                <a:lnTo>
                  <a:pt x="2193" y="2685"/>
                </a:lnTo>
                <a:lnTo>
                  <a:pt x="2205" y="2676"/>
                </a:lnTo>
                <a:lnTo>
                  <a:pt x="2210" y="2670"/>
                </a:lnTo>
                <a:lnTo>
                  <a:pt x="2215" y="2664"/>
                </a:lnTo>
                <a:lnTo>
                  <a:pt x="2218" y="2657"/>
                </a:lnTo>
                <a:lnTo>
                  <a:pt x="2220" y="2649"/>
                </a:lnTo>
                <a:lnTo>
                  <a:pt x="2220" y="2649"/>
                </a:lnTo>
                <a:lnTo>
                  <a:pt x="2218" y="2636"/>
                </a:lnTo>
                <a:lnTo>
                  <a:pt x="2216" y="2623"/>
                </a:lnTo>
                <a:lnTo>
                  <a:pt x="2210" y="2598"/>
                </a:lnTo>
                <a:lnTo>
                  <a:pt x="2205" y="2572"/>
                </a:lnTo>
                <a:lnTo>
                  <a:pt x="2202" y="2557"/>
                </a:lnTo>
                <a:lnTo>
                  <a:pt x="2201" y="2543"/>
                </a:lnTo>
                <a:lnTo>
                  <a:pt x="2201" y="2543"/>
                </a:lnTo>
                <a:lnTo>
                  <a:pt x="2201" y="2531"/>
                </a:lnTo>
                <a:lnTo>
                  <a:pt x="2202" y="2520"/>
                </a:lnTo>
                <a:lnTo>
                  <a:pt x="2205" y="2510"/>
                </a:lnTo>
                <a:lnTo>
                  <a:pt x="2207" y="2502"/>
                </a:lnTo>
                <a:lnTo>
                  <a:pt x="2209" y="2493"/>
                </a:lnTo>
                <a:lnTo>
                  <a:pt x="2213" y="2486"/>
                </a:lnTo>
                <a:lnTo>
                  <a:pt x="2216" y="2479"/>
                </a:lnTo>
                <a:lnTo>
                  <a:pt x="2221" y="2473"/>
                </a:lnTo>
                <a:lnTo>
                  <a:pt x="2230" y="2463"/>
                </a:lnTo>
                <a:lnTo>
                  <a:pt x="2239" y="2455"/>
                </a:lnTo>
                <a:lnTo>
                  <a:pt x="2251" y="2448"/>
                </a:lnTo>
                <a:lnTo>
                  <a:pt x="2262" y="2441"/>
                </a:lnTo>
                <a:lnTo>
                  <a:pt x="2284" y="2428"/>
                </a:lnTo>
                <a:lnTo>
                  <a:pt x="2294" y="2422"/>
                </a:lnTo>
                <a:lnTo>
                  <a:pt x="2304" y="2413"/>
                </a:lnTo>
                <a:lnTo>
                  <a:pt x="2312" y="2403"/>
                </a:lnTo>
                <a:lnTo>
                  <a:pt x="2314" y="2397"/>
                </a:lnTo>
                <a:lnTo>
                  <a:pt x="2317" y="2390"/>
                </a:lnTo>
                <a:lnTo>
                  <a:pt x="2320" y="2384"/>
                </a:lnTo>
                <a:lnTo>
                  <a:pt x="2321" y="2374"/>
                </a:lnTo>
                <a:lnTo>
                  <a:pt x="2322" y="2366"/>
                </a:lnTo>
                <a:lnTo>
                  <a:pt x="2322" y="2356"/>
                </a:lnTo>
                <a:lnTo>
                  <a:pt x="2322" y="2356"/>
                </a:lnTo>
                <a:lnTo>
                  <a:pt x="2323" y="2349"/>
                </a:lnTo>
                <a:lnTo>
                  <a:pt x="2324" y="2343"/>
                </a:lnTo>
                <a:lnTo>
                  <a:pt x="2327" y="2339"/>
                </a:lnTo>
                <a:lnTo>
                  <a:pt x="2329" y="2335"/>
                </a:lnTo>
                <a:lnTo>
                  <a:pt x="2332" y="2333"/>
                </a:lnTo>
                <a:lnTo>
                  <a:pt x="2337" y="2331"/>
                </a:lnTo>
                <a:lnTo>
                  <a:pt x="2346" y="2328"/>
                </a:lnTo>
                <a:lnTo>
                  <a:pt x="2357" y="2327"/>
                </a:lnTo>
                <a:lnTo>
                  <a:pt x="2367" y="2327"/>
                </a:lnTo>
                <a:lnTo>
                  <a:pt x="2378" y="2326"/>
                </a:lnTo>
                <a:lnTo>
                  <a:pt x="2389" y="2323"/>
                </a:lnTo>
                <a:lnTo>
                  <a:pt x="2389" y="2323"/>
                </a:lnTo>
                <a:lnTo>
                  <a:pt x="2396" y="2319"/>
                </a:lnTo>
                <a:lnTo>
                  <a:pt x="2401" y="2316"/>
                </a:lnTo>
                <a:lnTo>
                  <a:pt x="2406" y="2312"/>
                </a:lnTo>
                <a:lnTo>
                  <a:pt x="2411" y="2308"/>
                </a:lnTo>
                <a:lnTo>
                  <a:pt x="2414" y="2302"/>
                </a:lnTo>
                <a:lnTo>
                  <a:pt x="2416" y="2297"/>
                </a:lnTo>
                <a:lnTo>
                  <a:pt x="2420" y="2285"/>
                </a:lnTo>
                <a:lnTo>
                  <a:pt x="2422" y="2272"/>
                </a:lnTo>
                <a:lnTo>
                  <a:pt x="2422" y="2259"/>
                </a:lnTo>
                <a:lnTo>
                  <a:pt x="2422" y="2231"/>
                </a:lnTo>
                <a:lnTo>
                  <a:pt x="2422" y="2231"/>
                </a:lnTo>
                <a:lnTo>
                  <a:pt x="2423" y="2225"/>
                </a:lnTo>
                <a:lnTo>
                  <a:pt x="2426" y="2220"/>
                </a:lnTo>
                <a:lnTo>
                  <a:pt x="2430" y="2217"/>
                </a:lnTo>
                <a:lnTo>
                  <a:pt x="2435" y="2213"/>
                </a:lnTo>
                <a:lnTo>
                  <a:pt x="2439" y="2210"/>
                </a:lnTo>
                <a:lnTo>
                  <a:pt x="2443" y="2206"/>
                </a:lnTo>
                <a:lnTo>
                  <a:pt x="2446" y="2203"/>
                </a:lnTo>
                <a:lnTo>
                  <a:pt x="2447" y="2198"/>
                </a:lnTo>
                <a:lnTo>
                  <a:pt x="2447" y="2198"/>
                </a:lnTo>
                <a:lnTo>
                  <a:pt x="2446" y="2190"/>
                </a:lnTo>
                <a:lnTo>
                  <a:pt x="2445" y="2182"/>
                </a:lnTo>
                <a:lnTo>
                  <a:pt x="2442" y="2168"/>
                </a:lnTo>
                <a:lnTo>
                  <a:pt x="2436" y="2156"/>
                </a:lnTo>
                <a:lnTo>
                  <a:pt x="2429" y="2144"/>
                </a:lnTo>
                <a:lnTo>
                  <a:pt x="2420" y="2133"/>
                </a:lnTo>
                <a:lnTo>
                  <a:pt x="2409" y="2123"/>
                </a:lnTo>
                <a:lnTo>
                  <a:pt x="2389" y="2105"/>
                </a:lnTo>
                <a:lnTo>
                  <a:pt x="2367" y="2086"/>
                </a:lnTo>
                <a:lnTo>
                  <a:pt x="2357" y="2076"/>
                </a:lnTo>
                <a:lnTo>
                  <a:pt x="2347" y="2066"/>
                </a:lnTo>
                <a:lnTo>
                  <a:pt x="2340" y="2054"/>
                </a:lnTo>
                <a:lnTo>
                  <a:pt x="2335" y="2043"/>
                </a:lnTo>
                <a:lnTo>
                  <a:pt x="2331" y="2029"/>
                </a:lnTo>
                <a:lnTo>
                  <a:pt x="2330" y="2021"/>
                </a:lnTo>
                <a:lnTo>
                  <a:pt x="2329" y="2014"/>
                </a:lnTo>
                <a:lnTo>
                  <a:pt x="2329" y="2014"/>
                </a:lnTo>
                <a:lnTo>
                  <a:pt x="2330" y="2006"/>
                </a:lnTo>
                <a:lnTo>
                  <a:pt x="2331" y="2000"/>
                </a:lnTo>
                <a:lnTo>
                  <a:pt x="2331" y="1995"/>
                </a:lnTo>
                <a:lnTo>
                  <a:pt x="2329" y="1989"/>
                </a:lnTo>
                <a:lnTo>
                  <a:pt x="2329" y="1989"/>
                </a:lnTo>
                <a:lnTo>
                  <a:pt x="2338" y="1968"/>
                </a:lnTo>
                <a:lnTo>
                  <a:pt x="2346" y="1950"/>
                </a:lnTo>
                <a:lnTo>
                  <a:pt x="2350" y="1941"/>
                </a:lnTo>
                <a:lnTo>
                  <a:pt x="2353" y="1930"/>
                </a:lnTo>
                <a:lnTo>
                  <a:pt x="2354" y="1920"/>
                </a:lnTo>
                <a:lnTo>
                  <a:pt x="2355" y="1907"/>
                </a:lnTo>
                <a:lnTo>
                  <a:pt x="2355" y="1907"/>
                </a:lnTo>
                <a:lnTo>
                  <a:pt x="2355" y="1899"/>
                </a:lnTo>
                <a:lnTo>
                  <a:pt x="2353" y="1890"/>
                </a:lnTo>
                <a:lnTo>
                  <a:pt x="2348" y="1870"/>
                </a:lnTo>
                <a:lnTo>
                  <a:pt x="2342" y="1851"/>
                </a:lnTo>
                <a:lnTo>
                  <a:pt x="2334" y="1830"/>
                </a:lnTo>
                <a:lnTo>
                  <a:pt x="2319" y="1793"/>
                </a:lnTo>
                <a:lnTo>
                  <a:pt x="2313" y="1777"/>
                </a:lnTo>
                <a:lnTo>
                  <a:pt x="2312" y="1770"/>
                </a:lnTo>
                <a:lnTo>
                  <a:pt x="2312" y="1764"/>
                </a:lnTo>
                <a:lnTo>
                  <a:pt x="2312" y="1764"/>
                </a:lnTo>
                <a:lnTo>
                  <a:pt x="2312" y="1760"/>
                </a:lnTo>
                <a:lnTo>
                  <a:pt x="2313" y="1755"/>
                </a:lnTo>
                <a:lnTo>
                  <a:pt x="2316" y="1748"/>
                </a:lnTo>
                <a:lnTo>
                  <a:pt x="2322" y="1743"/>
                </a:lnTo>
                <a:lnTo>
                  <a:pt x="2329" y="1738"/>
                </a:lnTo>
                <a:lnTo>
                  <a:pt x="2337" y="1735"/>
                </a:lnTo>
                <a:lnTo>
                  <a:pt x="2345" y="1732"/>
                </a:lnTo>
                <a:lnTo>
                  <a:pt x="2354" y="1731"/>
                </a:lnTo>
                <a:lnTo>
                  <a:pt x="2363" y="1731"/>
                </a:lnTo>
                <a:lnTo>
                  <a:pt x="2363" y="1731"/>
                </a:lnTo>
                <a:lnTo>
                  <a:pt x="2414" y="1731"/>
                </a:lnTo>
                <a:lnTo>
                  <a:pt x="2414" y="1731"/>
                </a:lnTo>
                <a:lnTo>
                  <a:pt x="2421" y="1733"/>
                </a:lnTo>
                <a:lnTo>
                  <a:pt x="2432" y="1737"/>
                </a:lnTo>
                <a:lnTo>
                  <a:pt x="2441" y="1738"/>
                </a:lnTo>
                <a:lnTo>
                  <a:pt x="2449" y="1739"/>
                </a:lnTo>
                <a:lnTo>
                  <a:pt x="2457" y="1738"/>
                </a:lnTo>
                <a:lnTo>
                  <a:pt x="2465" y="1736"/>
                </a:lnTo>
                <a:lnTo>
                  <a:pt x="2465" y="1736"/>
                </a:lnTo>
                <a:lnTo>
                  <a:pt x="2470" y="1732"/>
                </a:lnTo>
                <a:lnTo>
                  <a:pt x="2475" y="1728"/>
                </a:lnTo>
                <a:lnTo>
                  <a:pt x="2478" y="1723"/>
                </a:lnTo>
                <a:lnTo>
                  <a:pt x="2483" y="1717"/>
                </a:lnTo>
                <a:lnTo>
                  <a:pt x="2497" y="1691"/>
                </a:lnTo>
                <a:lnTo>
                  <a:pt x="2505" y="1678"/>
                </a:lnTo>
                <a:lnTo>
                  <a:pt x="2510" y="1672"/>
                </a:lnTo>
                <a:lnTo>
                  <a:pt x="2516" y="1668"/>
                </a:lnTo>
                <a:lnTo>
                  <a:pt x="2522" y="1663"/>
                </a:lnTo>
                <a:lnTo>
                  <a:pt x="2530" y="1660"/>
                </a:lnTo>
                <a:lnTo>
                  <a:pt x="2539" y="1659"/>
                </a:lnTo>
                <a:lnTo>
                  <a:pt x="2550" y="1657"/>
                </a:lnTo>
                <a:lnTo>
                  <a:pt x="2550" y="1657"/>
                </a:lnTo>
                <a:lnTo>
                  <a:pt x="2559" y="1657"/>
                </a:lnTo>
                <a:lnTo>
                  <a:pt x="2565" y="1659"/>
                </a:lnTo>
                <a:lnTo>
                  <a:pt x="2571" y="1662"/>
                </a:lnTo>
                <a:lnTo>
                  <a:pt x="2573" y="1662"/>
                </a:lnTo>
                <a:lnTo>
                  <a:pt x="2576" y="1662"/>
                </a:lnTo>
                <a:lnTo>
                  <a:pt x="2587" y="1657"/>
                </a:lnTo>
                <a:lnTo>
                  <a:pt x="2587" y="1657"/>
                </a:lnTo>
                <a:lnTo>
                  <a:pt x="2590" y="1655"/>
                </a:lnTo>
                <a:lnTo>
                  <a:pt x="2592" y="1653"/>
                </a:lnTo>
                <a:lnTo>
                  <a:pt x="2594" y="1649"/>
                </a:lnTo>
                <a:lnTo>
                  <a:pt x="2595" y="1645"/>
                </a:lnTo>
                <a:lnTo>
                  <a:pt x="2596" y="1633"/>
                </a:lnTo>
                <a:lnTo>
                  <a:pt x="2596" y="1622"/>
                </a:lnTo>
                <a:lnTo>
                  <a:pt x="2594" y="1601"/>
                </a:lnTo>
                <a:lnTo>
                  <a:pt x="2594" y="1594"/>
                </a:lnTo>
                <a:lnTo>
                  <a:pt x="2594" y="1592"/>
                </a:lnTo>
                <a:lnTo>
                  <a:pt x="2594" y="1592"/>
                </a:lnTo>
                <a:lnTo>
                  <a:pt x="2568" y="1592"/>
                </a:lnTo>
                <a:lnTo>
                  <a:pt x="2568" y="159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7" name="Freeform 112"/>
          <p:cNvSpPr>
            <a:spLocks/>
          </p:cNvSpPr>
          <p:nvPr/>
        </p:nvSpPr>
        <p:spPr bwMode="auto">
          <a:xfrm>
            <a:off x="5926138" y="1970088"/>
            <a:ext cx="242887" cy="263525"/>
          </a:xfrm>
          <a:custGeom>
            <a:avLst/>
            <a:gdLst/>
            <a:ahLst/>
            <a:cxnLst>
              <a:cxn ang="0">
                <a:pos x="298" y="77"/>
              </a:cxn>
              <a:cxn ang="0">
                <a:pos x="290" y="40"/>
              </a:cxn>
              <a:cxn ang="0">
                <a:pos x="276" y="27"/>
              </a:cxn>
              <a:cxn ang="0">
                <a:pos x="263" y="2"/>
              </a:cxn>
              <a:cxn ang="0">
                <a:pos x="226" y="1"/>
              </a:cxn>
              <a:cxn ang="0">
                <a:pos x="192" y="8"/>
              </a:cxn>
              <a:cxn ang="0">
                <a:pos x="162" y="33"/>
              </a:cxn>
              <a:cxn ang="0">
                <a:pos x="138" y="36"/>
              </a:cxn>
              <a:cxn ang="0">
                <a:pos x="118" y="30"/>
              </a:cxn>
              <a:cxn ang="0">
                <a:pos x="108" y="33"/>
              </a:cxn>
              <a:cxn ang="0">
                <a:pos x="103" y="48"/>
              </a:cxn>
              <a:cxn ang="0">
                <a:pos x="112" y="84"/>
              </a:cxn>
              <a:cxn ang="0">
                <a:pos x="132" y="103"/>
              </a:cxn>
              <a:cxn ang="0">
                <a:pos x="127" y="115"/>
              </a:cxn>
              <a:cxn ang="0">
                <a:pos x="103" y="108"/>
              </a:cxn>
              <a:cxn ang="0">
                <a:pos x="88" y="107"/>
              </a:cxn>
              <a:cxn ang="0">
                <a:pos x="39" y="94"/>
              </a:cxn>
              <a:cxn ang="0">
                <a:pos x="19" y="93"/>
              </a:cxn>
              <a:cxn ang="0">
                <a:pos x="6" y="116"/>
              </a:cxn>
              <a:cxn ang="0">
                <a:pos x="1" y="152"/>
              </a:cxn>
              <a:cxn ang="0">
                <a:pos x="15" y="175"/>
              </a:cxn>
              <a:cxn ang="0">
                <a:pos x="11" y="190"/>
              </a:cxn>
              <a:cxn ang="0">
                <a:pos x="8" y="207"/>
              </a:cxn>
              <a:cxn ang="0">
                <a:pos x="32" y="222"/>
              </a:cxn>
              <a:cxn ang="0">
                <a:pos x="47" y="231"/>
              </a:cxn>
              <a:cxn ang="0">
                <a:pos x="51" y="257"/>
              </a:cxn>
              <a:cxn ang="0">
                <a:pos x="78" y="280"/>
              </a:cxn>
              <a:cxn ang="0">
                <a:pos x="135" y="291"/>
              </a:cxn>
              <a:cxn ang="0">
                <a:pos x="143" y="299"/>
              </a:cxn>
              <a:cxn ang="0">
                <a:pos x="165" y="301"/>
              </a:cxn>
              <a:cxn ang="0">
                <a:pos x="181" y="294"/>
              </a:cxn>
              <a:cxn ang="0">
                <a:pos x="184" y="276"/>
              </a:cxn>
              <a:cxn ang="0">
                <a:pos x="180" y="246"/>
              </a:cxn>
              <a:cxn ang="0">
                <a:pos x="180" y="236"/>
              </a:cxn>
              <a:cxn ang="0">
                <a:pos x="199" y="230"/>
              </a:cxn>
              <a:cxn ang="0">
                <a:pos x="218" y="200"/>
              </a:cxn>
              <a:cxn ang="0">
                <a:pos x="231" y="175"/>
              </a:cxn>
              <a:cxn ang="0">
                <a:pos x="261" y="164"/>
              </a:cxn>
              <a:cxn ang="0">
                <a:pos x="284" y="153"/>
              </a:cxn>
              <a:cxn ang="0">
                <a:pos x="286" y="137"/>
              </a:cxn>
              <a:cxn ang="0">
                <a:pos x="286" y="122"/>
              </a:cxn>
              <a:cxn ang="0">
                <a:pos x="258" y="125"/>
              </a:cxn>
              <a:cxn ang="0">
                <a:pos x="240" y="129"/>
              </a:cxn>
              <a:cxn ang="0">
                <a:pos x="202" y="109"/>
              </a:cxn>
              <a:cxn ang="0">
                <a:pos x="180" y="78"/>
              </a:cxn>
              <a:cxn ang="0">
                <a:pos x="180" y="48"/>
              </a:cxn>
              <a:cxn ang="0">
                <a:pos x="203" y="70"/>
              </a:cxn>
              <a:cxn ang="0">
                <a:pos x="226" y="104"/>
              </a:cxn>
              <a:cxn ang="0">
                <a:pos x="246" y="110"/>
              </a:cxn>
              <a:cxn ang="0">
                <a:pos x="272" y="107"/>
              </a:cxn>
              <a:cxn ang="0">
                <a:pos x="298" y="85"/>
              </a:cxn>
            </a:cxnLst>
            <a:rect l="0" t="0" r="r" b="b"/>
            <a:pathLst>
              <a:path w="299" h="301">
                <a:moveTo>
                  <a:pt x="298" y="85"/>
                </a:moveTo>
                <a:lnTo>
                  <a:pt x="298" y="85"/>
                </a:lnTo>
                <a:lnTo>
                  <a:pt x="299" y="83"/>
                </a:lnTo>
                <a:lnTo>
                  <a:pt x="298" y="77"/>
                </a:lnTo>
                <a:lnTo>
                  <a:pt x="295" y="64"/>
                </a:lnTo>
                <a:lnTo>
                  <a:pt x="292" y="50"/>
                </a:lnTo>
                <a:lnTo>
                  <a:pt x="290" y="40"/>
                </a:lnTo>
                <a:lnTo>
                  <a:pt x="290" y="40"/>
                </a:lnTo>
                <a:lnTo>
                  <a:pt x="287" y="40"/>
                </a:lnTo>
                <a:lnTo>
                  <a:pt x="284" y="39"/>
                </a:lnTo>
                <a:lnTo>
                  <a:pt x="279" y="34"/>
                </a:lnTo>
                <a:lnTo>
                  <a:pt x="276" y="27"/>
                </a:lnTo>
                <a:lnTo>
                  <a:pt x="273" y="20"/>
                </a:lnTo>
                <a:lnTo>
                  <a:pt x="271" y="12"/>
                </a:lnTo>
                <a:lnTo>
                  <a:pt x="268" y="7"/>
                </a:lnTo>
                <a:lnTo>
                  <a:pt x="263" y="2"/>
                </a:lnTo>
                <a:lnTo>
                  <a:pt x="260" y="1"/>
                </a:lnTo>
                <a:lnTo>
                  <a:pt x="257" y="0"/>
                </a:lnTo>
                <a:lnTo>
                  <a:pt x="257" y="0"/>
                </a:lnTo>
                <a:lnTo>
                  <a:pt x="226" y="1"/>
                </a:lnTo>
                <a:lnTo>
                  <a:pt x="212" y="2"/>
                </a:lnTo>
                <a:lnTo>
                  <a:pt x="199" y="4"/>
                </a:lnTo>
                <a:lnTo>
                  <a:pt x="199" y="4"/>
                </a:lnTo>
                <a:lnTo>
                  <a:pt x="192" y="8"/>
                </a:lnTo>
                <a:lnTo>
                  <a:pt x="186" y="12"/>
                </a:lnTo>
                <a:lnTo>
                  <a:pt x="174" y="23"/>
                </a:lnTo>
                <a:lnTo>
                  <a:pt x="169" y="28"/>
                </a:lnTo>
                <a:lnTo>
                  <a:pt x="162" y="33"/>
                </a:lnTo>
                <a:lnTo>
                  <a:pt x="153" y="35"/>
                </a:lnTo>
                <a:lnTo>
                  <a:pt x="143" y="36"/>
                </a:lnTo>
                <a:lnTo>
                  <a:pt x="143" y="36"/>
                </a:lnTo>
                <a:lnTo>
                  <a:pt x="138" y="36"/>
                </a:lnTo>
                <a:lnTo>
                  <a:pt x="134" y="35"/>
                </a:lnTo>
                <a:lnTo>
                  <a:pt x="127" y="33"/>
                </a:lnTo>
                <a:lnTo>
                  <a:pt x="123" y="31"/>
                </a:lnTo>
                <a:lnTo>
                  <a:pt x="118" y="30"/>
                </a:lnTo>
                <a:lnTo>
                  <a:pt x="118" y="30"/>
                </a:lnTo>
                <a:lnTo>
                  <a:pt x="113" y="30"/>
                </a:lnTo>
                <a:lnTo>
                  <a:pt x="111" y="31"/>
                </a:lnTo>
                <a:lnTo>
                  <a:pt x="108" y="33"/>
                </a:lnTo>
                <a:lnTo>
                  <a:pt x="107" y="35"/>
                </a:lnTo>
                <a:lnTo>
                  <a:pt x="103" y="42"/>
                </a:lnTo>
                <a:lnTo>
                  <a:pt x="103" y="48"/>
                </a:lnTo>
                <a:lnTo>
                  <a:pt x="103" y="48"/>
                </a:lnTo>
                <a:lnTo>
                  <a:pt x="103" y="60"/>
                </a:lnTo>
                <a:lnTo>
                  <a:pt x="105" y="69"/>
                </a:lnTo>
                <a:lnTo>
                  <a:pt x="109" y="77"/>
                </a:lnTo>
                <a:lnTo>
                  <a:pt x="112" y="84"/>
                </a:lnTo>
                <a:lnTo>
                  <a:pt x="117" y="89"/>
                </a:lnTo>
                <a:lnTo>
                  <a:pt x="122" y="94"/>
                </a:lnTo>
                <a:lnTo>
                  <a:pt x="132" y="103"/>
                </a:lnTo>
                <a:lnTo>
                  <a:pt x="132" y="103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7" y="115"/>
                </a:lnTo>
                <a:lnTo>
                  <a:pt x="123" y="115"/>
                </a:lnTo>
                <a:lnTo>
                  <a:pt x="115" y="111"/>
                </a:lnTo>
                <a:lnTo>
                  <a:pt x="107" y="109"/>
                </a:lnTo>
                <a:lnTo>
                  <a:pt x="103" y="108"/>
                </a:lnTo>
                <a:lnTo>
                  <a:pt x="99" y="107"/>
                </a:lnTo>
                <a:lnTo>
                  <a:pt x="99" y="107"/>
                </a:lnTo>
                <a:lnTo>
                  <a:pt x="88" y="107"/>
                </a:lnTo>
                <a:lnTo>
                  <a:pt x="88" y="107"/>
                </a:lnTo>
                <a:lnTo>
                  <a:pt x="80" y="107"/>
                </a:lnTo>
                <a:lnTo>
                  <a:pt x="72" y="104"/>
                </a:lnTo>
                <a:lnTo>
                  <a:pt x="55" y="100"/>
                </a:lnTo>
                <a:lnTo>
                  <a:pt x="39" y="94"/>
                </a:lnTo>
                <a:lnTo>
                  <a:pt x="31" y="93"/>
                </a:lnTo>
                <a:lnTo>
                  <a:pt x="21" y="92"/>
                </a:lnTo>
                <a:lnTo>
                  <a:pt x="21" y="92"/>
                </a:lnTo>
                <a:lnTo>
                  <a:pt x="19" y="93"/>
                </a:lnTo>
                <a:lnTo>
                  <a:pt x="18" y="94"/>
                </a:lnTo>
                <a:lnTo>
                  <a:pt x="13" y="100"/>
                </a:lnTo>
                <a:lnTo>
                  <a:pt x="10" y="107"/>
                </a:lnTo>
                <a:lnTo>
                  <a:pt x="6" y="116"/>
                </a:lnTo>
                <a:lnTo>
                  <a:pt x="2" y="134"/>
                </a:lnTo>
                <a:lnTo>
                  <a:pt x="0" y="147"/>
                </a:lnTo>
                <a:lnTo>
                  <a:pt x="0" y="147"/>
                </a:lnTo>
                <a:lnTo>
                  <a:pt x="1" y="152"/>
                </a:lnTo>
                <a:lnTo>
                  <a:pt x="2" y="156"/>
                </a:lnTo>
                <a:lnTo>
                  <a:pt x="8" y="163"/>
                </a:lnTo>
                <a:lnTo>
                  <a:pt x="12" y="170"/>
                </a:lnTo>
                <a:lnTo>
                  <a:pt x="15" y="175"/>
                </a:lnTo>
                <a:lnTo>
                  <a:pt x="15" y="180"/>
                </a:lnTo>
                <a:lnTo>
                  <a:pt x="15" y="180"/>
                </a:lnTo>
                <a:lnTo>
                  <a:pt x="13" y="185"/>
                </a:lnTo>
                <a:lnTo>
                  <a:pt x="11" y="190"/>
                </a:lnTo>
                <a:lnTo>
                  <a:pt x="9" y="194"/>
                </a:lnTo>
                <a:lnTo>
                  <a:pt x="8" y="199"/>
                </a:lnTo>
                <a:lnTo>
                  <a:pt x="8" y="199"/>
                </a:lnTo>
                <a:lnTo>
                  <a:pt x="8" y="207"/>
                </a:lnTo>
                <a:lnTo>
                  <a:pt x="11" y="213"/>
                </a:lnTo>
                <a:lnTo>
                  <a:pt x="15" y="216"/>
                </a:lnTo>
                <a:lnTo>
                  <a:pt x="20" y="218"/>
                </a:lnTo>
                <a:lnTo>
                  <a:pt x="32" y="222"/>
                </a:lnTo>
                <a:lnTo>
                  <a:pt x="39" y="225"/>
                </a:lnTo>
                <a:lnTo>
                  <a:pt x="44" y="229"/>
                </a:lnTo>
                <a:lnTo>
                  <a:pt x="44" y="229"/>
                </a:lnTo>
                <a:lnTo>
                  <a:pt x="47" y="231"/>
                </a:lnTo>
                <a:lnTo>
                  <a:pt x="48" y="234"/>
                </a:lnTo>
                <a:lnTo>
                  <a:pt x="49" y="242"/>
                </a:lnTo>
                <a:lnTo>
                  <a:pt x="49" y="251"/>
                </a:lnTo>
                <a:lnTo>
                  <a:pt x="51" y="257"/>
                </a:lnTo>
                <a:lnTo>
                  <a:pt x="51" y="257"/>
                </a:lnTo>
                <a:lnTo>
                  <a:pt x="58" y="268"/>
                </a:lnTo>
                <a:lnTo>
                  <a:pt x="67" y="275"/>
                </a:lnTo>
                <a:lnTo>
                  <a:pt x="78" y="280"/>
                </a:lnTo>
                <a:lnTo>
                  <a:pt x="88" y="285"/>
                </a:lnTo>
                <a:lnTo>
                  <a:pt x="100" y="287"/>
                </a:lnTo>
                <a:lnTo>
                  <a:pt x="111" y="290"/>
                </a:lnTo>
                <a:lnTo>
                  <a:pt x="135" y="291"/>
                </a:lnTo>
                <a:lnTo>
                  <a:pt x="135" y="291"/>
                </a:lnTo>
                <a:lnTo>
                  <a:pt x="138" y="294"/>
                </a:lnTo>
                <a:lnTo>
                  <a:pt x="140" y="297"/>
                </a:lnTo>
                <a:lnTo>
                  <a:pt x="143" y="299"/>
                </a:lnTo>
                <a:lnTo>
                  <a:pt x="148" y="300"/>
                </a:lnTo>
                <a:lnTo>
                  <a:pt x="156" y="301"/>
                </a:lnTo>
                <a:lnTo>
                  <a:pt x="165" y="301"/>
                </a:lnTo>
                <a:lnTo>
                  <a:pt x="165" y="301"/>
                </a:lnTo>
                <a:lnTo>
                  <a:pt x="171" y="301"/>
                </a:lnTo>
                <a:lnTo>
                  <a:pt x="176" y="300"/>
                </a:lnTo>
                <a:lnTo>
                  <a:pt x="179" y="298"/>
                </a:lnTo>
                <a:lnTo>
                  <a:pt x="181" y="294"/>
                </a:lnTo>
                <a:lnTo>
                  <a:pt x="183" y="291"/>
                </a:lnTo>
                <a:lnTo>
                  <a:pt x="184" y="286"/>
                </a:lnTo>
                <a:lnTo>
                  <a:pt x="184" y="276"/>
                </a:lnTo>
                <a:lnTo>
                  <a:pt x="184" y="276"/>
                </a:lnTo>
                <a:lnTo>
                  <a:pt x="183" y="265"/>
                </a:lnTo>
                <a:lnTo>
                  <a:pt x="181" y="259"/>
                </a:lnTo>
                <a:lnTo>
                  <a:pt x="180" y="252"/>
                </a:lnTo>
                <a:lnTo>
                  <a:pt x="180" y="246"/>
                </a:lnTo>
                <a:lnTo>
                  <a:pt x="180" y="246"/>
                </a:lnTo>
                <a:lnTo>
                  <a:pt x="180" y="236"/>
                </a:lnTo>
                <a:lnTo>
                  <a:pt x="180" y="236"/>
                </a:lnTo>
                <a:lnTo>
                  <a:pt x="180" y="236"/>
                </a:lnTo>
                <a:lnTo>
                  <a:pt x="185" y="234"/>
                </a:lnTo>
                <a:lnTo>
                  <a:pt x="189" y="233"/>
                </a:lnTo>
                <a:lnTo>
                  <a:pt x="194" y="232"/>
                </a:lnTo>
                <a:lnTo>
                  <a:pt x="199" y="230"/>
                </a:lnTo>
                <a:lnTo>
                  <a:pt x="204" y="224"/>
                </a:lnTo>
                <a:lnTo>
                  <a:pt x="210" y="216"/>
                </a:lnTo>
                <a:lnTo>
                  <a:pt x="215" y="208"/>
                </a:lnTo>
                <a:lnTo>
                  <a:pt x="218" y="200"/>
                </a:lnTo>
                <a:lnTo>
                  <a:pt x="224" y="184"/>
                </a:lnTo>
                <a:lnTo>
                  <a:pt x="224" y="184"/>
                </a:lnTo>
                <a:lnTo>
                  <a:pt x="227" y="179"/>
                </a:lnTo>
                <a:lnTo>
                  <a:pt x="231" y="175"/>
                </a:lnTo>
                <a:lnTo>
                  <a:pt x="235" y="172"/>
                </a:lnTo>
                <a:lnTo>
                  <a:pt x="240" y="169"/>
                </a:lnTo>
                <a:lnTo>
                  <a:pt x="250" y="167"/>
                </a:lnTo>
                <a:lnTo>
                  <a:pt x="261" y="164"/>
                </a:lnTo>
                <a:lnTo>
                  <a:pt x="270" y="162"/>
                </a:lnTo>
                <a:lnTo>
                  <a:pt x="279" y="158"/>
                </a:lnTo>
                <a:lnTo>
                  <a:pt x="281" y="155"/>
                </a:lnTo>
                <a:lnTo>
                  <a:pt x="284" y="153"/>
                </a:lnTo>
                <a:lnTo>
                  <a:pt x="286" y="148"/>
                </a:lnTo>
                <a:lnTo>
                  <a:pt x="286" y="144"/>
                </a:lnTo>
                <a:lnTo>
                  <a:pt x="286" y="144"/>
                </a:lnTo>
                <a:lnTo>
                  <a:pt x="286" y="137"/>
                </a:lnTo>
                <a:lnTo>
                  <a:pt x="285" y="131"/>
                </a:lnTo>
                <a:lnTo>
                  <a:pt x="285" y="126"/>
                </a:lnTo>
                <a:lnTo>
                  <a:pt x="286" y="122"/>
                </a:lnTo>
                <a:lnTo>
                  <a:pt x="286" y="122"/>
                </a:lnTo>
                <a:lnTo>
                  <a:pt x="268" y="122"/>
                </a:lnTo>
                <a:lnTo>
                  <a:pt x="268" y="122"/>
                </a:lnTo>
                <a:lnTo>
                  <a:pt x="263" y="123"/>
                </a:lnTo>
                <a:lnTo>
                  <a:pt x="258" y="125"/>
                </a:lnTo>
                <a:lnTo>
                  <a:pt x="253" y="127"/>
                </a:lnTo>
                <a:lnTo>
                  <a:pt x="246" y="129"/>
                </a:lnTo>
                <a:lnTo>
                  <a:pt x="246" y="129"/>
                </a:lnTo>
                <a:lnTo>
                  <a:pt x="240" y="129"/>
                </a:lnTo>
                <a:lnTo>
                  <a:pt x="234" y="127"/>
                </a:lnTo>
                <a:lnTo>
                  <a:pt x="223" y="123"/>
                </a:lnTo>
                <a:lnTo>
                  <a:pt x="212" y="117"/>
                </a:lnTo>
                <a:lnTo>
                  <a:pt x="202" y="109"/>
                </a:lnTo>
                <a:lnTo>
                  <a:pt x="193" y="101"/>
                </a:lnTo>
                <a:lnTo>
                  <a:pt x="186" y="92"/>
                </a:lnTo>
                <a:lnTo>
                  <a:pt x="181" y="83"/>
                </a:lnTo>
                <a:lnTo>
                  <a:pt x="180" y="78"/>
                </a:lnTo>
                <a:lnTo>
                  <a:pt x="180" y="73"/>
                </a:lnTo>
                <a:lnTo>
                  <a:pt x="180" y="73"/>
                </a:lnTo>
                <a:lnTo>
                  <a:pt x="180" y="48"/>
                </a:lnTo>
                <a:lnTo>
                  <a:pt x="180" y="48"/>
                </a:lnTo>
                <a:lnTo>
                  <a:pt x="199" y="48"/>
                </a:lnTo>
                <a:lnTo>
                  <a:pt x="199" y="48"/>
                </a:lnTo>
                <a:lnTo>
                  <a:pt x="200" y="60"/>
                </a:lnTo>
                <a:lnTo>
                  <a:pt x="203" y="70"/>
                </a:lnTo>
                <a:lnTo>
                  <a:pt x="207" y="81"/>
                </a:lnTo>
                <a:lnTo>
                  <a:pt x="212" y="91"/>
                </a:lnTo>
                <a:lnTo>
                  <a:pt x="218" y="99"/>
                </a:lnTo>
                <a:lnTo>
                  <a:pt x="226" y="104"/>
                </a:lnTo>
                <a:lnTo>
                  <a:pt x="231" y="107"/>
                </a:lnTo>
                <a:lnTo>
                  <a:pt x="235" y="109"/>
                </a:lnTo>
                <a:lnTo>
                  <a:pt x="240" y="110"/>
                </a:lnTo>
                <a:lnTo>
                  <a:pt x="246" y="110"/>
                </a:lnTo>
                <a:lnTo>
                  <a:pt x="246" y="110"/>
                </a:lnTo>
                <a:lnTo>
                  <a:pt x="256" y="110"/>
                </a:lnTo>
                <a:lnTo>
                  <a:pt x="264" y="109"/>
                </a:lnTo>
                <a:lnTo>
                  <a:pt x="272" y="107"/>
                </a:lnTo>
                <a:lnTo>
                  <a:pt x="278" y="103"/>
                </a:lnTo>
                <a:lnTo>
                  <a:pt x="284" y="100"/>
                </a:lnTo>
                <a:lnTo>
                  <a:pt x="288" y="95"/>
                </a:lnTo>
                <a:lnTo>
                  <a:pt x="298" y="85"/>
                </a:lnTo>
                <a:lnTo>
                  <a:pt x="298" y="85"/>
                </a:lnTo>
                <a:lnTo>
                  <a:pt x="298" y="8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8" name="Freeform 113"/>
          <p:cNvSpPr>
            <a:spLocks/>
          </p:cNvSpPr>
          <p:nvPr/>
        </p:nvSpPr>
        <p:spPr bwMode="auto">
          <a:xfrm>
            <a:off x="6176963" y="1866900"/>
            <a:ext cx="160337" cy="120650"/>
          </a:xfrm>
          <a:custGeom>
            <a:avLst/>
            <a:gdLst/>
            <a:ahLst/>
            <a:cxnLst>
              <a:cxn ang="0">
                <a:pos x="144" y="103"/>
              </a:cxn>
              <a:cxn ang="0">
                <a:pos x="153" y="100"/>
              </a:cxn>
              <a:cxn ang="0">
                <a:pos x="162" y="94"/>
              </a:cxn>
              <a:cxn ang="0">
                <a:pos x="179" y="72"/>
              </a:cxn>
              <a:cxn ang="0">
                <a:pos x="191" y="44"/>
              </a:cxn>
              <a:cxn ang="0">
                <a:pos x="196" y="22"/>
              </a:cxn>
              <a:cxn ang="0">
                <a:pos x="196" y="8"/>
              </a:cxn>
              <a:cxn ang="0">
                <a:pos x="190" y="7"/>
              </a:cxn>
              <a:cxn ang="0">
                <a:pos x="178" y="1"/>
              </a:cxn>
              <a:cxn ang="0">
                <a:pos x="173" y="0"/>
              </a:cxn>
              <a:cxn ang="0">
                <a:pos x="141" y="7"/>
              </a:cxn>
              <a:cxn ang="0">
                <a:pos x="122" y="14"/>
              </a:cxn>
              <a:cxn ang="0">
                <a:pos x="110" y="22"/>
              </a:cxn>
              <a:cxn ang="0">
                <a:pos x="106" y="31"/>
              </a:cxn>
              <a:cxn ang="0">
                <a:pos x="98" y="47"/>
              </a:cxn>
              <a:cxn ang="0">
                <a:pos x="92" y="52"/>
              </a:cxn>
              <a:cxn ang="0">
                <a:pos x="82" y="52"/>
              </a:cxn>
              <a:cxn ang="0">
                <a:pos x="82" y="52"/>
              </a:cxn>
              <a:cxn ang="0">
                <a:pos x="79" y="45"/>
              </a:cxn>
              <a:cxn ang="0">
                <a:pos x="75" y="41"/>
              </a:cxn>
              <a:cxn ang="0">
                <a:pos x="63" y="37"/>
              </a:cxn>
              <a:cxn ang="0">
                <a:pos x="59" y="38"/>
              </a:cxn>
              <a:cxn ang="0">
                <a:pos x="53" y="42"/>
              </a:cxn>
              <a:cxn ang="0">
                <a:pos x="46" y="52"/>
              </a:cxn>
              <a:cxn ang="0">
                <a:pos x="38" y="80"/>
              </a:cxn>
              <a:cxn ang="0">
                <a:pos x="33" y="92"/>
              </a:cxn>
              <a:cxn ang="0">
                <a:pos x="24" y="89"/>
              </a:cxn>
              <a:cxn ang="0">
                <a:pos x="13" y="77"/>
              </a:cxn>
              <a:cxn ang="0">
                <a:pos x="8" y="70"/>
              </a:cxn>
              <a:cxn ang="0">
                <a:pos x="0" y="70"/>
              </a:cxn>
              <a:cxn ang="0">
                <a:pos x="0" y="89"/>
              </a:cxn>
              <a:cxn ang="0">
                <a:pos x="1" y="98"/>
              </a:cxn>
              <a:cxn ang="0">
                <a:pos x="6" y="115"/>
              </a:cxn>
              <a:cxn ang="0">
                <a:pos x="16" y="128"/>
              </a:cxn>
              <a:cxn ang="0">
                <a:pos x="31" y="136"/>
              </a:cxn>
              <a:cxn ang="0">
                <a:pos x="40" y="137"/>
              </a:cxn>
              <a:cxn ang="0">
                <a:pos x="59" y="135"/>
              </a:cxn>
              <a:cxn ang="0">
                <a:pos x="84" y="127"/>
              </a:cxn>
              <a:cxn ang="0">
                <a:pos x="99" y="126"/>
              </a:cxn>
              <a:cxn ang="0">
                <a:pos x="114" y="126"/>
              </a:cxn>
              <a:cxn ang="0">
                <a:pos x="115" y="122"/>
              </a:cxn>
              <a:cxn ang="0">
                <a:pos x="124" y="112"/>
              </a:cxn>
              <a:cxn ang="0">
                <a:pos x="139" y="104"/>
              </a:cxn>
              <a:cxn ang="0">
                <a:pos x="144" y="103"/>
              </a:cxn>
            </a:cxnLst>
            <a:rect l="0" t="0" r="r" b="b"/>
            <a:pathLst>
              <a:path w="196" h="137">
                <a:moveTo>
                  <a:pt x="144" y="103"/>
                </a:moveTo>
                <a:lnTo>
                  <a:pt x="144" y="103"/>
                </a:lnTo>
                <a:lnTo>
                  <a:pt x="148" y="103"/>
                </a:lnTo>
                <a:lnTo>
                  <a:pt x="153" y="100"/>
                </a:lnTo>
                <a:lnTo>
                  <a:pt x="158" y="98"/>
                </a:lnTo>
                <a:lnTo>
                  <a:pt x="162" y="94"/>
                </a:lnTo>
                <a:lnTo>
                  <a:pt x="171" y="83"/>
                </a:lnTo>
                <a:lnTo>
                  <a:pt x="179" y="72"/>
                </a:lnTo>
                <a:lnTo>
                  <a:pt x="186" y="58"/>
                </a:lnTo>
                <a:lnTo>
                  <a:pt x="191" y="44"/>
                </a:lnTo>
                <a:lnTo>
                  <a:pt x="194" y="33"/>
                </a:lnTo>
                <a:lnTo>
                  <a:pt x="196" y="22"/>
                </a:lnTo>
                <a:lnTo>
                  <a:pt x="196" y="22"/>
                </a:lnTo>
                <a:lnTo>
                  <a:pt x="196" y="8"/>
                </a:lnTo>
                <a:lnTo>
                  <a:pt x="196" y="8"/>
                </a:lnTo>
                <a:lnTo>
                  <a:pt x="190" y="7"/>
                </a:lnTo>
                <a:lnTo>
                  <a:pt x="184" y="4"/>
                </a:lnTo>
                <a:lnTo>
                  <a:pt x="178" y="1"/>
                </a:lnTo>
                <a:lnTo>
                  <a:pt x="173" y="0"/>
                </a:lnTo>
                <a:lnTo>
                  <a:pt x="173" y="0"/>
                </a:lnTo>
                <a:lnTo>
                  <a:pt x="161" y="3"/>
                </a:lnTo>
                <a:lnTo>
                  <a:pt x="141" y="7"/>
                </a:lnTo>
                <a:lnTo>
                  <a:pt x="131" y="11"/>
                </a:lnTo>
                <a:lnTo>
                  <a:pt x="122" y="14"/>
                </a:lnTo>
                <a:lnTo>
                  <a:pt x="115" y="19"/>
                </a:lnTo>
                <a:lnTo>
                  <a:pt x="110" y="22"/>
                </a:lnTo>
                <a:lnTo>
                  <a:pt x="110" y="22"/>
                </a:lnTo>
                <a:lnTo>
                  <a:pt x="106" y="31"/>
                </a:lnTo>
                <a:lnTo>
                  <a:pt x="101" y="41"/>
                </a:lnTo>
                <a:lnTo>
                  <a:pt x="98" y="47"/>
                </a:lnTo>
                <a:lnTo>
                  <a:pt x="95" y="50"/>
                </a:lnTo>
                <a:lnTo>
                  <a:pt x="92" y="52"/>
                </a:lnTo>
                <a:lnTo>
                  <a:pt x="92" y="52"/>
                </a:lnTo>
                <a:lnTo>
                  <a:pt x="82" y="52"/>
                </a:lnTo>
                <a:lnTo>
                  <a:pt x="82" y="52"/>
                </a:lnTo>
                <a:lnTo>
                  <a:pt x="82" y="52"/>
                </a:lnTo>
                <a:lnTo>
                  <a:pt x="80" y="49"/>
                </a:lnTo>
                <a:lnTo>
                  <a:pt x="79" y="45"/>
                </a:lnTo>
                <a:lnTo>
                  <a:pt x="77" y="43"/>
                </a:lnTo>
                <a:lnTo>
                  <a:pt x="75" y="41"/>
                </a:lnTo>
                <a:lnTo>
                  <a:pt x="69" y="38"/>
                </a:lnTo>
                <a:lnTo>
                  <a:pt x="63" y="37"/>
                </a:lnTo>
                <a:lnTo>
                  <a:pt x="63" y="37"/>
                </a:lnTo>
                <a:lnTo>
                  <a:pt x="59" y="38"/>
                </a:lnTo>
                <a:lnTo>
                  <a:pt x="55" y="39"/>
                </a:lnTo>
                <a:lnTo>
                  <a:pt x="53" y="42"/>
                </a:lnTo>
                <a:lnTo>
                  <a:pt x="51" y="44"/>
                </a:lnTo>
                <a:lnTo>
                  <a:pt x="46" y="52"/>
                </a:lnTo>
                <a:lnTo>
                  <a:pt x="43" y="61"/>
                </a:lnTo>
                <a:lnTo>
                  <a:pt x="38" y="80"/>
                </a:lnTo>
                <a:lnTo>
                  <a:pt x="36" y="87"/>
                </a:lnTo>
                <a:lnTo>
                  <a:pt x="33" y="92"/>
                </a:lnTo>
                <a:lnTo>
                  <a:pt x="33" y="92"/>
                </a:lnTo>
                <a:lnTo>
                  <a:pt x="24" y="89"/>
                </a:lnTo>
                <a:lnTo>
                  <a:pt x="18" y="84"/>
                </a:lnTo>
                <a:lnTo>
                  <a:pt x="13" y="77"/>
                </a:lnTo>
                <a:lnTo>
                  <a:pt x="8" y="70"/>
                </a:lnTo>
                <a:lnTo>
                  <a:pt x="8" y="70"/>
                </a:lnTo>
                <a:lnTo>
                  <a:pt x="0" y="70"/>
                </a:lnTo>
                <a:lnTo>
                  <a:pt x="0" y="70"/>
                </a:lnTo>
                <a:lnTo>
                  <a:pt x="0" y="70"/>
                </a:lnTo>
                <a:lnTo>
                  <a:pt x="0" y="89"/>
                </a:lnTo>
                <a:lnTo>
                  <a:pt x="0" y="89"/>
                </a:lnTo>
                <a:lnTo>
                  <a:pt x="1" y="98"/>
                </a:lnTo>
                <a:lnTo>
                  <a:pt x="2" y="107"/>
                </a:lnTo>
                <a:lnTo>
                  <a:pt x="6" y="115"/>
                </a:lnTo>
                <a:lnTo>
                  <a:pt x="10" y="122"/>
                </a:lnTo>
                <a:lnTo>
                  <a:pt x="16" y="128"/>
                </a:lnTo>
                <a:lnTo>
                  <a:pt x="23" y="133"/>
                </a:lnTo>
                <a:lnTo>
                  <a:pt x="31" y="136"/>
                </a:lnTo>
                <a:lnTo>
                  <a:pt x="40" y="137"/>
                </a:lnTo>
                <a:lnTo>
                  <a:pt x="40" y="137"/>
                </a:lnTo>
                <a:lnTo>
                  <a:pt x="51" y="136"/>
                </a:lnTo>
                <a:lnTo>
                  <a:pt x="59" y="135"/>
                </a:lnTo>
                <a:lnTo>
                  <a:pt x="71" y="131"/>
                </a:lnTo>
                <a:lnTo>
                  <a:pt x="84" y="127"/>
                </a:lnTo>
                <a:lnTo>
                  <a:pt x="91" y="126"/>
                </a:lnTo>
                <a:lnTo>
                  <a:pt x="99" y="126"/>
                </a:lnTo>
                <a:lnTo>
                  <a:pt x="99" y="126"/>
                </a:lnTo>
                <a:lnTo>
                  <a:pt x="114" y="126"/>
                </a:lnTo>
                <a:lnTo>
                  <a:pt x="114" y="126"/>
                </a:lnTo>
                <a:lnTo>
                  <a:pt x="115" y="122"/>
                </a:lnTo>
                <a:lnTo>
                  <a:pt x="117" y="119"/>
                </a:lnTo>
                <a:lnTo>
                  <a:pt x="124" y="112"/>
                </a:lnTo>
                <a:lnTo>
                  <a:pt x="135" y="106"/>
                </a:lnTo>
                <a:lnTo>
                  <a:pt x="139" y="104"/>
                </a:lnTo>
                <a:lnTo>
                  <a:pt x="144" y="103"/>
                </a:lnTo>
                <a:lnTo>
                  <a:pt x="144" y="103"/>
                </a:lnTo>
                <a:lnTo>
                  <a:pt x="144" y="10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9" name="Freeform 114"/>
          <p:cNvSpPr>
            <a:spLocks/>
          </p:cNvSpPr>
          <p:nvPr/>
        </p:nvSpPr>
        <p:spPr bwMode="auto">
          <a:xfrm>
            <a:off x="6196013" y="2222500"/>
            <a:ext cx="111125" cy="114300"/>
          </a:xfrm>
          <a:custGeom>
            <a:avLst/>
            <a:gdLst/>
            <a:ahLst/>
            <a:cxnLst>
              <a:cxn ang="0">
                <a:pos x="29" y="1"/>
              </a:cxn>
              <a:cxn ang="0">
                <a:pos x="29" y="1"/>
              </a:cxn>
              <a:cxn ang="0">
                <a:pos x="25" y="2"/>
              </a:cxn>
              <a:cxn ang="0">
                <a:pos x="21" y="7"/>
              </a:cxn>
              <a:cxn ang="0">
                <a:pos x="16" y="13"/>
              </a:cxn>
              <a:cxn ang="0">
                <a:pos x="11" y="22"/>
              </a:cxn>
              <a:cxn ang="0">
                <a:pos x="3" y="39"/>
              </a:cxn>
              <a:cxn ang="0">
                <a:pos x="0" y="47"/>
              </a:cxn>
              <a:cxn ang="0">
                <a:pos x="0" y="51"/>
              </a:cxn>
              <a:cxn ang="0">
                <a:pos x="0" y="51"/>
              </a:cxn>
              <a:cxn ang="0">
                <a:pos x="0" y="58"/>
              </a:cxn>
              <a:cxn ang="0">
                <a:pos x="2" y="64"/>
              </a:cxn>
              <a:cxn ang="0">
                <a:pos x="6" y="69"/>
              </a:cxn>
              <a:cxn ang="0">
                <a:pos x="8" y="73"/>
              </a:cxn>
              <a:cxn ang="0">
                <a:pos x="15" y="84"/>
              </a:cxn>
              <a:cxn ang="0">
                <a:pos x="17" y="89"/>
              </a:cxn>
              <a:cxn ang="0">
                <a:pos x="17" y="95"/>
              </a:cxn>
              <a:cxn ang="0">
                <a:pos x="17" y="95"/>
              </a:cxn>
              <a:cxn ang="0">
                <a:pos x="17" y="102"/>
              </a:cxn>
              <a:cxn ang="0">
                <a:pos x="15" y="107"/>
              </a:cxn>
              <a:cxn ang="0">
                <a:pos x="13" y="109"/>
              </a:cxn>
              <a:cxn ang="0">
                <a:pos x="10" y="112"/>
              </a:cxn>
              <a:cxn ang="0">
                <a:pos x="6" y="117"/>
              </a:cxn>
              <a:cxn ang="0">
                <a:pos x="3" y="120"/>
              </a:cxn>
              <a:cxn ang="0">
                <a:pos x="3" y="125"/>
              </a:cxn>
              <a:cxn ang="0">
                <a:pos x="10" y="130"/>
              </a:cxn>
              <a:cxn ang="0">
                <a:pos x="10" y="130"/>
              </a:cxn>
              <a:cxn ang="0">
                <a:pos x="13" y="129"/>
              </a:cxn>
              <a:cxn ang="0">
                <a:pos x="15" y="126"/>
              </a:cxn>
              <a:cxn ang="0">
                <a:pos x="20" y="118"/>
              </a:cxn>
              <a:cxn ang="0">
                <a:pos x="25" y="107"/>
              </a:cxn>
              <a:cxn ang="0">
                <a:pos x="25" y="107"/>
              </a:cxn>
              <a:cxn ang="0">
                <a:pos x="26" y="104"/>
              </a:cxn>
              <a:cxn ang="0">
                <a:pos x="28" y="102"/>
              </a:cxn>
              <a:cxn ang="0">
                <a:pos x="33" y="99"/>
              </a:cxn>
              <a:cxn ang="0">
                <a:pos x="40" y="95"/>
              </a:cxn>
              <a:cxn ang="0">
                <a:pos x="47" y="94"/>
              </a:cxn>
              <a:cxn ang="0">
                <a:pos x="63" y="91"/>
              </a:cxn>
              <a:cxn ang="0">
                <a:pos x="72" y="88"/>
              </a:cxn>
              <a:cxn ang="0">
                <a:pos x="72" y="88"/>
              </a:cxn>
              <a:cxn ang="0">
                <a:pos x="95" y="80"/>
              </a:cxn>
              <a:cxn ang="0">
                <a:pos x="106" y="76"/>
              </a:cxn>
              <a:cxn ang="0">
                <a:pos x="115" y="71"/>
              </a:cxn>
              <a:cxn ang="0">
                <a:pos x="123" y="65"/>
              </a:cxn>
              <a:cxn ang="0">
                <a:pos x="130" y="57"/>
              </a:cxn>
              <a:cxn ang="0">
                <a:pos x="132" y="53"/>
              </a:cxn>
              <a:cxn ang="0">
                <a:pos x="133" y="48"/>
              </a:cxn>
              <a:cxn ang="0">
                <a:pos x="135" y="42"/>
              </a:cxn>
              <a:cxn ang="0">
                <a:pos x="136" y="36"/>
              </a:cxn>
              <a:cxn ang="0">
                <a:pos x="136" y="36"/>
              </a:cxn>
              <a:cxn ang="0">
                <a:pos x="135" y="30"/>
              </a:cxn>
              <a:cxn ang="0">
                <a:pos x="132" y="23"/>
              </a:cxn>
              <a:cxn ang="0">
                <a:pos x="129" y="17"/>
              </a:cxn>
              <a:cxn ang="0">
                <a:pos x="124" y="12"/>
              </a:cxn>
              <a:cxn ang="0">
                <a:pos x="118" y="9"/>
              </a:cxn>
              <a:cxn ang="0">
                <a:pos x="112" y="5"/>
              </a:cxn>
              <a:cxn ang="0">
                <a:pos x="104" y="3"/>
              </a:cxn>
              <a:cxn ang="0">
                <a:pos x="95" y="2"/>
              </a:cxn>
              <a:cxn ang="0">
                <a:pos x="78" y="1"/>
              </a:cxn>
              <a:cxn ang="0">
                <a:pos x="61" y="0"/>
              </a:cxn>
              <a:cxn ang="0">
                <a:pos x="29" y="1"/>
              </a:cxn>
              <a:cxn ang="0">
                <a:pos x="29" y="1"/>
              </a:cxn>
              <a:cxn ang="0">
                <a:pos x="29" y="1"/>
              </a:cxn>
            </a:cxnLst>
            <a:rect l="0" t="0" r="r" b="b"/>
            <a:pathLst>
              <a:path w="136" h="130">
                <a:moveTo>
                  <a:pt x="29" y="1"/>
                </a:moveTo>
                <a:lnTo>
                  <a:pt x="29" y="1"/>
                </a:lnTo>
                <a:lnTo>
                  <a:pt x="25" y="2"/>
                </a:lnTo>
                <a:lnTo>
                  <a:pt x="21" y="7"/>
                </a:lnTo>
                <a:lnTo>
                  <a:pt x="16" y="13"/>
                </a:lnTo>
                <a:lnTo>
                  <a:pt x="11" y="22"/>
                </a:lnTo>
                <a:lnTo>
                  <a:pt x="3" y="39"/>
                </a:lnTo>
                <a:lnTo>
                  <a:pt x="0" y="47"/>
                </a:lnTo>
                <a:lnTo>
                  <a:pt x="0" y="51"/>
                </a:lnTo>
                <a:lnTo>
                  <a:pt x="0" y="51"/>
                </a:lnTo>
                <a:lnTo>
                  <a:pt x="0" y="58"/>
                </a:lnTo>
                <a:lnTo>
                  <a:pt x="2" y="64"/>
                </a:lnTo>
                <a:lnTo>
                  <a:pt x="6" y="69"/>
                </a:lnTo>
                <a:lnTo>
                  <a:pt x="8" y="73"/>
                </a:lnTo>
                <a:lnTo>
                  <a:pt x="15" y="84"/>
                </a:lnTo>
                <a:lnTo>
                  <a:pt x="17" y="89"/>
                </a:lnTo>
                <a:lnTo>
                  <a:pt x="17" y="95"/>
                </a:lnTo>
                <a:lnTo>
                  <a:pt x="17" y="95"/>
                </a:lnTo>
                <a:lnTo>
                  <a:pt x="17" y="102"/>
                </a:lnTo>
                <a:lnTo>
                  <a:pt x="15" y="107"/>
                </a:lnTo>
                <a:lnTo>
                  <a:pt x="13" y="109"/>
                </a:lnTo>
                <a:lnTo>
                  <a:pt x="10" y="112"/>
                </a:lnTo>
                <a:lnTo>
                  <a:pt x="6" y="117"/>
                </a:lnTo>
                <a:lnTo>
                  <a:pt x="3" y="120"/>
                </a:lnTo>
                <a:lnTo>
                  <a:pt x="3" y="125"/>
                </a:lnTo>
                <a:lnTo>
                  <a:pt x="10" y="130"/>
                </a:lnTo>
                <a:lnTo>
                  <a:pt x="10" y="130"/>
                </a:lnTo>
                <a:lnTo>
                  <a:pt x="13" y="129"/>
                </a:lnTo>
                <a:lnTo>
                  <a:pt x="15" y="126"/>
                </a:lnTo>
                <a:lnTo>
                  <a:pt x="20" y="118"/>
                </a:lnTo>
                <a:lnTo>
                  <a:pt x="25" y="107"/>
                </a:lnTo>
                <a:lnTo>
                  <a:pt x="25" y="107"/>
                </a:lnTo>
                <a:lnTo>
                  <a:pt x="26" y="104"/>
                </a:lnTo>
                <a:lnTo>
                  <a:pt x="28" y="102"/>
                </a:lnTo>
                <a:lnTo>
                  <a:pt x="33" y="99"/>
                </a:lnTo>
                <a:lnTo>
                  <a:pt x="40" y="95"/>
                </a:lnTo>
                <a:lnTo>
                  <a:pt x="47" y="94"/>
                </a:lnTo>
                <a:lnTo>
                  <a:pt x="63" y="91"/>
                </a:lnTo>
                <a:lnTo>
                  <a:pt x="72" y="88"/>
                </a:lnTo>
                <a:lnTo>
                  <a:pt x="72" y="88"/>
                </a:lnTo>
                <a:lnTo>
                  <a:pt x="95" y="80"/>
                </a:lnTo>
                <a:lnTo>
                  <a:pt x="106" y="76"/>
                </a:lnTo>
                <a:lnTo>
                  <a:pt x="115" y="71"/>
                </a:lnTo>
                <a:lnTo>
                  <a:pt x="123" y="65"/>
                </a:lnTo>
                <a:lnTo>
                  <a:pt x="130" y="57"/>
                </a:lnTo>
                <a:lnTo>
                  <a:pt x="132" y="53"/>
                </a:lnTo>
                <a:lnTo>
                  <a:pt x="133" y="48"/>
                </a:lnTo>
                <a:lnTo>
                  <a:pt x="135" y="42"/>
                </a:lnTo>
                <a:lnTo>
                  <a:pt x="136" y="36"/>
                </a:lnTo>
                <a:lnTo>
                  <a:pt x="136" y="36"/>
                </a:lnTo>
                <a:lnTo>
                  <a:pt x="135" y="30"/>
                </a:lnTo>
                <a:lnTo>
                  <a:pt x="132" y="23"/>
                </a:lnTo>
                <a:lnTo>
                  <a:pt x="129" y="17"/>
                </a:lnTo>
                <a:lnTo>
                  <a:pt x="124" y="12"/>
                </a:lnTo>
                <a:lnTo>
                  <a:pt x="118" y="9"/>
                </a:lnTo>
                <a:lnTo>
                  <a:pt x="112" y="5"/>
                </a:lnTo>
                <a:lnTo>
                  <a:pt x="104" y="3"/>
                </a:lnTo>
                <a:lnTo>
                  <a:pt x="95" y="2"/>
                </a:lnTo>
                <a:lnTo>
                  <a:pt x="78" y="1"/>
                </a:lnTo>
                <a:lnTo>
                  <a:pt x="61" y="0"/>
                </a:lnTo>
                <a:lnTo>
                  <a:pt x="29" y="1"/>
                </a:lnTo>
                <a:lnTo>
                  <a:pt x="29" y="1"/>
                </a:lnTo>
                <a:lnTo>
                  <a:pt x="29" y="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0" name="Freeform 115"/>
          <p:cNvSpPr>
            <a:spLocks/>
          </p:cNvSpPr>
          <p:nvPr/>
        </p:nvSpPr>
        <p:spPr bwMode="auto">
          <a:xfrm>
            <a:off x="2143125" y="3367088"/>
            <a:ext cx="1284288" cy="842962"/>
          </a:xfrm>
          <a:custGeom>
            <a:avLst/>
            <a:gdLst/>
            <a:ahLst/>
            <a:cxnLst>
              <a:cxn ang="0">
                <a:pos x="882" y="865"/>
              </a:cxn>
              <a:cxn ang="0">
                <a:pos x="928" y="721"/>
              </a:cxn>
              <a:cxn ang="0">
                <a:pos x="993" y="645"/>
              </a:cxn>
              <a:cxn ang="0">
                <a:pos x="1023" y="552"/>
              </a:cxn>
              <a:cxn ang="0">
                <a:pos x="1076" y="521"/>
              </a:cxn>
              <a:cxn ang="0">
                <a:pos x="1101" y="539"/>
              </a:cxn>
              <a:cxn ang="0">
                <a:pos x="1180" y="498"/>
              </a:cxn>
              <a:cxn ang="0">
                <a:pos x="1275" y="447"/>
              </a:cxn>
              <a:cxn ang="0">
                <a:pos x="1452" y="362"/>
              </a:cxn>
              <a:cxn ang="0">
                <a:pos x="1556" y="283"/>
              </a:cxn>
              <a:cxn ang="0">
                <a:pos x="1539" y="223"/>
              </a:cxn>
              <a:cxn ang="0">
                <a:pos x="1559" y="171"/>
              </a:cxn>
              <a:cxn ang="0">
                <a:pos x="1549" y="151"/>
              </a:cxn>
              <a:cxn ang="0">
                <a:pos x="1409" y="232"/>
              </a:cxn>
              <a:cxn ang="0">
                <a:pos x="1303" y="279"/>
              </a:cxn>
              <a:cxn ang="0">
                <a:pos x="998" y="142"/>
              </a:cxn>
              <a:cxn ang="0">
                <a:pos x="835" y="21"/>
              </a:cxn>
              <a:cxn ang="0">
                <a:pos x="778" y="3"/>
              </a:cxn>
              <a:cxn ang="0">
                <a:pos x="598" y="25"/>
              </a:cxn>
              <a:cxn ang="0">
                <a:pos x="522" y="62"/>
              </a:cxn>
              <a:cxn ang="0">
                <a:pos x="481" y="131"/>
              </a:cxn>
              <a:cxn ang="0">
                <a:pos x="504" y="158"/>
              </a:cxn>
              <a:cxn ang="0">
                <a:pos x="513" y="253"/>
              </a:cxn>
              <a:cxn ang="0">
                <a:pos x="499" y="278"/>
              </a:cxn>
              <a:cxn ang="0">
                <a:pos x="456" y="244"/>
              </a:cxn>
              <a:cxn ang="0">
                <a:pos x="430" y="252"/>
              </a:cxn>
              <a:cxn ang="0">
                <a:pos x="369" y="233"/>
              </a:cxn>
              <a:cxn ang="0">
                <a:pos x="318" y="187"/>
              </a:cxn>
              <a:cxn ang="0">
                <a:pos x="203" y="148"/>
              </a:cxn>
              <a:cxn ang="0">
                <a:pos x="227" y="218"/>
              </a:cxn>
              <a:cxn ang="0">
                <a:pos x="219" y="291"/>
              </a:cxn>
              <a:cxn ang="0">
                <a:pos x="222" y="340"/>
              </a:cxn>
              <a:cxn ang="0">
                <a:pos x="205" y="364"/>
              </a:cxn>
              <a:cxn ang="0">
                <a:pos x="146" y="416"/>
              </a:cxn>
              <a:cxn ang="0">
                <a:pos x="151" y="468"/>
              </a:cxn>
              <a:cxn ang="0">
                <a:pos x="207" y="482"/>
              </a:cxn>
              <a:cxn ang="0">
                <a:pos x="245" y="443"/>
              </a:cxn>
              <a:cxn ang="0">
                <a:pos x="296" y="477"/>
              </a:cxn>
              <a:cxn ang="0">
                <a:pos x="238" y="540"/>
              </a:cxn>
              <a:cxn ang="0">
                <a:pos x="190" y="577"/>
              </a:cxn>
              <a:cxn ang="0">
                <a:pos x="199" y="622"/>
              </a:cxn>
              <a:cxn ang="0">
                <a:pos x="149" y="651"/>
              </a:cxn>
              <a:cxn ang="0">
                <a:pos x="65" y="679"/>
              </a:cxn>
              <a:cxn ang="0">
                <a:pos x="25" y="781"/>
              </a:cxn>
              <a:cxn ang="0">
                <a:pos x="0" y="818"/>
              </a:cxn>
              <a:cxn ang="0">
                <a:pos x="25" y="840"/>
              </a:cxn>
              <a:cxn ang="0">
                <a:pos x="22" y="914"/>
              </a:cxn>
              <a:cxn ang="0">
                <a:pos x="47" y="935"/>
              </a:cxn>
              <a:cxn ang="0">
                <a:pos x="97" y="894"/>
              </a:cxn>
              <a:cxn ang="0">
                <a:pos x="154" y="898"/>
              </a:cxn>
              <a:cxn ang="0">
                <a:pos x="192" y="905"/>
              </a:cxn>
              <a:cxn ang="0">
                <a:pos x="221" y="918"/>
              </a:cxn>
              <a:cxn ang="0">
                <a:pos x="268" y="898"/>
              </a:cxn>
              <a:cxn ang="0">
                <a:pos x="290" y="881"/>
              </a:cxn>
              <a:cxn ang="0">
                <a:pos x="292" y="822"/>
              </a:cxn>
              <a:cxn ang="0">
                <a:pos x="363" y="824"/>
              </a:cxn>
              <a:cxn ang="0">
                <a:pos x="399" y="847"/>
              </a:cxn>
              <a:cxn ang="0">
                <a:pos x="407" y="881"/>
              </a:cxn>
              <a:cxn ang="0">
                <a:pos x="451" y="901"/>
              </a:cxn>
              <a:cxn ang="0">
                <a:pos x="587" y="921"/>
              </a:cxn>
              <a:cxn ang="0">
                <a:pos x="631" y="906"/>
              </a:cxn>
              <a:cxn ang="0">
                <a:pos x="732" y="950"/>
              </a:cxn>
              <a:cxn ang="0">
                <a:pos x="833" y="962"/>
              </a:cxn>
            </a:cxnLst>
            <a:rect l="0" t="0" r="r" b="b"/>
            <a:pathLst>
              <a:path w="1571" h="966">
                <a:moveTo>
                  <a:pt x="852" y="917"/>
                </a:moveTo>
                <a:lnTo>
                  <a:pt x="852" y="917"/>
                </a:lnTo>
                <a:lnTo>
                  <a:pt x="853" y="909"/>
                </a:lnTo>
                <a:lnTo>
                  <a:pt x="856" y="902"/>
                </a:lnTo>
                <a:lnTo>
                  <a:pt x="861" y="894"/>
                </a:lnTo>
                <a:lnTo>
                  <a:pt x="865" y="887"/>
                </a:lnTo>
                <a:lnTo>
                  <a:pt x="877" y="872"/>
                </a:lnTo>
                <a:lnTo>
                  <a:pt x="882" y="865"/>
                </a:lnTo>
                <a:lnTo>
                  <a:pt x="885" y="858"/>
                </a:lnTo>
                <a:lnTo>
                  <a:pt x="885" y="858"/>
                </a:lnTo>
                <a:lnTo>
                  <a:pt x="892" y="836"/>
                </a:lnTo>
                <a:lnTo>
                  <a:pt x="898" y="815"/>
                </a:lnTo>
                <a:lnTo>
                  <a:pt x="907" y="775"/>
                </a:lnTo>
                <a:lnTo>
                  <a:pt x="913" y="757"/>
                </a:lnTo>
                <a:lnTo>
                  <a:pt x="919" y="738"/>
                </a:lnTo>
                <a:lnTo>
                  <a:pt x="928" y="721"/>
                </a:lnTo>
                <a:lnTo>
                  <a:pt x="933" y="713"/>
                </a:lnTo>
                <a:lnTo>
                  <a:pt x="940" y="704"/>
                </a:lnTo>
                <a:lnTo>
                  <a:pt x="940" y="704"/>
                </a:lnTo>
                <a:lnTo>
                  <a:pt x="953" y="690"/>
                </a:lnTo>
                <a:lnTo>
                  <a:pt x="971" y="672"/>
                </a:lnTo>
                <a:lnTo>
                  <a:pt x="980" y="661"/>
                </a:lnTo>
                <a:lnTo>
                  <a:pt x="989" y="653"/>
                </a:lnTo>
                <a:lnTo>
                  <a:pt x="993" y="645"/>
                </a:lnTo>
                <a:lnTo>
                  <a:pt x="994" y="642"/>
                </a:lnTo>
                <a:lnTo>
                  <a:pt x="995" y="638"/>
                </a:lnTo>
                <a:lnTo>
                  <a:pt x="995" y="638"/>
                </a:lnTo>
                <a:lnTo>
                  <a:pt x="999" y="619"/>
                </a:lnTo>
                <a:lnTo>
                  <a:pt x="1005" y="598"/>
                </a:lnTo>
                <a:lnTo>
                  <a:pt x="1010" y="578"/>
                </a:lnTo>
                <a:lnTo>
                  <a:pt x="1018" y="560"/>
                </a:lnTo>
                <a:lnTo>
                  <a:pt x="1023" y="552"/>
                </a:lnTo>
                <a:lnTo>
                  <a:pt x="1029" y="544"/>
                </a:lnTo>
                <a:lnTo>
                  <a:pt x="1035" y="538"/>
                </a:lnTo>
                <a:lnTo>
                  <a:pt x="1041" y="532"/>
                </a:lnTo>
                <a:lnTo>
                  <a:pt x="1048" y="527"/>
                </a:lnTo>
                <a:lnTo>
                  <a:pt x="1056" y="523"/>
                </a:lnTo>
                <a:lnTo>
                  <a:pt x="1066" y="522"/>
                </a:lnTo>
                <a:lnTo>
                  <a:pt x="1076" y="521"/>
                </a:lnTo>
                <a:lnTo>
                  <a:pt x="1076" y="521"/>
                </a:lnTo>
                <a:lnTo>
                  <a:pt x="1094" y="521"/>
                </a:lnTo>
                <a:lnTo>
                  <a:pt x="1094" y="521"/>
                </a:lnTo>
                <a:lnTo>
                  <a:pt x="1094" y="525"/>
                </a:lnTo>
                <a:lnTo>
                  <a:pt x="1097" y="531"/>
                </a:lnTo>
                <a:lnTo>
                  <a:pt x="1099" y="537"/>
                </a:lnTo>
                <a:lnTo>
                  <a:pt x="1100" y="538"/>
                </a:lnTo>
                <a:lnTo>
                  <a:pt x="1101" y="539"/>
                </a:lnTo>
                <a:lnTo>
                  <a:pt x="1101" y="539"/>
                </a:lnTo>
                <a:lnTo>
                  <a:pt x="1112" y="538"/>
                </a:lnTo>
                <a:lnTo>
                  <a:pt x="1121" y="537"/>
                </a:lnTo>
                <a:lnTo>
                  <a:pt x="1129" y="534"/>
                </a:lnTo>
                <a:lnTo>
                  <a:pt x="1137" y="530"/>
                </a:lnTo>
                <a:lnTo>
                  <a:pt x="1145" y="525"/>
                </a:lnTo>
                <a:lnTo>
                  <a:pt x="1152" y="521"/>
                </a:lnTo>
                <a:lnTo>
                  <a:pt x="1166" y="509"/>
                </a:lnTo>
                <a:lnTo>
                  <a:pt x="1180" y="498"/>
                </a:lnTo>
                <a:lnTo>
                  <a:pt x="1194" y="486"/>
                </a:lnTo>
                <a:lnTo>
                  <a:pt x="1203" y="481"/>
                </a:lnTo>
                <a:lnTo>
                  <a:pt x="1212" y="476"/>
                </a:lnTo>
                <a:lnTo>
                  <a:pt x="1221" y="473"/>
                </a:lnTo>
                <a:lnTo>
                  <a:pt x="1230" y="469"/>
                </a:lnTo>
                <a:lnTo>
                  <a:pt x="1230" y="469"/>
                </a:lnTo>
                <a:lnTo>
                  <a:pt x="1254" y="459"/>
                </a:lnTo>
                <a:lnTo>
                  <a:pt x="1275" y="447"/>
                </a:lnTo>
                <a:lnTo>
                  <a:pt x="1316" y="423"/>
                </a:lnTo>
                <a:lnTo>
                  <a:pt x="1337" y="410"/>
                </a:lnTo>
                <a:lnTo>
                  <a:pt x="1359" y="399"/>
                </a:lnTo>
                <a:lnTo>
                  <a:pt x="1383" y="387"/>
                </a:lnTo>
                <a:lnTo>
                  <a:pt x="1410" y="377"/>
                </a:lnTo>
                <a:lnTo>
                  <a:pt x="1410" y="377"/>
                </a:lnTo>
                <a:lnTo>
                  <a:pt x="1429" y="370"/>
                </a:lnTo>
                <a:lnTo>
                  <a:pt x="1452" y="362"/>
                </a:lnTo>
                <a:lnTo>
                  <a:pt x="1476" y="351"/>
                </a:lnTo>
                <a:lnTo>
                  <a:pt x="1502" y="338"/>
                </a:lnTo>
                <a:lnTo>
                  <a:pt x="1513" y="330"/>
                </a:lnTo>
                <a:lnTo>
                  <a:pt x="1524" y="322"/>
                </a:lnTo>
                <a:lnTo>
                  <a:pt x="1534" y="313"/>
                </a:lnTo>
                <a:lnTo>
                  <a:pt x="1543" y="303"/>
                </a:lnTo>
                <a:lnTo>
                  <a:pt x="1550" y="294"/>
                </a:lnTo>
                <a:lnTo>
                  <a:pt x="1556" y="283"/>
                </a:lnTo>
                <a:lnTo>
                  <a:pt x="1559" y="271"/>
                </a:lnTo>
                <a:lnTo>
                  <a:pt x="1560" y="260"/>
                </a:lnTo>
                <a:lnTo>
                  <a:pt x="1560" y="260"/>
                </a:lnTo>
                <a:lnTo>
                  <a:pt x="1559" y="252"/>
                </a:lnTo>
                <a:lnTo>
                  <a:pt x="1556" y="245"/>
                </a:lnTo>
                <a:lnTo>
                  <a:pt x="1552" y="239"/>
                </a:lnTo>
                <a:lnTo>
                  <a:pt x="1547" y="233"/>
                </a:lnTo>
                <a:lnTo>
                  <a:pt x="1539" y="223"/>
                </a:lnTo>
                <a:lnTo>
                  <a:pt x="1535" y="217"/>
                </a:lnTo>
                <a:lnTo>
                  <a:pt x="1534" y="212"/>
                </a:lnTo>
                <a:lnTo>
                  <a:pt x="1534" y="212"/>
                </a:lnTo>
                <a:lnTo>
                  <a:pt x="1535" y="202"/>
                </a:lnTo>
                <a:lnTo>
                  <a:pt x="1539" y="194"/>
                </a:lnTo>
                <a:lnTo>
                  <a:pt x="1543" y="187"/>
                </a:lnTo>
                <a:lnTo>
                  <a:pt x="1548" y="181"/>
                </a:lnTo>
                <a:lnTo>
                  <a:pt x="1559" y="171"/>
                </a:lnTo>
                <a:lnTo>
                  <a:pt x="1564" y="164"/>
                </a:lnTo>
                <a:lnTo>
                  <a:pt x="1567" y="157"/>
                </a:lnTo>
                <a:lnTo>
                  <a:pt x="1567" y="157"/>
                </a:lnTo>
                <a:lnTo>
                  <a:pt x="1571" y="149"/>
                </a:lnTo>
                <a:lnTo>
                  <a:pt x="1571" y="149"/>
                </a:lnTo>
                <a:lnTo>
                  <a:pt x="1571" y="149"/>
                </a:lnTo>
                <a:lnTo>
                  <a:pt x="1559" y="150"/>
                </a:lnTo>
                <a:lnTo>
                  <a:pt x="1549" y="151"/>
                </a:lnTo>
                <a:lnTo>
                  <a:pt x="1539" y="154"/>
                </a:lnTo>
                <a:lnTo>
                  <a:pt x="1528" y="156"/>
                </a:lnTo>
                <a:lnTo>
                  <a:pt x="1509" y="163"/>
                </a:lnTo>
                <a:lnTo>
                  <a:pt x="1490" y="172"/>
                </a:lnTo>
                <a:lnTo>
                  <a:pt x="1473" y="183"/>
                </a:lnTo>
                <a:lnTo>
                  <a:pt x="1457" y="194"/>
                </a:lnTo>
                <a:lnTo>
                  <a:pt x="1425" y="219"/>
                </a:lnTo>
                <a:lnTo>
                  <a:pt x="1409" y="232"/>
                </a:lnTo>
                <a:lnTo>
                  <a:pt x="1394" y="244"/>
                </a:lnTo>
                <a:lnTo>
                  <a:pt x="1376" y="255"/>
                </a:lnTo>
                <a:lnTo>
                  <a:pt x="1360" y="264"/>
                </a:lnTo>
                <a:lnTo>
                  <a:pt x="1342" y="271"/>
                </a:lnTo>
                <a:lnTo>
                  <a:pt x="1333" y="275"/>
                </a:lnTo>
                <a:lnTo>
                  <a:pt x="1323" y="277"/>
                </a:lnTo>
                <a:lnTo>
                  <a:pt x="1313" y="278"/>
                </a:lnTo>
                <a:lnTo>
                  <a:pt x="1303" y="279"/>
                </a:lnTo>
                <a:lnTo>
                  <a:pt x="1292" y="279"/>
                </a:lnTo>
                <a:lnTo>
                  <a:pt x="1282" y="278"/>
                </a:lnTo>
                <a:lnTo>
                  <a:pt x="1282" y="278"/>
                </a:lnTo>
                <a:lnTo>
                  <a:pt x="1262" y="270"/>
                </a:lnTo>
                <a:lnTo>
                  <a:pt x="1227" y="254"/>
                </a:lnTo>
                <a:lnTo>
                  <a:pt x="1119" y="202"/>
                </a:lnTo>
                <a:lnTo>
                  <a:pt x="1058" y="172"/>
                </a:lnTo>
                <a:lnTo>
                  <a:pt x="998" y="142"/>
                </a:lnTo>
                <a:lnTo>
                  <a:pt x="945" y="115"/>
                </a:lnTo>
                <a:lnTo>
                  <a:pt x="903" y="91"/>
                </a:lnTo>
                <a:lnTo>
                  <a:pt x="903" y="91"/>
                </a:lnTo>
                <a:lnTo>
                  <a:pt x="894" y="85"/>
                </a:lnTo>
                <a:lnTo>
                  <a:pt x="886" y="78"/>
                </a:lnTo>
                <a:lnTo>
                  <a:pt x="871" y="62"/>
                </a:lnTo>
                <a:lnTo>
                  <a:pt x="842" y="28"/>
                </a:lnTo>
                <a:lnTo>
                  <a:pt x="835" y="21"/>
                </a:lnTo>
                <a:lnTo>
                  <a:pt x="827" y="15"/>
                </a:lnTo>
                <a:lnTo>
                  <a:pt x="821" y="9"/>
                </a:lnTo>
                <a:lnTo>
                  <a:pt x="812" y="4"/>
                </a:lnTo>
                <a:lnTo>
                  <a:pt x="804" y="2"/>
                </a:lnTo>
                <a:lnTo>
                  <a:pt x="796" y="0"/>
                </a:lnTo>
                <a:lnTo>
                  <a:pt x="787" y="1"/>
                </a:lnTo>
                <a:lnTo>
                  <a:pt x="778" y="3"/>
                </a:lnTo>
                <a:lnTo>
                  <a:pt x="778" y="3"/>
                </a:lnTo>
                <a:lnTo>
                  <a:pt x="757" y="10"/>
                </a:lnTo>
                <a:lnTo>
                  <a:pt x="737" y="16"/>
                </a:lnTo>
                <a:lnTo>
                  <a:pt x="716" y="19"/>
                </a:lnTo>
                <a:lnTo>
                  <a:pt x="694" y="21"/>
                </a:lnTo>
                <a:lnTo>
                  <a:pt x="671" y="24"/>
                </a:lnTo>
                <a:lnTo>
                  <a:pt x="648" y="24"/>
                </a:lnTo>
                <a:lnTo>
                  <a:pt x="598" y="25"/>
                </a:lnTo>
                <a:lnTo>
                  <a:pt x="598" y="25"/>
                </a:lnTo>
                <a:lnTo>
                  <a:pt x="586" y="24"/>
                </a:lnTo>
                <a:lnTo>
                  <a:pt x="575" y="23"/>
                </a:lnTo>
                <a:lnTo>
                  <a:pt x="555" y="17"/>
                </a:lnTo>
                <a:lnTo>
                  <a:pt x="555" y="17"/>
                </a:lnTo>
                <a:lnTo>
                  <a:pt x="550" y="26"/>
                </a:lnTo>
                <a:lnTo>
                  <a:pt x="546" y="34"/>
                </a:lnTo>
                <a:lnTo>
                  <a:pt x="535" y="49"/>
                </a:lnTo>
                <a:lnTo>
                  <a:pt x="522" y="62"/>
                </a:lnTo>
                <a:lnTo>
                  <a:pt x="511" y="74"/>
                </a:lnTo>
                <a:lnTo>
                  <a:pt x="499" y="87"/>
                </a:lnTo>
                <a:lnTo>
                  <a:pt x="494" y="93"/>
                </a:lnTo>
                <a:lnTo>
                  <a:pt x="489" y="100"/>
                </a:lnTo>
                <a:lnTo>
                  <a:pt x="486" y="107"/>
                </a:lnTo>
                <a:lnTo>
                  <a:pt x="483" y="115"/>
                </a:lnTo>
                <a:lnTo>
                  <a:pt x="481" y="123"/>
                </a:lnTo>
                <a:lnTo>
                  <a:pt x="481" y="131"/>
                </a:lnTo>
                <a:lnTo>
                  <a:pt x="481" y="131"/>
                </a:lnTo>
                <a:lnTo>
                  <a:pt x="481" y="140"/>
                </a:lnTo>
                <a:lnTo>
                  <a:pt x="485" y="146"/>
                </a:lnTo>
                <a:lnTo>
                  <a:pt x="488" y="149"/>
                </a:lnTo>
                <a:lnTo>
                  <a:pt x="493" y="151"/>
                </a:lnTo>
                <a:lnTo>
                  <a:pt x="496" y="154"/>
                </a:lnTo>
                <a:lnTo>
                  <a:pt x="501" y="155"/>
                </a:lnTo>
                <a:lnTo>
                  <a:pt x="504" y="158"/>
                </a:lnTo>
                <a:lnTo>
                  <a:pt x="506" y="164"/>
                </a:lnTo>
                <a:lnTo>
                  <a:pt x="506" y="164"/>
                </a:lnTo>
                <a:lnTo>
                  <a:pt x="510" y="177"/>
                </a:lnTo>
                <a:lnTo>
                  <a:pt x="512" y="188"/>
                </a:lnTo>
                <a:lnTo>
                  <a:pt x="513" y="200"/>
                </a:lnTo>
                <a:lnTo>
                  <a:pt x="514" y="211"/>
                </a:lnTo>
                <a:lnTo>
                  <a:pt x="514" y="232"/>
                </a:lnTo>
                <a:lnTo>
                  <a:pt x="513" y="253"/>
                </a:lnTo>
                <a:lnTo>
                  <a:pt x="513" y="253"/>
                </a:lnTo>
                <a:lnTo>
                  <a:pt x="513" y="259"/>
                </a:lnTo>
                <a:lnTo>
                  <a:pt x="512" y="264"/>
                </a:lnTo>
                <a:lnTo>
                  <a:pt x="511" y="269"/>
                </a:lnTo>
                <a:lnTo>
                  <a:pt x="509" y="272"/>
                </a:lnTo>
                <a:lnTo>
                  <a:pt x="506" y="275"/>
                </a:lnTo>
                <a:lnTo>
                  <a:pt x="503" y="277"/>
                </a:lnTo>
                <a:lnTo>
                  <a:pt x="499" y="278"/>
                </a:lnTo>
                <a:lnTo>
                  <a:pt x="495" y="278"/>
                </a:lnTo>
                <a:lnTo>
                  <a:pt x="495" y="278"/>
                </a:lnTo>
                <a:lnTo>
                  <a:pt x="486" y="277"/>
                </a:lnTo>
                <a:lnTo>
                  <a:pt x="478" y="273"/>
                </a:lnTo>
                <a:lnTo>
                  <a:pt x="472" y="269"/>
                </a:lnTo>
                <a:lnTo>
                  <a:pt x="467" y="263"/>
                </a:lnTo>
                <a:lnTo>
                  <a:pt x="460" y="250"/>
                </a:lnTo>
                <a:lnTo>
                  <a:pt x="456" y="244"/>
                </a:lnTo>
                <a:lnTo>
                  <a:pt x="451" y="238"/>
                </a:lnTo>
                <a:lnTo>
                  <a:pt x="451" y="238"/>
                </a:lnTo>
                <a:lnTo>
                  <a:pt x="448" y="244"/>
                </a:lnTo>
                <a:lnTo>
                  <a:pt x="443" y="248"/>
                </a:lnTo>
                <a:lnTo>
                  <a:pt x="438" y="252"/>
                </a:lnTo>
                <a:lnTo>
                  <a:pt x="433" y="253"/>
                </a:lnTo>
                <a:lnTo>
                  <a:pt x="433" y="253"/>
                </a:lnTo>
                <a:lnTo>
                  <a:pt x="430" y="252"/>
                </a:lnTo>
                <a:lnTo>
                  <a:pt x="427" y="250"/>
                </a:lnTo>
                <a:lnTo>
                  <a:pt x="422" y="246"/>
                </a:lnTo>
                <a:lnTo>
                  <a:pt x="420" y="240"/>
                </a:lnTo>
                <a:lnTo>
                  <a:pt x="419" y="233"/>
                </a:lnTo>
                <a:lnTo>
                  <a:pt x="419" y="233"/>
                </a:lnTo>
                <a:lnTo>
                  <a:pt x="381" y="233"/>
                </a:lnTo>
                <a:lnTo>
                  <a:pt x="381" y="233"/>
                </a:lnTo>
                <a:lnTo>
                  <a:pt x="369" y="233"/>
                </a:lnTo>
                <a:lnTo>
                  <a:pt x="361" y="231"/>
                </a:lnTo>
                <a:lnTo>
                  <a:pt x="354" y="227"/>
                </a:lnTo>
                <a:lnTo>
                  <a:pt x="351" y="223"/>
                </a:lnTo>
                <a:lnTo>
                  <a:pt x="344" y="210"/>
                </a:lnTo>
                <a:lnTo>
                  <a:pt x="340" y="204"/>
                </a:lnTo>
                <a:lnTo>
                  <a:pt x="334" y="198"/>
                </a:lnTo>
                <a:lnTo>
                  <a:pt x="334" y="198"/>
                </a:lnTo>
                <a:lnTo>
                  <a:pt x="318" y="187"/>
                </a:lnTo>
                <a:lnTo>
                  <a:pt x="302" y="178"/>
                </a:lnTo>
                <a:lnTo>
                  <a:pt x="287" y="171"/>
                </a:lnTo>
                <a:lnTo>
                  <a:pt x="270" y="164"/>
                </a:lnTo>
                <a:lnTo>
                  <a:pt x="239" y="151"/>
                </a:lnTo>
                <a:lnTo>
                  <a:pt x="205" y="139"/>
                </a:lnTo>
                <a:lnTo>
                  <a:pt x="205" y="139"/>
                </a:lnTo>
                <a:lnTo>
                  <a:pt x="201" y="145"/>
                </a:lnTo>
                <a:lnTo>
                  <a:pt x="203" y="148"/>
                </a:lnTo>
                <a:lnTo>
                  <a:pt x="204" y="153"/>
                </a:lnTo>
                <a:lnTo>
                  <a:pt x="205" y="161"/>
                </a:lnTo>
                <a:lnTo>
                  <a:pt x="205" y="161"/>
                </a:lnTo>
                <a:lnTo>
                  <a:pt x="206" y="170"/>
                </a:lnTo>
                <a:lnTo>
                  <a:pt x="209" y="179"/>
                </a:lnTo>
                <a:lnTo>
                  <a:pt x="218" y="198"/>
                </a:lnTo>
                <a:lnTo>
                  <a:pt x="222" y="207"/>
                </a:lnTo>
                <a:lnTo>
                  <a:pt x="227" y="218"/>
                </a:lnTo>
                <a:lnTo>
                  <a:pt x="230" y="231"/>
                </a:lnTo>
                <a:lnTo>
                  <a:pt x="230" y="245"/>
                </a:lnTo>
                <a:lnTo>
                  <a:pt x="230" y="245"/>
                </a:lnTo>
                <a:lnTo>
                  <a:pt x="230" y="256"/>
                </a:lnTo>
                <a:lnTo>
                  <a:pt x="228" y="267"/>
                </a:lnTo>
                <a:lnTo>
                  <a:pt x="224" y="275"/>
                </a:lnTo>
                <a:lnTo>
                  <a:pt x="222" y="283"/>
                </a:lnTo>
                <a:lnTo>
                  <a:pt x="219" y="291"/>
                </a:lnTo>
                <a:lnTo>
                  <a:pt x="215" y="299"/>
                </a:lnTo>
                <a:lnTo>
                  <a:pt x="213" y="308"/>
                </a:lnTo>
                <a:lnTo>
                  <a:pt x="213" y="318"/>
                </a:lnTo>
                <a:lnTo>
                  <a:pt x="213" y="318"/>
                </a:lnTo>
                <a:lnTo>
                  <a:pt x="213" y="323"/>
                </a:lnTo>
                <a:lnTo>
                  <a:pt x="214" y="328"/>
                </a:lnTo>
                <a:lnTo>
                  <a:pt x="219" y="334"/>
                </a:lnTo>
                <a:lnTo>
                  <a:pt x="222" y="340"/>
                </a:lnTo>
                <a:lnTo>
                  <a:pt x="223" y="344"/>
                </a:lnTo>
                <a:lnTo>
                  <a:pt x="223" y="348"/>
                </a:lnTo>
                <a:lnTo>
                  <a:pt x="223" y="348"/>
                </a:lnTo>
                <a:lnTo>
                  <a:pt x="223" y="351"/>
                </a:lnTo>
                <a:lnTo>
                  <a:pt x="222" y="354"/>
                </a:lnTo>
                <a:lnTo>
                  <a:pt x="218" y="359"/>
                </a:lnTo>
                <a:lnTo>
                  <a:pt x="212" y="362"/>
                </a:lnTo>
                <a:lnTo>
                  <a:pt x="205" y="364"/>
                </a:lnTo>
                <a:lnTo>
                  <a:pt x="190" y="367"/>
                </a:lnTo>
                <a:lnTo>
                  <a:pt x="180" y="369"/>
                </a:lnTo>
                <a:lnTo>
                  <a:pt x="180" y="369"/>
                </a:lnTo>
                <a:lnTo>
                  <a:pt x="174" y="375"/>
                </a:lnTo>
                <a:lnTo>
                  <a:pt x="167" y="382"/>
                </a:lnTo>
                <a:lnTo>
                  <a:pt x="159" y="392"/>
                </a:lnTo>
                <a:lnTo>
                  <a:pt x="152" y="403"/>
                </a:lnTo>
                <a:lnTo>
                  <a:pt x="146" y="416"/>
                </a:lnTo>
                <a:lnTo>
                  <a:pt x="140" y="428"/>
                </a:lnTo>
                <a:lnTo>
                  <a:pt x="137" y="440"/>
                </a:lnTo>
                <a:lnTo>
                  <a:pt x="136" y="451"/>
                </a:lnTo>
                <a:lnTo>
                  <a:pt x="136" y="451"/>
                </a:lnTo>
                <a:lnTo>
                  <a:pt x="136" y="453"/>
                </a:lnTo>
                <a:lnTo>
                  <a:pt x="137" y="456"/>
                </a:lnTo>
                <a:lnTo>
                  <a:pt x="143" y="462"/>
                </a:lnTo>
                <a:lnTo>
                  <a:pt x="151" y="468"/>
                </a:lnTo>
                <a:lnTo>
                  <a:pt x="160" y="473"/>
                </a:lnTo>
                <a:lnTo>
                  <a:pt x="172" y="477"/>
                </a:lnTo>
                <a:lnTo>
                  <a:pt x="182" y="481"/>
                </a:lnTo>
                <a:lnTo>
                  <a:pt x="192" y="483"/>
                </a:lnTo>
                <a:lnTo>
                  <a:pt x="201" y="484"/>
                </a:lnTo>
                <a:lnTo>
                  <a:pt x="201" y="484"/>
                </a:lnTo>
                <a:lnTo>
                  <a:pt x="205" y="483"/>
                </a:lnTo>
                <a:lnTo>
                  <a:pt x="207" y="482"/>
                </a:lnTo>
                <a:lnTo>
                  <a:pt x="213" y="477"/>
                </a:lnTo>
                <a:lnTo>
                  <a:pt x="218" y="470"/>
                </a:lnTo>
                <a:lnTo>
                  <a:pt x="222" y="463"/>
                </a:lnTo>
                <a:lnTo>
                  <a:pt x="227" y="456"/>
                </a:lnTo>
                <a:lnTo>
                  <a:pt x="233" y="450"/>
                </a:lnTo>
                <a:lnTo>
                  <a:pt x="238" y="445"/>
                </a:lnTo>
                <a:lnTo>
                  <a:pt x="242" y="444"/>
                </a:lnTo>
                <a:lnTo>
                  <a:pt x="245" y="443"/>
                </a:lnTo>
                <a:lnTo>
                  <a:pt x="245" y="443"/>
                </a:lnTo>
                <a:lnTo>
                  <a:pt x="254" y="444"/>
                </a:lnTo>
                <a:lnTo>
                  <a:pt x="264" y="447"/>
                </a:lnTo>
                <a:lnTo>
                  <a:pt x="272" y="452"/>
                </a:lnTo>
                <a:lnTo>
                  <a:pt x="280" y="458"/>
                </a:lnTo>
                <a:lnTo>
                  <a:pt x="287" y="464"/>
                </a:lnTo>
                <a:lnTo>
                  <a:pt x="292" y="471"/>
                </a:lnTo>
                <a:lnTo>
                  <a:pt x="296" y="477"/>
                </a:lnTo>
                <a:lnTo>
                  <a:pt x="297" y="484"/>
                </a:lnTo>
                <a:lnTo>
                  <a:pt x="297" y="484"/>
                </a:lnTo>
                <a:lnTo>
                  <a:pt x="297" y="486"/>
                </a:lnTo>
                <a:lnTo>
                  <a:pt x="295" y="490"/>
                </a:lnTo>
                <a:lnTo>
                  <a:pt x="288" y="499"/>
                </a:lnTo>
                <a:lnTo>
                  <a:pt x="276" y="508"/>
                </a:lnTo>
                <a:lnTo>
                  <a:pt x="264" y="519"/>
                </a:lnTo>
                <a:lnTo>
                  <a:pt x="238" y="540"/>
                </a:lnTo>
                <a:lnTo>
                  <a:pt x="227" y="550"/>
                </a:lnTo>
                <a:lnTo>
                  <a:pt x="220" y="558"/>
                </a:lnTo>
                <a:lnTo>
                  <a:pt x="220" y="558"/>
                </a:lnTo>
                <a:lnTo>
                  <a:pt x="216" y="561"/>
                </a:lnTo>
                <a:lnTo>
                  <a:pt x="213" y="565"/>
                </a:lnTo>
                <a:lnTo>
                  <a:pt x="204" y="569"/>
                </a:lnTo>
                <a:lnTo>
                  <a:pt x="195" y="574"/>
                </a:lnTo>
                <a:lnTo>
                  <a:pt x="190" y="577"/>
                </a:lnTo>
                <a:lnTo>
                  <a:pt x="186" y="580"/>
                </a:lnTo>
                <a:lnTo>
                  <a:pt x="186" y="580"/>
                </a:lnTo>
                <a:lnTo>
                  <a:pt x="185" y="582"/>
                </a:lnTo>
                <a:lnTo>
                  <a:pt x="185" y="584"/>
                </a:lnTo>
                <a:lnTo>
                  <a:pt x="186" y="591"/>
                </a:lnTo>
                <a:lnTo>
                  <a:pt x="195" y="608"/>
                </a:lnTo>
                <a:lnTo>
                  <a:pt x="198" y="618"/>
                </a:lnTo>
                <a:lnTo>
                  <a:pt x="199" y="622"/>
                </a:lnTo>
                <a:lnTo>
                  <a:pt x="199" y="626"/>
                </a:lnTo>
                <a:lnTo>
                  <a:pt x="198" y="630"/>
                </a:lnTo>
                <a:lnTo>
                  <a:pt x="196" y="632"/>
                </a:lnTo>
                <a:lnTo>
                  <a:pt x="192" y="636"/>
                </a:lnTo>
                <a:lnTo>
                  <a:pt x="186" y="638"/>
                </a:lnTo>
                <a:lnTo>
                  <a:pt x="186" y="638"/>
                </a:lnTo>
                <a:lnTo>
                  <a:pt x="168" y="645"/>
                </a:lnTo>
                <a:lnTo>
                  <a:pt x="149" y="651"/>
                </a:lnTo>
                <a:lnTo>
                  <a:pt x="128" y="656"/>
                </a:lnTo>
                <a:lnTo>
                  <a:pt x="109" y="657"/>
                </a:lnTo>
                <a:lnTo>
                  <a:pt x="109" y="657"/>
                </a:lnTo>
                <a:lnTo>
                  <a:pt x="98" y="658"/>
                </a:lnTo>
                <a:lnTo>
                  <a:pt x="88" y="660"/>
                </a:lnTo>
                <a:lnTo>
                  <a:pt x="79" y="665"/>
                </a:lnTo>
                <a:lnTo>
                  <a:pt x="71" y="670"/>
                </a:lnTo>
                <a:lnTo>
                  <a:pt x="65" y="679"/>
                </a:lnTo>
                <a:lnTo>
                  <a:pt x="60" y="687"/>
                </a:lnTo>
                <a:lnTo>
                  <a:pt x="55" y="696"/>
                </a:lnTo>
                <a:lnTo>
                  <a:pt x="51" y="705"/>
                </a:lnTo>
                <a:lnTo>
                  <a:pt x="44" y="726"/>
                </a:lnTo>
                <a:lnTo>
                  <a:pt x="38" y="746"/>
                </a:lnTo>
                <a:lnTo>
                  <a:pt x="32" y="765"/>
                </a:lnTo>
                <a:lnTo>
                  <a:pt x="29" y="774"/>
                </a:lnTo>
                <a:lnTo>
                  <a:pt x="25" y="781"/>
                </a:lnTo>
                <a:lnTo>
                  <a:pt x="25" y="781"/>
                </a:lnTo>
                <a:lnTo>
                  <a:pt x="22" y="786"/>
                </a:lnTo>
                <a:lnTo>
                  <a:pt x="18" y="790"/>
                </a:lnTo>
                <a:lnTo>
                  <a:pt x="9" y="797"/>
                </a:lnTo>
                <a:lnTo>
                  <a:pt x="6" y="800"/>
                </a:lnTo>
                <a:lnTo>
                  <a:pt x="2" y="805"/>
                </a:lnTo>
                <a:lnTo>
                  <a:pt x="0" y="811"/>
                </a:lnTo>
                <a:lnTo>
                  <a:pt x="0" y="818"/>
                </a:lnTo>
                <a:lnTo>
                  <a:pt x="0" y="818"/>
                </a:lnTo>
                <a:lnTo>
                  <a:pt x="0" y="824"/>
                </a:lnTo>
                <a:lnTo>
                  <a:pt x="2" y="827"/>
                </a:lnTo>
                <a:lnTo>
                  <a:pt x="6" y="830"/>
                </a:lnTo>
                <a:lnTo>
                  <a:pt x="9" y="834"/>
                </a:lnTo>
                <a:lnTo>
                  <a:pt x="18" y="837"/>
                </a:lnTo>
                <a:lnTo>
                  <a:pt x="25" y="840"/>
                </a:lnTo>
                <a:lnTo>
                  <a:pt x="25" y="840"/>
                </a:lnTo>
                <a:lnTo>
                  <a:pt x="7" y="884"/>
                </a:lnTo>
                <a:lnTo>
                  <a:pt x="7" y="884"/>
                </a:lnTo>
                <a:lnTo>
                  <a:pt x="7" y="884"/>
                </a:lnTo>
                <a:lnTo>
                  <a:pt x="10" y="887"/>
                </a:lnTo>
                <a:lnTo>
                  <a:pt x="13" y="889"/>
                </a:lnTo>
                <a:lnTo>
                  <a:pt x="16" y="897"/>
                </a:lnTo>
                <a:lnTo>
                  <a:pt x="20" y="905"/>
                </a:lnTo>
                <a:lnTo>
                  <a:pt x="22" y="914"/>
                </a:lnTo>
                <a:lnTo>
                  <a:pt x="25" y="922"/>
                </a:lnTo>
                <a:lnTo>
                  <a:pt x="30" y="929"/>
                </a:lnTo>
                <a:lnTo>
                  <a:pt x="32" y="932"/>
                </a:lnTo>
                <a:lnTo>
                  <a:pt x="35" y="934"/>
                </a:lnTo>
                <a:lnTo>
                  <a:pt x="39" y="935"/>
                </a:lnTo>
                <a:lnTo>
                  <a:pt x="43" y="936"/>
                </a:lnTo>
                <a:lnTo>
                  <a:pt x="43" y="936"/>
                </a:lnTo>
                <a:lnTo>
                  <a:pt x="47" y="935"/>
                </a:lnTo>
                <a:lnTo>
                  <a:pt x="51" y="934"/>
                </a:lnTo>
                <a:lnTo>
                  <a:pt x="58" y="929"/>
                </a:lnTo>
                <a:lnTo>
                  <a:pt x="65" y="922"/>
                </a:lnTo>
                <a:lnTo>
                  <a:pt x="71" y="913"/>
                </a:lnTo>
                <a:lnTo>
                  <a:pt x="78" y="905"/>
                </a:lnTo>
                <a:lnTo>
                  <a:pt x="86" y="898"/>
                </a:lnTo>
                <a:lnTo>
                  <a:pt x="92" y="896"/>
                </a:lnTo>
                <a:lnTo>
                  <a:pt x="97" y="894"/>
                </a:lnTo>
                <a:lnTo>
                  <a:pt x="104" y="893"/>
                </a:lnTo>
                <a:lnTo>
                  <a:pt x="109" y="891"/>
                </a:lnTo>
                <a:lnTo>
                  <a:pt x="109" y="891"/>
                </a:lnTo>
                <a:lnTo>
                  <a:pt x="120" y="893"/>
                </a:lnTo>
                <a:lnTo>
                  <a:pt x="130" y="895"/>
                </a:lnTo>
                <a:lnTo>
                  <a:pt x="142" y="897"/>
                </a:lnTo>
                <a:lnTo>
                  <a:pt x="154" y="898"/>
                </a:lnTo>
                <a:lnTo>
                  <a:pt x="154" y="898"/>
                </a:lnTo>
                <a:lnTo>
                  <a:pt x="160" y="898"/>
                </a:lnTo>
                <a:lnTo>
                  <a:pt x="165" y="897"/>
                </a:lnTo>
                <a:lnTo>
                  <a:pt x="174" y="895"/>
                </a:lnTo>
                <a:lnTo>
                  <a:pt x="181" y="891"/>
                </a:lnTo>
                <a:lnTo>
                  <a:pt x="190" y="888"/>
                </a:lnTo>
                <a:lnTo>
                  <a:pt x="190" y="888"/>
                </a:lnTo>
                <a:lnTo>
                  <a:pt x="191" y="899"/>
                </a:lnTo>
                <a:lnTo>
                  <a:pt x="192" y="905"/>
                </a:lnTo>
                <a:lnTo>
                  <a:pt x="195" y="910"/>
                </a:lnTo>
                <a:lnTo>
                  <a:pt x="197" y="914"/>
                </a:lnTo>
                <a:lnTo>
                  <a:pt x="200" y="918"/>
                </a:lnTo>
                <a:lnTo>
                  <a:pt x="204" y="920"/>
                </a:lnTo>
                <a:lnTo>
                  <a:pt x="209" y="921"/>
                </a:lnTo>
                <a:lnTo>
                  <a:pt x="209" y="921"/>
                </a:lnTo>
                <a:lnTo>
                  <a:pt x="215" y="920"/>
                </a:lnTo>
                <a:lnTo>
                  <a:pt x="221" y="918"/>
                </a:lnTo>
                <a:lnTo>
                  <a:pt x="227" y="914"/>
                </a:lnTo>
                <a:lnTo>
                  <a:pt x="231" y="910"/>
                </a:lnTo>
                <a:lnTo>
                  <a:pt x="237" y="906"/>
                </a:lnTo>
                <a:lnTo>
                  <a:pt x="243" y="902"/>
                </a:lnTo>
                <a:lnTo>
                  <a:pt x="249" y="899"/>
                </a:lnTo>
                <a:lnTo>
                  <a:pt x="257" y="898"/>
                </a:lnTo>
                <a:lnTo>
                  <a:pt x="257" y="898"/>
                </a:lnTo>
                <a:lnTo>
                  <a:pt x="268" y="898"/>
                </a:lnTo>
                <a:lnTo>
                  <a:pt x="268" y="898"/>
                </a:lnTo>
                <a:lnTo>
                  <a:pt x="274" y="898"/>
                </a:lnTo>
                <a:lnTo>
                  <a:pt x="281" y="895"/>
                </a:lnTo>
                <a:lnTo>
                  <a:pt x="284" y="893"/>
                </a:lnTo>
                <a:lnTo>
                  <a:pt x="288" y="889"/>
                </a:lnTo>
                <a:lnTo>
                  <a:pt x="289" y="886"/>
                </a:lnTo>
                <a:lnTo>
                  <a:pt x="290" y="881"/>
                </a:lnTo>
                <a:lnTo>
                  <a:pt x="290" y="881"/>
                </a:lnTo>
                <a:lnTo>
                  <a:pt x="289" y="864"/>
                </a:lnTo>
                <a:lnTo>
                  <a:pt x="287" y="851"/>
                </a:lnTo>
                <a:lnTo>
                  <a:pt x="283" y="840"/>
                </a:lnTo>
                <a:lnTo>
                  <a:pt x="283" y="826"/>
                </a:lnTo>
                <a:lnTo>
                  <a:pt x="283" y="826"/>
                </a:lnTo>
                <a:lnTo>
                  <a:pt x="283" y="824"/>
                </a:lnTo>
                <a:lnTo>
                  <a:pt x="285" y="822"/>
                </a:lnTo>
                <a:lnTo>
                  <a:pt x="292" y="822"/>
                </a:lnTo>
                <a:lnTo>
                  <a:pt x="300" y="825"/>
                </a:lnTo>
                <a:lnTo>
                  <a:pt x="307" y="826"/>
                </a:lnTo>
                <a:lnTo>
                  <a:pt x="307" y="826"/>
                </a:lnTo>
                <a:lnTo>
                  <a:pt x="327" y="826"/>
                </a:lnTo>
                <a:lnTo>
                  <a:pt x="327" y="826"/>
                </a:lnTo>
                <a:lnTo>
                  <a:pt x="338" y="825"/>
                </a:lnTo>
                <a:lnTo>
                  <a:pt x="351" y="824"/>
                </a:lnTo>
                <a:lnTo>
                  <a:pt x="363" y="824"/>
                </a:lnTo>
                <a:lnTo>
                  <a:pt x="374" y="824"/>
                </a:lnTo>
                <a:lnTo>
                  <a:pt x="380" y="825"/>
                </a:lnTo>
                <a:lnTo>
                  <a:pt x="384" y="826"/>
                </a:lnTo>
                <a:lnTo>
                  <a:pt x="389" y="828"/>
                </a:lnTo>
                <a:lnTo>
                  <a:pt x="392" y="832"/>
                </a:lnTo>
                <a:lnTo>
                  <a:pt x="396" y="835"/>
                </a:lnTo>
                <a:lnTo>
                  <a:pt x="398" y="841"/>
                </a:lnTo>
                <a:lnTo>
                  <a:pt x="399" y="847"/>
                </a:lnTo>
                <a:lnTo>
                  <a:pt x="401" y="855"/>
                </a:lnTo>
                <a:lnTo>
                  <a:pt x="401" y="855"/>
                </a:lnTo>
                <a:lnTo>
                  <a:pt x="401" y="861"/>
                </a:lnTo>
                <a:lnTo>
                  <a:pt x="401" y="871"/>
                </a:lnTo>
                <a:lnTo>
                  <a:pt x="403" y="878"/>
                </a:lnTo>
                <a:lnTo>
                  <a:pt x="405" y="880"/>
                </a:lnTo>
                <a:lnTo>
                  <a:pt x="407" y="881"/>
                </a:lnTo>
                <a:lnTo>
                  <a:pt x="407" y="881"/>
                </a:lnTo>
                <a:lnTo>
                  <a:pt x="422" y="881"/>
                </a:lnTo>
                <a:lnTo>
                  <a:pt x="422" y="881"/>
                </a:lnTo>
                <a:lnTo>
                  <a:pt x="427" y="881"/>
                </a:lnTo>
                <a:lnTo>
                  <a:pt x="430" y="882"/>
                </a:lnTo>
                <a:lnTo>
                  <a:pt x="434" y="884"/>
                </a:lnTo>
                <a:lnTo>
                  <a:pt x="438" y="887"/>
                </a:lnTo>
                <a:lnTo>
                  <a:pt x="444" y="894"/>
                </a:lnTo>
                <a:lnTo>
                  <a:pt x="451" y="901"/>
                </a:lnTo>
                <a:lnTo>
                  <a:pt x="458" y="909"/>
                </a:lnTo>
                <a:lnTo>
                  <a:pt x="466" y="914"/>
                </a:lnTo>
                <a:lnTo>
                  <a:pt x="471" y="918"/>
                </a:lnTo>
                <a:lnTo>
                  <a:pt x="475" y="919"/>
                </a:lnTo>
                <a:lnTo>
                  <a:pt x="481" y="920"/>
                </a:lnTo>
                <a:lnTo>
                  <a:pt x="488" y="921"/>
                </a:lnTo>
                <a:lnTo>
                  <a:pt x="488" y="921"/>
                </a:lnTo>
                <a:lnTo>
                  <a:pt x="587" y="921"/>
                </a:lnTo>
                <a:lnTo>
                  <a:pt x="587" y="921"/>
                </a:lnTo>
                <a:lnTo>
                  <a:pt x="595" y="920"/>
                </a:lnTo>
                <a:lnTo>
                  <a:pt x="601" y="919"/>
                </a:lnTo>
                <a:lnTo>
                  <a:pt x="606" y="917"/>
                </a:lnTo>
                <a:lnTo>
                  <a:pt x="611" y="913"/>
                </a:lnTo>
                <a:lnTo>
                  <a:pt x="620" y="909"/>
                </a:lnTo>
                <a:lnTo>
                  <a:pt x="625" y="908"/>
                </a:lnTo>
                <a:lnTo>
                  <a:pt x="631" y="906"/>
                </a:lnTo>
                <a:lnTo>
                  <a:pt x="631" y="906"/>
                </a:lnTo>
                <a:lnTo>
                  <a:pt x="644" y="908"/>
                </a:lnTo>
                <a:lnTo>
                  <a:pt x="657" y="910"/>
                </a:lnTo>
                <a:lnTo>
                  <a:pt x="669" y="913"/>
                </a:lnTo>
                <a:lnTo>
                  <a:pt x="679" y="919"/>
                </a:lnTo>
                <a:lnTo>
                  <a:pt x="701" y="931"/>
                </a:lnTo>
                <a:lnTo>
                  <a:pt x="722" y="943"/>
                </a:lnTo>
                <a:lnTo>
                  <a:pt x="732" y="950"/>
                </a:lnTo>
                <a:lnTo>
                  <a:pt x="743" y="955"/>
                </a:lnTo>
                <a:lnTo>
                  <a:pt x="756" y="960"/>
                </a:lnTo>
                <a:lnTo>
                  <a:pt x="769" y="964"/>
                </a:lnTo>
                <a:lnTo>
                  <a:pt x="783" y="966"/>
                </a:lnTo>
                <a:lnTo>
                  <a:pt x="799" y="966"/>
                </a:lnTo>
                <a:lnTo>
                  <a:pt x="815" y="965"/>
                </a:lnTo>
                <a:lnTo>
                  <a:pt x="833" y="962"/>
                </a:lnTo>
                <a:lnTo>
                  <a:pt x="833" y="962"/>
                </a:lnTo>
                <a:lnTo>
                  <a:pt x="852" y="917"/>
                </a:lnTo>
                <a:lnTo>
                  <a:pt x="852" y="9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1" name="Freeform 116"/>
          <p:cNvSpPr>
            <a:spLocks/>
          </p:cNvSpPr>
          <p:nvPr/>
        </p:nvSpPr>
        <p:spPr bwMode="auto">
          <a:xfrm>
            <a:off x="1760538" y="4295775"/>
            <a:ext cx="271462" cy="207963"/>
          </a:xfrm>
          <a:custGeom>
            <a:avLst/>
            <a:gdLst/>
            <a:ahLst/>
            <a:cxnLst>
              <a:cxn ang="0">
                <a:pos x="107" y="16"/>
              </a:cxn>
              <a:cxn ang="0">
                <a:pos x="86" y="2"/>
              </a:cxn>
              <a:cxn ang="0">
                <a:pos x="74" y="0"/>
              </a:cxn>
              <a:cxn ang="0">
                <a:pos x="34" y="9"/>
              </a:cxn>
              <a:cxn ang="0">
                <a:pos x="9" y="30"/>
              </a:cxn>
              <a:cxn ang="0">
                <a:pos x="1" y="48"/>
              </a:cxn>
              <a:cxn ang="0">
                <a:pos x="0" y="63"/>
              </a:cxn>
              <a:cxn ang="0">
                <a:pos x="13" y="102"/>
              </a:cxn>
              <a:cxn ang="0">
                <a:pos x="37" y="110"/>
              </a:cxn>
              <a:cxn ang="0">
                <a:pos x="75" y="115"/>
              </a:cxn>
              <a:cxn ang="0">
                <a:pos x="98" y="125"/>
              </a:cxn>
              <a:cxn ang="0">
                <a:pos x="103" y="137"/>
              </a:cxn>
              <a:cxn ang="0">
                <a:pos x="107" y="166"/>
              </a:cxn>
              <a:cxn ang="0">
                <a:pos x="116" y="174"/>
              </a:cxn>
              <a:cxn ang="0">
                <a:pos x="124" y="192"/>
              </a:cxn>
              <a:cxn ang="0">
                <a:pos x="129" y="215"/>
              </a:cxn>
              <a:cxn ang="0">
                <a:pos x="136" y="224"/>
              </a:cxn>
              <a:cxn ang="0">
                <a:pos x="156" y="231"/>
              </a:cxn>
              <a:cxn ang="0">
                <a:pos x="175" y="230"/>
              </a:cxn>
              <a:cxn ang="0">
                <a:pos x="193" y="221"/>
              </a:cxn>
              <a:cxn ang="0">
                <a:pos x="210" y="211"/>
              </a:cxn>
              <a:cxn ang="0">
                <a:pos x="222" y="209"/>
              </a:cxn>
              <a:cxn ang="0">
                <a:pos x="245" y="222"/>
              </a:cxn>
              <a:cxn ang="0">
                <a:pos x="253" y="224"/>
              </a:cxn>
              <a:cxn ang="0">
                <a:pos x="265" y="219"/>
              </a:cxn>
              <a:cxn ang="0">
                <a:pos x="276" y="214"/>
              </a:cxn>
              <a:cxn ang="0">
                <a:pos x="281" y="216"/>
              </a:cxn>
              <a:cxn ang="0">
                <a:pos x="298" y="231"/>
              </a:cxn>
              <a:cxn ang="0">
                <a:pos x="312" y="238"/>
              </a:cxn>
              <a:cxn ang="0">
                <a:pos x="312" y="238"/>
              </a:cxn>
              <a:cxn ang="0">
                <a:pos x="317" y="222"/>
              </a:cxn>
              <a:cxn ang="0">
                <a:pos x="329" y="206"/>
              </a:cxn>
              <a:cxn ang="0">
                <a:pos x="330" y="198"/>
              </a:cxn>
              <a:cxn ang="0">
                <a:pos x="317" y="176"/>
              </a:cxn>
              <a:cxn ang="0">
                <a:pos x="315" y="169"/>
              </a:cxn>
              <a:cxn ang="0">
                <a:pos x="312" y="143"/>
              </a:cxn>
              <a:cxn ang="0">
                <a:pos x="304" y="139"/>
              </a:cxn>
              <a:cxn ang="0">
                <a:pos x="298" y="116"/>
              </a:cxn>
              <a:cxn ang="0">
                <a:pos x="293" y="107"/>
              </a:cxn>
              <a:cxn ang="0">
                <a:pos x="280" y="107"/>
              </a:cxn>
              <a:cxn ang="0">
                <a:pos x="270" y="102"/>
              </a:cxn>
              <a:cxn ang="0">
                <a:pos x="260" y="87"/>
              </a:cxn>
              <a:cxn ang="0">
                <a:pos x="251" y="81"/>
              </a:cxn>
              <a:cxn ang="0">
                <a:pos x="228" y="76"/>
              </a:cxn>
              <a:cxn ang="0">
                <a:pos x="191" y="70"/>
              </a:cxn>
              <a:cxn ang="0">
                <a:pos x="177" y="66"/>
              </a:cxn>
              <a:cxn ang="0">
                <a:pos x="159" y="52"/>
              </a:cxn>
              <a:cxn ang="0">
                <a:pos x="144" y="44"/>
              </a:cxn>
              <a:cxn ang="0">
                <a:pos x="128" y="35"/>
              </a:cxn>
              <a:cxn ang="0">
                <a:pos x="117" y="18"/>
              </a:cxn>
              <a:cxn ang="0">
                <a:pos x="117" y="22"/>
              </a:cxn>
            </a:cxnLst>
            <a:rect l="0" t="0" r="r" b="b"/>
            <a:pathLst>
              <a:path w="330" h="238">
                <a:moveTo>
                  <a:pt x="117" y="22"/>
                </a:moveTo>
                <a:lnTo>
                  <a:pt x="117" y="22"/>
                </a:lnTo>
                <a:lnTo>
                  <a:pt x="107" y="16"/>
                </a:lnTo>
                <a:lnTo>
                  <a:pt x="97" y="8"/>
                </a:lnTo>
                <a:lnTo>
                  <a:pt x="92" y="5"/>
                </a:lnTo>
                <a:lnTo>
                  <a:pt x="86" y="2"/>
                </a:lnTo>
                <a:lnTo>
                  <a:pt x="80" y="1"/>
                </a:lnTo>
                <a:lnTo>
                  <a:pt x="74" y="0"/>
                </a:lnTo>
                <a:lnTo>
                  <a:pt x="74" y="0"/>
                </a:lnTo>
                <a:lnTo>
                  <a:pt x="60" y="1"/>
                </a:lnTo>
                <a:lnTo>
                  <a:pt x="47" y="5"/>
                </a:lnTo>
                <a:lnTo>
                  <a:pt x="34" y="9"/>
                </a:lnTo>
                <a:lnTo>
                  <a:pt x="23" y="16"/>
                </a:lnTo>
                <a:lnTo>
                  <a:pt x="14" y="25"/>
                </a:lnTo>
                <a:lnTo>
                  <a:pt x="9" y="30"/>
                </a:lnTo>
                <a:lnTo>
                  <a:pt x="7" y="36"/>
                </a:lnTo>
                <a:lnTo>
                  <a:pt x="3" y="43"/>
                </a:lnTo>
                <a:lnTo>
                  <a:pt x="1" y="48"/>
                </a:lnTo>
                <a:lnTo>
                  <a:pt x="0" y="55"/>
                </a:lnTo>
                <a:lnTo>
                  <a:pt x="0" y="63"/>
                </a:lnTo>
                <a:lnTo>
                  <a:pt x="0" y="63"/>
                </a:lnTo>
                <a:lnTo>
                  <a:pt x="2" y="71"/>
                </a:lnTo>
                <a:lnTo>
                  <a:pt x="7" y="86"/>
                </a:lnTo>
                <a:lnTo>
                  <a:pt x="13" y="102"/>
                </a:lnTo>
                <a:lnTo>
                  <a:pt x="15" y="110"/>
                </a:lnTo>
                <a:lnTo>
                  <a:pt x="15" y="110"/>
                </a:lnTo>
                <a:lnTo>
                  <a:pt x="37" y="110"/>
                </a:lnTo>
                <a:lnTo>
                  <a:pt x="49" y="112"/>
                </a:lnTo>
                <a:lnTo>
                  <a:pt x="62" y="113"/>
                </a:lnTo>
                <a:lnTo>
                  <a:pt x="75" y="115"/>
                </a:lnTo>
                <a:lnTo>
                  <a:pt x="86" y="119"/>
                </a:lnTo>
                <a:lnTo>
                  <a:pt x="94" y="123"/>
                </a:lnTo>
                <a:lnTo>
                  <a:pt x="98" y="125"/>
                </a:lnTo>
                <a:lnTo>
                  <a:pt x="99" y="129"/>
                </a:lnTo>
                <a:lnTo>
                  <a:pt x="99" y="129"/>
                </a:lnTo>
                <a:lnTo>
                  <a:pt x="103" y="137"/>
                </a:lnTo>
                <a:lnTo>
                  <a:pt x="106" y="145"/>
                </a:lnTo>
                <a:lnTo>
                  <a:pt x="107" y="160"/>
                </a:lnTo>
                <a:lnTo>
                  <a:pt x="107" y="166"/>
                </a:lnTo>
                <a:lnTo>
                  <a:pt x="110" y="170"/>
                </a:lnTo>
                <a:lnTo>
                  <a:pt x="113" y="173"/>
                </a:lnTo>
                <a:lnTo>
                  <a:pt x="116" y="174"/>
                </a:lnTo>
                <a:lnTo>
                  <a:pt x="124" y="176"/>
                </a:lnTo>
                <a:lnTo>
                  <a:pt x="124" y="176"/>
                </a:lnTo>
                <a:lnTo>
                  <a:pt x="124" y="192"/>
                </a:lnTo>
                <a:lnTo>
                  <a:pt x="125" y="205"/>
                </a:lnTo>
                <a:lnTo>
                  <a:pt x="128" y="211"/>
                </a:lnTo>
                <a:lnTo>
                  <a:pt x="129" y="215"/>
                </a:lnTo>
                <a:lnTo>
                  <a:pt x="132" y="220"/>
                </a:lnTo>
                <a:lnTo>
                  <a:pt x="136" y="224"/>
                </a:lnTo>
                <a:lnTo>
                  <a:pt x="136" y="224"/>
                </a:lnTo>
                <a:lnTo>
                  <a:pt x="141" y="227"/>
                </a:lnTo>
                <a:lnTo>
                  <a:pt x="148" y="229"/>
                </a:lnTo>
                <a:lnTo>
                  <a:pt x="156" y="231"/>
                </a:lnTo>
                <a:lnTo>
                  <a:pt x="169" y="231"/>
                </a:lnTo>
                <a:lnTo>
                  <a:pt x="169" y="231"/>
                </a:lnTo>
                <a:lnTo>
                  <a:pt x="175" y="230"/>
                </a:lnTo>
                <a:lnTo>
                  <a:pt x="182" y="228"/>
                </a:lnTo>
                <a:lnTo>
                  <a:pt x="187" y="224"/>
                </a:lnTo>
                <a:lnTo>
                  <a:pt x="193" y="221"/>
                </a:lnTo>
                <a:lnTo>
                  <a:pt x="198" y="216"/>
                </a:lnTo>
                <a:lnTo>
                  <a:pt x="204" y="213"/>
                </a:lnTo>
                <a:lnTo>
                  <a:pt x="210" y="211"/>
                </a:lnTo>
                <a:lnTo>
                  <a:pt x="217" y="209"/>
                </a:lnTo>
                <a:lnTo>
                  <a:pt x="217" y="209"/>
                </a:lnTo>
                <a:lnTo>
                  <a:pt x="222" y="209"/>
                </a:lnTo>
                <a:lnTo>
                  <a:pt x="228" y="212"/>
                </a:lnTo>
                <a:lnTo>
                  <a:pt x="237" y="216"/>
                </a:lnTo>
                <a:lnTo>
                  <a:pt x="245" y="222"/>
                </a:lnTo>
                <a:lnTo>
                  <a:pt x="250" y="223"/>
                </a:lnTo>
                <a:lnTo>
                  <a:pt x="253" y="224"/>
                </a:lnTo>
                <a:lnTo>
                  <a:pt x="253" y="224"/>
                </a:lnTo>
                <a:lnTo>
                  <a:pt x="256" y="223"/>
                </a:lnTo>
                <a:lnTo>
                  <a:pt x="260" y="222"/>
                </a:lnTo>
                <a:lnTo>
                  <a:pt x="265" y="219"/>
                </a:lnTo>
                <a:lnTo>
                  <a:pt x="269" y="215"/>
                </a:lnTo>
                <a:lnTo>
                  <a:pt x="271" y="214"/>
                </a:lnTo>
                <a:lnTo>
                  <a:pt x="276" y="214"/>
                </a:lnTo>
                <a:lnTo>
                  <a:pt x="276" y="214"/>
                </a:lnTo>
                <a:lnTo>
                  <a:pt x="278" y="214"/>
                </a:lnTo>
                <a:lnTo>
                  <a:pt x="281" y="216"/>
                </a:lnTo>
                <a:lnTo>
                  <a:pt x="286" y="221"/>
                </a:lnTo>
                <a:lnTo>
                  <a:pt x="292" y="228"/>
                </a:lnTo>
                <a:lnTo>
                  <a:pt x="298" y="231"/>
                </a:lnTo>
                <a:lnTo>
                  <a:pt x="298" y="231"/>
                </a:lnTo>
                <a:lnTo>
                  <a:pt x="312" y="231"/>
                </a:lnTo>
                <a:lnTo>
                  <a:pt x="312" y="238"/>
                </a:lnTo>
                <a:lnTo>
                  <a:pt x="312" y="238"/>
                </a:lnTo>
                <a:lnTo>
                  <a:pt x="312" y="238"/>
                </a:lnTo>
                <a:lnTo>
                  <a:pt x="312" y="238"/>
                </a:lnTo>
                <a:lnTo>
                  <a:pt x="313" y="232"/>
                </a:lnTo>
                <a:lnTo>
                  <a:pt x="315" y="227"/>
                </a:lnTo>
                <a:lnTo>
                  <a:pt x="317" y="222"/>
                </a:lnTo>
                <a:lnTo>
                  <a:pt x="321" y="217"/>
                </a:lnTo>
                <a:lnTo>
                  <a:pt x="328" y="211"/>
                </a:lnTo>
                <a:lnTo>
                  <a:pt x="329" y="206"/>
                </a:lnTo>
                <a:lnTo>
                  <a:pt x="330" y="203"/>
                </a:lnTo>
                <a:lnTo>
                  <a:pt x="330" y="203"/>
                </a:lnTo>
                <a:lnTo>
                  <a:pt x="330" y="198"/>
                </a:lnTo>
                <a:lnTo>
                  <a:pt x="328" y="193"/>
                </a:lnTo>
                <a:lnTo>
                  <a:pt x="323" y="184"/>
                </a:lnTo>
                <a:lnTo>
                  <a:pt x="317" y="176"/>
                </a:lnTo>
                <a:lnTo>
                  <a:pt x="316" y="173"/>
                </a:lnTo>
                <a:lnTo>
                  <a:pt x="315" y="169"/>
                </a:lnTo>
                <a:lnTo>
                  <a:pt x="315" y="169"/>
                </a:lnTo>
                <a:lnTo>
                  <a:pt x="315" y="144"/>
                </a:lnTo>
                <a:lnTo>
                  <a:pt x="315" y="144"/>
                </a:lnTo>
                <a:lnTo>
                  <a:pt x="312" y="143"/>
                </a:lnTo>
                <a:lnTo>
                  <a:pt x="308" y="143"/>
                </a:lnTo>
                <a:lnTo>
                  <a:pt x="305" y="140"/>
                </a:lnTo>
                <a:lnTo>
                  <a:pt x="304" y="139"/>
                </a:lnTo>
                <a:lnTo>
                  <a:pt x="300" y="133"/>
                </a:lnTo>
                <a:lnTo>
                  <a:pt x="299" y="128"/>
                </a:lnTo>
                <a:lnTo>
                  <a:pt x="298" y="116"/>
                </a:lnTo>
                <a:lnTo>
                  <a:pt x="297" y="110"/>
                </a:lnTo>
                <a:lnTo>
                  <a:pt x="296" y="108"/>
                </a:lnTo>
                <a:lnTo>
                  <a:pt x="293" y="107"/>
                </a:lnTo>
                <a:lnTo>
                  <a:pt x="293" y="107"/>
                </a:lnTo>
                <a:lnTo>
                  <a:pt x="280" y="107"/>
                </a:lnTo>
                <a:lnTo>
                  <a:pt x="280" y="107"/>
                </a:lnTo>
                <a:lnTo>
                  <a:pt x="275" y="106"/>
                </a:lnTo>
                <a:lnTo>
                  <a:pt x="273" y="105"/>
                </a:lnTo>
                <a:lnTo>
                  <a:pt x="270" y="102"/>
                </a:lnTo>
                <a:lnTo>
                  <a:pt x="268" y="99"/>
                </a:lnTo>
                <a:lnTo>
                  <a:pt x="263" y="91"/>
                </a:lnTo>
                <a:lnTo>
                  <a:pt x="260" y="87"/>
                </a:lnTo>
                <a:lnTo>
                  <a:pt x="256" y="85"/>
                </a:lnTo>
                <a:lnTo>
                  <a:pt x="256" y="85"/>
                </a:lnTo>
                <a:lnTo>
                  <a:pt x="251" y="81"/>
                </a:lnTo>
                <a:lnTo>
                  <a:pt x="244" y="78"/>
                </a:lnTo>
                <a:lnTo>
                  <a:pt x="236" y="76"/>
                </a:lnTo>
                <a:lnTo>
                  <a:pt x="228" y="76"/>
                </a:lnTo>
                <a:lnTo>
                  <a:pt x="210" y="75"/>
                </a:lnTo>
                <a:lnTo>
                  <a:pt x="200" y="74"/>
                </a:lnTo>
                <a:lnTo>
                  <a:pt x="191" y="70"/>
                </a:lnTo>
                <a:lnTo>
                  <a:pt x="191" y="70"/>
                </a:lnTo>
                <a:lnTo>
                  <a:pt x="184" y="68"/>
                </a:lnTo>
                <a:lnTo>
                  <a:pt x="177" y="66"/>
                </a:lnTo>
                <a:lnTo>
                  <a:pt x="172" y="63"/>
                </a:lnTo>
                <a:lnTo>
                  <a:pt x="168" y="60"/>
                </a:lnTo>
                <a:lnTo>
                  <a:pt x="159" y="52"/>
                </a:lnTo>
                <a:lnTo>
                  <a:pt x="152" y="48"/>
                </a:lnTo>
                <a:lnTo>
                  <a:pt x="144" y="44"/>
                </a:lnTo>
                <a:lnTo>
                  <a:pt x="144" y="44"/>
                </a:lnTo>
                <a:lnTo>
                  <a:pt x="140" y="44"/>
                </a:lnTo>
                <a:lnTo>
                  <a:pt x="136" y="41"/>
                </a:lnTo>
                <a:lnTo>
                  <a:pt x="128" y="35"/>
                </a:lnTo>
                <a:lnTo>
                  <a:pt x="121" y="25"/>
                </a:lnTo>
                <a:lnTo>
                  <a:pt x="118" y="22"/>
                </a:lnTo>
                <a:lnTo>
                  <a:pt x="117" y="18"/>
                </a:lnTo>
                <a:lnTo>
                  <a:pt x="117" y="18"/>
                </a:lnTo>
                <a:lnTo>
                  <a:pt x="117" y="22"/>
                </a:lnTo>
                <a:lnTo>
                  <a:pt x="117" y="2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2" name="Freeform 117"/>
          <p:cNvSpPr>
            <a:spLocks/>
          </p:cNvSpPr>
          <p:nvPr/>
        </p:nvSpPr>
        <p:spPr bwMode="auto">
          <a:xfrm>
            <a:off x="1716088" y="4476750"/>
            <a:ext cx="485775" cy="442913"/>
          </a:xfrm>
          <a:custGeom>
            <a:avLst/>
            <a:gdLst/>
            <a:ahLst/>
            <a:cxnLst>
              <a:cxn ang="0">
                <a:pos x="347" y="19"/>
              </a:cxn>
              <a:cxn ang="0">
                <a:pos x="331" y="5"/>
              </a:cxn>
              <a:cxn ang="0">
                <a:pos x="311" y="14"/>
              </a:cxn>
              <a:cxn ang="0">
                <a:pos x="292" y="7"/>
              </a:cxn>
              <a:cxn ang="0">
                <a:pos x="265" y="2"/>
              </a:cxn>
              <a:cxn ang="0">
                <a:pos x="237" y="19"/>
              </a:cxn>
              <a:cxn ang="0">
                <a:pos x="203" y="20"/>
              </a:cxn>
              <a:cxn ang="0">
                <a:pos x="169" y="27"/>
              </a:cxn>
              <a:cxn ang="0">
                <a:pos x="109" y="67"/>
              </a:cxn>
              <a:cxn ang="0">
                <a:pos x="107" y="103"/>
              </a:cxn>
              <a:cxn ang="0">
                <a:pos x="94" y="120"/>
              </a:cxn>
              <a:cxn ang="0">
                <a:pos x="68" y="125"/>
              </a:cxn>
              <a:cxn ang="0">
                <a:pos x="40" y="103"/>
              </a:cxn>
              <a:cxn ang="0">
                <a:pos x="9" y="120"/>
              </a:cxn>
              <a:cxn ang="0">
                <a:pos x="18" y="147"/>
              </a:cxn>
              <a:cxn ang="0">
                <a:pos x="48" y="152"/>
              </a:cxn>
              <a:cxn ang="0">
                <a:pos x="85" y="155"/>
              </a:cxn>
              <a:cxn ang="0">
                <a:pos x="104" y="195"/>
              </a:cxn>
              <a:cxn ang="0">
                <a:pos x="120" y="203"/>
              </a:cxn>
              <a:cxn ang="0">
                <a:pos x="172" y="200"/>
              </a:cxn>
              <a:cxn ang="0">
                <a:pos x="179" y="228"/>
              </a:cxn>
              <a:cxn ang="0">
                <a:pos x="198" y="282"/>
              </a:cxn>
              <a:cxn ang="0">
                <a:pos x="237" y="326"/>
              </a:cxn>
              <a:cxn ang="0">
                <a:pos x="271" y="333"/>
              </a:cxn>
              <a:cxn ang="0">
                <a:pos x="290" y="318"/>
              </a:cxn>
              <a:cxn ang="0">
                <a:pos x="332" y="365"/>
              </a:cxn>
              <a:cxn ang="0">
                <a:pos x="367" y="412"/>
              </a:cxn>
              <a:cxn ang="0">
                <a:pos x="398" y="432"/>
              </a:cxn>
              <a:cxn ang="0">
                <a:pos x="393" y="450"/>
              </a:cxn>
              <a:cxn ang="0">
                <a:pos x="386" y="473"/>
              </a:cxn>
              <a:cxn ang="0">
                <a:pos x="407" y="501"/>
              </a:cxn>
              <a:cxn ang="0">
                <a:pos x="422" y="476"/>
              </a:cxn>
              <a:cxn ang="0">
                <a:pos x="442" y="449"/>
              </a:cxn>
              <a:cxn ang="0">
                <a:pos x="488" y="407"/>
              </a:cxn>
              <a:cxn ang="0">
                <a:pos x="492" y="380"/>
              </a:cxn>
              <a:cxn ang="0">
                <a:pos x="477" y="346"/>
              </a:cxn>
              <a:cxn ang="0">
                <a:pos x="549" y="339"/>
              </a:cxn>
              <a:cxn ang="0">
                <a:pos x="591" y="319"/>
              </a:cxn>
              <a:cxn ang="0">
                <a:pos x="591" y="295"/>
              </a:cxn>
              <a:cxn ang="0">
                <a:pos x="573" y="264"/>
              </a:cxn>
              <a:cxn ang="0">
                <a:pos x="555" y="258"/>
              </a:cxn>
              <a:cxn ang="0">
                <a:pos x="547" y="240"/>
              </a:cxn>
              <a:cxn ang="0">
                <a:pos x="577" y="223"/>
              </a:cxn>
              <a:cxn ang="0">
                <a:pos x="547" y="210"/>
              </a:cxn>
              <a:cxn ang="0">
                <a:pos x="558" y="185"/>
              </a:cxn>
              <a:cxn ang="0">
                <a:pos x="544" y="155"/>
              </a:cxn>
              <a:cxn ang="0">
                <a:pos x="522" y="170"/>
              </a:cxn>
              <a:cxn ang="0">
                <a:pos x="529" y="191"/>
              </a:cxn>
              <a:cxn ang="0">
                <a:pos x="499" y="196"/>
              </a:cxn>
              <a:cxn ang="0">
                <a:pos x="462" y="191"/>
              </a:cxn>
              <a:cxn ang="0">
                <a:pos x="428" y="174"/>
              </a:cxn>
              <a:cxn ang="0">
                <a:pos x="423" y="156"/>
              </a:cxn>
              <a:cxn ang="0">
                <a:pos x="424" y="145"/>
              </a:cxn>
              <a:cxn ang="0">
                <a:pos x="389" y="95"/>
              </a:cxn>
              <a:cxn ang="0">
                <a:pos x="367" y="29"/>
              </a:cxn>
            </a:cxnLst>
            <a:rect l="0" t="0" r="r" b="b"/>
            <a:pathLst>
              <a:path w="595" h="508">
                <a:moveTo>
                  <a:pt x="367" y="22"/>
                </a:moveTo>
                <a:lnTo>
                  <a:pt x="353" y="22"/>
                </a:lnTo>
                <a:lnTo>
                  <a:pt x="353" y="22"/>
                </a:lnTo>
                <a:lnTo>
                  <a:pt x="353" y="22"/>
                </a:lnTo>
                <a:lnTo>
                  <a:pt x="347" y="19"/>
                </a:lnTo>
                <a:lnTo>
                  <a:pt x="341" y="12"/>
                </a:lnTo>
                <a:lnTo>
                  <a:pt x="336" y="7"/>
                </a:lnTo>
                <a:lnTo>
                  <a:pt x="333" y="5"/>
                </a:lnTo>
                <a:lnTo>
                  <a:pt x="331" y="5"/>
                </a:lnTo>
                <a:lnTo>
                  <a:pt x="331" y="5"/>
                </a:lnTo>
                <a:lnTo>
                  <a:pt x="326" y="5"/>
                </a:lnTo>
                <a:lnTo>
                  <a:pt x="324" y="6"/>
                </a:lnTo>
                <a:lnTo>
                  <a:pt x="320" y="10"/>
                </a:lnTo>
                <a:lnTo>
                  <a:pt x="315" y="13"/>
                </a:lnTo>
                <a:lnTo>
                  <a:pt x="311" y="14"/>
                </a:lnTo>
                <a:lnTo>
                  <a:pt x="308" y="15"/>
                </a:lnTo>
                <a:lnTo>
                  <a:pt x="308" y="15"/>
                </a:lnTo>
                <a:lnTo>
                  <a:pt x="305" y="14"/>
                </a:lnTo>
                <a:lnTo>
                  <a:pt x="300" y="13"/>
                </a:lnTo>
                <a:lnTo>
                  <a:pt x="292" y="7"/>
                </a:lnTo>
                <a:lnTo>
                  <a:pt x="283" y="3"/>
                </a:lnTo>
                <a:lnTo>
                  <a:pt x="277" y="0"/>
                </a:lnTo>
                <a:lnTo>
                  <a:pt x="272" y="0"/>
                </a:lnTo>
                <a:lnTo>
                  <a:pt x="272" y="0"/>
                </a:lnTo>
                <a:lnTo>
                  <a:pt x="265" y="2"/>
                </a:lnTo>
                <a:lnTo>
                  <a:pt x="259" y="4"/>
                </a:lnTo>
                <a:lnTo>
                  <a:pt x="253" y="7"/>
                </a:lnTo>
                <a:lnTo>
                  <a:pt x="248" y="12"/>
                </a:lnTo>
                <a:lnTo>
                  <a:pt x="242" y="15"/>
                </a:lnTo>
                <a:lnTo>
                  <a:pt x="237" y="19"/>
                </a:lnTo>
                <a:lnTo>
                  <a:pt x="230" y="21"/>
                </a:lnTo>
                <a:lnTo>
                  <a:pt x="224" y="22"/>
                </a:lnTo>
                <a:lnTo>
                  <a:pt x="224" y="22"/>
                </a:lnTo>
                <a:lnTo>
                  <a:pt x="211" y="22"/>
                </a:lnTo>
                <a:lnTo>
                  <a:pt x="203" y="20"/>
                </a:lnTo>
                <a:lnTo>
                  <a:pt x="196" y="18"/>
                </a:lnTo>
                <a:lnTo>
                  <a:pt x="191" y="15"/>
                </a:lnTo>
                <a:lnTo>
                  <a:pt x="191" y="15"/>
                </a:lnTo>
                <a:lnTo>
                  <a:pt x="180" y="21"/>
                </a:lnTo>
                <a:lnTo>
                  <a:pt x="169" y="27"/>
                </a:lnTo>
                <a:lnTo>
                  <a:pt x="140" y="41"/>
                </a:lnTo>
                <a:lnTo>
                  <a:pt x="127" y="49"/>
                </a:lnTo>
                <a:lnTo>
                  <a:pt x="117" y="58"/>
                </a:lnTo>
                <a:lnTo>
                  <a:pt x="112" y="63"/>
                </a:lnTo>
                <a:lnTo>
                  <a:pt x="109" y="67"/>
                </a:lnTo>
                <a:lnTo>
                  <a:pt x="108" y="73"/>
                </a:lnTo>
                <a:lnTo>
                  <a:pt x="107" y="78"/>
                </a:lnTo>
                <a:lnTo>
                  <a:pt x="107" y="78"/>
                </a:lnTo>
                <a:lnTo>
                  <a:pt x="107" y="103"/>
                </a:lnTo>
                <a:lnTo>
                  <a:pt x="107" y="103"/>
                </a:lnTo>
                <a:lnTo>
                  <a:pt x="107" y="106"/>
                </a:lnTo>
                <a:lnTo>
                  <a:pt x="104" y="110"/>
                </a:lnTo>
                <a:lnTo>
                  <a:pt x="102" y="113"/>
                </a:lnTo>
                <a:lnTo>
                  <a:pt x="99" y="118"/>
                </a:lnTo>
                <a:lnTo>
                  <a:pt x="94" y="120"/>
                </a:lnTo>
                <a:lnTo>
                  <a:pt x="88" y="124"/>
                </a:lnTo>
                <a:lnTo>
                  <a:pt x="81" y="125"/>
                </a:lnTo>
                <a:lnTo>
                  <a:pt x="73" y="126"/>
                </a:lnTo>
                <a:lnTo>
                  <a:pt x="73" y="126"/>
                </a:lnTo>
                <a:lnTo>
                  <a:pt x="68" y="125"/>
                </a:lnTo>
                <a:lnTo>
                  <a:pt x="63" y="122"/>
                </a:lnTo>
                <a:lnTo>
                  <a:pt x="58" y="120"/>
                </a:lnTo>
                <a:lnTo>
                  <a:pt x="54" y="116"/>
                </a:lnTo>
                <a:lnTo>
                  <a:pt x="47" y="109"/>
                </a:lnTo>
                <a:lnTo>
                  <a:pt x="40" y="103"/>
                </a:lnTo>
                <a:lnTo>
                  <a:pt x="40" y="103"/>
                </a:lnTo>
                <a:lnTo>
                  <a:pt x="34" y="107"/>
                </a:lnTo>
                <a:lnTo>
                  <a:pt x="30" y="110"/>
                </a:lnTo>
                <a:lnTo>
                  <a:pt x="18" y="114"/>
                </a:lnTo>
                <a:lnTo>
                  <a:pt x="9" y="120"/>
                </a:lnTo>
                <a:lnTo>
                  <a:pt x="4" y="125"/>
                </a:lnTo>
                <a:lnTo>
                  <a:pt x="0" y="129"/>
                </a:lnTo>
                <a:lnTo>
                  <a:pt x="0" y="129"/>
                </a:lnTo>
                <a:lnTo>
                  <a:pt x="13" y="142"/>
                </a:lnTo>
                <a:lnTo>
                  <a:pt x="18" y="147"/>
                </a:lnTo>
                <a:lnTo>
                  <a:pt x="22" y="148"/>
                </a:lnTo>
                <a:lnTo>
                  <a:pt x="22" y="148"/>
                </a:lnTo>
                <a:lnTo>
                  <a:pt x="32" y="150"/>
                </a:lnTo>
                <a:lnTo>
                  <a:pt x="40" y="152"/>
                </a:lnTo>
                <a:lnTo>
                  <a:pt x="48" y="152"/>
                </a:lnTo>
                <a:lnTo>
                  <a:pt x="56" y="152"/>
                </a:lnTo>
                <a:lnTo>
                  <a:pt x="71" y="152"/>
                </a:lnTo>
                <a:lnTo>
                  <a:pt x="78" y="152"/>
                </a:lnTo>
                <a:lnTo>
                  <a:pt x="85" y="155"/>
                </a:lnTo>
                <a:lnTo>
                  <a:pt x="85" y="155"/>
                </a:lnTo>
                <a:lnTo>
                  <a:pt x="89" y="160"/>
                </a:lnTo>
                <a:lnTo>
                  <a:pt x="92" y="166"/>
                </a:lnTo>
                <a:lnTo>
                  <a:pt x="97" y="181"/>
                </a:lnTo>
                <a:lnTo>
                  <a:pt x="101" y="189"/>
                </a:lnTo>
                <a:lnTo>
                  <a:pt x="104" y="195"/>
                </a:lnTo>
                <a:lnTo>
                  <a:pt x="108" y="198"/>
                </a:lnTo>
                <a:lnTo>
                  <a:pt x="111" y="200"/>
                </a:lnTo>
                <a:lnTo>
                  <a:pt x="116" y="202"/>
                </a:lnTo>
                <a:lnTo>
                  <a:pt x="120" y="203"/>
                </a:lnTo>
                <a:lnTo>
                  <a:pt x="120" y="203"/>
                </a:lnTo>
                <a:lnTo>
                  <a:pt x="133" y="202"/>
                </a:lnTo>
                <a:lnTo>
                  <a:pt x="146" y="201"/>
                </a:lnTo>
                <a:lnTo>
                  <a:pt x="164" y="200"/>
                </a:lnTo>
                <a:lnTo>
                  <a:pt x="164" y="200"/>
                </a:lnTo>
                <a:lnTo>
                  <a:pt x="172" y="200"/>
                </a:lnTo>
                <a:lnTo>
                  <a:pt x="176" y="202"/>
                </a:lnTo>
                <a:lnTo>
                  <a:pt x="178" y="205"/>
                </a:lnTo>
                <a:lnTo>
                  <a:pt x="179" y="211"/>
                </a:lnTo>
                <a:lnTo>
                  <a:pt x="179" y="223"/>
                </a:lnTo>
                <a:lnTo>
                  <a:pt x="179" y="228"/>
                </a:lnTo>
                <a:lnTo>
                  <a:pt x="179" y="235"/>
                </a:lnTo>
                <a:lnTo>
                  <a:pt x="179" y="235"/>
                </a:lnTo>
                <a:lnTo>
                  <a:pt x="184" y="250"/>
                </a:lnTo>
                <a:lnTo>
                  <a:pt x="190" y="266"/>
                </a:lnTo>
                <a:lnTo>
                  <a:pt x="198" y="282"/>
                </a:lnTo>
                <a:lnTo>
                  <a:pt x="207" y="297"/>
                </a:lnTo>
                <a:lnTo>
                  <a:pt x="218" y="311"/>
                </a:lnTo>
                <a:lnTo>
                  <a:pt x="224" y="317"/>
                </a:lnTo>
                <a:lnTo>
                  <a:pt x="231" y="321"/>
                </a:lnTo>
                <a:lnTo>
                  <a:pt x="237" y="326"/>
                </a:lnTo>
                <a:lnTo>
                  <a:pt x="244" y="328"/>
                </a:lnTo>
                <a:lnTo>
                  <a:pt x="251" y="331"/>
                </a:lnTo>
                <a:lnTo>
                  <a:pt x="257" y="332"/>
                </a:lnTo>
                <a:lnTo>
                  <a:pt x="257" y="332"/>
                </a:lnTo>
                <a:lnTo>
                  <a:pt x="271" y="333"/>
                </a:lnTo>
                <a:lnTo>
                  <a:pt x="286" y="335"/>
                </a:lnTo>
                <a:lnTo>
                  <a:pt x="286" y="335"/>
                </a:lnTo>
                <a:lnTo>
                  <a:pt x="287" y="325"/>
                </a:lnTo>
                <a:lnTo>
                  <a:pt x="288" y="321"/>
                </a:lnTo>
                <a:lnTo>
                  <a:pt x="290" y="318"/>
                </a:lnTo>
                <a:lnTo>
                  <a:pt x="293" y="315"/>
                </a:lnTo>
                <a:lnTo>
                  <a:pt x="295" y="312"/>
                </a:lnTo>
                <a:lnTo>
                  <a:pt x="305" y="309"/>
                </a:lnTo>
                <a:lnTo>
                  <a:pt x="305" y="309"/>
                </a:lnTo>
                <a:lnTo>
                  <a:pt x="332" y="365"/>
                </a:lnTo>
                <a:lnTo>
                  <a:pt x="346" y="391"/>
                </a:lnTo>
                <a:lnTo>
                  <a:pt x="353" y="402"/>
                </a:lnTo>
                <a:lnTo>
                  <a:pt x="360" y="412"/>
                </a:lnTo>
                <a:lnTo>
                  <a:pt x="360" y="412"/>
                </a:lnTo>
                <a:lnTo>
                  <a:pt x="367" y="412"/>
                </a:lnTo>
                <a:lnTo>
                  <a:pt x="372" y="415"/>
                </a:lnTo>
                <a:lnTo>
                  <a:pt x="377" y="418"/>
                </a:lnTo>
                <a:lnTo>
                  <a:pt x="382" y="422"/>
                </a:lnTo>
                <a:lnTo>
                  <a:pt x="392" y="428"/>
                </a:lnTo>
                <a:lnTo>
                  <a:pt x="398" y="432"/>
                </a:lnTo>
                <a:lnTo>
                  <a:pt x="405" y="434"/>
                </a:lnTo>
                <a:lnTo>
                  <a:pt x="405" y="434"/>
                </a:lnTo>
                <a:lnTo>
                  <a:pt x="402" y="439"/>
                </a:lnTo>
                <a:lnTo>
                  <a:pt x="399" y="443"/>
                </a:lnTo>
                <a:lnTo>
                  <a:pt x="393" y="450"/>
                </a:lnTo>
                <a:lnTo>
                  <a:pt x="387" y="458"/>
                </a:lnTo>
                <a:lnTo>
                  <a:pt x="386" y="462"/>
                </a:lnTo>
                <a:lnTo>
                  <a:pt x="385" y="468"/>
                </a:lnTo>
                <a:lnTo>
                  <a:pt x="385" y="468"/>
                </a:lnTo>
                <a:lnTo>
                  <a:pt x="386" y="473"/>
                </a:lnTo>
                <a:lnTo>
                  <a:pt x="389" y="480"/>
                </a:lnTo>
                <a:lnTo>
                  <a:pt x="392" y="486"/>
                </a:lnTo>
                <a:lnTo>
                  <a:pt x="397" y="492"/>
                </a:lnTo>
                <a:lnTo>
                  <a:pt x="401" y="496"/>
                </a:lnTo>
                <a:lnTo>
                  <a:pt x="407" y="501"/>
                </a:lnTo>
                <a:lnTo>
                  <a:pt x="419" y="508"/>
                </a:lnTo>
                <a:lnTo>
                  <a:pt x="419" y="508"/>
                </a:lnTo>
                <a:lnTo>
                  <a:pt x="419" y="496"/>
                </a:lnTo>
                <a:lnTo>
                  <a:pt x="420" y="486"/>
                </a:lnTo>
                <a:lnTo>
                  <a:pt x="422" y="476"/>
                </a:lnTo>
                <a:lnTo>
                  <a:pt x="425" y="468"/>
                </a:lnTo>
                <a:lnTo>
                  <a:pt x="425" y="468"/>
                </a:lnTo>
                <a:lnTo>
                  <a:pt x="429" y="463"/>
                </a:lnTo>
                <a:lnTo>
                  <a:pt x="432" y="458"/>
                </a:lnTo>
                <a:lnTo>
                  <a:pt x="442" y="449"/>
                </a:lnTo>
                <a:lnTo>
                  <a:pt x="463" y="432"/>
                </a:lnTo>
                <a:lnTo>
                  <a:pt x="474" y="423"/>
                </a:lnTo>
                <a:lnTo>
                  <a:pt x="479" y="418"/>
                </a:lnTo>
                <a:lnTo>
                  <a:pt x="484" y="412"/>
                </a:lnTo>
                <a:lnTo>
                  <a:pt x="488" y="407"/>
                </a:lnTo>
                <a:lnTo>
                  <a:pt x="490" y="400"/>
                </a:lnTo>
                <a:lnTo>
                  <a:pt x="492" y="393"/>
                </a:lnTo>
                <a:lnTo>
                  <a:pt x="492" y="386"/>
                </a:lnTo>
                <a:lnTo>
                  <a:pt x="492" y="386"/>
                </a:lnTo>
                <a:lnTo>
                  <a:pt x="492" y="380"/>
                </a:lnTo>
                <a:lnTo>
                  <a:pt x="490" y="374"/>
                </a:lnTo>
                <a:lnTo>
                  <a:pt x="485" y="365"/>
                </a:lnTo>
                <a:lnTo>
                  <a:pt x="479" y="356"/>
                </a:lnTo>
                <a:lnTo>
                  <a:pt x="478" y="351"/>
                </a:lnTo>
                <a:lnTo>
                  <a:pt x="477" y="346"/>
                </a:lnTo>
                <a:lnTo>
                  <a:pt x="477" y="346"/>
                </a:lnTo>
                <a:lnTo>
                  <a:pt x="492" y="346"/>
                </a:lnTo>
                <a:lnTo>
                  <a:pt x="509" y="344"/>
                </a:lnTo>
                <a:lnTo>
                  <a:pt x="529" y="342"/>
                </a:lnTo>
                <a:lnTo>
                  <a:pt x="549" y="339"/>
                </a:lnTo>
                <a:lnTo>
                  <a:pt x="566" y="334"/>
                </a:lnTo>
                <a:lnTo>
                  <a:pt x="574" y="331"/>
                </a:lnTo>
                <a:lnTo>
                  <a:pt x="581" y="327"/>
                </a:lnTo>
                <a:lnTo>
                  <a:pt x="587" y="324"/>
                </a:lnTo>
                <a:lnTo>
                  <a:pt x="591" y="319"/>
                </a:lnTo>
                <a:lnTo>
                  <a:pt x="593" y="315"/>
                </a:lnTo>
                <a:lnTo>
                  <a:pt x="595" y="309"/>
                </a:lnTo>
                <a:lnTo>
                  <a:pt x="595" y="309"/>
                </a:lnTo>
                <a:lnTo>
                  <a:pt x="593" y="302"/>
                </a:lnTo>
                <a:lnTo>
                  <a:pt x="591" y="295"/>
                </a:lnTo>
                <a:lnTo>
                  <a:pt x="587" y="290"/>
                </a:lnTo>
                <a:lnTo>
                  <a:pt x="582" y="285"/>
                </a:lnTo>
                <a:lnTo>
                  <a:pt x="578" y="279"/>
                </a:lnTo>
                <a:lnTo>
                  <a:pt x="575" y="272"/>
                </a:lnTo>
                <a:lnTo>
                  <a:pt x="573" y="264"/>
                </a:lnTo>
                <a:lnTo>
                  <a:pt x="573" y="255"/>
                </a:lnTo>
                <a:lnTo>
                  <a:pt x="573" y="255"/>
                </a:lnTo>
                <a:lnTo>
                  <a:pt x="566" y="257"/>
                </a:lnTo>
                <a:lnTo>
                  <a:pt x="561" y="258"/>
                </a:lnTo>
                <a:lnTo>
                  <a:pt x="555" y="258"/>
                </a:lnTo>
                <a:lnTo>
                  <a:pt x="547" y="255"/>
                </a:lnTo>
                <a:lnTo>
                  <a:pt x="547" y="255"/>
                </a:lnTo>
                <a:lnTo>
                  <a:pt x="547" y="240"/>
                </a:lnTo>
                <a:lnTo>
                  <a:pt x="547" y="240"/>
                </a:lnTo>
                <a:lnTo>
                  <a:pt x="547" y="240"/>
                </a:lnTo>
                <a:lnTo>
                  <a:pt x="559" y="236"/>
                </a:lnTo>
                <a:lnTo>
                  <a:pt x="563" y="233"/>
                </a:lnTo>
                <a:lnTo>
                  <a:pt x="569" y="231"/>
                </a:lnTo>
                <a:lnTo>
                  <a:pt x="574" y="226"/>
                </a:lnTo>
                <a:lnTo>
                  <a:pt x="577" y="223"/>
                </a:lnTo>
                <a:lnTo>
                  <a:pt x="580" y="217"/>
                </a:lnTo>
                <a:lnTo>
                  <a:pt x="580" y="210"/>
                </a:lnTo>
                <a:lnTo>
                  <a:pt x="580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05"/>
                </a:lnTo>
                <a:lnTo>
                  <a:pt x="549" y="201"/>
                </a:lnTo>
                <a:lnTo>
                  <a:pt x="552" y="193"/>
                </a:lnTo>
                <a:lnTo>
                  <a:pt x="558" y="185"/>
                </a:lnTo>
                <a:lnTo>
                  <a:pt x="565" y="176"/>
                </a:lnTo>
                <a:lnTo>
                  <a:pt x="565" y="176"/>
                </a:lnTo>
                <a:lnTo>
                  <a:pt x="565" y="155"/>
                </a:lnTo>
                <a:lnTo>
                  <a:pt x="544" y="155"/>
                </a:lnTo>
                <a:lnTo>
                  <a:pt x="544" y="155"/>
                </a:lnTo>
                <a:lnTo>
                  <a:pt x="544" y="155"/>
                </a:lnTo>
                <a:lnTo>
                  <a:pt x="530" y="160"/>
                </a:lnTo>
                <a:lnTo>
                  <a:pt x="524" y="165"/>
                </a:lnTo>
                <a:lnTo>
                  <a:pt x="522" y="167"/>
                </a:lnTo>
                <a:lnTo>
                  <a:pt x="522" y="170"/>
                </a:lnTo>
                <a:lnTo>
                  <a:pt x="522" y="170"/>
                </a:lnTo>
                <a:lnTo>
                  <a:pt x="522" y="176"/>
                </a:lnTo>
                <a:lnTo>
                  <a:pt x="524" y="181"/>
                </a:lnTo>
                <a:lnTo>
                  <a:pt x="527" y="186"/>
                </a:lnTo>
                <a:lnTo>
                  <a:pt x="529" y="191"/>
                </a:lnTo>
                <a:lnTo>
                  <a:pt x="529" y="191"/>
                </a:lnTo>
                <a:lnTo>
                  <a:pt x="522" y="195"/>
                </a:lnTo>
                <a:lnTo>
                  <a:pt x="514" y="196"/>
                </a:lnTo>
                <a:lnTo>
                  <a:pt x="507" y="196"/>
                </a:lnTo>
                <a:lnTo>
                  <a:pt x="499" y="196"/>
                </a:lnTo>
                <a:lnTo>
                  <a:pt x="484" y="193"/>
                </a:lnTo>
                <a:lnTo>
                  <a:pt x="477" y="191"/>
                </a:lnTo>
                <a:lnTo>
                  <a:pt x="470" y="191"/>
                </a:lnTo>
                <a:lnTo>
                  <a:pt x="470" y="191"/>
                </a:lnTo>
                <a:lnTo>
                  <a:pt x="462" y="191"/>
                </a:lnTo>
                <a:lnTo>
                  <a:pt x="455" y="190"/>
                </a:lnTo>
                <a:lnTo>
                  <a:pt x="447" y="188"/>
                </a:lnTo>
                <a:lnTo>
                  <a:pt x="439" y="185"/>
                </a:lnTo>
                <a:lnTo>
                  <a:pt x="432" y="180"/>
                </a:lnTo>
                <a:lnTo>
                  <a:pt x="428" y="174"/>
                </a:lnTo>
                <a:lnTo>
                  <a:pt x="423" y="167"/>
                </a:lnTo>
                <a:lnTo>
                  <a:pt x="423" y="163"/>
                </a:lnTo>
                <a:lnTo>
                  <a:pt x="422" y="158"/>
                </a:lnTo>
                <a:lnTo>
                  <a:pt x="422" y="158"/>
                </a:lnTo>
                <a:lnTo>
                  <a:pt x="423" y="156"/>
                </a:lnTo>
                <a:lnTo>
                  <a:pt x="425" y="153"/>
                </a:lnTo>
                <a:lnTo>
                  <a:pt x="428" y="150"/>
                </a:lnTo>
                <a:lnTo>
                  <a:pt x="429" y="148"/>
                </a:lnTo>
                <a:lnTo>
                  <a:pt x="429" y="148"/>
                </a:lnTo>
                <a:lnTo>
                  <a:pt x="424" y="145"/>
                </a:lnTo>
                <a:lnTo>
                  <a:pt x="420" y="141"/>
                </a:lnTo>
                <a:lnTo>
                  <a:pt x="414" y="136"/>
                </a:lnTo>
                <a:lnTo>
                  <a:pt x="409" y="129"/>
                </a:lnTo>
                <a:lnTo>
                  <a:pt x="399" y="113"/>
                </a:lnTo>
                <a:lnTo>
                  <a:pt x="389" y="95"/>
                </a:lnTo>
                <a:lnTo>
                  <a:pt x="381" y="75"/>
                </a:lnTo>
                <a:lnTo>
                  <a:pt x="374" y="57"/>
                </a:lnTo>
                <a:lnTo>
                  <a:pt x="369" y="41"/>
                </a:lnTo>
                <a:lnTo>
                  <a:pt x="367" y="29"/>
                </a:lnTo>
                <a:lnTo>
                  <a:pt x="367" y="29"/>
                </a:lnTo>
                <a:lnTo>
                  <a:pt x="367" y="22"/>
                </a:lnTo>
                <a:lnTo>
                  <a:pt x="367" y="2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3" name="Freeform 118"/>
          <p:cNvSpPr>
            <a:spLocks/>
          </p:cNvSpPr>
          <p:nvPr/>
        </p:nvSpPr>
        <p:spPr bwMode="auto">
          <a:xfrm>
            <a:off x="1684338" y="4392613"/>
            <a:ext cx="190500" cy="198437"/>
          </a:xfrm>
          <a:custGeom>
            <a:avLst/>
            <a:gdLst/>
            <a:ahLst/>
            <a:cxnLst>
              <a:cxn ang="0">
                <a:pos x="235" y="114"/>
              </a:cxn>
              <a:cxn ang="0">
                <a:pos x="212" y="126"/>
              </a:cxn>
              <a:cxn ang="0">
                <a:pos x="170" y="148"/>
              </a:cxn>
              <a:cxn ang="0">
                <a:pos x="153" y="162"/>
              </a:cxn>
              <a:cxn ang="0">
                <a:pos x="149" y="172"/>
              </a:cxn>
              <a:cxn ang="0">
                <a:pos x="148" y="177"/>
              </a:cxn>
              <a:cxn ang="0">
                <a:pos x="148" y="202"/>
              </a:cxn>
              <a:cxn ang="0">
                <a:pos x="145" y="209"/>
              </a:cxn>
              <a:cxn ang="0">
                <a:pos x="140" y="217"/>
              </a:cxn>
              <a:cxn ang="0">
                <a:pos x="129" y="223"/>
              </a:cxn>
              <a:cxn ang="0">
                <a:pos x="114" y="225"/>
              </a:cxn>
              <a:cxn ang="0">
                <a:pos x="109" y="224"/>
              </a:cxn>
              <a:cxn ang="0">
                <a:pos x="99" y="219"/>
              </a:cxn>
              <a:cxn ang="0">
                <a:pos x="88" y="208"/>
              </a:cxn>
              <a:cxn ang="0">
                <a:pos x="81" y="202"/>
              </a:cxn>
              <a:cxn ang="0">
                <a:pos x="71" y="209"/>
              </a:cxn>
              <a:cxn ang="0">
                <a:pos x="50" y="219"/>
              </a:cxn>
              <a:cxn ang="0">
                <a:pos x="41" y="228"/>
              </a:cxn>
              <a:cxn ang="0">
                <a:pos x="27" y="213"/>
              </a:cxn>
              <a:cxn ang="0">
                <a:pos x="4" y="186"/>
              </a:cxn>
              <a:cxn ang="0">
                <a:pos x="0" y="177"/>
              </a:cxn>
              <a:cxn ang="0">
                <a:pos x="2" y="173"/>
              </a:cxn>
              <a:cxn ang="0">
                <a:pos x="12" y="164"/>
              </a:cxn>
              <a:cxn ang="0">
                <a:pos x="21" y="155"/>
              </a:cxn>
              <a:cxn ang="0">
                <a:pos x="22" y="151"/>
              </a:cxn>
              <a:cxn ang="0">
                <a:pos x="19" y="142"/>
              </a:cxn>
              <a:cxn ang="0">
                <a:pos x="12" y="135"/>
              </a:cxn>
              <a:cxn ang="0">
                <a:pos x="4" y="127"/>
              </a:cxn>
              <a:cxn ang="0">
                <a:pos x="0" y="118"/>
              </a:cxn>
              <a:cxn ang="0">
                <a:pos x="2" y="114"/>
              </a:cxn>
              <a:cxn ang="0">
                <a:pos x="5" y="107"/>
              </a:cxn>
              <a:cxn ang="0">
                <a:pos x="18" y="98"/>
              </a:cxn>
              <a:cxn ang="0">
                <a:pos x="37" y="88"/>
              </a:cxn>
              <a:cxn ang="0">
                <a:pos x="54" y="76"/>
              </a:cxn>
              <a:cxn ang="0">
                <a:pos x="59" y="70"/>
              </a:cxn>
              <a:cxn ang="0">
                <a:pos x="63" y="63"/>
              </a:cxn>
              <a:cxn ang="0">
                <a:pos x="67" y="44"/>
              </a:cxn>
              <a:cxn ang="0">
                <a:pos x="69" y="21"/>
              </a:cxn>
              <a:cxn ang="0">
                <a:pos x="73" y="13"/>
              </a:cxn>
              <a:cxn ang="0">
                <a:pos x="80" y="6"/>
              </a:cxn>
              <a:cxn ang="0">
                <a:pos x="92" y="2"/>
              </a:cxn>
              <a:cxn ang="0">
                <a:pos x="111" y="0"/>
              </a:cxn>
              <a:cxn ang="0">
                <a:pos x="133" y="0"/>
              </a:cxn>
              <a:cxn ang="0">
                <a:pos x="158" y="3"/>
              </a:cxn>
              <a:cxn ang="0">
                <a:pos x="182" y="9"/>
              </a:cxn>
              <a:cxn ang="0">
                <a:pos x="194" y="15"/>
              </a:cxn>
              <a:cxn ang="0">
                <a:pos x="195" y="19"/>
              </a:cxn>
              <a:cxn ang="0">
                <a:pos x="202" y="35"/>
              </a:cxn>
              <a:cxn ang="0">
                <a:pos x="203" y="56"/>
              </a:cxn>
              <a:cxn ang="0">
                <a:pos x="209" y="63"/>
              </a:cxn>
              <a:cxn ang="0">
                <a:pos x="220" y="66"/>
              </a:cxn>
              <a:cxn ang="0">
                <a:pos x="220" y="82"/>
              </a:cxn>
              <a:cxn ang="0">
                <a:pos x="224" y="101"/>
              </a:cxn>
              <a:cxn ang="0">
                <a:pos x="228" y="110"/>
              </a:cxn>
              <a:cxn ang="0">
                <a:pos x="232" y="114"/>
              </a:cxn>
              <a:cxn ang="0">
                <a:pos x="235" y="114"/>
              </a:cxn>
            </a:cxnLst>
            <a:rect l="0" t="0" r="r" b="b"/>
            <a:pathLst>
              <a:path w="235" h="228">
                <a:moveTo>
                  <a:pt x="235" y="114"/>
                </a:moveTo>
                <a:lnTo>
                  <a:pt x="235" y="114"/>
                </a:lnTo>
                <a:lnTo>
                  <a:pt x="225" y="120"/>
                </a:lnTo>
                <a:lnTo>
                  <a:pt x="212" y="126"/>
                </a:lnTo>
                <a:lnTo>
                  <a:pt x="183" y="140"/>
                </a:lnTo>
                <a:lnTo>
                  <a:pt x="170" y="148"/>
                </a:lnTo>
                <a:lnTo>
                  <a:pt x="158" y="157"/>
                </a:lnTo>
                <a:lnTo>
                  <a:pt x="153" y="162"/>
                </a:lnTo>
                <a:lnTo>
                  <a:pt x="150" y="166"/>
                </a:lnTo>
                <a:lnTo>
                  <a:pt x="149" y="172"/>
                </a:lnTo>
                <a:lnTo>
                  <a:pt x="148" y="177"/>
                </a:lnTo>
                <a:lnTo>
                  <a:pt x="148" y="177"/>
                </a:lnTo>
                <a:lnTo>
                  <a:pt x="148" y="202"/>
                </a:lnTo>
                <a:lnTo>
                  <a:pt x="148" y="202"/>
                </a:lnTo>
                <a:lnTo>
                  <a:pt x="148" y="205"/>
                </a:lnTo>
                <a:lnTo>
                  <a:pt x="145" y="209"/>
                </a:lnTo>
                <a:lnTo>
                  <a:pt x="143" y="212"/>
                </a:lnTo>
                <a:lnTo>
                  <a:pt x="140" y="217"/>
                </a:lnTo>
                <a:lnTo>
                  <a:pt x="135" y="219"/>
                </a:lnTo>
                <a:lnTo>
                  <a:pt x="129" y="223"/>
                </a:lnTo>
                <a:lnTo>
                  <a:pt x="122" y="224"/>
                </a:lnTo>
                <a:lnTo>
                  <a:pt x="114" y="225"/>
                </a:lnTo>
                <a:lnTo>
                  <a:pt x="114" y="225"/>
                </a:lnTo>
                <a:lnTo>
                  <a:pt x="109" y="224"/>
                </a:lnTo>
                <a:lnTo>
                  <a:pt x="104" y="221"/>
                </a:lnTo>
                <a:lnTo>
                  <a:pt x="99" y="219"/>
                </a:lnTo>
                <a:lnTo>
                  <a:pt x="95" y="215"/>
                </a:lnTo>
                <a:lnTo>
                  <a:pt x="88" y="208"/>
                </a:lnTo>
                <a:lnTo>
                  <a:pt x="81" y="202"/>
                </a:lnTo>
                <a:lnTo>
                  <a:pt x="81" y="202"/>
                </a:lnTo>
                <a:lnTo>
                  <a:pt x="75" y="206"/>
                </a:lnTo>
                <a:lnTo>
                  <a:pt x="71" y="209"/>
                </a:lnTo>
                <a:lnTo>
                  <a:pt x="59" y="213"/>
                </a:lnTo>
                <a:lnTo>
                  <a:pt x="50" y="219"/>
                </a:lnTo>
                <a:lnTo>
                  <a:pt x="45" y="224"/>
                </a:lnTo>
                <a:lnTo>
                  <a:pt x="41" y="228"/>
                </a:lnTo>
                <a:lnTo>
                  <a:pt x="41" y="228"/>
                </a:lnTo>
                <a:lnTo>
                  <a:pt x="27" y="213"/>
                </a:lnTo>
                <a:lnTo>
                  <a:pt x="14" y="198"/>
                </a:lnTo>
                <a:lnTo>
                  <a:pt x="4" y="186"/>
                </a:lnTo>
                <a:lnTo>
                  <a:pt x="2" y="180"/>
                </a:lnTo>
                <a:lnTo>
                  <a:pt x="0" y="177"/>
                </a:lnTo>
                <a:lnTo>
                  <a:pt x="0" y="177"/>
                </a:lnTo>
                <a:lnTo>
                  <a:pt x="2" y="173"/>
                </a:lnTo>
                <a:lnTo>
                  <a:pt x="4" y="170"/>
                </a:lnTo>
                <a:lnTo>
                  <a:pt x="12" y="164"/>
                </a:lnTo>
                <a:lnTo>
                  <a:pt x="19" y="158"/>
                </a:lnTo>
                <a:lnTo>
                  <a:pt x="21" y="155"/>
                </a:lnTo>
                <a:lnTo>
                  <a:pt x="22" y="151"/>
                </a:lnTo>
                <a:lnTo>
                  <a:pt x="22" y="151"/>
                </a:lnTo>
                <a:lnTo>
                  <a:pt x="21" y="147"/>
                </a:lnTo>
                <a:lnTo>
                  <a:pt x="19" y="142"/>
                </a:lnTo>
                <a:lnTo>
                  <a:pt x="15" y="139"/>
                </a:lnTo>
                <a:lnTo>
                  <a:pt x="12" y="135"/>
                </a:lnTo>
                <a:lnTo>
                  <a:pt x="7" y="132"/>
                </a:lnTo>
                <a:lnTo>
                  <a:pt x="4" y="127"/>
                </a:lnTo>
                <a:lnTo>
                  <a:pt x="2" y="124"/>
                </a:lnTo>
                <a:lnTo>
                  <a:pt x="0" y="118"/>
                </a:lnTo>
                <a:lnTo>
                  <a:pt x="0" y="118"/>
                </a:lnTo>
                <a:lnTo>
                  <a:pt x="2" y="114"/>
                </a:lnTo>
                <a:lnTo>
                  <a:pt x="3" y="111"/>
                </a:lnTo>
                <a:lnTo>
                  <a:pt x="5" y="107"/>
                </a:lnTo>
                <a:lnTo>
                  <a:pt x="8" y="104"/>
                </a:lnTo>
                <a:lnTo>
                  <a:pt x="18" y="98"/>
                </a:lnTo>
                <a:lnTo>
                  <a:pt x="27" y="93"/>
                </a:lnTo>
                <a:lnTo>
                  <a:pt x="37" y="88"/>
                </a:lnTo>
                <a:lnTo>
                  <a:pt x="48" y="82"/>
                </a:lnTo>
                <a:lnTo>
                  <a:pt x="54" y="76"/>
                </a:lnTo>
                <a:lnTo>
                  <a:pt x="58" y="73"/>
                </a:lnTo>
                <a:lnTo>
                  <a:pt x="59" y="70"/>
                </a:lnTo>
                <a:lnTo>
                  <a:pt x="59" y="70"/>
                </a:lnTo>
                <a:lnTo>
                  <a:pt x="63" y="63"/>
                </a:lnTo>
                <a:lnTo>
                  <a:pt x="65" y="57"/>
                </a:lnTo>
                <a:lnTo>
                  <a:pt x="67" y="44"/>
                </a:lnTo>
                <a:lnTo>
                  <a:pt x="68" y="32"/>
                </a:lnTo>
                <a:lnTo>
                  <a:pt x="69" y="21"/>
                </a:lnTo>
                <a:lnTo>
                  <a:pt x="72" y="17"/>
                </a:lnTo>
                <a:lnTo>
                  <a:pt x="73" y="13"/>
                </a:lnTo>
                <a:lnTo>
                  <a:pt x="76" y="10"/>
                </a:lnTo>
                <a:lnTo>
                  <a:pt x="80" y="6"/>
                </a:lnTo>
                <a:lnTo>
                  <a:pt x="86" y="4"/>
                </a:lnTo>
                <a:lnTo>
                  <a:pt x="92" y="2"/>
                </a:lnTo>
                <a:lnTo>
                  <a:pt x="100" y="0"/>
                </a:lnTo>
                <a:lnTo>
                  <a:pt x="111" y="0"/>
                </a:lnTo>
                <a:lnTo>
                  <a:pt x="111" y="0"/>
                </a:lnTo>
                <a:lnTo>
                  <a:pt x="133" y="0"/>
                </a:lnTo>
                <a:lnTo>
                  <a:pt x="145" y="2"/>
                </a:lnTo>
                <a:lnTo>
                  <a:pt x="158" y="3"/>
                </a:lnTo>
                <a:lnTo>
                  <a:pt x="171" y="5"/>
                </a:lnTo>
                <a:lnTo>
                  <a:pt x="182" y="9"/>
                </a:lnTo>
                <a:lnTo>
                  <a:pt x="190" y="13"/>
                </a:lnTo>
                <a:lnTo>
                  <a:pt x="194" y="15"/>
                </a:lnTo>
                <a:lnTo>
                  <a:pt x="195" y="19"/>
                </a:lnTo>
                <a:lnTo>
                  <a:pt x="195" y="19"/>
                </a:lnTo>
                <a:lnTo>
                  <a:pt x="199" y="27"/>
                </a:lnTo>
                <a:lnTo>
                  <a:pt x="202" y="35"/>
                </a:lnTo>
                <a:lnTo>
                  <a:pt x="203" y="50"/>
                </a:lnTo>
                <a:lnTo>
                  <a:pt x="203" y="56"/>
                </a:lnTo>
                <a:lnTo>
                  <a:pt x="206" y="60"/>
                </a:lnTo>
                <a:lnTo>
                  <a:pt x="209" y="63"/>
                </a:lnTo>
                <a:lnTo>
                  <a:pt x="212" y="64"/>
                </a:lnTo>
                <a:lnTo>
                  <a:pt x="220" y="66"/>
                </a:lnTo>
                <a:lnTo>
                  <a:pt x="220" y="66"/>
                </a:lnTo>
                <a:lnTo>
                  <a:pt x="220" y="82"/>
                </a:lnTo>
                <a:lnTo>
                  <a:pt x="221" y="95"/>
                </a:lnTo>
                <a:lnTo>
                  <a:pt x="224" y="101"/>
                </a:lnTo>
                <a:lnTo>
                  <a:pt x="225" y="105"/>
                </a:lnTo>
                <a:lnTo>
                  <a:pt x="228" y="110"/>
                </a:lnTo>
                <a:lnTo>
                  <a:pt x="232" y="114"/>
                </a:lnTo>
                <a:lnTo>
                  <a:pt x="232" y="114"/>
                </a:lnTo>
                <a:lnTo>
                  <a:pt x="235" y="114"/>
                </a:lnTo>
                <a:lnTo>
                  <a:pt x="235" y="11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4" name="Freeform 119"/>
          <p:cNvSpPr>
            <a:spLocks/>
          </p:cNvSpPr>
          <p:nvPr/>
        </p:nvSpPr>
        <p:spPr bwMode="auto">
          <a:xfrm>
            <a:off x="4443413" y="5659438"/>
            <a:ext cx="766762" cy="530225"/>
          </a:xfrm>
          <a:custGeom>
            <a:avLst/>
            <a:gdLst/>
            <a:ahLst/>
            <a:cxnLst>
              <a:cxn ang="0">
                <a:pos x="184" y="532"/>
              </a:cxn>
              <a:cxn ang="0">
                <a:pos x="277" y="481"/>
              </a:cxn>
              <a:cxn ang="0">
                <a:pos x="350" y="469"/>
              </a:cxn>
              <a:cxn ang="0">
                <a:pos x="448" y="480"/>
              </a:cxn>
              <a:cxn ang="0">
                <a:pos x="510" y="507"/>
              </a:cxn>
              <a:cxn ang="0">
                <a:pos x="515" y="521"/>
              </a:cxn>
              <a:cxn ang="0">
                <a:pos x="534" y="565"/>
              </a:cxn>
              <a:cxn ang="0">
                <a:pos x="592" y="581"/>
              </a:cxn>
              <a:cxn ang="0">
                <a:pos x="728" y="583"/>
              </a:cxn>
              <a:cxn ang="0">
                <a:pos x="835" y="567"/>
              </a:cxn>
              <a:cxn ang="0">
                <a:pos x="882" y="524"/>
              </a:cxn>
              <a:cxn ang="0">
                <a:pos x="889" y="473"/>
              </a:cxn>
              <a:cxn ang="0">
                <a:pos x="852" y="433"/>
              </a:cxn>
              <a:cxn ang="0">
                <a:pos x="835" y="392"/>
              </a:cxn>
              <a:cxn ang="0">
                <a:pos x="844" y="343"/>
              </a:cxn>
              <a:cxn ang="0">
                <a:pos x="893" y="261"/>
              </a:cxn>
              <a:cxn ang="0">
                <a:pos x="907" y="219"/>
              </a:cxn>
              <a:cxn ang="0">
                <a:pos x="879" y="176"/>
              </a:cxn>
              <a:cxn ang="0">
                <a:pos x="886" y="146"/>
              </a:cxn>
              <a:cxn ang="0">
                <a:pos x="893" y="135"/>
              </a:cxn>
              <a:cxn ang="0">
                <a:pos x="886" y="106"/>
              </a:cxn>
              <a:cxn ang="0">
                <a:pos x="923" y="99"/>
              </a:cxn>
              <a:cxn ang="0">
                <a:pos x="926" y="79"/>
              </a:cxn>
              <a:cxn ang="0">
                <a:pos x="893" y="66"/>
              </a:cxn>
              <a:cxn ang="0">
                <a:pos x="856" y="77"/>
              </a:cxn>
              <a:cxn ang="0">
                <a:pos x="801" y="61"/>
              </a:cxn>
              <a:cxn ang="0">
                <a:pos x="744" y="23"/>
              </a:cxn>
              <a:cxn ang="0">
                <a:pos x="706" y="0"/>
              </a:cxn>
              <a:cxn ang="0">
                <a:pos x="674" y="7"/>
              </a:cxn>
              <a:cxn ang="0">
                <a:pos x="676" y="26"/>
              </a:cxn>
              <a:cxn ang="0">
                <a:pos x="618" y="37"/>
              </a:cxn>
              <a:cxn ang="0">
                <a:pos x="523" y="66"/>
              </a:cxn>
              <a:cxn ang="0">
                <a:pos x="515" y="84"/>
              </a:cxn>
              <a:cxn ang="0">
                <a:pos x="508" y="124"/>
              </a:cxn>
              <a:cxn ang="0">
                <a:pos x="486" y="135"/>
              </a:cxn>
              <a:cxn ang="0">
                <a:pos x="463" y="176"/>
              </a:cxn>
              <a:cxn ang="0">
                <a:pos x="415" y="262"/>
              </a:cxn>
              <a:cxn ang="0">
                <a:pos x="352" y="309"/>
              </a:cxn>
              <a:cxn ang="0">
                <a:pos x="288" y="319"/>
              </a:cxn>
              <a:cxn ang="0">
                <a:pos x="255" y="300"/>
              </a:cxn>
              <a:cxn ang="0">
                <a:pos x="175" y="281"/>
              </a:cxn>
              <a:cxn ang="0">
                <a:pos x="130" y="266"/>
              </a:cxn>
              <a:cxn ang="0">
                <a:pos x="121" y="283"/>
              </a:cxn>
              <a:cxn ang="0">
                <a:pos x="115" y="320"/>
              </a:cxn>
              <a:cxn ang="0">
                <a:pos x="74" y="349"/>
              </a:cxn>
              <a:cxn ang="0">
                <a:pos x="37" y="349"/>
              </a:cxn>
              <a:cxn ang="0">
                <a:pos x="0" y="362"/>
              </a:cxn>
              <a:cxn ang="0">
                <a:pos x="19" y="421"/>
              </a:cxn>
              <a:cxn ang="0">
                <a:pos x="35" y="450"/>
              </a:cxn>
              <a:cxn ang="0">
                <a:pos x="86" y="496"/>
              </a:cxn>
              <a:cxn ang="0">
                <a:pos x="96" y="525"/>
              </a:cxn>
              <a:cxn ang="0">
                <a:pos x="68" y="529"/>
              </a:cxn>
              <a:cxn ang="0">
                <a:pos x="56" y="552"/>
              </a:cxn>
              <a:cxn ang="0">
                <a:pos x="61" y="580"/>
              </a:cxn>
              <a:cxn ang="0">
                <a:pos x="82" y="609"/>
              </a:cxn>
            </a:cxnLst>
            <a:rect l="0" t="0" r="r" b="b"/>
            <a:pathLst>
              <a:path w="938" h="609">
                <a:moveTo>
                  <a:pt x="82" y="609"/>
                </a:moveTo>
                <a:lnTo>
                  <a:pt x="82" y="609"/>
                </a:lnTo>
                <a:lnTo>
                  <a:pt x="110" y="589"/>
                </a:lnTo>
                <a:lnTo>
                  <a:pt x="136" y="568"/>
                </a:lnTo>
                <a:lnTo>
                  <a:pt x="184" y="532"/>
                </a:lnTo>
                <a:lnTo>
                  <a:pt x="207" y="514"/>
                </a:lnTo>
                <a:lnTo>
                  <a:pt x="231" y="501"/>
                </a:lnTo>
                <a:lnTo>
                  <a:pt x="254" y="489"/>
                </a:lnTo>
                <a:lnTo>
                  <a:pt x="265" y="484"/>
                </a:lnTo>
                <a:lnTo>
                  <a:pt x="277" y="481"/>
                </a:lnTo>
                <a:lnTo>
                  <a:pt x="277" y="481"/>
                </a:lnTo>
                <a:lnTo>
                  <a:pt x="293" y="475"/>
                </a:lnTo>
                <a:lnTo>
                  <a:pt x="311" y="472"/>
                </a:lnTo>
                <a:lnTo>
                  <a:pt x="331" y="471"/>
                </a:lnTo>
                <a:lnTo>
                  <a:pt x="350" y="469"/>
                </a:lnTo>
                <a:lnTo>
                  <a:pt x="371" y="469"/>
                </a:lnTo>
                <a:lnTo>
                  <a:pt x="390" y="471"/>
                </a:lnTo>
                <a:lnTo>
                  <a:pt x="411" y="473"/>
                </a:lnTo>
                <a:lnTo>
                  <a:pt x="431" y="476"/>
                </a:lnTo>
                <a:lnTo>
                  <a:pt x="448" y="480"/>
                </a:lnTo>
                <a:lnTo>
                  <a:pt x="465" y="484"/>
                </a:lnTo>
                <a:lnTo>
                  <a:pt x="480" y="489"/>
                </a:lnTo>
                <a:lnTo>
                  <a:pt x="493" y="495"/>
                </a:lnTo>
                <a:lnTo>
                  <a:pt x="503" y="502"/>
                </a:lnTo>
                <a:lnTo>
                  <a:pt x="510" y="507"/>
                </a:lnTo>
                <a:lnTo>
                  <a:pt x="512" y="511"/>
                </a:lnTo>
                <a:lnTo>
                  <a:pt x="515" y="514"/>
                </a:lnTo>
                <a:lnTo>
                  <a:pt x="515" y="518"/>
                </a:lnTo>
                <a:lnTo>
                  <a:pt x="515" y="521"/>
                </a:lnTo>
                <a:lnTo>
                  <a:pt x="515" y="521"/>
                </a:lnTo>
                <a:lnTo>
                  <a:pt x="515" y="533"/>
                </a:lnTo>
                <a:lnTo>
                  <a:pt x="517" y="543"/>
                </a:lnTo>
                <a:lnTo>
                  <a:pt x="520" y="551"/>
                </a:lnTo>
                <a:lnTo>
                  <a:pt x="527" y="559"/>
                </a:lnTo>
                <a:lnTo>
                  <a:pt x="534" y="565"/>
                </a:lnTo>
                <a:lnTo>
                  <a:pt x="543" y="570"/>
                </a:lnTo>
                <a:lnTo>
                  <a:pt x="554" y="574"/>
                </a:lnTo>
                <a:lnTo>
                  <a:pt x="567" y="578"/>
                </a:lnTo>
                <a:lnTo>
                  <a:pt x="579" y="580"/>
                </a:lnTo>
                <a:lnTo>
                  <a:pt x="592" y="581"/>
                </a:lnTo>
                <a:lnTo>
                  <a:pt x="621" y="583"/>
                </a:lnTo>
                <a:lnTo>
                  <a:pt x="651" y="583"/>
                </a:lnTo>
                <a:lnTo>
                  <a:pt x="680" y="583"/>
                </a:lnTo>
                <a:lnTo>
                  <a:pt x="680" y="583"/>
                </a:lnTo>
                <a:lnTo>
                  <a:pt x="728" y="583"/>
                </a:lnTo>
                <a:lnTo>
                  <a:pt x="769" y="581"/>
                </a:lnTo>
                <a:lnTo>
                  <a:pt x="787" y="579"/>
                </a:lnTo>
                <a:lnTo>
                  <a:pt x="805" y="575"/>
                </a:lnTo>
                <a:lnTo>
                  <a:pt x="820" y="572"/>
                </a:lnTo>
                <a:lnTo>
                  <a:pt x="835" y="567"/>
                </a:lnTo>
                <a:lnTo>
                  <a:pt x="847" y="562"/>
                </a:lnTo>
                <a:lnTo>
                  <a:pt x="858" y="555"/>
                </a:lnTo>
                <a:lnTo>
                  <a:pt x="868" y="545"/>
                </a:lnTo>
                <a:lnTo>
                  <a:pt x="875" y="535"/>
                </a:lnTo>
                <a:lnTo>
                  <a:pt x="882" y="524"/>
                </a:lnTo>
                <a:lnTo>
                  <a:pt x="886" y="510"/>
                </a:lnTo>
                <a:lnTo>
                  <a:pt x="889" y="495"/>
                </a:lnTo>
                <a:lnTo>
                  <a:pt x="890" y="476"/>
                </a:lnTo>
                <a:lnTo>
                  <a:pt x="890" y="476"/>
                </a:lnTo>
                <a:lnTo>
                  <a:pt x="889" y="473"/>
                </a:lnTo>
                <a:lnTo>
                  <a:pt x="888" y="468"/>
                </a:lnTo>
                <a:lnTo>
                  <a:pt x="881" y="460"/>
                </a:lnTo>
                <a:lnTo>
                  <a:pt x="873" y="452"/>
                </a:lnTo>
                <a:lnTo>
                  <a:pt x="862" y="443"/>
                </a:lnTo>
                <a:lnTo>
                  <a:pt x="852" y="433"/>
                </a:lnTo>
                <a:lnTo>
                  <a:pt x="844" y="421"/>
                </a:lnTo>
                <a:lnTo>
                  <a:pt x="840" y="414"/>
                </a:lnTo>
                <a:lnTo>
                  <a:pt x="837" y="407"/>
                </a:lnTo>
                <a:lnTo>
                  <a:pt x="836" y="400"/>
                </a:lnTo>
                <a:lnTo>
                  <a:pt x="835" y="392"/>
                </a:lnTo>
                <a:lnTo>
                  <a:pt x="835" y="392"/>
                </a:lnTo>
                <a:lnTo>
                  <a:pt x="836" y="380"/>
                </a:lnTo>
                <a:lnTo>
                  <a:pt x="837" y="367"/>
                </a:lnTo>
                <a:lnTo>
                  <a:pt x="840" y="356"/>
                </a:lnTo>
                <a:lnTo>
                  <a:pt x="844" y="343"/>
                </a:lnTo>
                <a:lnTo>
                  <a:pt x="850" y="333"/>
                </a:lnTo>
                <a:lnTo>
                  <a:pt x="854" y="321"/>
                </a:lnTo>
                <a:lnTo>
                  <a:pt x="867" y="300"/>
                </a:lnTo>
                <a:lnTo>
                  <a:pt x="881" y="281"/>
                </a:lnTo>
                <a:lnTo>
                  <a:pt x="893" y="261"/>
                </a:lnTo>
                <a:lnTo>
                  <a:pt x="906" y="244"/>
                </a:lnTo>
                <a:lnTo>
                  <a:pt x="915" y="227"/>
                </a:lnTo>
                <a:lnTo>
                  <a:pt x="915" y="227"/>
                </a:lnTo>
                <a:lnTo>
                  <a:pt x="912" y="223"/>
                </a:lnTo>
                <a:lnTo>
                  <a:pt x="907" y="219"/>
                </a:lnTo>
                <a:lnTo>
                  <a:pt x="894" y="207"/>
                </a:lnTo>
                <a:lnTo>
                  <a:pt x="889" y="200"/>
                </a:lnTo>
                <a:lnTo>
                  <a:pt x="884" y="193"/>
                </a:lnTo>
                <a:lnTo>
                  <a:pt x="881" y="185"/>
                </a:lnTo>
                <a:lnTo>
                  <a:pt x="879" y="176"/>
                </a:lnTo>
                <a:lnTo>
                  <a:pt x="879" y="176"/>
                </a:lnTo>
                <a:lnTo>
                  <a:pt x="879" y="166"/>
                </a:lnTo>
                <a:lnTo>
                  <a:pt x="883" y="159"/>
                </a:lnTo>
                <a:lnTo>
                  <a:pt x="885" y="152"/>
                </a:lnTo>
                <a:lnTo>
                  <a:pt x="886" y="146"/>
                </a:lnTo>
                <a:lnTo>
                  <a:pt x="886" y="146"/>
                </a:lnTo>
                <a:lnTo>
                  <a:pt x="891" y="143"/>
                </a:lnTo>
                <a:lnTo>
                  <a:pt x="892" y="141"/>
                </a:lnTo>
                <a:lnTo>
                  <a:pt x="893" y="139"/>
                </a:lnTo>
                <a:lnTo>
                  <a:pt x="893" y="135"/>
                </a:lnTo>
                <a:lnTo>
                  <a:pt x="891" y="129"/>
                </a:lnTo>
                <a:lnTo>
                  <a:pt x="888" y="117"/>
                </a:lnTo>
                <a:lnTo>
                  <a:pt x="885" y="112"/>
                </a:lnTo>
                <a:lnTo>
                  <a:pt x="886" y="106"/>
                </a:lnTo>
                <a:lnTo>
                  <a:pt x="886" y="106"/>
                </a:lnTo>
                <a:lnTo>
                  <a:pt x="896" y="108"/>
                </a:lnTo>
                <a:lnTo>
                  <a:pt x="904" y="108"/>
                </a:lnTo>
                <a:lnTo>
                  <a:pt x="911" y="106"/>
                </a:lnTo>
                <a:lnTo>
                  <a:pt x="917" y="102"/>
                </a:lnTo>
                <a:lnTo>
                  <a:pt x="923" y="99"/>
                </a:lnTo>
                <a:lnTo>
                  <a:pt x="929" y="93"/>
                </a:lnTo>
                <a:lnTo>
                  <a:pt x="934" y="87"/>
                </a:lnTo>
                <a:lnTo>
                  <a:pt x="938" y="81"/>
                </a:lnTo>
                <a:lnTo>
                  <a:pt x="938" y="81"/>
                </a:lnTo>
                <a:lnTo>
                  <a:pt x="926" y="79"/>
                </a:lnTo>
                <a:lnTo>
                  <a:pt x="913" y="78"/>
                </a:lnTo>
                <a:lnTo>
                  <a:pt x="907" y="76"/>
                </a:lnTo>
                <a:lnTo>
                  <a:pt x="901" y="74"/>
                </a:lnTo>
                <a:lnTo>
                  <a:pt x="897" y="70"/>
                </a:lnTo>
                <a:lnTo>
                  <a:pt x="893" y="66"/>
                </a:lnTo>
                <a:lnTo>
                  <a:pt x="893" y="66"/>
                </a:lnTo>
                <a:lnTo>
                  <a:pt x="884" y="69"/>
                </a:lnTo>
                <a:lnTo>
                  <a:pt x="876" y="72"/>
                </a:lnTo>
                <a:lnTo>
                  <a:pt x="868" y="76"/>
                </a:lnTo>
                <a:lnTo>
                  <a:pt x="856" y="77"/>
                </a:lnTo>
                <a:lnTo>
                  <a:pt x="856" y="77"/>
                </a:lnTo>
                <a:lnTo>
                  <a:pt x="840" y="76"/>
                </a:lnTo>
                <a:lnTo>
                  <a:pt x="827" y="72"/>
                </a:lnTo>
                <a:lnTo>
                  <a:pt x="813" y="68"/>
                </a:lnTo>
                <a:lnTo>
                  <a:pt x="801" y="61"/>
                </a:lnTo>
                <a:lnTo>
                  <a:pt x="777" y="47"/>
                </a:lnTo>
                <a:lnTo>
                  <a:pt x="754" y="32"/>
                </a:lnTo>
                <a:lnTo>
                  <a:pt x="754" y="32"/>
                </a:lnTo>
                <a:lnTo>
                  <a:pt x="747" y="28"/>
                </a:lnTo>
                <a:lnTo>
                  <a:pt x="744" y="23"/>
                </a:lnTo>
                <a:lnTo>
                  <a:pt x="736" y="11"/>
                </a:lnTo>
                <a:lnTo>
                  <a:pt x="731" y="7"/>
                </a:lnTo>
                <a:lnTo>
                  <a:pt x="725" y="3"/>
                </a:lnTo>
                <a:lnTo>
                  <a:pt x="717" y="0"/>
                </a:lnTo>
                <a:lnTo>
                  <a:pt x="706" y="0"/>
                </a:lnTo>
                <a:lnTo>
                  <a:pt x="706" y="0"/>
                </a:lnTo>
                <a:lnTo>
                  <a:pt x="698" y="1"/>
                </a:lnTo>
                <a:lnTo>
                  <a:pt x="690" y="3"/>
                </a:lnTo>
                <a:lnTo>
                  <a:pt x="682" y="6"/>
                </a:lnTo>
                <a:lnTo>
                  <a:pt x="674" y="7"/>
                </a:lnTo>
                <a:lnTo>
                  <a:pt x="674" y="7"/>
                </a:lnTo>
                <a:lnTo>
                  <a:pt x="676" y="9"/>
                </a:lnTo>
                <a:lnTo>
                  <a:pt x="677" y="13"/>
                </a:lnTo>
                <a:lnTo>
                  <a:pt x="677" y="20"/>
                </a:lnTo>
                <a:lnTo>
                  <a:pt x="676" y="26"/>
                </a:lnTo>
                <a:lnTo>
                  <a:pt x="674" y="32"/>
                </a:lnTo>
                <a:lnTo>
                  <a:pt x="674" y="32"/>
                </a:lnTo>
                <a:lnTo>
                  <a:pt x="657" y="33"/>
                </a:lnTo>
                <a:lnTo>
                  <a:pt x="639" y="34"/>
                </a:lnTo>
                <a:lnTo>
                  <a:pt x="618" y="37"/>
                </a:lnTo>
                <a:lnTo>
                  <a:pt x="598" y="40"/>
                </a:lnTo>
                <a:lnTo>
                  <a:pt x="577" y="45"/>
                </a:lnTo>
                <a:lnTo>
                  <a:pt x="556" y="51"/>
                </a:lnTo>
                <a:lnTo>
                  <a:pt x="538" y="57"/>
                </a:lnTo>
                <a:lnTo>
                  <a:pt x="523" y="66"/>
                </a:lnTo>
                <a:lnTo>
                  <a:pt x="523" y="66"/>
                </a:lnTo>
                <a:lnTo>
                  <a:pt x="520" y="67"/>
                </a:lnTo>
                <a:lnTo>
                  <a:pt x="518" y="70"/>
                </a:lnTo>
                <a:lnTo>
                  <a:pt x="516" y="76"/>
                </a:lnTo>
                <a:lnTo>
                  <a:pt x="515" y="84"/>
                </a:lnTo>
                <a:lnTo>
                  <a:pt x="514" y="93"/>
                </a:lnTo>
                <a:lnTo>
                  <a:pt x="512" y="112"/>
                </a:lnTo>
                <a:lnTo>
                  <a:pt x="511" y="118"/>
                </a:lnTo>
                <a:lnTo>
                  <a:pt x="510" y="122"/>
                </a:lnTo>
                <a:lnTo>
                  <a:pt x="508" y="124"/>
                </a:lnTo>
                <a:lnTo>
                  <a:pt x="508" y="124"/>
                </a:lnTo>
                <a:lnTo>
                  <a:pt x="504" y="127"/>
                </a:lnTo>
                <a:lnTo>
                  <a:pt x="501" y="129"/>
                </a:lnTo>
                <a:lnTo>
                  <a:pt x="492" y="132"/>
                </a:lnTo>
                <a:lnTo>
                  <a:pt x="486" y="135"/>
                </a:lnTo>
                <a:lnTo>
                  <a:pt x="481" y="138"/>
                </a:lnTo>
                <a:lnTo>
                  <a:pt x="478" y="141"/>
                </a:lnTo>
                <a:lnTo>
                  <a:pt x="474" y="146"/>
                </a:lnTo>
                <a:lnTo>
                  <a:pt x="474" y="146"/>
                </a:lnTo>
                <a:lnTo>
                  <a:pt x="463" y="176"/>
                </a:lnTo>
                <a:lnTo>
                  <a:pt x="449" y="206"/>
                </a:lnTo>
                <a:lnTo>
                  <a:pt x="441" y="221"/>
                </a:lnTo>
                <a:lnTo>
                  <a:pt x="433" y="235"/>
                </a:lnTo>
                <a:lnTo>
                  <a:pt x="424" y="249"/>
                </a:lnTo>
                <a:lnTo>
                  <a:pt x="415" y="262"/>
                </a:lnTo>
                <a:lnTo>
                  <a:pt x="403" y="274"/>
                </a:lnTo>
                <a:lnTo>
                  <a:pt x="393" y="285"/>
                </a:lnTo>
                <a:lnTo>
                  <a:pt x="380" y="295"/>
                </a:lnTo>
                <a:lnTo>
                  <a:pt x="366" y="304"/>
                </a:lnTo>
                <a:lnTo>
                  <a:pt x="352" y="309"/>
                </a:lnTo>
                <a:lnTo>
                  <a:pt x="336" y="315"/>
                </a:lnTo>
                <a:lnTo>
                  <a:pt x="320" y="319"/>
                </a:lnTo>
                <a:lnTo>
                  <a:pt x="302" y="320"/>
                </a:lnTo>
                <a:lnTo>
                  <a:pt x="302" y="320"/>
                </a:lnTo>
                <a:lnTo>
                  <a:pt x="288" y="319"/>
                </a:lnTo>
                <a:lnTo>
                  <a:pt x="275" y="315"/>
                </a:lnTo>
                <a:lnTo>
                  <a:pt x="270" y="313"/>
                </a:lnTo>
                <a:lnTo>
                  <a:pt x="264" y="309"/>
                </a:lnTo>
                <a:lnTo>
                  <a:pt x="259" y="306"/>
                </a:lnTo>
                <a:lnTo>
                  <a:pt x="255" y="300"/>
                </a:lnTo>
                <a:lnTo>
                  <a:pt x="255" y="300"/>
                </a:lnTo>
                <a:lnTo>
                  <a:pt x="191" y="300"/>
                </a:lnTo>
                <a:lnTo>
                  <a:pt x="191" y="300"/>
                </a:lnTo>
                <a:lnTo>
                  <a:pt x="191" y="300"/>
                </a:lnTo>
                <a:lnTo>
                  <a:pt x="175" y="281"/>
                </a:lnTo>
                <a:lnTo>
                  <a:pt x="163" y="265"/>
                </a:lnTo>
                <a:lnTo>
                  <a:pt x="163" y="265"/>
                </a:lnTo>
                <a:lnTo>
                  <a:pt x="143" y="263"/>
                </a:lnTo>
                <a:lnTo>
                  <a:pt x="134" y="265"/>
                </a:lnTo>
                <a:lnTo>
                  <a:pt x="130" y="266"/>
                </a:lnTo>
                <a:lnTo>
                  <a:pt x="126" y="268"/>
                </a:lnTo>
                <a:lnTo>
                  <a:pt x="126" y="268"/>
                </a:lnTo>
                <a:lnTo>
                  <a:pt x="123" y="270"/>
                </a:lnTo>
                <a:lnTo>
                  <a:pt x="122" y="275"/>
                </a:lnTo>
                <a:lnTo>
                  <a:pt x="121" y="283"/>
                </a:lnTo>
                <a:lnTo>
                  <a:pt x="122" y="305"/>
                </a:lnTo>
                <a:lnTo>
                  <a:pt x="122" y="305"/>
                </a:lnTo>
                <a:lnTo>
                  <a:pt x="121" y="309"/>
                </a:lnTo>
                <a:lnTo>
                  <a:pt x="119" y="314"/>
                </a:lnTo>
                <a:lnTo>
                  <a:pt x="115" y="320"/>
                </a:lnTo>
                <a:lnTo>
                  <a:pt x="111" y="324"/>
                </a:lnTo>
                <a:lnTo>
                  <a:pt x="100" y="335"/>
                </a:lnTo>
                <a:lnTo>
                  <a:pt x="88" y="343"/>
                </a:lnTo>
                <a:lnTo>
                  <a:pt x="81" y="346"/>
                </a:lnTo>
                <a:lnTo>
                  <a:pt x="74" y="349"/>
                </a:lnTo>
                <a:lnTo>
                  <a:pt x="67" y="351"/>
                </a:lnTo>
                <a:lnTo>
                  <a:pt x="59" y="351"/>
                </a:lnTo>
                <a:lnTo>
                  <a:pt x="52" y="351"/>
                </a:lnTo>
                <a:lnTo>
                  <a:pt x="44" y="351"/>
                </a:lnTo>
                <a:lnTo>
                  <a:pt x="37" y="349"/>
                </a:lnTo>
                <a:lnTo>
                  <a:pt x="30" y="345"/>
                </a:lnTo>
                <a:lnTo>
                  <a:pt x="30" y="345"/>
                </a:lnTo>
                <a:lnTo>
                  <a:pt x="0" y="345"/>
                </a:lnTo>
                <a:lnTo>
                  <a:pt x="0" y="362"/>
                </a:lnTo>
                <a:lnTo>
                  <a:pt x="0" y="362"/>
                </a:lnTo>
                <a:lnTo>
                  <a:pt x="0" y="362"/>
                </a:lnTo>
                <a:lnTo>
                  <a:pt x="6" y="374"/>
                </a:lnTo>
                <a:lnTo>
                  <a:pt x="11" y="387"/>
                </a:lnTo>
                <a:lnTo>
                  <a:pt x="15" y="402"/>
                </a:lnTo>
                <a:lnTo>
                  <a:pt x="19" y="421"/>
                </a:lnTo>
                <a:lnTo>
                  <a:pt x="19" y="421"/>
                </a:lnTo>
                <a:lnTo>
                  <a:pt x="21" y="429"/>
                </a:lnTo>
                <a:lnTo>
                  <a:pt x="25" y="437"/>
                </a:lnTo>
                <a:lnTo>
                  <a:pt x="29" y="444"/>
                </a:lnTo>
                <a:lnTo>
                  <a:pt x="35" y="450"/>
                </a:lnTo>
                <a:lnTo>
                  <a:pt x="46" y="461"/>
                </a:lnTo>
                <a:lnTo>
                  <a:pt x="60" y="473"/>
                </a:lnTo>
                <a:lnTo>
                  <a:pt x="74" y="484"/>
                </a:lnTo>
                <a:lnTo>
                  <a:pt x="80" y="490"/>
                </a:lnTo>
                <a:lnTo>
                  <a:pt x="86" y="496"/>
                </a:lnTo>
                <a:lnTo>
                  <a:pt x="90" y="503"/>
                </a:lnTo>
                <a:lnTo>
                  <a:pt x="94" y="510"/>
                </a:lnTo>
                <a:lnTo>
                  <a:pt x="96" y="517"/>
                </a:lnTo>
                <a:lnTo>
                  <a:pt x="96" y="525"/>
                </a:lnTo>
                <a:lnTo>
                  <a:pt x="96" y="525"/>
                </a:lnTo>
                <a:lnTo>
                  <a:pt x="79" y="525"/>
                </a:lnTo>
                <a:lnTo>
                  <a:pt x="79" y="525"/>
                </a:lnTo>
                <a:lnTo>
                  <a:pt x="79" y="525"/>
                </a:lnTo>
                <a:lnTo>
                  <a:pt x="73" y="527"/>
                </a:lnTo>
                <a:lnTo>
                  <a:pt x="68" y="529"/>
                </a:lnTo>
                <a:lnTo>
                  <a:pt x="65" y="533"/>
                </a:lnTo>
                <a:lnTo>
                  <a:pt x="61" y="537"/>
                </a:lnTo>
                <a:lnTo>
                  <a:pt x="59" y="542"/>
                </a:lnTo>
                <a:lnTo>
                  <a:pt x="57" y="548"/>
                </a:lnTo>
                <a:lnTo>
                  <a:pt x="56" y="552"/>
                </a:lnTo>
                <a:lnTo>
                  <a:pt x="56" y="558"/>
                </a:lnTo>
                <a:lnTo>
                  <a:pt x="56" y="558"/>
                </a:lnTo>
                <a:lnTo>
                  <a:pt x="57" y="566"/>
                </a:lnTo>
                <a:lnTo>
                  <a:pt x="59" y="573"/>
                </a:lnTo>
                <a:lnTo>
                  <a:pt x="61" y="580"/>
                </a:lnTo>
                <a:lnTo>
                  <a:pt x="66" y="586"/>
                </a:lnTo>
                <a:lnTo>
                  <a:pt x="74" y="597"/>
                </a:lnTo>
                <a:lnTo>
                  <a:pt x="82" y="605"/>
                </a:lnTo>
                <a:lnTo>
                  <a:pt x="82" y="605"/>
                </a:lnTo>
                <a:lnTo>
                  <a:pt x="82" y="609"/>
                </a:lnTo>
                <a:lnTo>
                  <a:pt x="82" y="6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5" name="Freeform 120"/>
          <p:cNvSpPr>
            <a:spLocks/>
          </p:cNvSpPr>
          <p:nvPr/>
        </p:nvSpPr>
        <p:spPr bwMode="auto">
          <a:xfrm>
            <a:off x="4375150" y="5456238"/>
            <a:ext cx="296863" cy="541337"/>
          </a:xfrm>
          <a:custGeom>
            <a:avLst/>
            <a:gdLst/>
            <a:ahLst/>
            <a:cxnLst>
              <a:cxn ang="0">
                <a:pos x="92" y="0"/>
              </a:cxn>
              <a:cxn ang="0">
                <a:pos x="65" y="14"/>
              </a:cxn>
              <a:cxn ang="0">
                <a:pos x="64" y="31"/>
              </a:cxn>
              <a:cxn ang="0">
                <a:pos x="77" y="59"/>
              </a:cxn>
              <a:cxn ang="0">
                <a:pos x="84" y="81"/>
              </a:cxn>
              <a:cxn ang="0">
                <a:pos x="74" y="122"/>
              </a:cxn>
              <a:cxn ang="0">
                <a:pos x="63" y="161"/>
              </a:cxn>
              <a:cxn ang="0">
                <a:pos x="72" y="174"/>
              </a:cxn>
              <a:cxn ang="0">
                <a:pos x="102" y="172"/>
              </a:cxn>
              <a:cxn ang="0">
                <a:pos x="135" y="181"/>
              </a:cxn>
              <a:cxn ang="0">
                <a:pos x="143" y="205"/>
              </a:cxn>
              <a:cxn ang="0">
                <a:pos x="135" y="232"/>
              </a:cxn>
              <a:cxn ang="0">
                <a:pos x="100" y="278"/>
              </a:cxn>
              <a:cxn ang="0">
                <a:pos x="92" y="307"/>
              </a:cxn>
              <a:cxn ang="0">
                <a:pos x="100" y="348"/>
              </a:cxn>
              <a:cxn ang="0">
                <a:pos x="118" y="408"/>
              </a:cxn>
              <a:cxn ang="0">
                <a:pos x="113" y="432"/>
              </a:cxn>
              <a:cxn ang="0">
                <a:pos x="81" y="466"/>
              </a:cxn>
              <a:cxn ang="0">
                <a:pos x="19" y="508"/>
              </a:cxn>
              <a:cxn ang="0">
                <a:pos x="0" y="541"/>
              </a:cxn>
              <a:cxn ang="0">
                <a:pos x="2" y="551"/>
              </a:cxn>
              <a:cxn ang="0">
                <a:pos x="11" y="572"/>
              </a:cxn>
              <a:cxn ang="0">
                <a:pos x="5" y="594"/>
              </a:cxn>
              <a:cxn ang="0">
                <a:pos x="8" y="610"/>
              </a:cxn>
              <a:cxn ang="0">
                <a:pos x="42" y="623"/>
              </a:cxn>
              <a:cxn ang="0">
                <a:pos x="58" y="620"/>
              </a:cxn>
              <a:cxn ang="0">
                <a:pos x="81" y="594"/>
              </a:cxn>
              <a:cxn ang="0">
                <a:pos x="114" y="580"/>
              </a:cxn>
              <a:cxn ang="0">
                <a:pos x="136" y="586"/>
              </a:cxn>
              <a:cxn ang="0">
                <a:pos x="165" y="581"/>
              </a:cxn>
              <a:cxn ang="0">
                <a:pos x="199" y="555"/>
              </a:cxn>
              <a:cxn ang="0">
                <a:pos x="206" y="540"/>
              </a:cxn>
              <a:cxn ang="0">
                <a:pos x="210" y="503"/>
              </a:cxn>
              <a:cxn ang="0">
                <a:pos x="227" y="500"/>
              </a:cxn>
              <a:cxn ang="0">
                <a:pos x="247" y="492"/>
              </a:cxn>
              <a:cxn ang="0">
                <a:pos x="259" y="458"/>
              </a:cxn>
              <a:cxn ang="0">
                <a:pos x="302" y="421"/>
              </a:cxn>
              <a:cxn ang="0">
                <a:pos x="324" y="400"/>
              </a:cxn>
              <a:cxn ang="0">
                <a:pos x="332" y="379"/>
              </a:cxn>
              <a:cxn ang="0">
                <a:pos x="334" y="352"/>
              </a:cxn>
              <a:cxn ang="0">
                <a:pos x="356" y="332"/>
              </a:cxn>
              <a:cxn ang="0">
                <a:pos x="364" y="316"/>
              </a:cxn>
              <a:cxn ang="0">
                <a:pos x="351" y="288"/>
              </a:cxn>
              <a:cxn ang="0">
                <a:pos x="340" y="268"/>
              </a:cxn>
              <a:cxn ang="0">
                <a:pos x="313" y="204"/>
              </a:cxn>
              <a:cxn ang="0">
                <a:pos x="288" y="121"/>
              </a:cxn>
              <a:cxn ang="0">
                <a:pos x="250" y="81"/>
              </a:cxn>
              <a:cxn ang="0">
                <a:pos x="226" y="60"/>
              </a:cxn>
              <a:cxn ang="0">
                <a:pos x="206" y="55"/>
              </a:cxn>
              <a:cxn ang="0">
                <a:pos x="155" y="62"/>
              </a:cxn>
              <a:cxn ang="0">
                <a:pos x="137" y="54"/>
              </a:cxn>
              <a:cxn ang="0">
                <a:pos x="99" y="16"/>
              </a:cxn>
              <a:cxn ang="0">
                <a:pos x="92" y="0"/>
              </a:cxn>
            </a:cxnLst>
            <a:rect l="0" t="0" r="r" b="b"/>
            <a:pathLst>
              <a:path w="364" h="624">
                <a:moveTo>
                  <a:pt x="92" y="0"/>
                </a:moveTo>
                <a:lnTo>
                  <a:pt x="92" y="0"/>
                </a:lnTo>
                <a:lnTo>
                  <a:pt x="92" y="0"/>
                </a:lnTo>
                <a:lnTo>
                  <a:pt x="92" y="0"/>
                </a:lnTo>
                <a:lnTo>
                  <a:pt x="81" y="5"/>
                </a:lnTo>
                <a:lnTo>
                  <a:pt x="72" y="8"/>
                </a:lnTo>
                <a:lnTo>
                  <a:pt x="68" y="11"/>
                </a:lnTo>
                <a:lnTo>
                  <a:pt x="65" y="14"/>
                </a:lnTo>
                <a:lnTo>
                  <a:pt x="64" y="17"/>
                </a:lnTo>
                <a:lnTo>
                  <a:pt x="63" y="22"/>
                </a:lnTo>
                <a:lnTo>
                  <a:pt x="63" y="22"/>
                </a:lnTo>
                <a:lnTo>
                  <a:pt x="64" y="31"/>
                </a:lnTo>
                <a:lnTo>
                  <a:pt x="66" y="39"/>
                </a:lnTo>
                <a:lnTo>
                  <a:pt x="69" y="46"/>
                </a:lnTo>
                <a:lnTo>
                  <a:pt x="74" y="53"/>
                </a:lnTo>
                <a:lnTo>
                  <a:pt x="77" y="59"/>
                </a:lnTo>
                <a:lnTo>
                  <a:pt x="81" y="66"/>
                </a:lnTo>
                <a:lnTo>
                  <a:pt x="83" y="73"/>
                </a:lnTo>
                <a:lnTo>
                  <a:pt x="84" y="81"/>
                </a:lnTo>
                <a:lnTo>
                  <a:pt x="84" y="81"/>
                </a:lnTo>
                <a:lnTo>
                  <a:pt x="83" y="92"/>
                </a:lnTo>
                <a:lnTo>
                  <a:pt x="81" y="103"/>
                </a:lnTo>
                <a:lnTo>
                  <a:pt x="77" y="113"/>
                </a:lnTo>
                <a:lnTo>
                  <a:pt x="74" y="122"/>
                </a:lnTo>
                <a:lnTo>
                  <a:pt x="66" y="142"/>
                </a:lnTo>
                <a:lnTo>
                  <a:pt x="64" y="152"/>
                </a:lnTo>
                <a:lnTo>
                  <a:pt x="63" y="161"/>
                </a:lnTo>
                <a:lnTo>
                  <a:pt x="63" y="161"/>
                </a:lnTo>
                <a:lnTo>
                  <a:pt x="64" y="167"/>
                </a:lnTo>
                <a:lnTo>
                  <a:pt x="65" y="171"/>
                </a:lnTo>
                <a:lnTo>
                  <a:pt x="68" y="173"/>
                </a:lnTo>
                <a:lnTo>
                  <a:pt x="72" y="174"/>
                </a:lnTo>
                <a:lnTo>
                  <a:pt x="80" y="173"/>
                </a:lnTo>
                <a:lnTo>
                  <a:pt x="89" y="172"/>
                </a:lnTo>
                <a:lnTo>
                  <a:pt x="89" y="172"/>
                </a:lnTo>
                <a:lnTo>
                  <a:pt x="102" y="172"/>
                </a:lnTo>
                <a:lnTo>
                  <a:pt x="112" y="172"/>
                </a:lnTo>
                <a:lnTo>
                  <a:pt x="122" y="173"/>
                </a:lnTo>
                <a:lnTo>
                  <a:pt x="129" y="176"/>
                </a:lnTo>
                <a:lnTo>
                  <a:pt x="135" y="181"/>
                </a:lnTo>
                <a:lnTo>
                  <a:pt x="140" y="187"/>
                </a:lnTo>
                <a:lnTo>
                  <a:pt x="142" y="195"/>
                </a:lnTo>
                <a:lnTo>
                  <a:pt x="143" y="205"/>
                </a:lnTo>
                <a:lnTo>
                  <a:pt x="143" y="205"/>
                </a:lnTo>
                <a:lnTo>
                  <a:pt x="143" y="212"/>
                </a:lnTo>
                <a:lnTo>
                  <a:pt x="141" y="219"/>
                </a:lnTo>
                <a:lnTo>
                  <a:pt x="138" y="226"/>
                </a:lnTo>
                <a:lnTo>
                  <a:pt x="135" y="232"/>
                </a:lnTo>
                <a:lnTo>
                  <a:pt x="127" y="243"/>
                </a:lnTo>
                <a:lnTo>
                  <a:pt x="118" y="253"/>
                </a:lnTo>
                <a:lnTo>
                  <a:pt x="109" y="265"/>
                </a:lnTo>
                <a:lnTo>
                  <a:pt x="100" y="278"/>
                </a:lnTo>
                <a:lnTo>
                  <a:pt x="97" y="284"/>
                </a:lnTo>
                <a:lnTo>
                  <a:pt x="95" y="291"/>
                </a:lnTo>
                <a:lnTo>
                  <a:pt x="92" y="299"/>
                </a:lnTo>
                <a:lnTo>
                  <a:pt x="92" y="307"/>
                </a:lnTo>
                <a:lnTo>
                  <a:pt x="92" y="307"/>
                </a:lnTo>
                <a:lnTo>
                  <a:pt x="94" y="321"/>
                </a:lnTo>
                <a:lnTo>
                  <a:pt x="96" y="335"/>
                </a:lnTo>
                <a:lnTo>
                  <a:pt x="100" y="348"/>
                </a:lnTo>
                <a:lnTo>
                  <a:pt x="105" y="360"/>
                </a:lnTo>
                <a:lnTo>
                  <a:pt x="114" y="385"/>
                </a:lnTo>
                <a:lnTo>
                  <a:pt x="117" y="396"/>
                </a:lnTo>
                <a:lnTo>
                  <a:pt x="118" y="408"/>
                </a:lnTo>
                <a:lnTo>
                  <a:pt x="118" y="408"/>
                </a:lnTo>
                <a:lnTo>
                  <a:pt x="118" y="414"/>
                </a:lnTo>
                <a:lnTo>
                  <a:pt x="117" y="420"/>
                </a:lnTo>
                <a:lnTo>
                  <a:pt x="113" y="432"/>
                </a:lnTo>
                <a:lnTo>
                  <a:pt x="107" y="442"/>
                </a:lnTo>
                <a:lnTo>
                  <a:pt x="99" y="451"/>
                </a:lnTo>
                <a:lnTo>
                  <a:pt x="91" y="459"/>
                </a:lnTo>
                <a:lnTo>
                  <a:pt x="81" y="466"/>
                </a:lnTo>
                <a:lnTo>
                  <a:pt x="59" y="480"/>
                </a:lnTo>
                <a:lnTo>
                  <a:pt x="37" y="493"/>
                </a:lnTo>
                <a:lnTo>
                  <a:pt x="28" y="500"/>
                </a:lnTo>
                <a:lnTo>
                  <a:pt x="19" y="508"/>
                </a:lnTo>
                <a:lnTo>
                  <a:pt x="11" y="516"/>
                </a:lnTo>
                <a:lnTo>
                  <a:pt x="5" y="525"/>
                </a:lnTo>
                <a:lnTo>
                  <a:pt x="2" y="535"/>
                </a:lnTo>
                <a:lnTo>
                  <a:pt x="0" y="541"/>
                </a:lnTo>
                <a:lnTo>
                  <a:pt x="0" y="547"/>
                </a:lnTo>
                <a:lnTo>
                  <a:pt x="0" y="547"/>
                </a:lnTo>
                <a:lnTo>
                  <a:pt x="0" y="549"/>
                </a:lnTo>
                <a:lnTo>
                  <a:pt x="2" y="551"/>
                </a:lnTo>
                <a:lnTo>
                  <a:pt x="6" y="555"/>
                </a:lnTo>
                <a:lnTo>
                  <a:pt x="11" y="558"/>
                </a:lnTo>
                <a:lnTo>
                  <a:pt x="11" y="558"/>
                </a:lnTo>
                <a:lnTo>
                  <a:pt x="11" y="572"/>
                </a:lnTo>
                <a:lnTo>
                  <a:pt x="11" y="572"/>
                </a:lnTo>
                <a:lnTo>
                  <a:pt x="11" y="572"/>
                </a:lnTo>
                <a:lnTo>
                  <a:pt x="6" y="587"/>
                </a:lnTo>
                <a:lnTo>
                  <a:pt x="5" y="594"/>
                </a:lnTo>
                <a:lnTo>
                  <a:pt x="4" y="602"/>
                </a:lnTo>
                <a:lnTo>
                  <a:pt x="4" y="602"/>
                </a:lnTo>
                <a:lnTo>
                  <a:pt x="5" y="605"/>
                </a:lnTo>
                <a:lnTo>
                  <a:pt x="8" y="610"/>
                </a:lnTo>
                <a:lnTo>
                  <a:pt x="14" y="614"/>
                </a:lnTo>
                <a:lnTo>
                  <a:pt x="20" y="617"/>
                </a:lnTo>
                <a:lnTo>
                  <a:pt x="35" y="622"/>
                </a:lnTo>
                <a:lnTo>
                  <a:pt x="42" y="623"/>
                </a:lnTo>
                <a:lnTo>
                  <a:pt x="48" y="624"/>
                </a:lnTo>
                <a:lnTo>
                  <a:pt x="48" y="624"/>
                </a:lnTo>
                <a:lnTo>
                  <a:pt x="53" y="623"/>
                </a:lnTo>
                <a:lnTo>
                  <a:pt x="58" y="620"/>
                </a:lnTo>
                <a:lnTo>
                  <a:pt x="63" y="617"/>
                </a:lnTo>
                <a:lnTo>
                  <a:pt x="67" y="612"/>
                </a:lnTo>
                <a:lnTo>
                  <a:pt x="75" y="602"/>
                </a:lnTo>
                <a:lnTo>
                  <a:pt x="81" y="594"/>
                </a:lnTo>
                <a:lnTo>
                  <a:pt x="81" y="594"/>
                </a:lnTo>
                <a:lnTo>
                  <a:pt x="84" y="580"/>
                </a:lnTo>
                <a:lnTo>
                  <a:pt x="114" y="580"/>
                </a:lnTo>
                <a:lnTo>
                  <a:pt x="114" y="580"/>
                </a:lnTo>
                <a:lnTo>
                  <a:pt x="114" y="580"/>
                </a:lnTo>
                <a:lnTo>
                  <a:pt x="121" y="584"/>
                </a:lnTo>
                <a:lnTo>
                  <a:pt x="128" y="586"/>
                </a:lnTo>
                <a:lnTo>
                  <a:pt x="136" y="586"/>
                </a:lnTo>
                <a:lnTo>
                  <a:pt x="143" y="586"/>
                </a:lnTo>
                <a:lnTo>
                  <a:pt x="151" y="586"/>
                </a:lnTo>
                <a:lnTo>
                  <a:pt x="158" y="584"/>
                </a:lnTo>
                <a:lnTo>
                  <a:pt x="165" y="581"/>
                </a:lnTo>
                <a:lnTo>
                  <a:pt x="172" y="578"/>
                </a:lnTo>
                <a:lnTo>
                  <a:pt x="184" y="570"/>
                </a:lnTo>
                <a:lnTo>
                  <a:pt x="195" y="559"/>
                </a:lnTo>
                <a:lnTo>
                  <a:pt x="199" y="555"/>
                </a:lnTo>
                <a:lnTo>
                  <a:pt x="203" y="549"/>
                </a:lnTo>
                <a:lnTo>
                  <a:pt x="205" y="544"/>
                </a:lnTo>
                <a:lnTo>
                  <a:pt x="206" y="540"/>
                </a:lnTo>
                <a:lnTo>
                  <a:pt x="206" y="540"/>
                </a:lnTo>
                <a:lnTo>
                  <a:pt x="205" y="518"/>
                </a:lnTo>
                <a:lnTo>
                  <a:pt x="206" y="510"/>
                </a:lnTo>
                <a:lnTo>
                  <a:pt x="207" y="505"/>
                </a:lnTo>
                <a:lnTo>
                  <a:pt x="210" y="503"/>
                </a:lnTo>
                <a:lnTo>
                  <a:pt x="210" y="503"/>
                </a:lnTo>
                <a:lnTo>
                  <a:pt x="214" y="501"/>
                </a:lnTo>
                <a:lnTo>
                  <a:pt x="218" y="500"/>
                </a:lnTo>
                <a:lnTo>
                  <a:pt x="227" y="500"/>
                </a:lnTo>
                <a:lnTo>
                  <a:pt x="236" y="502"/>
                </a:lnTo>
                <a:lnTo>
                  <a:pt x="247" y="503"/>
                </a:lnTo>
                <a:lnTo>
                  <a:pt x="247" y="503"/>
                </a:lnTo>
                <a:lnTo>
                  <a:pt x="247" y="492"/>
                </a:lnTo>
                <a:lnTo>
                  <a:pt x="249" y="481"/>
                </a:lnTo>
                <a:lnTo>
                  <a:pt x="251" y="473"/>
                </a:lnTo>
                <a:lnTo>
                  <a:pt x="255" y="465"/>
                </a:lnTo>
                <a:lnTo>
                  <a:pt x="259" y="458"/>
                </a:lnTo>
                <a:lnTo>
                  <a:pt x="265" y="451"/>
                </a:lnTo>
                <a:lnTo>
                  <a:pt x="277" y="440"/>
                </a:lnTo>
                <a:lnTo>
                  <a:pt x="289" y="431"/>
                </a:lnTo>
                <a:lnTo>
                  <a:pt x="302" y="421"/>
                </a:lnTo>
                <a:lnTo>
                  <a:pt x="315" y="411"/>
                </a:lnTo>
                <a:lnTo>
                  <a:pt x="319" y="405"/>
                </a:lnTo>
                <a:lnTo>
                  <a:pt x="324" y="400"/>
                </a:lnTo>
                <a:lnTo>
                  <a:pt x="324" y="400"/>
                </a:lnTo>
                <a:lnTo>
                  <a:pt x="328" y="395"/>
                </a:lnTo>
                <a:lnTo>
                  <a:pt x="331" y="389"/>
                </a:lnTo>
                <a:lnTo>
                  <a:pt x="332" y="383"/>
                </a:lnTo>
                <a:lnTo>
                  <a:pt x="332" y="379"/>
                </a:lnTo>
                <a:lnTo>
                  <a:pt x="332" y="366"/>
                </a:lnTo>
                <a:lnTo>
                  <a:pt x="333" y="359"/>
                </a:lnTo>
                <a:lnTo>
                  <a:pt x="334" y="352"/>
                </a:lnTo>
                <a:lnTo>
                  <a:pt x="334" y="352"/>
                </a:lnTo>
                <a:lnTo>
                  <a:pt x="336" y="348"/>
                </a:lnTo>
                <a:lnTo>
                  <a:pt x="341" y="344"/>
                </a:lnTo>
                <a:lnTo>
                  <a:pt x="350" y="336"/>
                </a:lnTo>
                <a:lnTo>
                  <a:pt x="356" y="332"/>
                </a:lnTo>
                <a:lnTo>
                  <a:pt x="359" y="327"/>
                </a:lnTo>
                <a:lnTo>
                  <a:pt x="363" y="321"/>
                </a:lnTo>
                <a:lnTo>
                  <a:pt x="364" y="316"/>
                </a:lnTo>
                <a:lnTo>
                  <a:pt x="364" y="316"/>
                </a:lnTo>
                <a:lnTo>
                  <a:pt x="363" y="310"/>
                </a:lnTo>
                <a:lnTo>
                  <a:pt x="362" y="305"/>
                </a:lnTo>
                <a:lnTo>
                  <a:pt x="356" y="297"/>
                </a:lnTo>
                <a:lnTo>
                  <a:pt x="351" y="288"/>
                </a:lnTo>
                <a:lnTo>
                  <a:pt x="350" y="283"/>
                </a:lnTo>
                <a:lnTo>
                  <a:pt x="349" y="279"/>
                </a:lnTo>
                <a:lnTo>
                  <a:pt x="349" y="279"/>
                </a:lnTo>
                <a:lnTo>
                  <a:pt x="340" y="268"/>
                </a:lnTo>
                <a:lnTo>
                  <a:pt x="333" y="257"/>
                </a:lnTo>
                <a:lnTo>
                  <a:pt x="327" y="244"/>
                </a:lnTo>
                <a:lnTo>
                  <a:pt x="321" y="232"/>
                </a:lnTo>
                <a:lnTo>
                  <a:pt x="313" y="204"/>
                </a:lnTo>
                <a:lnTo>
                  <a:pt x="306" y="175"/>
                </a:lnTo>
                <a:lnTo>
                  <a:pt x="298" y="148"/>
                </a:lnTo>
                <a:lnTo>
                  <a:pt x="294" y="134"/>
                </a:lnTo>
                <a:lnTo>
                  <a:pt x="288" y="121"/>
                </a:lnTo>
                <a:lnTo>
                  <a:pt x="281" y="110"/>
                </a:lnTo>
                <a:lnTo>
                  <a:pt x="272" y="99"/>
                </a:lnTo>
                <a:lnTo>
                  <a:pt x="263" y="90"/>
                </a:lnTo>
                <a:lnTo>
                  <a:pt x="250" y="81"/>
                </a:lnTo>
                <a:lnTo>
                  <a:pt x="250" y="81"/>
                </a:lnTo>
                <a:lnTo>
                  <a:pt x="241" y="73"/>
                </a:lnTo>
                <a:lnTo>
                  <a:pt x="231" y="64"/>
                </a:lnTo>
                <a:lnTo>
                  <a:pt x="226" y="60"/>
                </a:lnTo>
                <a:lnTo>
                  <a:pt x="220" y="58"/>
                </a:lnTo>
                <a:lnTo>
                  <a:pt x="213" y="55"/>
                </a:lnTo>
                <a:lnTo>
                  <a:pt x="206" y="55"/>
                </a:lnTo>
                <a:lnTo>
                  <a:pt x="206" y="55"/>
                </a:lnTo>
                <a:lnTo>
                  <a:pt x="194" y="57"/>
                </a:lnTo>
                <a:lnTo>
                  <a:pt x="182" y="59"/>
                </a:lnTo>
                <a:lnTo>
                  <a:pt x="170" y="61"/>
                </a:lnTo>
                <a:lnTo>
                  <a:pt x="155" y="62"/>
                </a:lnTo>
                <a:lnTo>
                  <a:pt x="155" y="62"/>
                </a:lnTo>
                <a:lnTo>
                  <a:pt x="151" y="61"/>
                </a:lnTo>
                <a:lnTo>
                  <a:pt x="147" y="60"/>
                </a:lnTo>
                <a:lnTo>
                  <a:pt x="137" y="54"/>
                </a:lnTo>
                <a:lnTo>
                  <a:pt x="127" y="46"/>
                </a:lnTo>
                <a:lnTo>
                  <a:pt x="117" y="37"/>
                </a:lnTo>
                <a:lnTo>
                  <a:pt x="107" y="27"/>
                </a:lnTo>
                <a:lnTo>
                  <a:pt x="99" y="16"/>
                </a:lnTo>
                <a:lnTo>
                  <a:pt x="94" y="7"/>
                </a:lnTo>
                <a:lnTo>
                  <a:pt x="92" y="4"/>
                </a:lnTo>
                <a:lnTo>
                  <a:pt x="92" y="0"/>
                </a:lnTo>
                <a:lnTo>
                  <a:pt x="92" y="0"/>
                </a:lnTo>
                <a:lnTo>
                  <a:pt x="92" y="0"/>
                </a:lnTo>
                <a:lnTo>
                  <a:pt x="92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6" name="Freeform 121"/>
          <p:cNvSpPr>
            <a:spLocks/>
          </p:cNvSpPr>
          <p:nvPr/>
        </p:nvSpPr>
        <p:spPr bwMode="auto">
          <a:xfrm>
            <a:off x="460375" y="5138738"/>
            <a:ext cx="138113" cy="217487"/>
          </a:xfrm>
          <a:custGeom>
            <a:avLst/>
            <a:gdLst/>
            <a:ahLst/>
            <a:cxnLst>
              <a:cxn ang="0">
                <a:pos x="166" y="146"/>
              </a:cxn>
              <a:cxn ang="0">
                <a:pos x="165" y="131"/>
              </a:cxn>
              <a:cxn ang="0">
                <a:pos x="164" y="117"/>
              </a:cxn>
              <a:cxn ang="0">
                <a:pos x="157" y="95"/>
              </a:cxn>
              <a:cxn ang="0">
                <a:pos x="129" y="54"/>
              </a:cxn>
              <a:cxn ang="0">
                <a:pos x="103" y="39"/>
              </a:cxn>
              <a:cxn ang="0">
                <a:pos x="92" y="36"/>
              </a:cxn>
              <a:cxn ang="0">
                <a:pos x="63" y="28"/>
              </a:cxn>
              <a:cxn ang="0">
                <a:pos x="43" y="11"/>
              </a:cxn>
              <a:cxn ang="0">
                <a:pos x="18" y="0"/>
              </a:cxn>
              <a:cxn ang="0">
                <a:pos x="18" y="25"/>
              </a:cxn>
              <a:cxn ang="0">
                <a:pos x="33" y="48"/>
              </a:cxn>
              <a:cxn ang="0">
                <a:pos x="57" y="67"/>
              </a:cxn>
              <a:cxn ang="0">
                <a:pos x="77" y="72"/>
              </a:cxn>
              <a:cxn ang="0">
                <a:pos x="93" y="66"/>
              </a:cxn>
              <a:cxn ang="0">
                <a:pos x="102" y="66"/>
              </a:cxn>
              <a:cxn ang="0">
                <a:pos x="110" y="76"/>
              </a:cxn>
              <a:cxn ang="0">
                <a:pos x="112" y="92"/>
              </a:cxn>
              <a:cxn ang="0">
                <a:pos x="105" y="104"/>
              </a:cxn>
              <a:cxn ang="0">
                <a:pos x="79" y="123"/>
              </a:cxn>
              <a:cxn ang="0">
                <a:pos x="54" y="131"/>
              </a:cxn>
              <a:cxn ang="0">
                <a:pos x="55" y="161"/>
              </a:cxn>
              <a:cxn ang="0">
                <a:pos x="51" y="183"/>
              </a:cxn>
              <a:cxn ang="0">
                <a:pos x="43" y="189"/>
              </a:cxn>
              <a:cxn ang="0">
                <a:pos x="36" y="183"/>
              </a:cxn>
              <a:cxn ang="0">
                <a:pos x="27" y="172"/>
              </a:cxn>
              <a:cxn ang="0">
                <a:pos x="18" y="173"/>
              </a:cxn>
              <a:cxn ang="0">
                <a:pos x="2" y="183"/>
              </a:cxn>
              <a:cxn ang="0">
                <a:pos x="0" y="191"/>
              </a:cxn>
              <a:cxn ang="0">
                <a:pos x="5" y="224"/>
              </a:cxn>
              <a:cxn ang="0">
                <a:pos x="23" y="245"/>
              </a:cxn>
              <a:cxn ang="0">
                <a:pos x="40" y="249"/>
              </a:cxn>
              <a:cxn ang="0">
                <a:pos x="58" y="242"/>
              </a:cxn>
              <a:cxn ang="0">
                <a:pos x="76" y="226"/>
              </a:cxn>
              <a:cxn ang="0">
                <a:pos x="104" y="179"/>
              </a:cxn>
              <a:cxn ang="0">
                <a:pos x="117" y="150"/>
              </a:cxn>
              <a:cxn ang="0">
                <a:pos x="135" y="150"/>
              </a:cxn>
              <a:cxn ang="0">
                <a:pos x="138" y="178"/>
              </a:cxn>
              <a:cxn ang="0">
                <a:pos x="143" y="193"/>
              </a:cxn>
              <a:cxn ang="0">
                <a:pos x="149" y="194"/>
              </a:cxn>
              <a:cxn ang="0">
                <a:pos x="155" y="187"/>
              </a:cxn>
              <a:cxn ang="0">
                <a:pos x="157" y="162"/>
              </a:cxn>
              <a:cxn ang="0">
                <a:pos x="161" y="148"/>
              </a:cxn>
              <a:cxn ang="0">
                <a:pos x="164" y="146"/>
              </a:cxn>
            </a:cxnLst>
            <a:rect l="0" t="0" r="r" b="b"/>
            <a:pathLst>
              <a:path w="168" h="249">
                <a:moveTo>
                  <a:pt x="164" y="146"/>
                </a:moveTo>
                <a:lnTo>
                  <a:pt x="164" y="146"/>
                </a:lnTo>
                <a:lnTo>
                  <a:pt x="166" y="146"/>
                </a:lnTo>
                <a:lnTo>
                  <a:pt x="168" y="143"/>
                </a:lnTo>
                <a:lnTo>
                  <a:pt x="168" y="138"/>
                </a:lnTo>
                <a:lnTo>
                  <a:pt x="165" y="131"/>
                </a:lnTo>
                <a:lnTo>
                  <a:pt x="164" y="124"/>
                </a:lnTo>
                <a:lnTo>
                  <a:pt x="164" y="124"/>
                </a:lnTo>
                <a:lnTo>
                  <a:pt x="164" y="117"/>
                </a:lnTo>
                <a:lnTo>
                  <a:pt x="163" y="110"/>
                </a:lnTo>
                <a:lnTo>
                  <a:pt x="161" y="102"/>
                </a:lnTo>
                <a:lnTo>
                  <a:pt x="157" y="95"/>
                </a:lnTo>
                <a:lnTo>
                  <a:pt x="150" y="80"/>
                </a:lnTo>
                <a:lnTo>
                  <a:pt x="140" y="66"/>
                </a:lnTo>
                <a:lnTo>
                  <a:pt x="129" y="54"/>
                </a:lnTo>
                <a:lnTo>
                  <a:pt x="117" y="44"/>
                </a:lnTo>
                <a:lnTo>
                  <a:pt x="110" y="41"/>
                </a:lnTo>
                <a:lnTo>
                  <a:pt x="103" y="39"/>
                </a:lnTo>
                <a:lnTo>
                  <a:pt x="97" y="36"/>
                </a:lnTo>
                <a:lnTo>
                  <a:pt x="92" y="36"/>
                </a:lnTo>
                <a:lnTo>
                  <a:pt x="92" y="36"/>
                </a:lnTo>
                <a:lnTo>
                  <a:pt x="81" y="35"/>
                </a:lnTo>
                <a:lnTo>
                  <a:pt x="72" y="33"/>
                </a:lnTo>
                <a:lnTo>
                  <a:pt x="63" y="28"/>
                </a:lnTo>
                <a:lnTo>
                  <a:pt x="56" y="24"/>
                </a:lnTo>
                <a:lnTo>
                  <a:pt x="49" y="18"/>
                </a:lnTo>
                <a:lnTo>
                  <a:pt x="43" y="11"/>
                </a:lnTo>
                <a:lnTo>
                  <a:pt x="32" y="0"/>
                </a:lnTo>
                <a:lnTo>
                  <a:pt x="32" y="0"/>
                </a:lnTo>
                <a:lnTo>
                  <a:pt x="18" y="0"/>
                </a:lnTo>
                <a:lnTo>
                  <a:pt x="18" y="25"/>
                </a:lnTo>
                <a:lnTo>
                  <a:pt x="18" y="25"/>
                </a:lnTo>
                <a:lnTo>
                  <a:pt x="18" y="25"/>
                </a:lnTo>
                <a:lnTo>
                  <a:pt x="21" y="32"/>
                </a:lnTo>
                <a:lnTo>
                  <a:pt x="26" y="40"/>
                </a:lnTo>
                <a:lnTo>
                  <a:pt x="33" y="48"/>
                </a:lnTo>
                <a:lnTo>
                  <a:pt x="40" y="56"/>
                </a:lnTo>
                <a:lnTo>
                  <a:pt x="48" y="62"/>
                </a:lnTo>
                <a:lnTo>
                  <a:pt x="57" y="67"/>
                </a:lnTo>
                <a:lnTo>
                  <a:pt x="66" y="71"/>
                </a:lnTo>
                <a:lnTo>
                  <a:pt x="77" y="72"/>
                </a:lnTo>
                <a:lnTo>
                  <a:pt x="77" y="72"/>
                </a:lnTo>
                <a:lnTo>
                  <a:pt x="80" y="71"/>
                </a:lnTo>
                <a:lnTo>
                  <a:pt x="86" y="69"/>
                </a:lnTo>
                <a:lnTo>
                  <a:pt x="93" y="66"/>
                </a:lnTo>
                <a:lnTo>
                  <a:pt x="99" y="65"/>
                </a:lnTo>
                <a:lnTo>
                  <a:pt x="99" y="65"/>
                </a:lnTo>
                <a:lnTo>
                  <a:pt x="102" y="66"/>
                </a:lnTo>
                <a:lnTo>
                  <a:pt x="105" y="69"/>
                </a:lnTo>
                <a:lnTo>
                  <a:pt x="108" y="72"/>
                </a:lnTo>
                <a:lnTo>
                  <a:pt x="110" y="76"/>
                </a:lnTo>
                <a:lnTo>
                  <a:pt x="112" y="84"/>
                </a:lnTo>
                <a:lnTo>
                  <a:pt x="112" y="92"/>
                </a:lnTo>
                <a:lnTo>
                  <a:pt x="112" y="92"/>
                </a:lnTo>
                <a:lnTo>
                  <a:pt x="112" y="94"/>
                </a:lnTo>
                <a:lnTo>
                  <a:pt x="111" y="97"/>
                </a:lnTo>
                <a:lnTo>
                  <a:pt x="105" y="104"/>
                </a:lnTo>
                <a:lnTo>
                  <a:pt x="99" y="110"/>
                </a:lnTo>
                <a:lnTo>
                  <a:pt x="89" y="117"/>
                </a:lnTo>
                <a:lnTo>
                  <a:pt x="79" y="123"/>
                </a:lnTo>
                <a:lnTo>
                  <a:pt x="70" y="127"/>
                </a:lnTo>
                <a:lnTo>
                  <a:pt x="61" y="130"/>
                </a:lnTo>
                <a:lnTo>
                  <a:pt x="54" y="131"/>
                </a:lnTo>
                <a:lnTo>
                  <a:pt x="54" y="131"/>
                </a:lnTo>
                <a:lnTo>
                  <a:pt x="55" y="151"/>
                </a:lnTo>
                <a:lnTo>
                  <a:pt x="55" y="161"/>
                </a:lnTo>
                <a:lnTo>
                  <a:pt x="55" y="169"/>
                </a:lnTo>
                <a:lnTo>
                  <a:pt x="54" y="177"/>
                </a:lnTo>
                <a:lnTo>
                  <a:pt x="51" y="183"/>
                </a:lnTo>
                <a:lnTo>
                  <a:pt x="49" y="186"/>
                </a:lnTo>
                <a:lnTo>
                  <a:pt x="47" y="187"/>
                </a:lnTo>
                <a:lnTo>
                  <a:pt x="43" y="189"/>
                </a:lnTo>
                <a:lnTo>
                  <a:pt x="40" y="191"/>
                </a:lnTo>
                <a:lnTo>
                  <a:pt x="40" y="191"/>
                </a:lnTo>
                <a:lnTo>
                  <a:pt x="36" y="183"/>
                </a:lnTo>
                <a:lnTo>
                  <a:pt x="33" y="177"/>
                </a:lnTo>
                <a:lnTo>
                  <a:pt x="30" y="173"/>
                </a:lnTo>
                <a:lnTo>
                  <a:pt x="27" y="172"/>
                </a:lnTo>
                <a:lnTo>
                  <a:pt x="25" y="172"/>
                </a:lnTo>
                <a:lnTo>
                  <a:pt x="25" y="172"/>
                </a:lnTo>
                <a:lnTo>
                  <a:pt x="18" y="173"/>
                </a:lnTo>
                <a:lnTo>
                  <a:pt x="9" y="177"/>
                </a:lnTo>
                <a:lnTo>
                  <a:pt x="5" y="180"/>
                </a:lnTo>
                <a:lnTo>
                  <a:pt x="2" y="183"/>
                </a:lnTo>
                <a:lnTo>
                  <a:pt x="1" y="186"/>
                </a:lnTo>
                <a:lnTo>
                  <a:pt x="0" y="191"/>
                </a:lnTo>
                <a:lnTo>
                  <a:pt x="0" y="191"/>
                </a:lnTo>
                <a:lnTo>
                  <a:pt x="0" y="202"/>
                </a:lnTo>
                <a:lnTo>
                  <a:pt x="2" y="214"/>
                </a:lnTo>
                <a:lnTo>
                  <a:pt x="5" y="224"/>
                </a:lnTo>
                <a:lnTo>
                  <a:pt x="10" y="232"/>
                </a:lnTo>
                <a:lnTo>
                  <a:pt x="16" y="239"/>
                </a:lnTo>
                <a:lnTo>
                  <a:pt x="23" y="245"/>
                </a:lnTo>
                <a:lnTo>
                  <a:pt x="31" y="248"/>
                </a:lnTo>
                <a:lnTo>
                  <a:pt x="40" y="249"/>
                </a:lnTo>
                <a:lnTo>
                  <a:pt x="40" y="249"/>
                </a:lnTo>
                <a:lnTo>
                  <a:pt x="46" y="248"/>
                </a:lnTo>
                <a:lnTo>
                  <a:pt x="51" y="246"/>
                </a:lnTo>
                <a:lnTo>
                  <a:pt x="58" y="242"/>
                </a:lnTo>
                <a:lnTo>
                  <a:pt x="64" y="238"/>
                </a:lnTo>
                <a:lnTo>
                  <a:pt x="70" y="233"/>
                </a:lnTo>
                <a:lnTo>
                  <a:pt x="76" y="226"/>
                </a:lnTo>
                <a:lnTo>
                  <a:pt x="87" y="211"/>
                </a:lnTo>
                <a:lnTo>
                  <a:pt x="96" y="196"/>
                </a:lnTo>
                <a:lnTo>
                  <a:pt x="104" y="179"/>
                </a:lnTo>
                <a:lnTo>
                  <a:pt x="112" y="164"/>
                </a:lnTo>
                <a:lnTo>
                  <a:pt x="117" y="150"/>
                </a:lnTo>
                <a:lnTo>
                  <a:pt x="117" y="150"/>
                </a:lnTo>
                <a:lnTo>
                  <a:pt x="124" y="151"/>
                </a:lnTo>
                <a:lnTo>
                  <a:pt x="129" y="151"/>
                </a:lnTo>
                <a:lnTo>
                  <a:pt x="135" y="150"/>
                </a:lnTo>
                <a:lnTo>
                  <a:pt x="135" y="150"/>
                </a:lnTo>
                <a:lnTo>
                  <a:pt x="135" y="163"/>
                </a:lnTo>
                <a:lnTo>
                  <a:pt x="138" y="178"/>
                </a:lnTo>
                <a:lnTo>
                  <a:pt x="140" y="184"/>
                </a:lnTo>
                <a:lnTo>
                  <a:pt x="141" y="189"/>
                </a:lnTo>
                <a:lnTo>
                  <a:pt x="143" y="193"/>
                </a:lnTo>
                <a:lnTo>
                  <a:pt x="147" y="194"/>
                </a:lnTo>
                <a:lnTo>
                  <a:pt x="147" y="194"/>
                </a:lnTo>
                <a:lnTo>
                  <a:pt x="149" y="194"/>
                </a:lnTo>
                <a:lnTo>
                  <a:pt x="152" y="192"/>
                </a:lnTo>
                <a:lnTo>
                  <a:pt x="154" y="189"/>
                </a:lnTo>
                <a:lnTo>
                  <a:pt x="155" y="187"/>
                </a:lnTo>
                <a:lnTo>
                  <a:pt x="156" y="179"/>
                </a:lnTo>
                <a:lnTo>
                  <a:pt x="157" y="170"/>
                </a:lnTo>
                <a:lnTo>
                  <a:pt x="157" y="162"/>
                </a:lnTo>
                <a:lnTo>
                  <a:pt x="158" y="154"/>
                </a:lnTo>
                <a:lnTo>
                  <a:pt x="160" y="150"/>
                </a:lnTo>
                <a:lnTo>
                  <a:pt x="161" y="148"/>
                </a:lnTo>
                <a:lnTo>
                  <a:pt x="162" y="147"/>
                </a:lnTo>
                <a:lnTo>
                  <a:pt x="164" y="146"/>
                </a:lnTo>
                <a:lnTo>
                  <a:pt x="164" y="146"/>
                </a:lnTo>
                <a:lnTo>
                  <a:pt x="164" y="14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7" name="Freeform 122"/>
          <p:cNvSpPr>
            <a:spLocks/>
          </p:cNvSpPr>
          <p:nvPr/>
        </p:nvSpPr>
        <p:spPr bwMode="auto">
          <a:xfrm>
            <a:off x="755650" y="5130800"/>
            <a:ext cx="434975" cy="517525"/>
          </a:xfrm>
          <a:custGeom>
            <a:avLst/>
            <a:gdLst/>
            <a:ahLst/>
            <a:cxnLst>
              <a:cxn ang="0">
                <a:pos x="297" y="63"/>
              </a:cxn>
              <a:cxn ang="0">
                <a:pos x="305" y="77"/>
              </a:cxn>
              <a:cxn ang="0">
                <a:pos x="327" y="66"/>
              </a:cxn>
              <a:cxn ang="0">
                <a:pos x="344" y="80"/>
              </a:cxn>
              <a:cxn ang="0">
                <a:pos x="325" y="126"/>
              </a:cxn>
              <a:cxn ang="0">
                <a:pos x="246" y="158"/>
              </a:cxn>
              <a:cxn ang="0">
                <a:pos x="235" y="177"/>
              </a:cxn>
              <a:cxn ang="0">
                <a:pos x="226" y="200"/>
              </a:cxn>
              <a:cxn ang="0">
                <a:pos x="208" y="206"/>
              </a:cxn>
              <a:cxn ang="0">
                <a:pos x="179" y="195"/>
              </a:cxn>
              <a:cxn ang="0">
                <a:pos x="155" y="158"/>
              </a:cxn>
              <a:cxn ang="0">
                <a:pos x="122" y="110"/>
              </a:cxn>
              <a:cxn ang="0">
                <a:pos x="99" y="58"/>
              </a:cxn>
              <a:cxn ang="0">
                <a:pos x="79" y="69"/>
              </a:cxn>
              <a:cxn ang="0">
                <a:pos x="62" y="88"/>
              </a:cxn>
              <a:cxn ang="0">
                <a:pos x="25" y="73"/>
              </a:cxn>
              <a:cxn ang="0">
                <a:pos x="2" y="86"/>
              </a:cxn>
              <a:cxn ang="0">
                <a:pos x="4" y="112"/>
              </a:cxn>
              <a:cxn ang="0">
                <a:pos x="29" y="128"/>
              </a:cxn>
              <a:cxn ang="0">
                <a:pos x="58" y="118"/>
              </a:cxn>
              <a:cxn ang="0">
                <a:pos x="81" y="149"/>
              </a:cxn>
              <a:cxn ang="0">
                <a:pos x="115" y="159"/>
              </a:cxn>
              <a:cxn ang="0">
                <a:pos x="128" y="192"/>
              </a:cxn>
              <a:cxn ang="0">
                <a:pos x="175" y="239"/>
              </a:cxn>
              <a:cxn ang="0">
                <a:pos x="177" y="271"/>
              </a:cxn>
              <a:cxn ang="0">
                <a:pos x="169" y="310"/>
              </a:cxn>
              <a:cxn ang="0">
                <a:pos x="207" y="383"/>
              </a:cxn>
              <a:cxn ang="0">
                <a:pos x="245" y="448"/>
              </a:cxn>
              <a:cxn ang="0">
                <a:pos x="247" y="494"/>
              </a:cxn>
              <a:cxn ang="0">
                <a:pos x="299" y="536"/>
              </a:cxn>
              <a:cxn ang="0">
                <a:pos x="319" y="578"/>
              </a:cxn>
              <a:cxn ang="0">
                <a:pos x="323" y="594"/>
              </a:cxn>
              <a:cxn ang="0">
                <a:pos x="393" y="561"/>
              </a:cxn>
              <a:cxn ang="0">
                <a:pos x="426" y="528"/>
              </a:cxn>
              <a:cxn ang="0">
                <a:pos x="422" y="507"/>
              </a:cxn>
              <a:cxn ang="0">
                <a:pos x="399" y="485"/>
              </a:cxn>
              <a:cxn ang="0">
                <a:pos x="426" y="455"/>
              </a:cxn>
              <a:cxn ang="0">
                <a:pos x="451" y="426"/>
              </a:cxn>
              <a:cxn ang="0">
                <a:pos x="437" y="391"/>
              </a:cxn>
              <a:cxn ang="0">
                <a:pos x="444" y="365"/>
              </a:cxn>
              <a:cxn ang="0">
                <a:pos x="462" y="369"/>
              </a:cxn>
              <a:cxn ang="0">
                <a:pos x="483" y="371"/>
              </a:cxn>
              <a:cxn ang="0">
                <a:pos x="521" y="345"/>
              </a:cxn>
              <a:cxn ang="0">
                <a:pos x="510" y="288"/>
              </a:cxn>
              <a:cxn ang="0">
                <a:pos x="523" y="256"/>
              </a:cxn>
              <a:cxn ang="0">
                <a:pos x="521" y="222"/>
              </a:cxn>
              <a:cxn ang="0">
                <a:pos x="495" y="181"/>
              </a:cxn>
              <a:cxn ang="0">
                <a:pos x="483" y="97"/>
              </a:cxn>
              <a:cxn ang="0">
                <a:pos x="446" y="47"/>
              </a:cxn>
              <a:cxn ang="0">
                <a:pos x="424" y="35"/>
              </a:cxn>
              <a:cxn ang="0">
                <a:pos x="408" y="3"/>
              </a:cxn>
              <a:cxn ang="0">
                <a:pos x="388" y="43"/>
              </a:cxn>
              <a:cxn ang="0">
                <a:pos x="357" y="34"/>
              </a:cxn>
              <a:cxn ang="0">
                <a:pos x="322" y="31"/>
              </a:cxn>
              <a:cxn ang="0">
                <a:pos x="293" y="55"/>
              </a:cxn>
            </a:cxnLst>
            <a:rect l="0" t="0" r="r" b="b"/>
            <a:pathLst>
              <a:path w="531" h="594">
                <a:moveTo>
                  <a:pt x="293" y="55"/>
                </a:moveTo>
                <a:lnTo>
                  <a:pt x="293" y="55"/>
                </a:lnTo>
                <a:lnTo>
                  <a:pt x="293" y="61"/>
                </a:lnTo>
                <a:lnTo>
                  <a:pt x="296" y="63"/>
                </a:lnTo>
                <a:lnTo>
                  <a:pt x="297" y="63"/>
                </a:lnTo>
                <a:lnTo>
                  <a:pt x="297" y="63"/>
                </a:lnTo>
                <a:lnTo>
                  <a:pt x="297" y="63"/>
                </a:lnTo>
                <a:lnTo>
                  <a:pt x="297" y="66"/>
                </a:lnTo>
                <a:lnTo>
                  <a:pt x="298" y="71"/>
                </a:lnTo>
                <a:lnTo>
                  <a:pt x="299" y="73"/>
                </a:lnTo>
                <a:lnTo>
                  <a:pt x="301" y="75"/>
                </a:lnTo>
                <a:lnTo>
                  <a:pt x="305" y="77"/>
                </a:lnTo>
                <a:lnTo>
                  <a:pt x="308" y="77"/>
                </a:lnTo>
                <a:lnTo>
                  <a:pt x="308" y="77"/>
                </a:lnTo>
                <a:lnTo>
                  <a:pt x="316" y="77"/>
                </a:lnTo>
                <a:lnTo>
                  <a:pt x="320" y="74"/>
                </a:lnTo>
                <a:lnTo>
                  <a:pt x="322" y="71"/>
                </a:lnTo>
                <a:lnTo>
                  <a:pt x="327" y="66"/>
                </a:lnTo>
                <a:lnTo>
                  <a:pt x="327" y="66"/>
                </a:lnTo>
                <a:lnTo>
                  <a:pt x="344" y="66"/>
                </a:lnTo>
                <a:lnTo>
                  <a:pt x="344" y="66"/>
                </a:lnTo>
                <a:lnTo>
                  <a:pt x="344" y="66"/>
                </a:lnTo>
                <a:lnTo>
                  <a:pt x="344" y="80"/>
                </a:lnTo>
                <a:lnTo>
                  <a:pt x="344" y="80"/>
                </a:lnTo>
                <a:lnTo>
                  <a:pt x="344" y="90"/>
                </a:lnTo>
                <a:lnTo>
                  <a:pt x="342" y="100"/>
                </a:lnTo>
                <a:lnTo>
                  <a:pt x="339" y="108"/>
                </a:lnTo>
                <a:lnTo>
                  <a:pt x="336" y="115"/>
                </a:lnTo>
                <a:lnTo>
                  <a:pt x="331" y="120"/>
                </a:lnTo>
                <a:lnTo>
                  <a:pt x="325" y="126"/>
                </a:lnTo>
                <a:lnTo>
                  <a:pt x="320" y="131"/>
                </a:lnTo>
                <a:lnTo>
                  <a:pt x="313" y="134"/>
                </a:lnTo>
                <a:lnTo>
                  <a:pt x="298" y="141"/>
                </a:lnTo>
                <a:lnTo>
                  <a:pt x="282" y="147"/>
                </a:lnTo>
                <a:lnTo>
                  <a:pt x="263" y="151"/>
                </a:lnTo>
                <a:lnTo>
                  <a:pt x="246" y="158"/>
                </a:lnTo>
                <a:lnTo>
                  <a:pt x="246" y="158"/>
                </a:lnTo>
                <a:lnTo>
                  <a:pt x="241" y="159"/>
                </a:lnTo>
                <a:lnTo>
                  <a:pt x="238" y="163"/>
                </a:lnTo>
                <a:lnTo>
                  <a:pt x="237" y="166"/>
                </a:lnTo>
                <a:lnTo>
                  <a:pt x="236" y="170"/>
                </a:lnTo>
                <a:lnTo>
                  <a:pt x="235" y="177"/>
                </a:lnTo>
                <a:lnTo>
                  <a:pt x="233" y="180"/>
                </a:lnTo>
                <a:lnTo>
                  <a:pt x="231" y="184"/>
                </a:lnTo>
                <a:lnTo>
                  <a:pt x="231" y="184"/>
                </a:lnTo>
                <a:lnTo>
                  <a:pt x="230" y="193"/>
                </a:lnTo>
                <a:lnTo>
                  <a:pt x="229" y="197"/>
                </a:lnTo>
                <a:lnTo>
                  <a:pt x="226" y="200"/>
                </a:lnTo>
                <a:lnTo>
                  <a:pt x="224" y="202"/>
                </a:lnTo>
                <a:lnTo>
                  <a:pt x="221" y="204"/>
                </a:lnTo>
                <a:lnTo>
                  <a:pt x="217" y="206"/>
                </a:lnTo>
                <a:lnTo>
                  <a:pt x="212" y="206"/>
                </a:lnTo>
                <a:lnTo>
                  <a:pt x="212" y="206"/>
                </a:lnTo>
                <a:lnTo>
                  <a:pt x="208" y="206"/>
                </a:lnTo>
                <a:lnTo>
                  <a:pt x="205" y="204"/>
                </a:lnTo>
                <a:lnTo>
                  <a:pt x="198" y="200"/>
                </a:lnTo>
                <a:lnTo>
                  <a:pt x="189" y="196"/>
                </a:lnTo>
                <a:lnTo>
                  <a:pt x="184" y="195"/>
                </a:lnTo>
                <a:lnTo>
                  <a:pt x="179" y="195"/>
                </a:lnTo>
                <a:lnTo>
                  <a:pt x="179" y="195"/>
                </a:lnTo>
                <a:lnTo>
                  <a:pt x="171" y="194"/>
                </a:lnTo>
                <a:lnTo>
                  <a:pt x="165" y="191"/>
                </a:lnTo>
                <a:lnTo>
                  <a:pt x="162" y="187"/>
                </a:lnTo>
                <a:lnTo>
                  <a:pt x="160" y="181"/>
                </a:lnTo>
                <a:lnTo>
                  <a:pt x="157" y="166"/>
                </a:lnTo>
                <a:lnTo>
                  <a:pt x="155" y="158"/>
                </a:lnTo>
                <a:lnTo>
                  <a:pt x="153" y="150"/>
                </a:lnTo>
                <a:lnTo>
                  <a:pt x="153" y="150"/>
                </a:lnTo>
                <a:lnTo>
                  <a:pt x="151" y="146"/>
                </a:lnTo>
                <a:lnTo>
                  <a:pt x="148" y="140"/>
                </a:lnTo>
                <a:lnTo>
                  <a:pt x="140" y="130"/>
                </a:lnTo>
                <a:lnTo>
                  <a:pt x="122" y="110"/>
                </a:lnTo>
                <a:lnTo>
                  <a:pt x="114" y="100"/>
                </a:lnTo>
                <a:lnTo>
                  <a:pt x="106" y="88"/>
                </a:lnTo>
                <a:lnTo>
                  <a:pt x="102" y="81"/>
                </a:lnTo>
                <a:lnTo>
                  <a:pt x="101" y="74"/>
                </a:lnTo>
                <a:lnTo>
                  <a:pt x="99" y="66"/>
                </a:lnTo>
                <a:lnTo>
                  <a:pt x="99" y="58"/>
                </a:lnTo>
                <a:lnTo>
                  <a:pt x="99" y="58"/>
                </a:lnTo>
                <a:lnTo>
                  <a:pt x="84" y="58"/>
                </a:lnTo>
                <a:lnTo>
                  <a:pt x="84" y="58"/>
                </a:lnTo>
                <a:lnTo>
                  <a:pt x="84" y="58"/>
                </a:lnTo>
                <a:lnTo>
                  <a:pt x="81" y="63"/>
                </a:lnTo>
                <a:lnTo>
                  <a:pt x="79" y="69"/>
                </a:lnTo>
                <a:lnTo>
                  <a:pt x="76" y="78"/>
                </a:lnTo>
                <a:lnTo>
                  <a:pt x="73" y="82"/>
                </a:lnTo>
                <a:lnTo>
                  <a:pt x="70" y="85"/>
                </a:lnTo>
                <a:lnTo>
                  <a:pt x="67" y="87"/>
                </a:lnTo>
                <a:lnTo>
                  <a:pt x="62" y="88"/>
                </a:lnTo>
                <a:lnTo>
                  <a:pt x="62" y="88"/>
                </a:lnTo>
                <a:lnTo>
                  <a:pt x="56" y="87"/>
                </a:lnTo>
                <a:lnTo>
                  <a:pt x="52" y="86"/>
                </a:lnTo>
                <a:lnTo>
                  <a:pt x="44" y="81"/>
                </a:lnTo>
                <a:lnTo>
                  <a:pt x="35" y="75"/>
                </a:lnTo>
                <a:lnTo>
                  <a:pt x="31" y="74"/>
                </a:lnTo>
                <a:lnTo>
                  <a:pt x="25" y="73"/>
                </a:lnTo>
                <a:lnTo>
                  <a:pt x="25" y="73"/>
                </a:lnTo>
                <a:lnTo>
                  <a:pt x="16" y="74"/>
                </a:lnTo>
                <a:lnTo>
                  <a:pt x="12" y="77"/>
                </a:lnTo>
                <a:lnTo>
                  <a:pt x="8" y="79"/>
                </a:lnTo>
                <a:lnTo>
                  <a:pt x="4" y="82"/>
                </a:lnTo>
                <a:lnTo>
                  <a:pt x="2" y="86"/>
                </a:lnTo>
                <a:lnTo>
                  <a:pt x="0" y="90"/>
                </a:lnTo>
                <a:lnTo>
                  <a:pt x="0" y="95"/>
                </a:lnTo>
                <a:lnTo>
                  <a:pt x="0" y="95"/>
                </a:lnTo>
                <a:lnTo>
                  <a:pt x="0" y="101"/>
                </a:lnTo>
                <a:lnTo>
                  <a:pt x="2" y="107"/>
                </a:lnTo>
                <a:lnTo>
                  <a:pt x="4" y="112"/>
                </a:lnTo>
                <a:lnTo>
                  <a:pt x="9" y="118"/>
                </a:lnTo>
                <a:lnTo>
                  <a:pt x="12" y="122"/>
                </a:lnTo>
                <a:lnTo>
                  <a:pt x="18" y="126"/>
                </a:lnTo>
                <a:lnTo>
                  <a:pt x="23" y="128"/>
                </a:lnTo>
                <a:lnTo>
                  <a:pt x="29" y="128"/>
                </a:lnTo>
                <a:lnTo>
                  <a:pt x="29" y="128"/>
                </a:lnTo>
                <a:lnTo>
                  <a:pt x="33" y="128"/>
                </a:lnTo>
                <a:lnTo>
                  <a:pt x="38" y="127"/>
                </a:lnTo>
                <a:lnTo>
                  <a:pt x="44" y="125"/>
                </a:lnTo>
                <a:lnTo>
                  <a:pt x="49" y="120"/>
                </a:lnTo>
                <a:lnTo>
                  <a:pt x="58" y="118"/>
                </a:lnTo>
                <a:lnTo>
                  <a:pt x="58" y="118"/>
                </a:lnTo>
                <a:lnTo>
                  <a:pt x="60" y="131"/>
                </a:lnTo>
                <a:lnTo>
                  <a:pt x="63" y="139"/>
                </a:lnTo>
                <a:lnTo>
                  <a:pt x="65" y="142"/>
                </a:lnTo>
                <a:lnTo>
                  <a:pt x="68" y="145"/>
                </a:lnTo>
                <a:lnTo>
                  <a:pt x="73" y="147"/>
                </a:lnTo>
                <a:lnTo>
                  <a:pt x="81" y="149"/>
                </a:lnTo>
                <a:lnTo>
                  <a:pt x="90" y="149"/>
                </a:lnTo>
                <a:lnTo>
                  <a:pt x="99" y="151"/>
                </a:lnTo>
                <a:lnTo>
                  <a:pt x="109" y="154"/>
                </a:lnTo>
                <a:lnTo>
                  <a:pt x="109" y="154"/>
                </a:lnTo>
                <a:lnTo>
                  <a:pt x="113" y="157"/>
                </a:lnTo>
                <a:lnTo>
                  <a:pt x="115" y="159"/>
                </a:lnTo>
                <a:lnTo>
                  <a:pt x="117" y="165"/>
                </a:lnTo>
                <a:lnTo>
                  <a:pt x="118" y="172"/>
                </a:lnTo>
                <a:lnTo>
                  <a:pt x="121" y="180"/>
                </a:lnTo>
                <a:lnTo>
                  <a:pt x="121" y="180"/>
                </a:lnTo>
                <a:lnTo>
                  <a:pt x="123" y="186"/>
                </a:lnTo>
                <a:lnTo>
                  <a:pt x="128" y="192"/>
                </a:lnTo>
                <a:lnTo>
                  <a:pt x="136" y="201"/>
                </a:lnTo>
                <a:lnTo>
                  <a:pt x="146" y="209"/>
                </a:lnTo>
                <a:lnTo>
                  <a:pt x="155" y="217"/>
                </a:lnTo>
                <a:lnTo>
                  <a:pt x="164" y="225"/>
                </a:lnTo>
                <a:lnTo>
                  <a:pt x="172" y="234"/>
                </a:lnTo>
                <a:lnTo>
                  <a:pt x="175" y="239"/>
                </a:lnTo>
                <a:lnTo>
                  <a:pt x="177" y="245"/>
                </a:lnTo>
                <a:lnTo>
                  <a:pt x="178" y="250"/>
                </a:lnTo>
                <a:lnTo>
                  <a:pt x="179" y="257"/>
                </a:lnTo>
                <a:lnTo>
                  <a:pt x="179" y="257"/>
                </a:lnTo>
                <a:lnTo>
                  <a:pt x="178" y="264"/>
                </a:lnTo>
                <a:lnTo>
                  <a:pt x="177" y="271"/>
                </a:lnTo>
                <a:lnTo>
                  <a:pt x="174" y="280"/>
                </a:lnTo>
                <a:lnTo>
                  <a:pt x="170" y="288"/>
                </a:lnTo>
                <a:lnTo>
                  <a:pt x="169" y="293"/>
                </a:lnTo>
                <a:lnTo>
                  <a:pt x="168" y="298"/>
                </a:lnTo>
                <a:lnTo>
                  <a:pt x="168" y="298"/>
                </a:lnTo>
                <a:lnTo>
                  <a:pt x="169" y="310"/>
                </a:lnTo>
                <a:lnTo>
                  <a:pt x="171" y="322"/>
                </a:lnTo>
                <a:lnTo>
                  <a:pt x="175" y="333"/>
                </a:lnTo>
                <a:lnTo>
                  <a:pt x="180" y="344"/>
                </a:lnTo>
                <a:lnTo>
                  <a:pt x="186" y="354"/>
                </a:lnTo>
                <a:lnTo>
                  <a:pt x="192" y="364"/>
                </a:lnTo>
                <a:lnTo>
                  <a:pt x="207" y="383"/>
                </a:lnTo>
                <a:lnTo>
                  <a:pt x="221" y="401"/>
                </a:lnTo>
                <a:lnTo>
                  <a:pt x="228" y="409"/>
                </a:lnTo>
                <a:lnTo>
                  <a:pt x="233" y="420"/>
                </a:lnTo>
                <a:lnTo>
                  <a:pt x="238" y="429"/>
                </a:lnTo>
                <a:lnTo>
                  <a:pt x="243" y="438"/>
                </a:lnTo>
                <a:lnTo>
                  <a:pt x="245" y="448"/>
                </a:lnTo>
                <a:lnTo>
                  <a:pt x="246" y="459"/>
                </a:lnTo>
                <a:lnTo>
                  <a:pt x="246" y="459"/>
                </a:lnTo>
                <a:lnTo>
                  <a:pt x="246" y="485"/>
                </a:lnTo>
                <a:lnTo>
                  <a:pt x="246" y="485"/>
                </a:lnTo>
                <a:lnTo>
                  <a:pt x="246" y="490"/>
                </a:lnTo>
                <a:lnTo>
                  <a:pt x="247" y="494"/>
                </a:lnTo>
                <a:lnTo>
                  <a:pt x="249" y="498"/>
                </a:lnTo>
                <a:lnTo>
                  <a:pt x="252" y="501"/>
                </a:lnTo>
                <a:lnTo>
                  <a:pt x="260" y="509"/>
                </a:lnTo>
                <a:lnTo>
                  <a:pt x="268" y="515"/>
                </a:lnTo>
                <a:lnTo>
                  <a:pt x="289" y="529"/>
                </a:lnTo>
                <a:lnTo>
                  <a:pt x="299" y="536"/>
                </a:lnTo>
                <a:lnTo>
                  <a:pt x="308" y="543"/>
                </a:lnTo>
                <a:lnTo>
                  <a:pt x="308" y="543"/>
                </a:lnTo>
                <a:lnTo>
                  <a:pt x="312" y="547"/>
                </a:lnTo>
                <a:lnTo>
                  <a:pt x="314" y="553"/>
                </a:lnTo>
                <a:lnTo>
                  <a:pt x="316" y="567"/>
                </a:lnTo>
                <a:lnTo>
                  <a:pt x="319" y="578"/>
                </a:lnTo>
                <a:lnTo>
                  <a:pt x="321" y="584"/>
                </a:lnTo>
                <a:lnTo>
                  <a:pt x="323" y="588"/>
                </a:lnTo>
                <a:lnTo>
                  <a:pt x="323" y="588"/>
                </a:lnTo>
                <a:lnTo>
                  <a:pt x="323" y="594"/>
                </a:lnTo>
                <a:lnTo>
                  <a:pt x="323" y="594"/>
                </a:lnTo>
                <a:lnTo>
                  <a:pt x="323" y="594"/>
                </a:lnTo>
                <a:lnTo>
                  <a:pt x="340" y="591"/>
                </a:lnTo>
                <a:lnTo>
                  <a:pt x="351" y="588"/>
                </a:lnTo>
                <a:lnTo>
                  <a:pt x="361" y="583"/>
                </a:lnTo>
                <a:lnTo>
                  <a:pt x="373" y="577"/>
                </a:lnTo>
                <a:lnTo>
                  <a:pt x="383" y="570"/>
                </a:lnTo>
                <a:lnTo>
                  <a:pt x="393" y="561"/>
                </a:lnTo>
                <a:lnTo>
                  <a:pt x="404" y="551"/>
                </a:lnTo>
                <a:lnTo>
                  <a:pt x="404" y="551"/>
                </a:lnTo>
                <a:lnTo>
                  <a:pt x="408" y="543"/>
                </a:lnTo>
                <a:lnTo>
                  <a:pt x="414" y="537"/>
                </a:lnTo>
                <a:lnTo>
                  <a:pt x="420" y="531"/>
                </a:lnTo>
                <a:lnTo>
                  <a:pt x="426" y="528"/>
                </a:lnTo>
                <a:lnTo>
                  <a:pt x="431" y="524"/>
                </a:lnTo>
                <a:lnTo>
                  <a:pt x="438" y="522"/>
                </a:lnTo>
                <a:lnTo>
                  <a:pt x="451" y="519"/>
                </a:lnTo>
                <a:lnTo>
                  <a:pt x="451" y="519"/>
                </a:lnTo>
                <a:lnTo>
                  <a:pt x="439" y="514"/>
                </a:lnTo>
                <a:lnTo>
                  <a:pt x="422" y="507"/>
                </a:lnTo>
                <a:lnTo>
                  <a:pt x="414" y="502"/>
                </a:lnTo>
                <a:lnTo>
                  <a:pt x="407" y="498"/>
                </a:lnTo>
                <a:lnTo>
                  <a:pt x="401" y="492"/>
                </a:lnTo>
                <a:lnTo>
                  <a:pt x="400" y="489"/>
                </a:lnTo>
                <a:lnTo>
                  <a:pt x="399" y="485"/>
                </a:lnTo>
                <a:lnTo>
                  <a:pt x="399" y="485"/>
                </a:lnTo>
                <a:lnTo>
                  <a:pt x="400" y="479"/>
                </a:lnTo>
                <a:lnTo>
                  <a:pt x="401" y="475"/>
                </a:lnTo>
                <a:lnTo>
                  <a:pt x="405" y="470"/>
                </a:lnTo>
                <a:lnTo>
                  <a:pt x="407" y="467"/>
                </a:lnTo>
                <a:lnTo>
                  <a:pt x="416" y="461"/>
                </a:lnTo>
                <a:lnTo>
                  <a:pt x="426" y="455"/>
                </a:lnTo>
                <a:lnTo>
                  <a:pt x="435" y="451"/>
                </a:lnTo>
                <a:lnTo>
                  <a:pt x="443" y="445"/>
                </a:lnTo>
                <a:lnTo>
                  <a:pt x="446" y="441"/>
                </a:lnTo>
                <a:lnTo>
                  <a:pt x="449" y="437"/>
                </a:lnTo>
                <a:lnTo>
                  <a:pt x="450" y="432"/>
                </a:lnTo>
                <a:lnTo>
                  <a:pt x="451" y="426"/>
                </a:lnTo>
                <a:lnTo>
                  <a:pt x="451" y="426"/>
                </a:lnTo>
                <a:lnTo>
                  <a:pt x="450" y="421"/>
                </a:lnTo>
                <a:lnTo>
                  <a:pt x="449" y="416"/>
                </a:lnTo>
                <a:lnTo>
                  <a:pt x="444" y="406"/>
                </a:lnTo>
                <a:lnTo>
                  <a:pt x="438" y="397"/>
                </a:lnTo>
                <a:lnTo>
                  <a:pt x="437" y="391"/>
                </a:lnTo>
                <a:lnTo>
                  <a:pt x="436" y="386"/>
                </a:lnTo>
                <a:lnTo>
                  <a:pt x="436" y="386"/>
                </a:lnTo>
                <a:lnTo>
                  <a:pt x="437" y="378"/>
                </a:lnTo>
                <a:lnTo>
                  <a:pt x="439" y="371"/>
                </a:lnTo>
                <a:lnTo>
                  <a:pt x="442" y="368"/>
                </a:lnTo>
                <a:lnTo>
                  <a:pt x="444" y="365"/>
                </a:lnTo>
                <a:lnTo>
                  <a:pt x="447" y="364"/>
                </a:lnTo>
                <a:lnTo>
                  <a:pt x="451" y="364"/>
                </a:lnTo>
                <a:lnTo>
                  <a:pt x="451" y="364"/>
                </a:lnTo>
                <a:lnTo>
                  <a:pt x="454" y="364"/>
                </a:lnTo>
                <a:lnTo>
                  <a:pt x="458" y="365"/>
                </a:lnTo>
                <a:lnTo>
                  <a:pt x="462" y="369"/>
                </a:lnTo>
                <a:lnTo>
                  <a:pt x="467" y="372"/>
                </a:lnTo>
                <a:lnTo>
                  <a:pt x="469" y="374"/>
                </a:lnTo>
                <a:lnTo>
                  <a:pt x="473" y="375"/>
                </a:lnTo>
                <a:lnTo>
                  <a:pt x="473" y="375"/>
                </a:lnTo>
                <a:lnTo>
                  <a:pt x="477" y="374"/>
                </a:lnTo>
                <a:lnTo>
                  <a:pt x="483" y="371"/>
                </a:lnTo>
                <a:lnTo>
                  <a:pt x="499" y="364"/>
                </a:lnTo>
                <a:lnTo>
                  <a:pt x="507" y="360"/>
                </a:lnTo>
                <a:lnTo>
                  <a:pt x="514" y="354"/>
                </a:lnTo>
                <a:lnTo>
                  <a:pt x="519" y="349"/>
                </a:lnTo>
                <a:lnTo>
                  <a:pt x="520" y="347"/>
                </a:lnTo>
                <a:lnTo>
                  <a:pt x="521" y="345"/>
                </a:lnTo>
                <a:lnTo>
                  <a:pt x="521" y="345"/>
                </a:lnTo>
                <a:lnTo>
                  <a:pt x="520" y="336"/>
                </a:lnTo>
                <a:lnTo>
                  <a:pt x="519" y="327"/>
                </a:lnTo>
                <a:lnTo>
                  <a:pt x="515" y="313"/>
                </a:lnTo>
                <a:lnTo>
                  <a:pt x="512" y="296"/>
                </a:lnTo>
                <a:lnTo>
                  <a:pt x="510" y="288"/>
                </a:lnTo>
                <a:lnTo>
                  <a:pt x="510" y="279"/>
                </a:lnTo>
                <a:lnTo>
                  <a:pt x="510" y="279"/>
                </a:lnTo>
                <a:lnTo>
                  <a:pt x="510" y="276"/>
                </a:lnTo>
                <a:lnTo>
                  <a:pt x="512" y="271"/>
                </a:lnTo>
                <a:lnTo>
                  <a:pt x="516" y="264"/>
                </a:lnTo>
                <a:lnTo>
                  <a:pt x="523" y="256"/>
                </a:lnTo>
                <a:lnTo>
                  <a:pt x="531" y="247"/>
                </a:lnTo>
                <a:lnTo>
                  <a:pt x="531" y="247"/>
                </a:lnTo>
                <a:lnTo>
                  <a:pt x="531" y="224"/>
                </a:lnTo>
                <a:lnTo>
                  <a:pt x="531" y="224"/>
                </a:lnTo>
                <a:lnTo>
                  <a:pt x="531" y="224"/>
                </a:lnTo>
                <a:lnTo>
                  <a:pt x="521" y="222"/>
                </a:lnTo>
                <a:lnTo>
                  <a:pt x="512" y="219"/>
                </a:lnTo>
                <a:lnTo>
                  <a:pt x="506" y="215"/>
                </a:lnTo>
                <a:lnTo>
                  <a:pt x="502" y="209"/>
                </a:lnTo>
                <a:lnTo>
                  <a:pt x="498" y="202"/>
                </a:lnTo>
                <a:lnTo>
                  <a:pt x="496" y="193"/>
                </a:lnTo>
                <a:lnTo>
                  <a:pt x="495" y="181"/>
                </a:lnTo>
                <a:lnTo>
                  <a:pt x="495" y="169"/>
                </a:lnTo>
                <a:lnTo>
                  <a:pt x="495" y="169"/>
                </a:lnTo>
                <a:lnTo>
                  <a:pt x="493" y="146"/>
                </a:lnTo>
                <a:lnTo>
                  <a:pt x="491" y="127"/>
                </a:lnTo>
                <a:lnTo>
                  <a:pt x="488" y="111"/>
                </a:lnTo>
                <a:lnTo>
                  <a:pt x="483" y="97"/>
                </a:lnTo>
                <a:lnTo>
                  <a:pt x="473" y="70"/>
                </a:lnTo>
                <a:lnTo>
                  <a:pt x="469" y="55"/>
                </a:lnTo>
                <a:lnTo>
                  <a:pt x="466" y="38"/>
                </a:lnTo>
                <a:lnTo>
                  <a:pt x="466" y="38"/>
                </a:lnTo>
                <a:lnTo>
                  <a:pt x="453" y="43"/>
                </a:lnTo>
                <a:lnTo>
                  <a:pt x="446" y="47"/>
                </a:lnTo>
                <a:lnTo>
                  <a:pt x="441" y="48"/>
                </a:lnTo>
                <a:lnTo>
                  <a:pt x="441" y="48"/>
                </a:lnTo>
                <a:lnTo>
                  <a:pt x="437" y="47"/>
                </a:lnTo>
                <a:lnTo>
                  <a:pt x="434" y="46"/>
                </a:lnTo>
                <a:lnTo>
                  <a:pt x="429" y="42"/>
                </a:lnTo>
                <a:lnTo>
                  <a:pt x="424" y="35"/>
                </a:lnTo>
                <a:lnTo>
                  <a:pt x="421" y="28"/>
                </a:lnTo>
                <a:lnTo>
                  <a:pt x="415" y="12"/>
                </a:lnTo>
                <a:lnTo>
                  <a:pt x="413" y="5"/>
                </a:lnTo>
                <a:lnTo>
                  <a:pt x="411" y="0"/>
                </a:lnTo>
                <a:lnTo>
                  <a:pt x="411" y="0"/>
                </a:lnTo>
                <a:lnTo>
                  <a:pt x="408" y="3"/>
                </a:lnTo>
                <a:lnTo>
                  <a:pt x="406" y="9"/>
                </a:lnTo>
                <a:lnTo>
                  <a:pt x="400" y="24"/>
                </a:lnTo>
                <a:lnTo>
                  <a:pt x="398" y="31"/>
                </a:lnTo>
                <a:lnTo>
                  <a:pt x="394" y="38"/>
                </a:lnTo>
                <a:lnTo>
                  <a:pt x="390" y="42"/>
                </a:lnTo>
                <a:lnTo>
                  <a:pt x="388" y="43"/>
                </a:lnTo>
                <a:lnTo>
                  <a:pt x="385" y="44"/>
                </a:lnTo>
                <a:lnTo>
                  <a:pt x="385" y="44"/>
                </a:lnTo>
                <a:lnTo>
                  <a:pt x="378" y="43"/>
                </a:lnTo>
                <a:lnTo>
                  <a:pt x="373" y="42"/>
                </a:lnTo>
                <a:lnTo>
                  <a:pt x="362" y="36"/>
                </a:lnTo>
                <a:lnTo>
                  <a:pt x="357" y="34"/>
                </a:lnTo>
                <a:lnTo>
                  <a:pt x="350" y="32"/>
                </a:lnTo>
                <a:lnTo>
                  <a:pt x="343" y="29"/>
                </a:lnTo>
                <a:lnTo>
                  <a:pt x="333" y="29"/>
                </a:lnTo>
                <a:lnTo>
                  <a:pt x="333" y="29"/>
                </a:lnTo>
                <a:lnTo>
                  <a:pt x="328" y="29"/>
                </a:lnTo>
                <a:lnTo>
                  <a:pt x="322" y="31"/>
                </a:lnTo>
                <a:lnTo>
                  <a:pt x="312" y="35"/>
                </a:lnTo>
                <a:lnTo>
                  <a:pt x="301" y="39"/>
                </a:lnTo>
                <a:lnTo>
                  <a:pt x="296" y="40"/>
                </a:lnTo>
                <a:lnTo>
                  <a:pt x="290" y="41"/>
                </a:lnTo>
                <a:lnTo>
                  <a:pt x="290" y="41"/>
                </a:lnTo>
                <a:lnTo>
                  <a:pt x="293" y="55"/>
                </a:lnTo>
                <a:lnTo>
                  <a:pt x="293" y="55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8" name="Freeform 123"/>
          <p:cNvSpPr>
            <a:spLocks/>
          </p:cNvSpPr>
          <p:nvPr/>
        </p:nvSpPr>
        <p:spPr bwMode="auto">
          <a:xfrm>
            <a:off x="747713" y="5554663"/>
            <a:ext cx="273050" cy="546100"/>
          </a:xfrm>
          <a:custGeom>
            <a:avLst/>
            <a:gdLst/>
            <a:ahLst/>
            <a:cxnLst>
              <a:cxn ang="0">
                <a:pos x="312" y="114"/>
              </a:cxn>
              <a:cxn ang="0">
                <a:pos x="301" y="124"/>
              </a:cxn>
              <a:cxn ang="0">
                <a:pos x="287" y="162"/>
              </a:cxn>
              <a:cxn ang="0">
                <a:pos x="300" y="210"/>
              </a:cxn>
              <a:cxn ang="0">
                <a:pos x="315" y="239"/>
              </a:cxn>
              <a:cxn ang="0">
                <a:pos x="306" y="271"/>
              </a:cxn>
              <a:cxn ang="0">
                <a:pos x="269" y="310"/>
              </a:cxn>
              <a:cxn ang="0">
                <a:pos x="254" y="330"/>
              </a:cxn>
              <a:cxn ang="0">
                <a:pos x="225" y="373"/>
              </a:cxn>
              <a:cxn ang="0">
                <a:pos x="224" y="417"/>
              </a:cxn>
              <a:cxn ang="0">
                <a:pos x="233" y="483"/>
              </a:cxn>
              <a:cxn ang="0">
                <a:pos x="236" y="532"/>
              </a:cxn>
              <a:cxn ang="0">
                <a:pos x="239" y="602"/>
              </a:cxn>
              <a:cxn ang="0">
                <a:pos x="222" y="610"/>
              </a:cxn>
              <a:cxn ang="0">
                <a:pos x="154" y="609"/>
              </a:cxn>
              <a:cxn ang="0">
                <a:pos x="133" y="618"/>
              </a:cxn>
              <a:cxn ang="0">
                <a:pos x="110" y="627"/>
              </a:cxn>
              <a:cxn ang="0">
                <a:pos x="91" y="618"/>
              </a:cxn>
              <a:cxn ang="0">
                <a:pos x="71" y="593"/>
              </a:cxn>
              <a:cxn ang="0">
                <a:pos x="70" y="506"/>
              </a:cxn>
              <a:cxn ang="0">
                <a:pos x="55" y="479"/>
              </a:cxn>
              <a:cxn ang="0">
                <a:pos x="40" y="426"/>
              </a:cxn>
              <a:cxn ang="0">
                <a:pos x="32" y="411"/>
              </a:cxn>
              <a:cxn ang="0">
                <a:pos x="5" y="389"/>
              </a:cxn>
              <a:cxn ang="0">
                <a:pos x="0" y="367"/>
              </a:cxn>
              <a:cxn ang="0">
                <a:pos x="4" y="344"/>
              </a:cxn>
              <a:cxn ang="0">
                <a:pos x="22" y="321"/>
              </a:cxn>
              <a:cxn ang="0">
                <a:pos x="57" y="305"/>
              </a:cxn>
              <a:cxn ang="0">
                <a:pos x="96" y="300"/>
              </a:cxn>
              <a:cxn ang="0">
                <a:pos x="121" y="311"/>
              </a:cxn>
              <a:cxn ang="0">
                <a:pos x="136" y="310"/>
              </a:cxn>
              <a:cxn ang="0">
                <a:pos x="149" y="299"/>
              </a:cxn>
              <a:cxn ang="0">
                <a:pos x="162" y="258"/>
              </a:cxn>
              <a:cxn ang="0">
                <a:pos x="202" y="208"/>
              </a:cxn>
              <a:cxn ang="0">
                <a:pos x="232" y="183"/>
              </a:cxn>
              <a:cxn ang="0">
                <a:pos x="228" y="180"/>
              </a:cxn>
              <a:cxn ang="0">
                <a:pos x="187" y="167"/>
              </a:cxn>
              <a:cxn ang="0">
                <a:pos x="155" y="128"/>
              </a:cxn>
              <a:cxn ang="0">
                <a:pos x="142" y="99"/>
              </a:cxn>
              <a:cxn ang="0">
                <a:pos x="146" y="75"/>
              </a:cxn>
              <a:cxn ang="0">
                <a:pos x="148" y="59"/>
              </a:cxn>
              <a:cxn ang="0">
                <a:pos x="169" y="51"/>
              </a:cxn>
              <a:cxn ang="0">
                <a:pos x="150" y="19"/>
              </a:cxn>
              <a:cxn ang="0">
                <a:pos x="222" y="14"/>
              </a:cxn>
              <a:cxn ang="0">
                <a:pos x="254" y="0"/>
              </a:cxn>
              <a:cxn ang="0">
                <a:pos x="260" y="16"/>
              </a:cxn>
              <a:cxn ang="0">
                <a:pos x="307" y="51"/>
              </a:cxn>
              <a:cxn ang="0">
                <a:pos x="322" y="68"/>
              </a:cxn>
              <a:cxn ang="0">
                <a:pos x="331" y="103"/>
              </a:cxn>
            </a:cxnLst>
            <a:rect l="0" t="0" r="r" b="b"/>
            <a:pathLst>
              <a:path w="331" h="627">
                <a:moveTo>
                  <a:pt x="331" y="109"/>
                </a:moveTo>
                <a:lnTo>
                  <a:pt x="331" y="109"/>
                </a:lnTo>
                <a:lnTo>
                  <a:pt x="321" y="112"/>
                </a:lnTo>
                <a:lnTo>
                  <a:pt x="312" y="114"/>
                </a:lnTo>
                <a:lnTo>
                  <a:pt x="308" y="115"/>
                </a:lnTo>
                <a:lnTo>
                  <a:pt x="305" y="118"/>
                </a:lnTo>
                <a:lnTo>
                  <a:pt x="302" y="120"/>
                </a:lnTo>
                <a:lnTo>
                  <a:pt x="301" y="124"/>
                </a:lnTo>
                <a:lnTo>
                  <a:pt x="301" y="124"/>
                </a:lnTo>
                <a:lnTo>
                  <a:pt x="294" y="137"/>
                </a:lnTo>
                <a:lnTo>
                  <a:pt x="290" y="150"/>
                </a:lnTo>
                <a:lnTo>
                  <a:pt x="287" y="162"/>
                </a:lnTo>
                <a:lnTo>
                  <a:pt x="287" y="174"/>
                </a:lnTo>
                <a:lnTo>
                  <a:pt x="289" y="185"/>
                </a:lnTo>
                <a:lnTo>
                  <a:pt x="293" y="197"/>
                </a:lnTo>
                <a:lnTo>
                  <a:pt x="300" y="210"/>
                </a:lnTo>
                <a:lnTo>
                  <a:pt x="308" y="223"/>
                </a:lnTo>
                <a:lnTo>
                  <a:pt x="308" y="223"/>
                </a:lnTo>
                <a:lnTo>
                  <a:pt x="313" y="231"/>
                </a:lnTo>
                <a:lnTo>
                  <a:pt x="315" y="239"/>
                </a:lnTo>
                <a:lnTo>
                  <a:pt x="315" y="248"/>
                </a:lnTo>
                <a:lnTo>
                  <a:pt x="313" y="256"/>
                </a:lnTo>
                <a:lnTo>
                  <a:pt x="310" y="264"/>
                </a:lnTo>
                <a:lnTo>
                  <a:pt x="306" y="271"/>
                </a:lnTo>
                <a:lnTo>
                  <a:pt x="300" y="277"/>
                </a:lnTo>
                <a:lnTo>
                  <a:pt x="294" y="286"/>
                </a:lnTo>
                <a:lnTo>
                  <a:pt x="282" y="298"/>
                </a:lnTo>
                <a:lnTo>
                  <a:pt x="269" y="310"/>
                </a:lnTo>
                <a:lnTo>
                  <a:pt x="259" y="321"/>
                </a:lnTo>
                <a:lnTo>
                  <a:pt x="255" y="326"/>
                </a:lnTo>
                <a:lnTo>
                  <a:pt x="254" y="330"/>
                </a:lnTo>
                <a:lnTo>
                  <a:pt x="254" y="330"/>
                </a:lnTo>
                <a:lnTo>
                  <a:pt x="244" y="341"/>
                </a:lnTo>
                <a:lnTo>
                  <a:pt x="236" y="352"/>
                </a:lnTo>
                <a:lnTo>
                  <a:pt x="230" y="363"/>
                </a:lnTo>
                <a:lnTo>
                  <a:pt x="225" y="373"/>
                </a:lnTo>
                <a:lnTo>
                  <a:pt x="223" y="384"/>
                </a:lnTo>
                <a:lnTo>
                  <a:pt x="223" y="395"/>
                </a:lnTo>
                <a:lnTo>
                  <a:pt x="223" y="406"/>
                </a:lnTo>
                <a:lnTo>
                  <a:pt x="224" y="417"/>
                </a:lnTo>
                <a:lnTo>
                  <a:pt x="229" y="439"/>
                </a:lnTo>
                <a:lnTo>
                  <a:pt x="232" y="460"/>
                </a:lnTo>
                <a:lnTo>
                  <a:pt x="233" y="472"/>
                </a:lnTo>
                <a:lnTo>
                  <a:pt x="233" y="483"/>
                </a:lnTo>
                <a:lnTo>
                  <a:pt x="233" y="495"/>
                </a:lnTo>
                <a:lnTo>
                  <a:pt x="231" y="506"/>
                </a:lnTo>
                <a:lnTo>
                  <a:pt x="231" y="506"/>
                </a:lnTo>
                <a:lnTo>
                  <a:pt x="236" y="532"/>
                </a:lnTo>
                <a:lnTo>
                  <a:pt x="239" y="556"/>
                </a:lnTo>
                <a:lnTo>
                  <a:pt x="240" y="579"/>
                </a:lnTo>
                <a:lnTo>
                  <a:pt x="239" y="602"/>
                </a:lnTo>
                <a:lnTo>
                  <a:pt x="239" y="602"/>
                </a:lnTo>
                <a:lnTo>
                  <a:pt x="234" y="605"/>
                </a:lnTo>
                <a:lnTo>
                  <a:pt x="231" y="608"/>
                </a:lnTo>
                <a:lnTo>
                  <a:pt x="226" y="609"/>
                </a:lnTo>
                <a:lnTo>
                  <a:pt x="222" y="610"/>
                </a:lnTo>
                <a:lnTo>
                  <a:pt x="213" y="610"/>
                </a:lnTo>
                <a:lnTo>
                  <a:pt x="202" y="609"/>
                </a:lnTo>
                <a:lnTo>
                  <a:pt x="202" y="609"/>
                </a:lnTo>
                <a:lnTo>
                  <a:pt x="154" y="609"/>
                </a:lnTo>
                <a:lnTo>
                  <a:pt x="154" y="609"/>
                </a:lnTo>
                <a:lnTo>
                  <a:pt x="148" y="610"/>
                </a:lnTo>
                <a:lnTo>
                  <a:pt x="142" y="612"/>
                </a:lnTo>
                <a:lnTo>
                  <a:pt x="133" y="618"/>
                </a:lnTo>
                <a:lnTo>
                  <a:pt x="129" y="622"/>
                </a:lnTo>
                <a:lnTo>
                  <a:pt x="124" y="625"/>
                </a:lnTo>
                <a:lnTo>
                  <a:pt x="117" y="626"/>
                </a:lnTo>
                <a:lnTo>
                  <a:pt x="110" y="627"/>
                </a:lnTo>
                <a:lnTo>
                  <a:pt x="110" y="627"/>
                </a:lnTo>
                <a:lnTo>
                  <a:pt x="103" y="626"/>
                </a:lnTo>
                <a:lnTo>
                  <a:pt x="96" y="623"/>
                </a:lnTo>
                <a:lnTo>
                  <a:pt x="91" y="618"/>
                </a:lnTo>
                <a:lnTo>
                  <a:pt x="85" y="612"/>
                </a:lnTo>
                <a:lnTo>
                  <a:pt x="79" y="607"/>
                </a:lnTo>
                <a:lnTo>
                  <a:pt x="75" y="600"/>
                </a:lnTo>
                <a:lnTo>
                  <a:pt x="71" y="593"/>
                </a:lnTo>
                <a:lnTo>
                  <a:pt x="70" y="587"/>
                </a:lnTo>
                <a:lnTo>
                  <a:pt x="70" y="587"/>
                </a:lnTo>
                <a:lnTo>
                  <a:pt x="70" y="506"/>
                </a:lnTo>
                <a:lnTo>
                  <a:pt x="70" y="506"/>
                </a:lnTo>
                <a:lnTo>
                  <a:pt x="70" y="506"/>
                </a:lnTo>
                <a:lnTo>
                  <a:pt x="63" y="497"/>
                </a:lnTo>
                <a:lnTo>
                  <a:pt x="58" y="488"/>
                </a:lnTo>
                <a:lnTo>
                  <a:pt x="55" y="479"/>
                </a:lnTo>
                <a:lnTo>
                  <a:pt x="53" y="468"/>
                </a:lnTo>
                <a:lnTo>
                  <a:pt x="47" y="448"/>
                </a:lnTo>
                <a:lnTo>
                  <a:pt x="43" y="436"/>
                </a:lnTo>
                <a:lnTo>
                  <a:pt x="40" y="426"/>
                </a:lnTo>
                <a:lnTo>
                  <a:pt x="40" y="426"/>
                </a:lnTo>
                <a:lnTo>
                  <a:pt x="39" y="421"/>
                </a:lnTo>
                <a:lnTo>
                  <a:pt x="38" y="418"/>
                </a:lnTo>
                <a:lnTo>
                  <a:pt x="32" y="411"/>
                </a:lnTo>
                <a:lnTo>
                  <a:pt x="26" y="406"/>
                </a:lnTo>
                <a:lnTo>
                  <a:pt x="18" y="402"/>
                </a:lnTo>
                <a:lnTo>
                  <a:pt x="11" y="396"/>
                </a:lnTo>
                <a:lnTo>
                  <a:pt x="5" y="389"/>
                </a:lnTo>
                <a:lnTo>
                  <a:pt x="3" y="384"/>
                </a:lnTo>
                <a:lnTo>
                  <a:pt x="1" y="380"/>
                </a:lnTo>
                <a:lnTo>
                  <a:pt x="0" y="374"/>
                </a:lnTo>
                <a:lnTo>
                  <a:pt x="0" y="367"/>
                </a:lnTo>
                <a:lnTo>
                  <a:pt x="0" y="367"/>
                </a:lnTo>
                <a:lnTo>
                  <a:pt x="0" y="359"/>
                </a:lnTo>
                <a:lnTo>
                  <a:pt x="2" y="351"/>
                </a:lnTo>
                <a:lnTo>
                  <a:pt x="4" y="344"/>
                </a:lnTo>
                <a:lnTo>
                  <a:pt x="7" y="338"/>
                </a:lnTo>
                <a:lnTo>
                  <a:pt x="11" y="332"/>
                </a:lnTo>
                <a:lnTo>
                  <a:pt x="16" y="327"/>
                </a:lnTo>
                <a:lnTo>
                  <a:pt x="22" y="321"/>
                </a:lnTo>
                <a:lnTo>
                  <a:pt x="27" y="317"/>
                </a:lnTo>
                <a:lnTo>
                  <a:pt x="34" y="313"/>
                </a:lnTo>
                <a:lnTo>
                  <a:pt x="41" y="310"/>
                </a:lnTo>
                <a:lnTo>
                  <a:pt x="57" y="305"/>
                </a:lnTo>
                <a:lnTo>
                  <a:pt x="75" y="302"/>
                </a:lnTo>
                <a:lnTo>
                  <a:pt x="92" y="300"/>
                </a:lnTo>
                <a:lnTo>
                  <a:pt x="92" y="300"/>
                </a:lnTo>
                <a:lnTo>
                  <a:pt x="96" y="300"/>
                </a:lnTo>
                <a:lnTo>
                  <a:pt x="100" y="302"/>
                </a:lnTo>
                <a:lnTo>
                  <a:pt x="108" y="306"/>
                </a:lnTo>
                <a:lnTo>
                  <a:pt x="116" y="310"/>
                </a:lnTo>
                <a:lnTo>
                  <a:pt x="121" y="311"/>
                </a:lnTo>
                <a:lnTo>
                  <a:pt x="125" y="312"/>
                </a:lnTo>
                <a:lnTo>
                  <a:pt x="125" y="312"/>
                </a:lnTo>
                <a:lnTo>
                  <a:pt x="131" y="311"/>
                </a:lnTo>
                <a:lnTo>
                  <a:pt x="136" y="310"/>
                </a:lnTo>
                <a:lnTo>
                  <a:pt x="140" y="309"/>
                </a:lnTo>
                <a:lnTo>
                  <a:pt x="144" y="306"/>
                </a:lnTo>
                <a:lnTo>
                  <a:pt x="147" y="303"/>
                </a:lnTo>
                <a:lnTo>
                  <a:pt x="149" y="299"/>
                </a:lnTo>
                <a:lnTo>
                  <a:pt x="153" y="291"/>
                </a:lnTo>
                <a:lnTo>
                  <a:pt x="156" y="281"/>
                </a:lnTo>
                <a:lnTo>
                  <a:pt x="159" y="269"/>
                </a:lnTo>
                <a:lnTo>
                  <a:pt x="162" y="258"/>
                </a:lnTo>
                <a:lnTo>
                  <a:pt x="165" y="245"/>
                </a:lnTo>
                <a:lnTo>
                  <a:pt x="165" y="245"/>
                </a:lnTo>
                <a:lnTo>
                  <a:pt x="202" y="208"/>
                </a:lnTo>
                <a:lnTo>
                  <a:pt x="202" y="208"/>
                </a:lnTo>
                <a:lnTo>
                  <a:pt x="210" y="203"/>
                </a:lnTo>
                <a:lnTo>
                  <a:pt x="223" y="192"/>
                </a:lnTo>
                <a:lnTo>
                  <a:pt x="229" y="188"/>
                </a:lnTo>
                <a:lnTo>
                  <a:pt x="232" y="183"/>
                </a:lnTo>
                <a:lnTo>
                  <a:pt x="232" y="182"/>
                </a:lnTo>
                <a:lnTo>
                  <a:pt x="232" y="181"/>
                </a:lnTo>
                <a:lnTo>
                  <a:pt x="231" y="180"/>
                </a:lnTo>
                <a:lnTo>
                  <a:pt x="228" y="180"/>
                </a:lnTo>
                <a:lnTo>
                  <a:pt x="228" y="180"/>
                </a:lnTo>
                <a:lnTo>
                  <a:pt x="211" y="176"/>
                </a:lnTo>
                <a:lnTo>
                  <a:pt x="198" y="172"/>
                </a:lnTo>
                <a:lnTo>
                  <a:pt x="187" y="167"/>
                </a:lnTo>
                <a:lnTo>
                  <a:pt x="178" y="160"/>
                </a:lnTo>
                <a:lnTo>
                  <a:pt x="170" y="151"/>
                </a:lnTo>
                <a:lnTo>
                  <a:pt x="162" y="141"/>
                </a:lnTo>
                <a:lnTo>
                  <a:pt x="155" y="128"/>
                </a:lnTo>
                <a:lnTo>
                  <a:pt x="147" y="113"/>
                </a:lnTo>
                <a:lnTo>
                  <a:pt x="147" y="113"/>
                </a:lnTo>
                <a:lnTo>
                  <a:pt x="144" y="105"/>
                </a:lnTo>
                <a:lnTo>
                  <a:pt x="142" y="99"/>
                </a:lnTo>
                <a:lnTo>
                  <a:pt x="142" y="94"/>
                </a:lnTo>
                <a:lnTo>
                  <a:pt x="142" y="91"/>
                </a:lnTo>
                <a:lnTo>
                  <a:pt x="145" y="82"/>
                </a:lnTo>
                <a:lnTo>
                  <a:pt x="146" y="75"/>
                </a:lnTo>
                <a:lnTo>
                  <a:pt x="147" y="66"/>
                </a:lnTo>
                <a:lnTo>
                  <a:pt x="147" y="66"/>
                </a:lnTo>
                <a:lnTo>
                  <a:pt x="147" y="61"/>
                </a:lnTo>
                <a:lnTo>
                  <a:pt x="148" y="59"/>
                </a:lnTo>
                <a:lnTo>
                  <a:pt x="150" y="57"/>
                </a:lnTo>
                <a:lnTo>
                  <a:pt x="154" y="55"/>
                </a:lnTo>
                <a:lnTo>
                  <a:pt x="161" y="53"/>
                </a:lnTo>
                <a:lnTo>
                  <a:pt x="169" y="51"/>
                </a:lnTo>
                <a:lnTo>
                  <a:pt x="169" y="51"/>
                </a:lnTo>
                <a:lnTo>
                  <a:pt x="150" y="19"/>
                </a:lnTo>
                <a:lnTo>
                  <a:pt x="150" y="19"/>
                </a:lnTo>
                <a:lnTo>
                  <a:pt x="150" y="19"/>
                </a:lnTo>
                <a:lnTo>
                  <a:pt x="182" y="19"/>
                </a:lnTo>
                <a:lnTo>
                  <a:pt x="195" y="17"/>
                </a:lnTo>
                <a:lnTo>
                  <a:pt x="209" y="16"/>
                </a:lnTo>
                <a:lnTo>
                  <a:pt x="222" y="14"/>
                </a:lnTo>
                <a:lnTo>
                  <a:pt x="233" y="10"/>
                </a:lnTo>
                <a:lnTo>
                  <a:pt x="244" y="6"/>
                </a:lnTo>
                <a:lnTo>
                  <a:pt x="254" y="0"/>
                </a:lnTo>
                <a:lnTo>
                  <a:pt x="254" y="0"/>
                </a:lnTo>
                <a:lnTo>
                  <a:pt x="254" y="5"/>
                </a:lnTo>
                <a:lnTo>
                  <a:pt x="255" y="9"/>
                </a:lnTo>
                <a:lnTo>
                  <a:pt x="257" y="13"/>
                </a:lnTo>
                <a:lnTo>
                  <a:pt x="260" y="16"/>
                </a:lnTo>
                <a:lnTo>
                  <a:pt x="268" y="24"/>
                </a:lnTo>
                <a:lnTo>
                  <a:pt x="276" y="30"/>
                </a:lnTo>
                <a:lnTo>
                  <a:pt x="297" y="44"/>
                </a:lnTo>
                <a:lnTo>
                  <a:pt x="307" y="51"/>
                </a:lnTo>
                <a:lnTo>
                  <a:pt x="316" y="58"/>
                </a:lnTo>
                <a:lnTo>
                  <a:pt x="316" y="58"/>
                </a:lnTo>
                <a:lnTo>
                  <a:pt x="320" y="62"/>
                </a:lnTo>
                <a:lnTo>
                  <a:pt x="322" y="68"/>
                </a:lnTo>
                <a:lnTo>
                  <a:pt x="324" y="82"/>
                </a:lnTo>
                <a:lnTo>
                  <a:pt x="327" y="93"/>
                </a:lnTo>
                <a:lnTo>
                  <a:pt x="329" y="99"/>
                </a:lnTo>
                <a:lnTo>
                  <a:pt x="331" y="103"/>
                </a:lnTo>
                <a:lnTo>
                  <a:pt x="331" y="103"/>
                </a:lnTo>
                <a:lnTo>
                  <a:pt x="331" y="109"/>
                </a:lnTo>
                <a:lnTo>
                  <a:pt x="331" y="1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9" name="Freeform 124"/>
          <p:cNvSpPr>
            <a:spLocks/>
          </p:cNvSpPr>
          <p:nvPr/>
        </p:nvSpPr>
        <p:spPr bwMode="auto">
          <a:xfrm>
            <a:off x="717550" y="5634038"/>
            <a:ext cx="222250" cy="195262"/>
          </a:xfrm>
          <a:custGeom>
            <a:avLst/>
            <a:gdLst/>
            <a:ahLst/>
            <a:cxnLst>
              <a:cxn ang="0">
                <a:pos x="177" y="15"/>
              </a:cxn>
              <a:cxn ang="0">
                <a:pos x="160" y="15"/>
              </a:cxn>
              <a:cxn ang="0">
                <a:pos x="154" y="13"/>
              </a:cxn>
              <a:cxn ang="0">
                <a:pos x="146" y="5"/>
              </a:cxn>
              <a:cxn ang="0">
                <a:pos x="139" y="1"/>
              </a:cxn>
              <a:cxn ang="0">
                <a:pos x="133" y="0"/>
              </a:cxn>
              <a:cxn ang="0">
                <a:pos x="113" y="2"/>
              </a:cxn>
              <a:cxn ang="0">
                <a:pos x="80" y="9"/>
              </a:cxn>
              <a:cxn ang="0">
                <a:pos x="50" y="21"/>
              </a:cxn>
              <a:cxn ang="0">
                <a:pos x="41" y="28"/>
              </a:cxn>
              <a:cxn ang="0">
                <a:pos x="38" y="37"/>
              </a:cxn>
              <a:cxn ang="0">
                <a:pos x="39" y="45"/>
              </a:cxn>
              <a:cxn ang="0">
                <a:pos x="43" y="63"/>
              </a:cxn>
              <a:cxn ang="0">
                <a:pos x="46" y="74"/>
              </a:cxn>
              <a:cxn ang="0">
                <a:pos x="43" y="94"/>
              </a:cxn>
              <a:cxn ang="0">
                <a:pos x="39" y="105"/>
              </a:cxn>
              <a:cxn ang="0">
                <a:pos x="32" y="109"/>
              </a:cxn>
              <a:cxn ang="0">
                <a:pos x="27" y="111"/>
              </a:cxn>
              <a:cxn ang="0">
                <a:pos x="14" y="106"/>
              </a:cxn>
              <a:cxn ang="0">
                <a:pos x="4" y="96"/>
              </a:cxn>
              <a:cxn ang="0">
                <a:pos x="1" y="102"/>
              </a:cxn>
              <a:cxn ang="0">
                <a:pos x="1" y="111"/>
              </a:cxn>
              <a:cxn ang="0">
                <a:pos x="1" y="117"/>
              </a:cxn>
              <a:cxn ang="0">
                <a:pos x="2" y="124"/>
              </a:cxn>
              <a:cxn ang="0">
                <a:pos x="7" y="130"/>
              </a:cxn>
              <a:cxn ang="0">
                <a:pos x="19" y="138"/>
              </a:cxn>
              <a:cxn ang="0">
                <a:pos x="37" y="147"/>
              </a:cxn>
              <a:cxn ang="0">
                <a:pos x="53" y="162"/>
              </a:cxn>
              <a:cxn ang="0">
                <a:pos x="56" y="168"/>
              </a:cxn>
              <a:cxn ang="0">
                <a:pos x="62" y="192"/>
              </a:cxn>
              <a:cxn ang="0">
                <a:pos x="67" y="208"/>
              </a:cxn>
              <a:cxn ang="0">
                <a:pos x="75" y="224"/>
              </a:cxn>
              <a:cxn ang="0">
                <a:pos x="78" y="224"/>
              </a:cxn>
              <a:cxn ang="0">
                <a:pos x="78" y="224"/>
              </a:cxn>
              <a:cxn ang="0">
                <a:pos x="101" y="213"/>
              </a:cxn>
              <a:cxn ang="0">
                <a:pos x="130" y="209"/>
              </a:cxn>
              <a:cxn ang="0">
                <a:pos x="134" y="209"/>
              </a:cxn>
              <a:cxn ang="0">
                <a:pos x="146" y="215"/>
              </a:cxn>
              <a:cxn ang="0">
                <a:pos x="159" y="220"/>
              </a:cxn>
              <a:cxn ang="0">
                <a:pos x="163" y="221"/>
              </a:cxn>
              <a:cxn ang="0">
                <a:pos x="174" y="219"/>
              </a:cxn>
              <a:cxn ang="0">
                <a:pos x="182" y="215"/>
              </a:cxn>
              <a:cxn ang="0">
                <a:pos x="187" y="208"/>
              </a:cxn>
              <a:cxn ang="0">
                <a:pos x="194" y="190"/>
              </a:cxn>
              <a:cxn ang="0">
                <a:pos x="200" y="167"/>
              </a:cxn>
              <a:cxn ang="0">
                <a:pos x="203" y="154"/>
              </a:cxn>
              <a:cxn ang="0">
                <a:pos x="240" y="117"/>
              </a:cxn>
              <a:cxn ang="0">
                <a:pos x="261" y="101"/>
              </a:cxn>
              <a:cxn ang="0">
                <a:pos x="270" y="92"/>
              </a:cxn>
              <a:cxn ang="0">
                <a:pos x="270" y="90"/>
              </a:cxn>
              <a:cxn ang="0">
                <a:pos x="266" y="89"/>
              </a:cxn>
              <a:cxn ang="0">
                <a:pos x="249" y="85"/>
              </a:cxn>
              <a:cxn ang="0">
                <a:pos x="225" y="76"/>
              </a:cxn>
              <a:cxn ang="0">
                <a:pos x="208" y="60"/>
              </a:cxn>
              <a:cxn ang="0">
                <a:pos x="193" y="37"/>
              </a:cxn>
              <a:cxn ang="0">
                <a:pos x="185" y="22"/>
              </a:cxn>
              <a:cxn ang="0">
                <a:pos x="177" y="15"/>
              </a:cxn>
            </a:cxnLst>
            <a:rect l="0" t="0" r="r" b="b"/>
            <a:pathLst>
              <a:path w="270" h="224">
                <a:moveTo>
                  <a:pt x="177" y="15"/>
                </a:moveTo>
                <a:lnTo>
                  <a:pt x="177" y="15"/>
                </a:lnTo>
                <a:lnTo>
                  <a:pt x="160" y="15"/>
                </a:lnTo>
                <a:lnTo>
                  <a:pt x="160" y="15"/>
                </a:lnTo>
                <a:lnTo>
                  <a:pt x="156" y="14"/>
                </a:lnTo>
                <a:lnTo>
                  <a:pt x="154" y="13"/>
                </a:lnTo>
                <a:lnTo>
                  <a:pt x="149" y="7"/>
                </a:lnTo>
                <a:lnTo>
                  <a:pt x="146" y="5"/>
                </a:lnTo>
                <a:lnTo>
                  <a:pt x="142" y="2"/>
                </a:lnTo>
                <a:lnTo>
                  <a:pt x="139" y="1"/>
                </a:lnTo>
                <a:lnTo>
                  <a:pt x="133" y="0"/>
                </a:lnTo>
                <a:lnTo>
                  <a:pt x="133" y="0"/>
                </a:lnTo>
                <a:lnTo>
                  <a:pt x="125" y="1"/>
                </a:lnTo>
                <a:lnTo>
                  <a:pt x="113" y="2"/>
                </a:lnTo>
                <a:lnTo>
                  <a:pt x="96" y="5"/>
                </a:lnTo>
                <a:lnTo>
                  <a:pt x="80" y="9"/>
                </a:lnTo>
                <a:lnTo>
                  <a:pt x="64" y="14"/>
                </a:lnTo>
                <a:lnTo>
                  <a:pt x="50" y="21"/>
                </a:lnTo>
                <a:lnTo>
                  <a:pt x="45" y="24"/>
                </a:lnTo>
                <a:lnTo>
                  <a:pt x="41" y="28"/>
                </a:lnTo>
                <a:lnTo>
                  <a:pt x="39" y="32"/>
                </a:lnTo>
                <a:lnTo>
                  <a:pt x="38" y="37"/>
                </a:lnTo>
                <a:lnTo>
                  <a:pt x="38" y="37"/>
                </a:lnTo>
                <a:lnTo>
                  <a:pt x="39" y="45"/>
                </a:lnTo>
                <a:lnTo>
                  <a:pt x="41" y="54"/>
                </a:lnTo>
                <a:lnTo>
                  <a:pt x="43" y="63"/>
                </a:lnTo>
                <a:lnTo>
                  <a:pt x="46" y="74"/>
                </a:lnTo>
                <a:lnTo>
                  <a:pt x="46" y="74"/>
                </a:lnTo>
                <a:lnTo>
                  <a:pt x="45" y="89"/>
                </a:lnTo>
                <a:lnTo>
                  <a:pt x="43" y="94"/>
                </a:lnTo>
                <a:lnTo>
                  <a:pt x="41" y="100"/>
                </a:lnTo>
                <a:lnTo>
                  <a:pt x="39" y="105"/>
                </a:lnTo>
                <a:lnTo>
                  <a:pt x="37" y="107"/>
                </a:lnTo>
                <a:lnTo>
                  <a:pt x="32" y="109"/>
                </a:lnTo>
                <a:lnTo>
                  <a:pt x="27" y="111"/>
                </a:lnTo>
                <a:lnTo>
                  <a:pt x="27" y="111"/>
                </a:lnTo>
                <a:lnTo>
                  <a:pt x="19" y="109"/>
                </a:lnTo>
                <a:lnTo>
                  <a:pt x="14" y="106"/>
                </a:lnTo>
                <a:lnTo>
                  <a:pt x="8" y="101"/>
                </a:lnTo>
                <a:lnTo>
                  <a:pt x="4" y="96"/>
                </a:lnTo>
                <a:lnTo>
                  <a:pt x="4" y="96"/>
                </a:lnTo>
                <a:lnTo>
                  <a:pt x="1" y="102"/>
                </a:lnTo>
                <a:lnTo>
                  <a:pt x="0" y="107"/>
                </a:lnTo>
                <a:lnTo>
                  <a:pt x="1" y="111"/>
                </a:lnTo>
                <a:lnTo>
                  <a:pt x="1" y="117"/>
                </a:lnTo>
                <a:lnTo>
                  <a:pt x="1" y="117"/>
                </a:lnTo>
                <a:lnTo>
                  <a:pt x="2" y="122"/>
                </a:lnTo>
                <a:lnTo>
                  <a:pt x="2" y="124"/>
                </a:lnTo>
                <a:lnTo>
                  <a:pt x="4" y="128"/>
                </a:lnTo>
                <a:lnTo>
                  <a:pt x="7" y="130"/>
                </a:lnTo>
                <a:lnTo>
                  <a:pt x="12" y="135"/>
                </a:lnTo>
                <a:lnTo>
                  <a:pt x="19" y="138"/>
                </a:lnTo>
                <a:lnTo>
                  <a:pt x="29" y="143"/>
                </a:lnTo>
                <a:lnTo>
                  <a:pt x="37" y="147"/>
                </a:lnTo>
                <a:lnTo>
                  <a:pt x="45" y="153"/>
                </a:lnTo>
                <a:lnTo>
                  <a:pt x="53" y="162"/>
                </a:lnTo>
                <a:lnTo>
                  <a:pt x="53" y="162"/>
                </a:lnTo>
                <a:lnTo>
                  <a:pt x="56" y="168"/>
                </a:lnTo>
                <a:lnTo>
                  <a:pt x="58" y="175"/>
                </a:lnTo>
                <a:lnTo>
                  <a:pt x="62" y="192"/>
                </a:lnTo>
                <a:lnTo>
                  <a:pt x="64" y="200"/>
                </a:lnTo>
                <a:lnTo>
                  <a:pt x="67" y="208"/>
                </a:lnTo>
                <a:lnTo>
                  <a:pt x="70" y="216"/>
                </a:lnTo>
                <a:lnTo>
                  <a:pt x="75" y="224"/>
                </a:lnTo>
                <a:lnTo>
                  <a:pt x="75" y="224"/>
                </a:lnTo>
                <a:lnTo>
                  <a:pt x="78" y="224"/>
                </a:lnTo>
                <a:lnTo>
                  <a:pt x="78" y="224"/>
                </a:lnTo>
                <a:lnTo>
                  <a:pt x="78" y="224"/>
                </a:lnTo>
                <a:lnTo>
                  <a:pt x="90" y="218"/>
                </a:lnTo>
                <a:lnTo>
                  <a:pt x="101" y="213"/>
                </a:lnTo>
                <a:lnTo>
                  <a:pt x="115" y="211"/>
                </a:lnTo>
                <a:lnTo>
                  <a:pt x="130" y="209"/>
                </a:lnTo>
                <a:lnTo>
                  <a:pt x="130" y="209"/>
                </a:lnTo>
                <a:lnTo>
                  <a:pt x="134" y="209"/>
                </a:lnTo>
                <a:lnTo>
                  <a:pt x="138" y="211"/>
                </a:lnTo>
                <a:lnTo>
                  <a:pt x="146" y="215"/>
                </a:lnTo>
                <a:lnTo>
                  <a:pt x="154" y="219"/>
                </a:lnTo>
                <a:lnTo>
                  <a:pt x="159" y="220"/>
                </a:lnTo>
                <a:lnTo>
                  <a:pt x="163" y="221"/>
                </a:lnTo>
                <a:lnTo>
                  <a:pt x="163" y="221"/>
                </a:lnTo>
                <a:lnTo>
                  <a:pt x="169" y="220"/>
                </a:lnTo>
                <a:lnTo>
                  <a:pt x="174" y="219"/>
                </a:lnTo>
                <a:lnTo>
                  <a:pt x="178" y="218"/>
                </a:lnTo>
                <a:lnTo>
                  <a:pt x="182" y="215"/>
                </a:lnTo>
                <a:lnTo>
                  <a:pt x="185" y="212"/>
                </a:lnTo>
                <a:lnTo>
                  <a:pt x="187" y="208"/>
                </a:lnTo>
                <a:lnTo>
                  <a:pt x="191" y="200"/>
                </a:lnTo>
                <a:lnTo>
                  <a:pt x="194" y="190"/>
                </a:lnTo>
                <a:lnTo>
                  <a:pt x="197" y="178"/>
                </a:lnTo>
                <a:lnTo>
                  <a:pt x="200" y="167"/>
                </a:lnTo>
                <a:lnTo>
                  <a:pt x="203" y="154"/>
                </a:lnTo>
                <a:lnTo>
                  <a:pt x="203" y="154"/>
                </a:lnTo>
                <a:lnTo>
                  <a:pt x="240" y="117"/>
                </a:lnTo>
                <a:lnTo>
                  <a:pt x="240" y="117"/>
                </a:lnTo>
                <a:lnTo>
                  <a:pt x="248" y="112"/>
                </a:lnTo>
                <a:lnTo>
                  <a:pt x="261" y="101"/>
                </a:lnTo>
                <a:lnTo>
                  <a:pt x="267" y="97"/>
                </a:lnTo>
                <a:lnTo>
                  <a:pt x="270" y="92"/>
                </a:lnTo>
                <a:lnTo>
                  <a:pt x="270" y="91"/>
                </a:lnTo>
                <a:lnTo>
                  <a:pt x="270" y="90"/>
                </a:lnTo>
                <a:lnTo>
                  <a:pt x="269" y="89"/>
                </a:lnTo>
                <a:lnTo>
                  <a:pt x="266" y="89"/>
                </a:lnTo>
                <a:lnTo>
                  <a:pt x="266" y="89"/>
                </a:lnTo>
                <a:lnTo>
                  <a:pt x="249" y="85"/>
                </a:lnTo>
                <a:lnTo>
                  <a:pt x="236" y="81"/>
                </a:lnTo>
                <a:lnTo>
                  <a:pt x="225" y="76"/>
                </a:lnTo>
                <a:lnTo>
                  <a:pt x="216" y="69"/>
                </a:lnTo>
                <a:lnTo>
                  <a:pt x="208" y="60"/>
                </a:lnTo>
                <a:lnTo>
                  <a:pt x="200" y="50"/>
                </a:lnTo>
                <a:lnTo>
                  <a:pt x="193" y="37"/>
                </a:lnTo>
                <a:lnTo>
                  <a:pt x="185" y="22"/>
                </a:lnTo>
                <a:lnTo>
                  <a:pt x="185" y="22"/>
                </a:lnTo>
                <a:lnTo>
                  <a:pt x="177" y="15"/>
                </a:lnTo>
                <a:lnTo>
                  <a:pt x="177" y="1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0" name="Freeform 125"/>
          <p:cNvSpPr>
            <a:spLocks/>
          </p:cNvSpPr>
          <p:nvPr/>
        </p:nvSpPr>
        <p:spPr bwMode="auto">
          <a:xfrm>
            <a:off x="493713" y="5368925"/>
            <a:ext cx="179387" cy="176213"/>
          </a:xfrm>
          <a:custGeom>
            <a:avLst/>
            <a:gdLst/>
            <a:ahLst/>
            <a:cxnLst>
              <a:cxn ang="0">
                <a:pos x="173" y="8"/>
              </a:cxn>
              <a:cxn ang="0">
                <a:pos x="163" y="24"/>
              </a:cxn>
              <a:cxn ang="0">
                <a:pos x="154" y="35"/>
              </a:cxn>
              <a:cxn ang="0">
                <a:pos x="141" y="39"/>
              </a:cxn>
              <a:cxn ang="0">
                <a:pos x="124" y="42"/>
              </a:cxn>
              <a:cxn ang="0">
                <a:pos x="118" y="40"/>
              </a:cxn>
              <a:cxn ang="0">
                <a:pos x="109" y="37"/>
              </a:cxn>
              <a:cxn ang="0">
                <a:pos x="101" y="29"/>
              </a:cxn>
              <a:cxn ang="0">
                <a:pos x="95" y="14"/>
              </a:cxn>
              <a:cxn ang="0">
                <a:pos x="90" y="7"/>
              </a:cxn>
              <a:cxn ang="0">
                <a:pos x="82" y="2"/>
              </a:cxn>
              <a:cxn ang="0">
                <a:pos x="69" y="0"/>
              </a:cxn>
              <a:cxn ang="0">
                <a:pos x="59" y="1"/>
              </a:cxn>
              <a:cxn ang="0">
                <a:pos x="36" y="9"/>
              </a:cxn>
              <a:cxn ang="0">
                <a:pos x="15" y="23"/>
              </a:cxn>
              <a:cxn ang="0">
                <a:pos x="3" y="37"/>
              </a:cxn>
              <a:cxn ang="0">
                <a:pos x="0" y="47"/>
              </a:cxn>
              <a:cxn ang="0">
                <a:pos x="0" y="52"/>
              </a:cxn>
              <a:cxn ang="0">
                <a:pos x="2" y="73"/>
              </a:cxn>
              <a:cxn ang="0">
                <a:pos x="11" y="94"/>
              </a:cxn>
              <a:cxn ang="0">
                <a:pos x="24" y="117"/>
              </a:cxn>
              <a:cxn ang="0">
                <a:pos x="59" y="161"/>
              </a:cxn>
              <a:cxn ang="0">
                <a:pos x="94" y="193"/>
              </a:cxn>
              <a:cxn ang="0">
                <a:pos x="110" y="203"/>
              </a:cxn>
              <a:cxn ang="0">
                <a:pos x="110" y="199"/>
              </a:cxn>
              <a:cxn ang="0">
                <a:pos x="115" y="192"/>
              </a:cxn>
              <a:cxn ang="0">
                <a:pos x="129" y="182"/>
              </a:cxn>
              <a:cxn ang="0">
                <a:pos x="155" y="170"/>
              </a:cxn>
              <a:cxn ang="0">
                <a:pos x="183" y="164"/>
              </a:cxn>
              <a:cxn ang="0">
                <a:pos x="194" y="162"/>
              </a:cxn>
              <a:cxn ang="0">
                <a:pos x="201" y="162"/>
              </a:cxn>
              <a:cxn ang="0">
                <a:pos x="201" y="145"/>
              </a:cxn>
              <a:cxn ang="0">
                <a:pos x="198" y="130"/>
              </a:cxn>
              <a:cxn ang="0">
                <a:pos x="191" y="111"/>
              </a:cxn>
              <a:cxn ang="0">
                <a:pos x="191" y="104"/>
              </a:cxn>
              <a:cxn ang="0">
                <a:pos x="192" y="97"/>
              </a:cxn>
              <a:cxn ang="0">
                <a:pos x="200" y="90"/>
              </a:cxn>
              <a:cxn ang="0">
                <a:pos x="210" y="85"/>
              </a:cxn>
              <a:cxn ang="0">
                <a:pos x="219" y="77"/>
              </a:cxn>
              <a:cxn ang="0">
                <a:pos x="220" y="70"/>
              </a:cxn>
              <a:cxn ang="0">
                <a:pos x="220" y="65"/>
              </a:cxn>
              <a:cxn ang="0">
                <a:pos x="215" y="55"/>
              </a:cxn>
              <a:cxn ang="0">
                <a:pos x="205" y="43"/>
              </a:cxn>
              <a:cxn ang="0">
                <a:pos x="187" y="29"/>
              </a:cxn>
              <a:cxn ang="0">
                <a:pos x="177" y="16"/>
              </a:cxn>
              <a:cxn ang="0">
                <a:pos x="173" y="7"/>
              </a:cxn>
              <a:cxn ang="0">
                <a:pos x="173" y="0"/>
              </a:cxn>
              <a:cxn ang="0">
                <a:pos x="173" y="8"/>
              </a:cxn>
            </a:cxnLst>
            <a:rect l="0" t="0" r="r" b="b"/>
            <a:pathLst>
              <a:path w="220" h="203">
                <a:moveTo>
                  <a:pt x="173" y="8"/>
                </a:moveTo>
                <a:lnTo>
                  <a:pt x="173" y="8"/>
                </a:lnTo>
                <a:lnTo>
                  <a:pt x="168" y="17"/>
                </a:lnTo>
                <a:lnTo>
                  <a:pt x="163" y="24"/>
                </a:lnTo>
                <a:lnTo>
                  <a:pt x="159" y="30"/>
                </a:lnTo>
                <a:lnTo>
                  <a:pt x="154" y="35"/>
                </a:lnTo>
                <a:lnTo>
                  <a:pt x="148" y="38"/>
                </a:lnTo>
                <a:lnTo>
                  <a:pt x="141" y="39"/>
                </a:lnTo>
                <a:lnTo>
                  <a:pt x="133" y="40"/>
                </a:lnTo>
                <a:lnTo>
                  <a:pt x="124" y="42"/>
                </a:lnTo>
                <a:lnTo>
                  <a:pt x="124" y="42"/>
                </a:lnTo>
                <a:lnTo>
                  <a:pt x="118" y="40"/>
                </a:lnTo>
                <a:lnTo>
                  <a:pt x="114" y="39"/>
                </a:lnTo>
                <a:lnTo>
                  <a:pt x="109" y="37"/>
                </a:lnTo>
                <a:lnTo>
                  <a:pt x="106" y="35"/>
                </a:lnTo>
                <a:lnTo>
                  <a:pt x="101" y="29"/>
                </a:lnTo>
                <a:lnTo>
                  <a:pt x="99" y="21"/>
                </a:lnTo>
                <a:lnTo>
                  <a:pt x="95" y="14"/>
                </a:lnTo>
                <a:lnTo>
                  <a:pt x="93" y="10"/>
                </a:lnTo>
                <a:lnTo>
                  <a:pt x="90" y="7"/>
                </a:lnTo>
                <a:lnTo>
                  <a:pt x="86" y="5"/>
                </a:lnTo>
                <a:lnTo>
                  <a:pt x="82" y="2"/>
                </a:lnTo>
                <a:lnTo>
                  <a:pt x="76" y="1"/>
                </a:lnTo>
                <a:lnTo>
                  <a:pt x="69" y="0"/>
                </a:lnTo>
                <a:lnTo>
                  <a:pt x="69" y="0"/>
                </a:lnTo>
                <a:lnTo>
                  <a:pt x="59" y="1"/>
                </a:lnTo>
                <a:lnTo>
                  <a:pt x="47" y="5"/>
                </a:lnTo>
                <a:lnTo>
                  <a:pt x="36" y="9"/>
                </a:lnTo>
                <a:lnTo>
                  <a:pt x="24" y="15"/>
                </a:lnTo>
                <a:lnTo>
                  <a:pt x="15" y="23"/>
                </a:lnTo>
                <a:lnTo>
                  <a:pt x="7" y="32"/>
                </a:lnTo>
                <a:lnTo>
                  <a:pt x="3" y="37"/>
                </a:lnTo>
                <a:lnTo>
                  <a:pt x="1" y="42"/>
                </a:lnTo>
                <a:lnTo>
                  <a:pt x="0" y="47"/>
                </a:lnTo>
                <a:lnTo>
                  <a:pt x="0" y="52"/>
                </a:lnTo>
                <a:lnTo>
                  <a:pt x="0" y="52"/>
                </a:lnTo>
                <a:lnTo>
                  <a:pt x="0" y="62"/>
                </a:lnTo>
                <a:lnTo>
                  <a:pt x="2" y="73"/>
                </a:lnTo>
                <a:lnTo>
                  <a:pt x="7" y="84"/>
                </a:lnTo>
                <a:lnTo>
                  <a:pt x="11" y="94"/>
                </a:lnTo>
                <a:lnTo>
                  <a:pt x="17" y="106"/>
                </a:lnTo>
                <a:lnTo>
                  <a:pt x="24" y="117"/>
                </a:lnTo>
                <a:lnTo>
                  <a:pt x="40" y="140"/>
                </a:lnTo>
                <a:lnTo>
                  <a:pt x="59" y="161"/>
                </a:lnTo>
                <a:lnTo>
                  <a:pt x="77" y="178"/>
                </a:lnTo>
                <a:lnTo>
                  <a:pt x="94" y="193"/>
                </a:lnTo>
                <a:lnTo>
                  <a:pt x="102" y="199"/>
                </a:lnTo>
                <a:lnTo>
                  <a:pt x="110" y="203"/>
                </a:lnTo>
                <a:lnTo>
                  <a:pt x="110" y="203"/>
                </a:lnTo>
                <a:lnTo>
                  <a:pt x="110" y="199"/>
                </a:lnTo>
                <a:lnTo>
                  <a:pt x="113" y="196"/>
                </a:lnTo>
                <a:lnTo>
                  <a:pt x="115" y="192"/>
                </a:lnTo>
                <a:lnTo>
                  <a:pt x="120" y="189"/>
                </a:lnTo>
                <a:lnTo>
                  <a:pt x="129" y="182"/>
                </a:lnTo>
                <a:lnTo>
                  <a:pt x="141" y="176"/>
                </a:lnTo>
                <a:lnTo>
                  <a:pt x="155" y="170"/>
                </a:lnTo>
                <a:lnTo>
                  <a:pt x="169" y="166"/>
                </a:lnTo>
                <a:lnTo>
                  <a:pt x="183" y="164"/>
                </a:lnTo>
                <a:lnTo>
                  <a:pt x="194" y="162"/>
                </a:lnTo>
                <a:lnTo>
                  <a:pt x="194" y="162"/>
                </a:lnTo>
                <a:lnTo>
                  <a:pt x="201" y="162"/>
                </a:lnTo>
                <a:lnTo>
                  <a:pt x="201" y="162"/>
                </a:lnTo>
                <a:lnTo>
                  <a:pt x="202" y="153"/>
                </a:lnTo>
                <a:lnTo>
                  <a:pt x="201" y="145"/>
                </a:lnTo>
                <a:lnTo>
                  <a:pt x="200" y="137"/>
                </a:lnTo>
                <a:lnTo>
                  <a:pt x="198" y="130"/>
                </a:lnTo>
                <a:lnTo>
                  <a:pt x="193" y="117"/>
                </a:lnTo>
                <a:lnTo>
                  <a:pt x="191" y="111"/>
                </a:lnTo>
                <a:lnTo>
                  <a:pt x="191" y="104"/>
                </a:lnTo>
                <a:lnTo>
                  <a:pt x="191" y="104"/>
                </a:lnTo>
                <a:lnTo>
                  <a:pt x="191" y="100"/>
                </a:lnTo>
                <a:lnTo>
                  <a:pt x="192" y="97"/>
                </a:lnTo>
                <a:lnTo>
                  <a:pt x="196" y="92"/>
                </a:lnTo>
                <a:lnTo>
                  <a:pt x="200" y="90"/>
                </a:lnTo>
                <a:lnTo>
                  <a:pt x="205" y="88"/>
                </a:lnTo>
                <a:lnTo>
                  <a:pt x="210" y="85"/>
                </a:lnTo>
                <a:lnTo>
                  <a:pt x="215" y="82"/>
                </a:lnTo>
                <a:lnTo>
                  <a:pt x="219" y="77"/>
                </a:lnTo>
                <a:lnTo>
                  <a:pt x="220" y="75"/>
                </a:lnTo>
                <a:lnTo>
                  <a:pt x="220" y="70"/>
                </a:lnTo>
                <a:lnTo>
                  <a:pt x="220" y="70"/>
                </a:lnTo>
                <a:lnTo>
                  <a:pt x="220" y="65"/>
                </a:lnTo>
                <a:lnTo>
                  <a:pt x="217" y="60"/>
                </a:lnTo>
                <a:lnTo>
                  <a:pt x="215" y="55"/>
                </a:lnTo>
                <a:lnTo>
                  <a:pt x="213" y="51"/>
                </a:lnTo>
                <a:lnTo>
                  <a:pt x="205" y="43"/>
                </a:lnTo>
                <a:lnTo>
                  <a:pt x="196" y="36"/>
                </a:lnTo>
                <a:lnTo>
                  <a:pt x="187" y="29"/>
                </a:lnTo>
                <a:lnTo>
                  <a:pt x="179" y="21"/>
                </a:lnTo>
                <a:lnTo>
                  <a:pt x="177" y="16"/>
                </a:lnTo>
                <a:lnTo>
                  <a:pt x="175" y="12"/>
                </a:lnTo>
                <a:lnTo>
                  <a:pt x="173" y="7"/>
                </a:lnTo>
                <a:lnTo>
                  <a:pt x="173" y="0"/>
                </a:lnTo>
                <a:lnTo>
                  <a:pt x="173" y="0"/>
                </a:lnTo>
                <a:lnTo>
                  <a:pt x="173" y="8"/>
                </a:lnTo>
                <a:lnTo>
                  <a:pt x="173" y="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1" name="Freeform 126"/>
          <p:cNvSpPr>
            <a:spLocks/>
          </p:cNvSpPr>
          <p:nvPr/>
        </p:nvSpPr>
        <p:spPr bwMode="auto">
          <a:xfrm>
            <a:off x="581025" y="5510213"/>
            <a:ext cx="198438" cy="136525"/>
          </a:xfrm>
          <a:custGeom>
            <a:avLst/>
            <a:gdLst/>
            <a:ahLst/>
            <a:cxnLst>
              <a:cxn ang="0">
                <a:pos x="227" y="103"/>
              </a:cxn>
              <a:cxn ang="0">
                <a:pos x="236" y="92"/>
              </a:cxn>
              <a:cxn ang="0">
                <a:pos x="242" y="86"/>
              </a:cxn>
              <a:cxn ang="0">
                <a:pos x="220" y="69"/>
              </a:cxn>
              <a:cxn ang="0">
                <a:pos x="201" y="52"/>
              </a:cxn>
              <a:cxn ang="0">
                <a:pos x="193" y="56"/>
              </a:cxn>
              <a:cxn ang="0">
                <a:pos x="181" y="57"/>
              </a:cxn>
              <a:cxn ang="0">
                <a:pos x="168" y="51"/>
              </a:cxn>
              <a:cxn ang="0">
                <a:pos x="150" y="36"/>
              </a:cxn>
              <a:cxn ang="0">
                <a:pos x="130" y="18"/>
              </a:cxn>
              <a:cxn ang="0">
                <a:pos x="115" y="7"/>
              </a:cxn>
              <a:cxn ang="0">
                <a:pos x="98" y="2"/>
              </a:cxn>
              <a:cxn ang="0">
                <a:pos x="87" y="0"/>
              </a:cxn>
              <a:cxn ang="0">
                <a:pos x="61" y="4"/>
              </a:cxn>
              <a:cxn ang="0">
                <a:pos x="32" y="14"/>
              </a:cxn>
              <a:cxn ang="0">
                <a:pos x="9" y="27"/>
              </a:cxn>
              <a:cxn ang="0">
                <a:pos x="2" y="34"/>
              </a:cxn>
              <a:cxn ang="0">
                <a:pos x="0" y="41"/>
              </a:cxn>
              <a:cxn ang="0">
                <a:pos x="0" y="44"/>
              </a:cxn>
              <a:cxn ang="0">
                <a:pos x="8" y="53"/>
              </a:cxn>
              <a:cxn ang="0">
                <a:pos x="17" y="59"/>
              </a:cxn>
              <a:cxn ang="0">
                <a:pos x="28" y="80"/>
              </a:cxn>
              <a:cxn ang="0">
                <a:pos x="45" y="127"/>
              </a:cxn>
              <a:cxn ang="0">
                <a:pos x="59" y="152"/>
              </a:cxn>
              <a:cxn ang="0">
                <a:pos x="66" y="158"/>
              </a:cxn>
              <a:cxn ang="0">
                <a:pos x="66" y="156"/>
              </a:cxn>
              <a:cxn ang="0">
                <a:pos x="72" y="150"/>
              </a:cxn>
              <a:cxn ang="0">
                <a:pos x="92" y="144"/>
              </a:cxn>
              <a:cxn ang="0">
                <a:pos x="132" y="140"/>
              </a:cxn>
              <a:cxn ang="0">
                <a:pos x="135" y="140"/>
              </a:cxn>
              <a:cxn ang="0">
                <a:pos x="140" y="145"/>
              </a:cxn>
              <a:cxn ang="0">
                <a:pos x="147" y="150"/>
              </a:cxn>
              <a:cxn ang="0">
                <a:pos x="150" y="150"/>
              </a:cxn>
              <a:cxn ang="0">
                <a:pos x="160" y="146"/>
              </a:cxn>
              <a:cxn ang="0">
                <a:pos x="168" y="140"/>
              </a:cxn>
              <a:cxn ang="0">
                <a:pos x="177" y="148"/>
              </a:cxn>
              <a:cxn ang="0">
                <a:pos x="190" y="150"/>
              </a:cxn>
              <a:cxn ang="0">
                <a:pos x="194" y="150"/>
              </a:cxn>
              <a:cxn ang="0">
                <a:pos x="201" y="146"/>
              </a:cxn>
              <a:cxn ang="0">
                <a:pos x="209" y="137"/>
              </a:cxn>
              <a:cxn ang="0">
                <a:pos x="216" y="122"/>
              </a:cxn>
              <a:cxn ang="0">
                <a:pos x="224" y="112"/>
              </a:cxn>
              <a:cxn ang="0">
                <a:pos x="230" y="110"/>
              </a:cxn>
              <a:cxn ang="0">
                <a:pos x="227" y="103"/>
              </a:cxn>
            </a:cxnLst>
            <a:rect l="0" t="0" r="r" b="b"/>
            <a:pathLst>
              <a:path w="242" h="158">
                <a:moveTo>
                  <a:pt x="227" y="103"/>
                </a:moveTo>
                <a:lnTo>
                  <a:pt x="227" y="103"/>
                </a:lnTo>
                <a:lnTo>
                  <a:pt x="231" y="96"/>
                </a:lnTo>
                <a:lnTo>
                  <a:pt x="236" y="92"/>
                </a:lnTo>
                <a:lnTo>
                  <a:pt x="239" y="89"/>
                </a:lnTo>
                <a:lnTo>
                  <a:pt x="242" y="86"/>
                </a:lnTo>
                <a:lnTo>
                  <a:pt x="242" y="86"/>
                </a:lnTo>
                <a:lnTo>
                  <a:pt x="220" y="69"/>
                </a:lnTo>
                <a:lnTo>
                  <a:pt x="210" y="61"/>
                </a:lnTo>
                <a:lnTo>
                  <a:pt x="201" y="52"/>
                </a:lnTo>
                <a:lnTo>
                  <a:pt x="201" y="52"/>
                </a:lnTo>
                <a:lnTo>
                  <a:pt x="193" y="56"/>
                </a:lnTo>
                <a:lnTo>
                  <a:pt x="187" y="57"/>
                </a:lnTo>
                <a:lnTo>
                  <a:pt x="181" y="57"/>
                </a:lnTo>
                <a:lnTo>
                  <a:pt x="174" y="54"/>
                </a:lnTo>
                <a:lnTo>
                  <a:pt x="168" y="51"/>
                </a:lnTo>
                <a:lnTo>
                  <a:pt x="162" y="46"/>
                </a:lnTo>
                <a:lnTo>
                  <a:pt x="150" y="36"/>
                </a:lnTo>
                <a:lnTo>
                  <a:pt x="137" y="23"/>
                </a:lnTo>
                <a:lnTo>
                  <a:pt x="130" y="18"/>
                </a:lnTo>
                <a:lnTo>
                  <a:pt x="123" y="12"/>
                </a:lnTo>
                <a:lnTo>
                  <a:pt x="115" y="7"/>
                </a:lnTo>
                <a:lnTo>
                  <a:pt x="107" y="4"/>
                </a:lnTo>
                <a:lnTo>
                  <a:pt x="98" y="2"/>
                </a:lnTo>
                <a:lnTo>
                  <a:pt x="87" y="0"/>
                </a:lnTo>
                <a:lnTo>
                  <a:pt x="87" y="0"/>
                </a:lnTo>
                <a:lnTo>
                  <a:pt x="76" y="2"/>
                </a:lnTo>
                <a:lnTo>
                  <a:pt x="61" y="4"/>
                </a:lnTo>
                <a:lnTo>
                  <a:pt x="47" y="8"/>
                </a:lnTo>
                <a:lnTo>
                  <a:pt x="32" y="14"/>
                </a:lnTo>
                <a:lnTo>
                  <a:pt x="19" y="20"/>
                </a:lnTo>
                <a:lnTo>
                  <a:pt x="9" y="27"/>
                </a:lnTo>
                <a:lnTo>
                  <a:pt x="5" y="30"/>
                </a:lnTo>
                <a:lnTo>
                  <a:pt x="2" y="34"/>
                </a:lnTo>
                <a:lnTo>
                  <a:pt x="0" y="37"/>
                </a:lnTo>
                <a:lnTo>
                  <a:pt x="0" y="41"/>
                </a:lnTo>
                <a:lnTo>
                  <a:pt x="0" y="41"/>
                </a:lnTo>
                <a:lnTo>
                  <a:pt x="0" y="44"/>
                </a:lnTo>
                <a:lnTo>
                  <a:pt x="2" y="48"/>
                </a:lnTo>
                <a:lnTo>
                  <a:pt x="8" y="53"/>
                </a:lnTo>
                <a:lnTo>
                  <a:pt x="17" y="59"/>
                </a:lnTo>
                <a:lnTo>
                  <a:pt x="17" y="59"/>
                </a:lnTo>
                <a:lnTo>
                  <a:pt x="22" y="67"/>
                </a:lnTo>
                <a:lnTo>
                  <a:pt x="28" y="80"/>
                </a:lnTo>
                <a:lnTo>
                  <a:pt x="39" y="111"/>
                </a:lnTo>
                <a:lnTo>
                  <a:pt x="45" y="127"/>
                </a:lnTo>
                <a:lnTo>
                  <a:pt x="52" y="141"/>
                </a:lnTo>
                <a:lnTo>
                  <a:pt x="59" y="152"/>
                </a:lnTo>
                <a:lnTo>
                  <a:pt x="62" y="156"/>
                </a:lnTo>
                <a:lnTo>
                  <a:pt x="66" y="158"/>
                </a:lnTo>
                <a:lnTo>
                  <a:pt x="66" y="158"/>
                </a:lnTo>
                <a:lnTo>
                  <a:pt x="66" y="156"/>
                </a:lnTo>
                <a:lnTo>
                  <a:pt x="68" y="153"/>
                </a:lnTo>
                <a:lnTo>
                  <a:pt x="72" y="150"/>
                </a:lnTo>
                <a:lnTo>
                  <a:pt x="82" y="148"/>
                </a:lnTo>
                <a:lnTo>
                  <a:pt x="92" y="144"/>
                </a:lnTo>
                <a:lnTo>
                  <a:pt x="114" y="141"/>
                </a:lnTo>
                <a:lnTo>
                  <a:pt x="132" y="140"/>
                </a:lnTo>
                <a:lnTo>
                  <a:pt x="132" y="140"/>
                </a:lnTo>
                <a:lnTo>
                  <a:pt x="135" y="140"/>
                </a:lnTo>
                <a:lnTo>
                  <a:pt x="137" y="141"/>
                </a:lnTo>
                <a:lnTo>
                  <a:pt x="140" y="145"/>
                </a:lnTo>
                <a:lnTo>
                  <a:pt x="145" y="149"/>
                </a:lnTo>
                <a:lnTo>
                  <a:pt x="147" y="150"/>
                </a:lnTo>
                <a:lnTo>
                  <a:pt x="150" y="150"/>
                </a:lnTo>
                <a:lnTo>
                  <a:pt x="150" y="150"/>
                </a:lnTo>
                <a:lnTo>
                  <a:pt x="155" y="149"/>
                </a:lnTo>
                <a:lnTo>
                  <a:pt x="160" y="146"/>
                </a:lnTo>
                <a:lnTo>
                  <a:pt x="168" y="140"/>
                </a:lnTo>
                <a:lnTo>
                  <a:pt x="168" y="140"/>
                </a:lnTo>
                <a:lnTo>
                  <a:pt x="173" y="144"/>
                </a:lnTo>
                <a:lnTo>
                  <a:pt x="177" y="148"/>
                </a:lnTo>
                <a:lnTo>
                  <a:pt x="182" y="150"/>
                </a:lnTo>
                <a:lnTo>
                  <a:pt x="190" y="150"/>
                </a:lnTo>
                <a:lnTo>
                  <a:pt x="190" y="150"/>
                </a:lnTo>
                <a:lnTo>
                  <a:pt x="194" y="150"/>
                </a:lnTo>
                <a:lnTo>
                  <a:pt x="198" y="149"/>
                </a:lnTo>
                <a:lnTo>
                  <a:pt x="201" y="146"/>
                </a:lnTo>
                <a:lnTo>
                  <a:pt x="205" y="144"/>
                </a:lnTo>
                <a:lnTo>
                  <a:pt x="209" y="137"/>
                </a:lnTo>
                <a:lnTo>
                  <a:pt x="213" y="130"/>
                </a:lnTo>
                <a:lnTo>
                  <a:pt x="216" y="122"/>
                </a:lnTo>
                <a:lnTo>
                  <a:pt x="220" y="117"/>
                </a:lnTo>
                <a:lnTo>
                  <a:pt x="224" y="112"/>
                </a:lnTo>
                <a:lnTo>
                  <a:pt x="228" y="111"/>
                </a:lnTo>
                <a:lnTo>
                  <a:pt x="230" y="110"/>
                </a:lnTo>
                <a:lnTo>
                  <a:pt x="230" y="110"/>
                </a:lnTo>
                <a:lnTo>
                  <a:pt x="227" y="103"/>
                </a:lnTo>
                <a:lnTo>
                  <a:pt x="227" y="10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2" name="Freeform 127"/>
          <p:cNvSpPr>
            <a:spLocks/>
          </p:cNvSpPr>
          <p:nvPr/>
        </p:nvSpPr>
        <p:spPr bwMode="auto">
          <a:xfrm>
            <a:off x="635000" y="5603875"/>
            <a:ext cx="169863" cy="125413"/>
          </a:xfrm>
          <a:custGeom>
            <a:avLst/>
            <a:gdLst/>
            <a:ahLst/>
            <a:cxnLst>
              <a:cxn ang="0">
                <a:pos x="110" y="132"/>
              </a:cxn>
              <a:cxn ang="0">
                <a:pos x="123" y="142"/>
              </a:cxn>
              <a:cxn ang="0">
                <a:pos x="128" y="144"/>
              </a:cxn>
              <a:cxn ang="0">
                <a:pos x="138" y="140"/>
              </a:cxn>
              <a:cxn ang="0">
                <a:pos x="142" y="133"/>
              </a:cxn>
              <a:cxn ang="0">
                <a:pos x="146" y="122"/>
              </a:cxn>
              <a:cxn ang="0">
                <a:pos x="147" y="107"/>
              </a:cxn>
              <a:cxn ang="0">
                <a:pos x="142" y="87"/>
              </a:cxn>
              <a:cxn ang="0">
                <a:pos x="139" y="70"/>
              </a:cxn>
              <a:cxn ang="0">
                <a:pos x="139" y="66"/>
              </a:cxn>
              <a:cxn ang="0">
                <a:pos x="144" y="57"/>
              </a:cxn>
              <a:cxn ang="0">
                <a:pos x="161" y="48"/>
              </a:cxn>
              <a:cxn ang="0">
                <a:pos x="182" y="41"/>
              </a:cxn>
              <a:cxn ang="0">
                <a:pos x="205" y="36"/>
              </a:cxn>
              <a:cxn ang="0">
                <a:pos x="199" y="22"/>
              </a:cxn>
              <a:cxn ang="0">
                <a:pos x="191" y="10"/>
              </a:cxn>
              <a:cxn ang="0">
                <a:pos x="179" y="3"/>
              </a:cxn>
              <a:cxn ang="0">
                <a:pos x="164" y="0"/>
              </a:cxn>
              <a:cxn ang="0">
                <a:pos x="162" y="1"/>
              </a:cxn>
              <a:cxn ang="0">
                <a:pos x="154" y="7"/>
              </a:cxn>
              <a:cxn ang="0">
                <a:pos x="147" y="20"/>
              </a:cxn>
              <a:cxn ang="0">
                <a:pos x="139" y="34"/>
              </a:cxn>
              <a:cxn ang="0">
                <a:pos x="132" y="39"/>
              </a:cxn>
              <a:cxn ang="0">
                <a:pos x="124" y="40"/>
              </a:cxn>
              <a:cxn ang="0">
                <a:pos x="116" y="40"/>
              </a:cxn>
              <a:cxn ang="0">
                <a:pos x="107" y="34"/>
              </a:cxn>
              <a:cxn ang="0">
                <a:pos x="102" y="30"/>
              </a:cxn>
              <a:cxn ang="0">
                <a:pos x="89" y="39"/>
              </a:cxn>
              <a:cxn ang="0">
                <a:pos x="84" y="40"/>
              </a:cxn>
              <a:cxn ang="0">
                <a:pos x="79" y="39"/>
              </a:cxn>
              <a:cxn ang="0">
                <a:pos x="71" y="31"/>
              </a:cxn>
              <a:cxn ang="0">
                <a:pos x="66" y="30"/>
              </a:cxn>
              <a:cxn ang="0">
                <a:pos x="48" y="31"/>
              </a:cxn>
              <a:cxn ang="0">
                <a:pos x="16" y="38"/>
              </a:cxn>
              <a:cxn ang="0">
                <a:pos x="2" y="43"/>
              </a:cxn>
              <a:cxn ang="0">
                <a:pos x="0" y="48"/>
              </a:cxn>
              <a:cxn ang="0">
                <a:pos x="1" y="54"/>
              </a:cxn>
              <a:cxn ang="0">
                <a:pos x="6" y="65"/>
              </a:cxn>
              <a:cxn ang="0">
                <a:pos x="18" y="78"/>
              </a:cxn>
              <a:cxn ang="0">
                <a:pos x="21" y="88"/>
              </a:cxn>
              <a:cxn ang="0">
                <a:pos x="21" y="91"/>
              </a:cxn>
              <a:cxn ang="0">
                <a:pos x="16" y="97"/>
              </a:cxn>
              <a:cxn ang="0">
                <a:pos x="11" y="104"/>
              </a:cxn>
              <a:cxn ang="0">
                <a:pos x="10" y="107"/>
              </a:cxn>
              <a:cxn ang="0">
                <a:pos x="13" y="116"/>
              </a:cxn>
              <a:cxn ang="0">
                <a:pos x="21" y="124"/>
              </a:cxn>
              <a:cxn ang="0">
                <a:pos x="33" y="129"/>
              </a:cxn>
              <a:cxn ang="0">
                <a:pos x="62" y="134"/>
              </a:cxn>
              <a:cxn ang="0">
                <a:pos x="102" y="135"/>
              </a:cxn>
              <a:cxn ang="0">
                <a:pos x="110" y="132"/>
              </a:cxn>
            </a:cxnLst>
            <a:rect l="0" t="0" r="r" b="b"/>
            <a:pathLst>
              <a:path w="205" h="144">
                <a:moveTo>
                  <a:pt x="110" y="132"/>
                </a:moveTo>
                <a:lnTo>
                  <a:pt x="110" y="132"/>
                </a:lnTo>
                <a:lnTo>
                  <a:pt x="117" y="139"/>
                </a:lnTo>
                <a:lnTo>
                  <a:pt x="123" y="142"/>
                </a:lnTo>
                <a:lnTo>
                  <a:pt x="128" y="144"/>
                </a:lnTo>
                <a:lnTo>
                  <a:pt x="128" y="144"/>
                </a:lnTo>
                <a:lnTo>
                  <a:pt x="133" y="142"/>
                </a:lnTo>
                <a:lnTo>
                  <a:pt x="138" y="140"/>
                </a:lnTo>
                <a:lnTo>
                  <a:pt x="140" y="138"/>
                </a:lnTo>
                <a:lnTo>
                  <a:pt x="142" y="133"/>
                </a:lnTo>
                <a:lnTo>
                  <a:pt x="144" y="127"/>
                </a:lnTo>
                <a:lnTo>
                  <a:pt x="146" y="122"/>
                </a:lnTo>
                <a:lnTo>
                  <a:pt x="147" y="107"/>
                </a:lnTo>
                <a:lnTo>
                  <a:pt x="147" y="107"/>
                </a:lnTo>
                <a:lnTo>
                  <a:pt x="144" y="96"/>
                </a:lnTo>
                <a:lnTo>
                  <a:pt x="142" y="87"/>
                </a:lnTo>
                <a:lnTo>
                  <a:pt x="140" y="78"/>
                </a:lnTo>
                <a:lnTo>
                  <a:pt x="139" y="70"/>
                </a:lnTo>
                <a:lnTo>
                  <a:pt x="139" y="70"/>
                </a:lnTo>
                <a:lnTo>
                  <a:pt x="139" y="66"/>
                </a:lnTo>
                <a:lnTo>
                  <a:pt x="140" y="63"/>
                </a:lnTo>
                <a:lnTo>
                  <a:pt x="144" y="57"/>
                </a:lnTo>
                <a:lnTo>
                  <a:pt x="151" y="51"/>
                </a:lnTo>
                <a:lnTo>
                  <a:pt x="161" y="48"/>
                </a:lnTo>
                <a:lnTo>
                  <a:pt x="171" y="43"/>
                </a:lnTo>
                <a:lnTo>
                  <a:pt x="182" y="41"/>
                </a:lnTo>
                <a:lnTo>
                  <a:pt x="194" y="39"/>
                </a:lnTo>
                <a:lnTo>
                  <a:pt x="205" y="36"/>
                </a:lnTo>
                <a:lnTo>
                  <a:pt x="205" y="36"/>
                </a:lnTo>
                <a:lnTo>
                  <a:pt x="199" y="22"/>
                </a:lnTo>
                <a:lnTo>
                  <a:pt x="195" y="16"/>
                </a:lnTo>
                <a:lnTo>
                  <a:pt x="191" y="10"/>
                </a:lnTo>
                <a:lnTo>
                  <a:pt x="185" y="5"/>
                </a:lnTo>
                <a:lnTo>
                  <a:pt x="179" y="3"/>
                </a:lnTo>
                <a:lnTo>
                  <a:pt x="172" y="1"/>
                </a:lnTo>
                <a:lnTo>
                  <a:pt x="164" y="0"/>
                </a:lnTo>
                <a:lnTo>
                  <a:pt x="164" y="0"/>
                </a:lnTo>
                <a:lnTo>
                  <a:pt x="162" y="1"/>
                </a:lnTo>
                <a:lnTo>
                  <a:pt x="158" y="2"/>
                </a:lnTo>
                <a:lnTo>
                  <a:pt x="154" y="7"/>
                </a:lnTo>
                <a:lnTo>
                  <a:pt x="150" y="12"/>
                </a:lnTo>
                <a:lnTo>
                  <a:pt x="147" y="20"/>
                </a:lnTo>
                <a:lnTo>
                  <a:pt x="143" y="27"/>
                </a:lnTo>
                <a:lnTo>
                  <a:pt x="139" y="34"/>
                </a:lnTo>
                <a:lnTo>
                  <a:pt x="135" y="36"/>
                </a:lnTo>
                <a:lnTo>
                  <a:pt x="132" y="39"/>
                </a:lnTo>
                <a:lnTo>
                  <a:pt x="128" y="40"/>
                </a:lnTo>
                <a:lnTo>
                  <a:pt x="124" y="40"/>
                </a:lnTo>
                <a:lnTo>
                  <a:pt x="124" y="40"/>
                </a:lnTo>
                <a:lnTo>
                  <a:pt x="116" y="40"/>
                </a:lnTo>
                <a:lnTo>
                  <a:pt x="111" y="38"/>
                </a:lnTo>
                <a:lnTo>
                  <a:pt x="107" y="34"/>
                </a:lnTo>
                <a:lnTo>
                  <a:pt x="102" y="30"/>
                </a:lnTo>
                <a:lnTo>
                  <a:pt x="102" y="30"/>
                </a:lnTo>
                <a:lnTo>
                  <a:pt x="94" y="36"/>
                </a:lnTo>
                <a:lnTo>
                  <a:pt x="89" y="39"/>
                </a:lnTo>
                <a:lnTo>
                  <a:pt x="84" y="40"/>
                </a:lnTo>
                <a:lnTo>
                  <a:pt x="84" y="40"/>
                </a:lnTo>
                <a:lnTo>
                  <a:pt x="81" y="40"/>
                </a:lnTo>
                <a:lnTo>
                  <a:pt x="79" y="39"/>
                </a:lnTo>
                <a:lnTo>
                  <a:pt x="74" y="35"/>
                </a:lnTo>
                <a:lnTo>
                  <a:pt x="71" y="31"/>
                </a:lnTo>
                <a:lnTo>
                  <a:pt x="69" y="30"/>
                </a:lnTo>
                <a:lnTo>
                  <a:pt x="66" y="30"/>
                </a:lnTo>
                <a:lnTo>
                  <a:pt x="66" y="30"/>
                </a:lnTo>
                <a:lnTo>
                  <a:pt x="48" y="31"/>
                </a:lnTo>
                <a:lnTo>
                  <a:pt x="26" y="34"/>
                </a:lnTo>
                <a:lnTo>
                  <a:pt x="16" y="38"/>
                </a:lnTo>
                <a:lnTo>
                  <a:pt x="6" y="40"/>
                </a:lnTo>
                <a:lnTo>
                  <a:pt x="2" y="43"/>
                </a:lnTo>
                <a:lnTo>
                  <a:pt x="0" y="46"/>
                </a:lnTo>
                <a:lnTo>
                  <a:pt x="0" y="48"/>
                </a:lnTo>
                <a:lnTo>
                  <a:pt x="0" y="48"/>
                </a:lnTo>
                <a:lnTo>
                  <a:pt x="1" y="54"/>
                </a:lnTo>
                <a:lnTo>
                  <a:pt x="3" y="60"/>
                </a:lnTo>
                <a:lnTo>
                  <a:pt x="6" y="65"/>
                </a:lnTo>
                <a:lnTo>
                  <a:pt x="11" y="70"/>
                </a:lnTo>
                <a:lnTo>
                  <a:pt x="18" y="78"/>
                </a:lnTo>
                <a:lnTo>
                  <a:pt x="20" y="84"/>
                </a:lnTo>
                <a:lnTo>
                  <a:pt x="21" y="88"/>
                </a:lnTo>
                <a:lnTo>
                  <a:pt x="21" y="88"/>
                </a:lnTo>
                <a:lnTo>
                  <a:pt x="21" y="91"/>
                </a:lnTo>
                <a:lnTo>
                  <a:pt x="20" y="93"/>
                </a:lnTo>
                <a:lnTo>
                  <a:pt x="16" y="97"/>
                </a:lnTo>
                <a:lnTo>
                  <a:pt x="12" y="101"/>
                </a:lnTo>
                <a:lnTo>
                  <a:pt x="11" y="104"/>
                </a:lnTo>
                <a:lnTo>
                  <a:pt x="10" y="107"/>
                </a:lnTo>
                <a:lnTo>
                  <a:pt x="10" y="107"/>
                </a:lnTo>
                <a:lnTo>
                  <a:pt x="11" y="111"/>
                </a:lnTo>
                <a:lnTo>
                  <a:pt x="13" y="116"/>
                </a:lnTo>
                <a:lnTo>
                  <a:pt x="17" y="120"/>
                </a:lnTo>
                <a:lnTo>
                  <a:pt x="21" y="124"/>
                </a:lnTo>
                <a:lnTo>
                  <a:pt x="26" y="126"/>
                </a:lnTo>
                <a:lnTo>
                  <a:pt x="33" y="129"/>
                </a:lnTo>
                <a:lnTo>
                  <a:pt x="47" y="132"/>
                </a:lnTo>
                <a:lnTo>
                  <a:pt x="62" y="134"/>
                </a:lnTo>
                <a:lnTo>
                  <a:pt x="77" y="135"/>
                </a:lnTo>
                <a:lnTo>
                  <a:pt x="102" y="135"/>
                </a:lnTo>
                <a:lnTo>
                  <a:pt x="102" y="135"/>
                </a:lnTo>
                <a:lnTo>
                  <a:pt x="110" y="132"/>
                </a:lnTo>
                <a:lnTo>
                  <a:pt x="110" y="13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3" name="Freeform 128"/>
          <p:cNvSpPr>
            <a:spLocks/>
          </p:cNvSpPr>
          <p:nvPr/>
        </p:nvSpPr>
        <p:spPr bwMode="auto">
          <a:xfrm>
            <a:off x="2062163" y="4357688"/>
            <a:ext cx="269875" cy="344487"/>
          </a:xfrm>
          <a:custGeom>
            <a:avLst/>
            <a:gdLst/>
            <a:ahLst/>
            <a:cxnLst>
              <a:cxn ang="0">
                <a:pos x="162" y="395"/>
              </a:cxn>
              <a:cxn ang="0">
                <a:pos x="183" y="395"/>
              </a:cxn>
              <a:cxn ang="0">
                <a:pos x="220" y="379"/>
              </a:cxn>
              <a:cxn ang="0">
                <a:pos x="251" y="356"/>
              </a:cxn>
              <a:cxn ang="0">
                <a:pos x="231" y="347"/>
              </a:cxn>
              <a:cxn ang="0">
                <a:pos x="224" y="330"/>
              </a:cxn>
              <a:cxn ang="0">
                <a:pos x="224" y="319"/>
              </a:cxn>
              <a:cxn ang="0">
                <a:pos x="230" y="307"/>
              </a:cxn>
              <a:cxn ang="0">
                <a:pos x="263" y="290"/>
              </a:cxn>
              <a:cxn ang="0">
                <a:pos x="280" y="283"/>
              </a:cxn>
              <a:cxn ang="0">
                <a:pos x="290" y="252"/>
              </a:cxn>
              <a:cxn ang="0">
                <a:pos x="301" y="203"/>
              </a:cxn>
              <a:cxn ang="0">
                <a:pos x="314" y="128"/>
              </a:cxn>
              <a:cxn ang="0">
                <a:pos x="330" y="74"/>
              </a:cxn>
              <a:cxn ang="0">
                <a:pos x="304" y="55"/>
              </a:cxn>
              <a:cxn ang="0">
                <a:pos x="237" y="9"/>
              </a:cxn>
              <a:cxn ang="0">
                <a:pos x="209" y="0"/>
              </a:cxn>
              <a:cxn ang="0">
                <a:pos x="194" y="5"/>
              </a:cxn>
              <a:cxn ang="0">
                <a:pos x="178" y="24"/>
              </a:cxn>
              <a:cxn ang="0">
                <a:pos x="159" y="73"/>
              </a:cxn>
              <a:cxn ang="0">
                <a:pos x="145" y="97"/>
              </a:cxn>
              <a:cxn ang="0">
                <a:pos x="122" y="106"/>
              </a:cxn>
              <a:cxn ang="0">
                <a:pos x="113" y="104"/>
              </a:cxn>
              <a:cxn ang="0">
                <a:pos x="106" y="97"/>
              </a:cxn>
              <a:cxn ang="0">
                <a:pos x="95" y="91"/>
              </a:cxn>
              <a:cxn ang="0">
                <a:pos x="79" y="98"/>
              </a:cxn>
              <a:cxn ang="0">
                <a:pos x="67" y="106"/>
              </a:cxn>
              <a:cxn ang="0">
                <a:pos x="62" y="120"/>
              </a:cxn>
              <a:cxn ang="0">
                <a:pos x="57" y="165"/>
              </a:cxn>
              <a:cxn ang="0">
                <a:pos x="54" y="179"/>
              </a:cxn>
              <a:cxn ang="0">
                <a:pos x="37" y="196"/>
              </a:cxn>
              <a:cxn ang="0">
                <a:pos x="17" y="212"/>
              </a:cxn>
              <a:cxn ang="0">
                <a:pos x="9" y="228"/>
              </a:cxn>
              <a:cxn ang="0">
                <a:pos x="7" y="242"/>
              </a:cxn>
              <a:cxn ang="0">
                <a:pos x="9" y="274"/>
              </a:cxn>
              <a:cxn ang="0">
                <a:pos x="6" y="289"/>
              </a:cxn>
              <a:cxn ang="0">
                <a:pos x="0" y="297"/>
              </a:cxn>
              <a:cxn ang="0">
                <a:pos x="1" y="306"/>
              </a:cxn>
              <a:cxn ang="0">
                <a:pos x="17" y="324"/>
              </a:cxn>
              <a:cxn ang="0">
                <a:pos x="40" y="330"/>
              </a:cxn>
              <a:cxn ang="0">
                <a:pos x="55" y="330"/>
              </a:cxn>
              <a:cxn ang="0">
                <a:pos x="85" y="335"/>
              </a:cxn>
              <a:cxn ang="0">
                <a:pos x="107" y="330"/>
              </a:cxn>
              <a:cxn ang="0">
                <a:pos x="102" y="320"/>
              </a:cxn>
              <a:cxn ang="0">
                <a:pos x="100" y="309"/>
              </a:cxn>
              <a:cxn ang="0">
                <a:pos x="108" y="299"/>
              </a:cxn>
              <a:cxn ang="0">
                <a:pos x="143" y="294"/>
              </a:cxn>
              <a:cxn ang="0">
                <a:pos x="143" y="315"/>
              </a:cxn>
              <a:cxn ang="0">
                <a:pos x="127" y="340"/>
              </a:cxn>
              <a:cxn ang="0">
                <a:pos x="125" y="349"/>
              </a:cxn>
              <a:cxn ang="0">
                <a:pos x="158" y="349"/>
              </a:cxn>
              <a:cxn ang="0">
                <a:pos x="152" y="365"/>
              </a:cxn>
              <a:cxn ang="0">
                <a:pos x="137" y="375"/>
              </a:cxn>
              <a:cxn ang="0">
                <a:pos x="125" y="394"/>
              </a:cxn>
              <a:cxn ang="0">
                <a:pos x="133" y="397"/>
              </a:cxn>
              <a:cxn ang="0">
                <a:pos x="151" y="394"/>
              </a:cxn>
              <a:cxn ang="0">
                <a:pos x="154" y="394"/>
              </a:cxn>
            </a:cxnLst>
            <a:rect l="0" t="0" r="r" b="b"/>
            <a:pathLst>
              <a:path w="330" h="397">
                <a:moveTo>
                  <a:pt x="154" y="394"/>
                </a:moveTo>
                <a:lnTo>
                  <a:pt x="154" y="394"/>
                </a:lnTo>
                <a:lnTo>
                  <a:pt x="162" y="395"/>
                </a:lnTo>
                <a:lnTo>
                  <a:pt x="169" y="396"/>
                </a:lnTo>
                <a:lnTo>
                  <a:pt x="176" y="395"/>
                </a:lnTo>
                <a:lnTo>
                  <a:pt x="183" y="395"/>
                </a:lnTo>
                <a:lnTo>
                  <a:pt x="196" y="391"/>
                </a:lnTo>
                <a:lnTo>
                  <a:pt x="208" y="386"/>
                </a:lnTo>
                <a:lnTo>
                  <a:pt x="220" y="379"/>
                </a:lnTo>
                <a:lnTo>
                  <a:pt x="230" y="371"/>
                </a:lnTo>
                <a:lnTo>
                  <a:pt x="251" y="356"/>
                </a:lnTo>
                <a:lnTo>
                  <a:pt x="251" y="356"/>
                </a:lnTo>
                <a:lnTo>
                  <a:pt x="240" y="352"/>
                </a:lnTo>
                <a:lnTo>
                  <a:pt x="236" y="350"/>
                </a:lnTo>
                <a:lnTo>
                  <a:pt x="231" y="347"/>
                </a:lnTo>
                <a:lnTo>
                  <a:pt x="229" y="342"/>
                </a:lnTo>
                <a:lnTo>
                  <a:pt x="227" y="337"/>
                </a:lnTo>
                <a:lnTo>
                  <a:pt x="224" y="330"/>
                </a:lnTo>
                <a:lnTo>
                  <a:pt x="224" y="324"/>
                </a:lnTo>
                <a:lnTo>
                  <a:pt x="224" y="324"/>
                </a:lnTo>
                <a:lnTo>
                  <a:pt x="224" y="319"/>
                </a:lnTo>
                <a:lnTo>
                  <a:pt x="225" y="314"/>
                </a:lnTo>
                <a:lnTo>
                  <a:pt x="228" y="311"/>
                </a:lnTo>
                <a:lnTo>
                  <a:pt x="230" y="307"/>
                </a:lnTo>
                <a:lnTo>
                  <a:pt x="237" y="302"/>
                </a:lnTo>
                <a:lnTo>
                  <a:pt x="245" y="297"/>
                </a:lnTo>
                <a:lnTo>
                  <a:pt x="263" y="290"/>
                </a:lnTo>
                <a:lnTo>
                  <a:pt x="272" y="287"/>
                </a:lnTo>
                <a:lnTo>
                  <a:pt x="280" y="283"/>
                </a:lnTo>
                <a:lnTo>
                  <a:pt x="280" y="283"/>
                </a:lnTo>
                <a:lnTo>
                  <a:pt x="282" y="278"/>
                </a:lnTo>
                <a:lnTo>
                  <a:pt x="285" y="271"/>
                </a:lnTo>
                <a:lnTo>
                  <a:pt x="290" y="252"/>
                </a:lnTo>
                <a:lnTo>
                  <a:pt x="298" y="217"/>
                </a:lnTo>
                <a:lnTo>
                  <a:pt x="298" y="217"/>
                </a:lnTo>
                <a:lnTo>
                  <a:pt x="301" y="203"/>
                </a:lnTo>
                <a:lnTo>
                  <a:pt x="305" y="187"/>
                </a:lnTo>
                <a:lnTo>
                  <a:pt x="311" y="147"/>
                </a:lnTo>
                <a:lnTo>
                  <a:pt x="314" y="128"/>
                </a:lnTo>
                <a:lnTo>
                  <a:pt x="318" y="108"/>
                </a:lnTo>
                <a:lnTo>
                  <a:pt x="323" y="90"/>
                </a:lnTo>
                <a:lnTo>
                  <a:pt x="330" y="74"/>
                </a:lnTo>
                <a:lnTo>
                  <a:pt x="330" y="74"/>
                </a:lnTo>
                <a:lnTo>
                  <a:pt x="319" y="66"/>
                </a:lnTo>
                <a:lnTo>
                  <a:pt x="304" y="55"/>
                </a:lnTo>
                <a:lnTo>
                  <a:pt x="270" y="31"/>
                </a:lnTo>
                <a:lnTo>
                  <a:pt x="253" y="20"/>
                </a:lnTo>
                <a:lnTo>
                  <a:pt x="237" y="9"/>
                </a:lnTo>
                <a:lnTo>
                  <a:pt x="222" y="2"/>
                </a:lnTo>
                <a:lnTo>
                  <a:pt x="215" y="0"/>
                </a:lnTo>
                <a:lnTo>
                  <a:pt x="209" y="0"/>
                </a:lnTo>
                <a:lnTo>
                  <a:pt x="209" y="0"/>
                </a:lnTo>
                <a:lnTo>
                  <a:pt x="201" y="1"/>
                </a:lnTo>
                <a:lnTo>
                  <a:pt x="194" y="5"/>
                </a:lnTo>
                <a:lnTo>
                  <a:pt x="189" y="9"/>
                </a:lnTo>
                <a:lnTo>
                  <a:pt x="183" y="16"/>
                </a:lnTo>
                <a:lnTo>
                  <a:pt x="178" y="24"/>
                </a:lnTo>
                <a:lnTo>
                  <a:pt x="175" y="34"/>
                </a:lnTo>
                <a:lnTo>
                  <a:pt x="167" y="53"/>
                </a:lnTo>
                <a:lnTo>
                  <a:pt x="159" y="73"/>
                </a:lnTo>
                <a:lnTo>
                  <a:pt x="155" y="82"/>
                </a:lnTo>
                <a:lnTo>
                  <a:pt x="150" y="90"/>
                </a:lnTo>
                <a:lnTo>
                  <a:pt x="145" y="97"/>
                </a:lnTo>
                <a:lnTo>
                  <a:pt x="138" y="101"/>
                </a:lnTo>
                <a:lnTo>
                  <a:pt x="130" y="105"/>
                </a:lnTo>
                <a:lnTo>
                  <a:pt x="122" y="106"/>
                </a:lnTo>
                <a:lnTo>
                  <a:pt x="122" y="106"/>
                </a:lnTo>
                <a:lnTo>
                  <a:pt x="116" y="106"/>
                </a:lnTo>
                <a:lnTo>
                  <a:pt x="113" y="104"/>
                </a:lnTo>
                <a:lnTo>
                  <a:pt x="110" y="101"/>
                </a:lnTo>
                <a:lnTo>
                  <a:pt x="108" y="99"/>
                </a:lnTo>
                <a:lnTo>
                  <a:pt x="106" y="97"/>
                </a:lnTo>
                <a:lnTo>
                  <a:pt x="104" y="93"/>
                </a:lnTo>
                <a:lnTo>
                  <a:pt x="100" y="92"/>
                </a:lnTo>
                <a:lnTo>
                  <a:pt x="95" y="91"/>
                </a:lnTo>
                <a:lnTo>
                  <a:pt x="95" y="91"/>
                </a:lnTo>
                <a:lnTo>
                  <a:pt x="90" y="93"/>
                </a:lnTo>
                <a:lnTo>
                  <a:pt x="79" y="98"/>
                </a:lnTo>
                <a:lnTo>
                  <a:pt x="70" y="103"/>
                </a:lnTo>
                <a:lnTo>
                  <a:pt x="68" y="105"/>
                </a:lnTo>
                <a:lnTo>
                  <a:pt x="67" y="106"/>
                </a:lnTo>
                <a:lnTo>
                  <a:pt x="67" y="106"/>
                </a:lnTo>
                <a:lnTo>
                  <a:pt x="64" y="113"/>
                </a:lnTo>
                <a:lnTo>
                  <a:pt x="62" y="120"/>
                </a:lnTo>
                <a:lnTo>
                  <a:pt x="61" y="137"/>
                </a:lnTo>
                <a:lnTo>
                  <a:pt x="60" y="156"/>
                </a:lnTo>
                <a:lnTo>
                  <a:pt x="57" y="165"/>
                </a:lnTo>
                <a:lnTo>
                  <a:pt x="55" y="173"/>
                </a:lnTo>
                <a:lnTo>
                  <a:pt x="55" y="173"/>
                </a:lnTo>
                <a:lnTo>
                  <a:pt x="54" y="179"/>
                </a:lnTo>
                <a:lnTo>
                  <a:pt x="52" y="182"/>
                </a:lnTo>
                <a:lnTo>
                  <a:pt x="45" y="190"/>
                </a:lnTo>
                <a:lnTo>
                  <a:pt x="37" y="196"/>
                </a:lnTo>
                <a:lnTo>
                  <a:pt x="29" y="202"/>
                </a:lnTo>
                <a:lnTo>
                  <a:pt x="21" y="208"/>
                </a:lnTo>
                <a:lnTo>
                  <a:pt x="17" y="212"/>
                </a:lnTo>
                <a:lnTo>
                  <a:pt x="14" y="217"/>
                </a:lnTo>
                <a:lnTo>
                  <a:pt x="11" y="222"/>
                </a:lnTo>
                <a:lnTo>
                  <a:pt x="9" y="228"/>
                </a:lnTo>
                <a:lnTo>
                  <a:pt x="8" y="235"/>
                </a:lnTo>
                <a:lnTo>
                  <a:pt x="7" y="242"/>
                </a:lnTo>
                <a:lnTo>
                  <a:pt x="7" y="242"/>
                </a:lnTo>
                <a:lnTo>
                  <a:pt x="8" y="252"/>
                </a:lnTo>
                <a:lnTo>
                  <a:pt x="9" y="263"/>
                </a:lnTo>
                <a:lnTo>
                  <a:pt x="9" y="274"/>
                </a:lnTo>
                <a:lnTo>
                  <a:pt x="7" y="287"/>
                </a:lnTo>
                <a:lnTo>
                  <a:pt x="7" y="287"/>
                </a:lnTo>
                <a:lnTo>
                  <a:pt x="6" y="289"/>
                </a:lnTo>
                <a:lnTo>
                  <a:pt x="3" y="292"/>
                </a:lnTo>
                <a:lnTo>
                  <a:pt x="1" y="295"/>
                </a:lnTo>
                <a:lnTo>
                  <a:pt x="0" y="297"/>
                </a:lnTo>
                <a:lnTo>
                  <a:pt x="0" y="297"/>
                </a:lnTo>
                <a:lnTo>
                  <a:pt x="1" y="302"/>
                </a:lnTo>
                <a:lnTo>
                  <a:pt x="1" y="306"/>
                </a:lnTo>
                <a:lnTo>
                  <a:pt x="6" y="313"/>
                </a:lnTo>
                <a:lnTo>
                  <a:pt x="10" y="319"/>
                </a:lnTo>
                <a:lnTo>
                  <a:pt x="17" y="324"/>
                </a:lnTo>
                <a:lnTo>
                  <a:pt x="25" y="327"/>
                </a:lnTo>
                <a:lnTo>
                  <a:pt x="33" y="329"/>
                </a:lnTo>
                <a:lnTo>
                  <a:pt x="40" y="330"/>
                </a:lnTo>
                <a:lnTo>
                  <a:pt x="48" y="330"/>
                </a:lnTo>
                <a:lnTo>
                  <a:pt x="48" y="330"/>
                </a:lnTo>
                <a:lnTo>
                  <a:pt x="55" y="330"/>
                </a:lnTo>
                <a:lnTo>
                  <a:pt x="62" y="332"/>
                </a:lnTo>
                <a:lnTo>
                  <a:pt x="77" y="335"/>
                </a:lnTo>
                <a:lnTo>
                  <a:pt x="85" y="335"/>
                </a:lnTo>
                <a:lnTo>
                  <a:pt x="92" y="335"/>
                </a:lnTo>
                <a:lnTo>
                  <a:pt x="100" y="334"/>
                </a:lnTo>
                <a:lnTo>
                  <a:pt x="107" y="330"/>
                </a:lnTo>
                <a:lnTo>
                  <a:pt x="107" y="330"/>
                </a:lnTo>
                <a:lnTo>
                  <a:pt x="105" y="325"/>
                </a:lnTo>
                <a:lnTo>
                  <a:pt x="102" y="320"/>
                </a:lnTo>
                <a:lnTo>
                  <a:pt x="100" y="315"/>
                </a:lnTo>
                <a:lnTo>
                  <a:pt x="100" y="309"/>
                </a:lnTo>
                <a:lnTo>
                  <a:pt x="100" y="309"/>
                </a:lnTo>
                <a:lnTo>
                  <a:pt x="100" y="306"/>
                </a:lnTo>
                <a:lnTo>
                  <a:pt x="102" y="304"/>
                </a:lnTo>
                <a:lnTo>
                  <a:pt x="108" y="299"/>
                </a:lnTo>
                <a:lnTo>
                  <a:pt x="122" y="294"/>
                </a:lnTo>
                <a:lnTo>
                  <a:pt x="122" y="294"/>
                </a:lnTo>
                <a:lnTo>
                  <a:pt x="143" y="294"/>
                </a:lnTo>
                <a:lnTo>
                  <a:pt x="143" y="315"/>
                </a:lnTo>
                <a:lnTo>
                  <a:pt x="143" y="315"/>
                </a:lnTo>
                <a:lnTo>
                  <a:pt x="143" y="315"/>
                </a:lnTo>
                <a:lnTo>
                  <a:pt x="136" y="324"/>
                </a:lnTo>
                <a:lnTo>
                  <a:pt x="130" y="332"/>
                </a:lnTo>
                <a:lnTo>
                  <a:pt x="127" y="340"/>
                </a:lnTo>
                <a:lnTo>
                  <a:pt x="125" y="344"/>
                </a:lnTo>
                <a:lnTo>
                  <a:pt x="125" y="349"/>
                </a:lnTo>
                <a:lnTo>
                  <a:pt x="125" y="349"/>
                </a:lnTo>
                <a:lnTo>
                  <a:pt x="158" y="349"/>
                </a:lnTo>
                <a:lnTo>
                  <a:pt x="158" y="349"/>
                </a:lnTo>
                <a:lnTo>
                  <a:pt x="158" y="349"/>
                </a:lnTo>
                <a:lnTo>
                  <a:pt x="158" y="356"/>
                </a:lnTo>
                <a:lnTo>
                  <a:pt x="155" y="362"/>
                </a:lnTo>
                <a:lnTo>
                  <a:pt x="152" y="365"/>
                </a:lnTo>
                <a:lnTo>
                  <a:pt x="147" y="370"/>
                </a:lnTo>
                <a:lnTo>
                  <a:pt x="141" y="372"/>
                </a:lnTo>
                <a:lnTo>
                  <a:pt x="137" y="375"/>
                </a:lnTo>
                <a:lnTo>
                  <a:pt x="125" y="379"/>
                </a:lnTo>
                <a:lnTo>
                  <a:pt x="125" y="379"/>
                </a:lnTo>
                <a:lnTo>
                  <a:pt x="125" y="394"/>
                </a:lnTo>
                <a:lnTo>
                  <a:pt x="125" y="394"/>
                </a:lnTo>
                <a:lnTo>
                  <a:pt x="125" y="394"/>
                </a:lnTo>
                <a:lnTo>
                  <a:pt x="133" y="397"/>
                </a:lnTo>
                <a:lnTo>
                  <a:pt x="139" y="397"/>
                </a:lnTo>
                <a:lnTo>
                  <a:pt x="144" y="396"/>
                </a:lnTo>
                <a:lnTo>
                  <a:pt x="151" y="394"/>
                </a:lnTo>
                <a:lnTo>
                  <a:pt x="151" y="394"/>
                </a:lnTo>
                <a:lnTo>
                  <a:pt x="154" y="394"/>
                </a:lnTo>
                <a:lnTo>
                  <a:pt x="154" y="39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Freeform 129"/>
          <p:cNvSpPr>
            <a:spLocks/>
          </p:cNvSpPr>
          <p:nvPr/>
        </p:nvSpPr>
        <p:spPr bwMode="auto">
          <a:xfrm>
            <a:off x="4462463" y="3478213"/>
            <a:ext cx="1020762" cy="1457325"/>
          </a:xfrm>
          <a:custGeom>
            <a:avLst/>
            <a:gdLst/>
            <a:ahLst/>
            <a:cxnLst>
              <a:cxn ang="0">
                <a:pos x="68" y="588"/>
              </a:cxn>
              <a:cxn ang="0">
                <a:pos x="26" y="625"/>
              </a:cxn>
              <a:cxn ang="0">
                <a:pos x="28" y="675"/>
              </a:cxn>
              <a:cxn ang="0">
                <a:pos x="3" y="730"/>
              </a:cxn>
              <a:cxn ang="0">
                <a:pos x="36" y="776"/>
              </a:cxn>
              <a:cxn ang="0">
                <a:pos x="37" y="848"/>
              </a:cxn>
              <a:cxn ang="0">
                <a:pos x="174" y="912"/>
              </a:cxn>
              <a:cxn ang="0">
                <a:pos x="227" y="997"/>
              </a:cxn>
              <a:cxn ang="0">
                <a:pos x="201" y="1087"/>
              </a:cxn>
              <a:cxn ang="0">
                <a:pos x="149" y="1191"/>
              </a:cxn>
              <a:cxn ang="0">
                <a:pos x="110" y="1238"/>
              </a:cxn>
              <a:cxn ang="0">
                <a:pos x="147" y="1334"/>
              </a:cxn>
              <a:cxn ang="0">
                <a:pos x="186" y="1463"/>
              </a:cxn>
              <a:cxn ang="0">
                <a:pos x="254" y="1415"/>
              </a:cxn>
              <a:cxn ang="0">
                <a:pos x="286" y="1385"/>
              </a:cxn>
              <a:cxn ang="0">
                <a:pos x="306" y="1365"/>
              </a:cxn>
              <a:cxn ang="0">
                <a:pos x="366" y="1406"/>
              </a:cxn>
              <a:cxn ang="0">
                <a:pos x="435" y="1392"/>
              </a:cxn>
              <a:cxn ang="0">
                <a:pos x="460" y="1496"/>
              </a:cxn>
              <a:cxn ang="0">
                <a:pos x="462" y="1602"/>
              </a:cxn>
              <a:cxn ang="0">
                <a:pos x="593" y="1622"/>
              </a:cxn>
              <a:cxn ang="0">
                <a:pos x="677" y="1584"/>
              </a:cxn>
              <a:cxn ang="0">
                <a:pos x="778" y="1518"/>
              </a:cxn>
              <a:cxn ang="0">
                <a:pos x="1003" y="1555"/>
              </a:cxn>
              <a:cxn ang="0">
                <a:pos x="1036" y="1610"/>
              </a:cxn>
              <a:cxn ang="0">
                <a:pos x="1083" y="1618"/>
              </a:cxn>
              <a:cxn ang="0">
                <a:pos x="1202" y="1663"/>
              </a:cxn>
              <a:cxn ang="0">
                <a:pos x="1220" y="1595"/>
              </a:cxn>
              <a:cxn ang="0">
                <a:pos x="1188" y="1534"/>
              </a:cxn>
              <a:cxn ang="0">
                <a:pos x="1196" y="1484"/>
              </a:cxn>
              <a:cxn ang="0">
                <a:pos x="1205" y="1419"/>
              </a:cxn>
              <a:cxn ang="0">
                <a:pos x="1120" y="1334"/>
              </a:cxn>
              <a:cxn ang="0">
                <a:pos x="1130" y="1265"/>
              </a:cxn>
              <a:cxn ang="0">
                <a:pos x="1172" y="1207"/>
              </a:cxn>
              <a:cxn ang="0">
                <a:pos x="1201" y="1148"/>
              </a:cxn>
              <a:cxn ang="0">
                <a:pos x="1194" y="1088"/>
              </a:cxn>
              <a:cxn ang="0">
                <a:pos x="1204" y="1034"/>
              </a:cxn>
              <a:cxn ang="0">
                <a:pos x="1161" y="965"/>
              </a:cxn>
              <a:cxn ang="0">
                <a:pos x="1167" y="898"/>
              </a:cxn>
              <a:cxn ang="0">
                <a:pos x="1199" y="829"/>
              </a:cxn>
              <a:cxn ang="0">
                <a:pos x="1242" y="783"/>
              </a:cxn>
              <a:cxn ang="0">
                <a:pos x="1145" y="768"/>
              </a:cxn>
              <a:cxn ang="0">
                <a:pos x="1081" y="672"/>
              </a:cxn>
              <a:cxn ang="0">
                <a:pos x="1107" y="593"/>
              </a:cxn>
              <a:cxn ang="0">
                <a:pos x="1042" y="487"/>
              </a:cxn>
              <a:cxn ang="0">
                <a:pos x="1039" y="419"/>
              </a:cxn>
              <a:cxn ang="0">
                <a:pos x="1019" y="370"/>
              </a:cxn>
              <a:cxn ang="0">
                <a:pos x="1035" y="243"/>
              </a:cxn>
              <a:cxn ang="0">
                <a:pos x="932" y="3"/>
              </a:cxn>
              <a:cxn ang="0">
                <a:pos x="896" y="44"/>
              </a:cxn>
              <a:cxn ang="0">
                <a:pos x="845" y="42"/>
              </a:cxn>
              <a:cxn ang="0">
                <a:pos x="778" y="56"/>
              </a:cxn>
              <a:cxn ang="0">
                <a:pos x="676" y="38"/>
              </a:cxn>
              <a:cxn ang="0">
                <a:pos x="628" y="44"/>
              </a:cxn>
              <a:cxn ang="0">
                <a:pos x="583" y="6"/>
              </a:cxn>
              <a:cxn ang="0">
                <a:pos x="537" y="43"/>
              </a:cxn>
              <a:cxn ang="0">
                <a:pos x="432" y="77"/>
              </a:cxn>
              <a:cxn ang="0">
                <a:pos x="310" y="235"/>
              </a:cxn>
              <a:cxn ang="0">
                <a:pos x="262" y="276"/>
              </a:cxn>
              <a:cxn ang="0">
                <a:pos x="165" y="419"/>
              </a:cxn>
            </a:cxnLst>
            <a:rect l="0" t="0" r="r" b="b"/>
            <a:pathLst>
              <a:path w="1249" h="1672">
                <a:moveTo>
                  <a:pt x="165" y="419"/>
                </a:moveTo>
                <a:lnTo>
                  <a:pt x="165" y="419"/>
                </a:lnTo>
                <a:lnTo>
                  <a:pt x="152" y="442"/>
                </a:lnTo>
                <a:lnTo>
                  <a:pt x="140" y="464"/>
                </a:lnTo>
                <a:lnTo>
                  <a:pt x="114" y="502"/>
                </a:lnTo>
                <a:lnTo>
                  <a:pt x="103" y="520"/>
                </a:lnTo>
                <a:lnTo>
                  <a:pt x="91" y="540"/>
                </a:lnTo>
                <a:lnTo>
                  <a:pt x="80" y="562"/>
                </a:lnTo>
                <a:lnTo>
                  <a:pt x="69" y="585"/>
                </a:lnTo>
                <a:lnTo>
                  <a:pt x="69" y="585"/>
                </a:lnTo>
                <a:lnTo>
                  <a:pt x="68" y="588"/>
                </a:lnTo>
                <a:lnTo>
                  <a:pt x="66" y="591"/>
                </a:lnTo>
                <a:lnTo>
                  <a:pt x="60" y="595"/>
                </a:lnTo>
                <a:lnTo>
                  <a:pt x="52" y="599"/>
                </a:lnTo>
                <a:lnTo>
                  <a:pt x="45" y="602"/>
                </a:lnTo>
                <a:lnTo>
                  <a:pt x="37" y="606"/>
                </a:lnTo>
                <a:lnTo>
                  <a:pt x="31" y="610"/>
                </a:lnTo>
                <a:lnTo>
                  <a:pt x="29" y="614"/>
                </a:lnTo>
                <a:lnTo>
                  <a:pt x="27" y="617"/>
                </a:lnTo>
                <a:lnTo>
                  <a:pt x="26" y="621"/>
                </a:lnTo>
                <a:lnTo>
                  <a:pt x="26" y="625"/>
                </a:lnTo>
                <a:lnTo>
                  <a:pt x="26" y="625"/>
                </a:lnTo>
                <a:lnTo>
                  <a:pt x="27" y="629"/>
                </a:lnTo>
                <a:lnTo>
                  <a:pt x="28" y="632"/>
                </a:lnTo>
                <a:lnTo>
                  <a:pt x="33" y="638"/>
                </a:lnTo>
                <a:lnTo>
                  <a:pt x="38" y="645"/>
                </a:lnTo>
                <a:lnTo>
                  <a:pt x="40" y="649"/>
                </a:lnTo>
                <a:lnTo>
                  <a:pt x="41" y="654"/>
                </a:lnTo>
                <a:lnTo>
                  <a:pt x="41" y="654"/>
                </a:lnTo>
                <a:lnTo>
                  <a:pt x="40" y="659"/>
                </a:lnTo>
                <a:lnTo>
                  <a:pt x="38" y="662"/>
                </a:lnTo>
                <a:lnTo>
                  <a:pt x="34" y="669"/>
                </a:lnTo>
                <a:lnTo>
                  <a:pt x="28" y="675"/>
                </a:lnTo>
                <a:lnTo>
                  <a:pt x="20" y="682"/>
                </a:lnTo>
                <a:lnTo>
                  <a:pt x="13" y="688"/>
                </a:lnTo>
                <a:lnTo>
                  <a:pt x="6" y="697"/>
                </a:lnTo>
                <a:lnTo>
                  <a:pt x="4" y="700"/>
                </a:lnTo>
                <a:lnTo>
                  <a:pt x="2" y="706"/>
                </a:lnTo>
                <a:lnTo>
                  <a:pt x="0" y="710"/>
                </a:lnTo>
                <a:lnTo>
                  <a:pt x="0" y="716"/>
                </a:lnTo>
                <a:lnTo>
                  <a:pt x="0" y="716"/>
                </a:lnTo>
                <a:lnTo>
                  <a:pt x="0" y="722"/>
                </a:lnTo>
                <a:lnTo>
                  <a:pt x="2" y="726"/>
                </a:lnTo>
                <a:lnTo>
                  <a:pt x="3" y="730"/>
                </a:lnTo>
                <a:lnTo>
                  <a:pt x="5" y="733"/>
                </a:lnTo>
                <a:lnTo>
                  <a:pt x="12" y="739"/>
                </a:lnTo>
                <a:lnTo>
                  <a:pt x="18" y="744"/>
                </a:lnTo>
                <a:lnTo>
                  <a:pt x="25" y="748"/>
                </a:lnTo>
                <a:lnTo>
                  <a:pt x="30" y="753"/>
                </a:lnTo>
                <a:lnTo>
                  <a:pt x="33" y="756"/>
                </a:lnTo>
                <a:lnTo>
                  <a:pt x="35" y="760"/>
                </a:lnTo>
                <a:lnTo>
                  <a:pt x="36" y="763"/>
                </a:lnTo>
                <a:lnTo>
                  <a:pt x="36" y="768"/>
                </a:lnTo>
                <a:lnTo>
                  <a:pt x="36" y="768"/>
                </a:lnTo>
                <a:lnTo>
                  <a:pt x="36" y="776"/>
                </a:lnTo>
                <a:lnTo>
                  <a:pt x="35" y="783"/>
                </a:lnTo>
                <a:lnTo>
                  <a:pt x="31" y="795"/>
                </a:lnTo>
                <a:lnTo>
                  <a:pt x="27" y="808"/>
                </a:lnTo>
                <a:lnTo>
                  <a:pt x="26" y="816"/>
                </a:lnTo>
                <a:lnTo>
                  <a:pt x="26" y="823"/>
                </a:lnTo>
                <a:lnTo>
                  <a:pt x="26" y="823"/>
                </a:lnTo>
                <a:lnTo>
                  <a:pt x="26" y="830"/>
                </a:lnTo>
                <a:lnTo>
                  <a:pt x="28" y="835"/>
                </a:lnTo>
                <a:lnTo>
                  <a:pt x="30" y="840"/>
                </a:lnTo>
                <a:lnTo>
                  <a:pt x="34" y="845"/>
                </a:lnTo>
                <a:lnTo>
                  <a:pt x="37" y="848"/>
                </a:lnTo>
                <a:lnTo>
                  <a:pt x="42" y="852"/>
                </a:lnTo>
                <a:lnTo>
                  <a:pt x="52" y="859"/>
                </a:lnTo>
                <a:lnTo>
                  <a:pt x="63" y="863"/>
                </a:lnTo>
                <a:lnTo>
                  <a:pt x="74" y="867"/>
                </a:lnTo>
                <a:lnTo>
                  <a:pt x="91" y="871"/>
                </a:lnTo>
                <a:lnTo>
                  <a:pt x="91" y="871"/>
                </a:lnTo>
                <a:lnTo>
                  <a:pt x="111" y="877"/>
                </a:lnTo>
                <a:lnTo>
                  <a:pt x="128" y="884"/>
                </a:lnTo>
                <a:lnTo>
                  <a:pt x="144" y="892"/>
                </a:lnTo>
                <a:lnTo>
                  <a:pt x="160" y="901"/>
                </a:lnTo>
                <a:lnTo>
                  <a:pt x="174" y="912"/>
                </a:lnTo>
                <a:lnTo>
                  <a:pt x="187" y="924"/>
                </a:lnTo>
                <a:lnTo>
                  <a:pt x="198" y="939"/>
                </a:lnTo>
                <a:lnTo>
                  <a:pt x="209" y="955"/>
                </a:lnTo>
                <a:lnTo>
                  <a:pt x="209" y="955"/>
                </a:lnTo>
                <a:lnTo>
                  <a:pt x="216" y="965"/>
                </a:lnTo>
                <a:lnTo>
                  <a:pt x="221" y="973"/>
                </a:lnTo>
                <a:lnTo>
                  <a:pt x="226" y="980"/>
                </a:lnTo>
                <a:lnTo>
                  <a:pt x="227" y="984"/>
                </a:lnTo>
                <a:lnTo>
                  <a:pt x="227" y="989"/>
                </a:lnTo>
                <a:lnTo>
                  <a:pt x="227" y="989"/>
                </a:lnTo>
                <a:lnTo>
                  <a:pt x="227" y="997"/>
                </a:lnTo>
                <a:lnTo>
                  <a:pt x="225" y="1004"/>
                </a:lnTo>
                <a:lnTo>
                  <a:pt x="221" y="1011"/>
                </a:lnTo>
                <a:lnTo>
                  <a:pt x="218" y="1018"/>
                </a:lnTo>
                <a:lnTo>
                  <a:pt x="209" y="1030"/>
                </a:lnTo>
                <a:lnTo>
                  <a:pt x="205" y="1037"/>
                </a:lnTo>
                <a:lnTo>
                  <a:pt x="202" y="1044"/>
                </a:lnTo>
                <a:lnTo>
                  <a:pt x="202" y="1044"/>
                </a:lnTo>
                <a:lnTo>
                  <a:pt x="201" y="1051"/>
                </a:lnTo>
                <a:lnTo>
                  <a:pt x="199" y="1058"/>
                </a:lnTo>
                <a:lnTo>
                  <a:pt x="201" y="1072"/>
                </a:lnTo>
                <a:lnTo>
                  <a:pt x="201" y="1087"/>
                </a:lnTo>
                <a:lnTo>
                  <a:pt x="199" y="1095"/>
                </a:lnTo>
                <a:lnTo>
                  <a:pt x="198" y="1103"/>
                </a:lnTo>
                <a:lnTo>
                  <a:pt x="198" y="1103"/>
                </a:lnTo>
                <a:lnTo>
                  <a:pt x="195" y="1110"/>
                </a:lnTo>
                <a:lnTo>
                  <a:pt x="189" y="1120"/>
                </a:lnTo>
                <a:lnTo>
                  <a:pt x="175" y="1142"/>
                </a:lnTo>
                <a:lnTo>
                  <a:pt x="161" y="1165"/>
                </a:lnTo>
                <a:lnTo>
                  <a:pt x="156" y="1176"/>
                </a:lnTo>
                <a:lnTo>
                  <a:pt x="150" y="1187"/>
                </a:lnTo>
                <a:lnTo>
                  <a:pt x="150" y="1187"/>
                </a:lnTo>
                <a:lnTo>
                  <a:pt x="149" y="1191"/>
                </a:lnTo>
                <a:lnTo>
                  <a:pt x="147" y="1194"/>
                </a:lnTo>
                <a:lnTo>
                  <a:pt x="141" y="1199"/>
                </a:lnTo>
                <a:lnTo>
                  <a:pt x="134" y="1203"/>
                </a:lnTo>
                <a:lnTo>
                  <a:pt x="127" y="1207"/>
                </a:lnTo>
                <a:lnTo>
                  <a:pt x="121" y="1212"/>
                </a:lnTo>
                <a:lnTo>
                  <a:pt x="115" y="1218"/>
                </a:lnTo>
                <a:lnTo>
                  <a:pt x="113" y="1222"/>
                </a:lnTo>
                <a:lnTo>
                  <a:pt x="111" y="1227"/>
                </a:lnTo>
                <a:lnTo>
                  <a:pt x="110" y="1233"/>
                </a:lnTo>
                <a:lnTo>
                  <a:pt x="110" y="1238"/>
                </a:lnTo>
                <a:lnTo>
                  <a:pt x="110" y="1238"/>
                </a:lnTo>
                <a:lnTo>
                  <a:pt x="111" y="1251"/>
                </a:lnTo>
                <a:lnTo>
                  <a:pt x="114" y="1262"/>
                </a:lnTo>
                <a:lnTo>
                  <a:pt x="119" y="1271"/>
                </a:lnTo>
                <a:lnTo>
                  <a:pt x="124" y="1279"/>
                </a:lnTo>
                <a:lnTo>
                  <a:pt x="135" y="1293"/>
                </a:lnTo>
                <a:lnTo>
                  <a:pt x="140" y="1301"/>
                </a:lnTo>
                <a:lnTo>
                  <a:pt x="143" y="1308"/>
                </a:lnTo>
                <a:lnTo>
                  <a:pt x="143" y="1308"/>
                </a:lnTo>
                <a:lnTo>
                  <a:pt x="145" y="1314"/>
                </a:lnTo>
                <a:lnTo>
                  <a:pt x="147" y="1321"/>
                </a:lnTo>
                <a:lnTo>
                  <a:pt x="147" y="1334"/>
                </a:lnTo>
                <a:lnTo>
                  <a:pt x="144" y="1347"/>
                </a:lnTo>
                <a:lnTo>
                  <a:pt x="143" y="1359"/>
                </a:lnTo>
                <a:lnTo>
                  <a:pt x="143" y="1359"/>
                </a:lnTo>
                <a:lnTo>
                  <a:pt x="150" y="1392"/>
                </a:lnTo>
                <a:lnTo>
                  <a:pt x="155" y="1410"/>
                </a:lnTo>
                <a:lnTo>
                  <a:pt x="159" y="1426"/>
                </a:lnTo>
                <a:lnTo>
                  <a:pt x="166" y="1442"/>
                </a:lnTo>
                <a:lnTo>
                  <a:pt x="171" y="1449"/>
                </a:lnTo>
                <a:lnTo>
                  <a:pt x="175" y="1455"/>
                </a:lnTo>
                <a:lnTo>
                  <a:pt x="180" y="1459"/>
                </a:lnTo>
                <a:lnTo>
                  <a:pt x="186" y="1463"/>
                </a:lnTo>
                <a:lnTo>
                  <a:pt x="191" y="1465"/>
                </a:lnTo>
                <a:lnTo>
                  <a:pt x="198" y="1466"/>
                </a:lnTo>
                <a:lnTo>
                  <a:pt x="198" y="1466"/>
                </a:lnTo>
                <a:lnTo>
                  <a:pt x="203" y="1466"/>
                </a:lnTo>
                <a:lnTo>
                  <a:pt x="208" y="1465"/>
                </a:lnTo>
                <a:lnTo>
                  <a:pt x="217" y="1461"/>
                </a:lnTo>
                <a:lnTo>
                  <a:pt x="226" y="1454"/>
                </a:lnTo>
                <a:lnTo>
                  <a:pt x="234" y="1446"/>
                </a:lnTo>
                <a:lnTo>
                  <a:pt x="242" y="1436"/>
                </a:lnTo>
                <a:lnTo>
                  <a:pt x="248" y="1426"/>
                </a:lnTo>
                <a:lnTo>
                  <a:pt x="254" y="1415"/>
                </a:lnTo>
                <a:lnTo>
                  <a:pt x="257" y="1404"/>
                </a:lnTo>
                <a:lnTo>
                  <a:pt x="257" y="1404"/>
                </a:lnTo>
                <a:lnTo>
                  <a:pt x="268" y="1406"/>
                </a:lnTo>
                <a:lnTo>
                  <a:pt x="275" y="1408"/>
                </a:lnTo>
                <a:lnTo>
                  <a:pt x="275" y="1408"/>
                </a:lnTo>
                <a:lnTo>
                  <a:pt x="280" y="1404"/>
                </a:lnTo>
                <a:lnTo>
                  <a:pt x="283" y="1400"/>
                </a:lnTo>
                <a:lnTo>
                  <a:pt x="286" y="1395"/>
                </a:lnTo>
                <a:lnTo>
                  <a:pt x="286" y="1389"/>
                </a:lnTo>
                <a:lnTo>
                  <a:pt x="286" y="1389"/>
                </a:lnTo>
                <a:lnTo>
                  <a:pt x="286" y="1385"/>
                </a:lnTo>
                <a:lnTo>
                  <a:pt x="285" y="1381"/>
                </a:lnTo>
                <a:lnTo>
                  <a:pt x="281" y="1374"/>
                </a:lnTo>
                <a:lnTo>
                  <a:pt x="278" y="1367"/>
                </a:lnTo>
                <a:lnTo>
                  <a:pt x="277" y="1364"/>
                </a:lnTo>
                <a:lnTo>
                  <a:pt x="275" y="1359"/>
                </a:lnTo>
                <a:lnTo>
                  <a:pt x="275" y="1359"/>
                </a:lnTo>
                <a:lnTo>
                  <a:pt x="297" y="1359"/>
                </a:lnTo>
                <a:lnTo>
                  <a:pt x="297" y="1359"/>
                </a:lnTo>
                <a:lnTo>
                  <a:pt x="297" y="1359"/>
                </a:lnTo>
                <a:lnTo>
                  <a:pt x="302" y="1362"/>
                </a:lnTo>
                <a:lnTo>
                  <a:pt x="306" y="1365"/>
                </a:lnTo>
                <a:lnTo>
                  <a:pt x="313" y="1372"/>
                </a:lnTo>
                <a:lnTo>
                  <a:pt x="319" y="1380"/>
                </a:lnTo>
                <a:lnTo>
                  <a:pt x="325" y="1388"/>
                </a:lnTo>
                <a:lnTo>
                  <a:pt x="332" y="1395"/>
                </a:lnTo>
                <a:lnTo>
                  <a:pt x="339" y="1402"/>
                </a:lnTo>
                <a:lnTo>
                  <a:pt x="342" y="1404"/>
                </a:lnTo>
                <a:lnTo>
                  <a:pt x="347" y="1405"/>
                </a:lnTo>
                <a:lnTo>
                  <a:pt x="351" y="1406"/>
                </a:lnTo>
                <a:lnTo>
                  <a:pt x="356" y="1408"/>
                </a:lnTo>
                <a:lnTo>
                  <a:pt x="356" y="1408"/>
                </a:lnTo>
                <a:lnTo>
                  <a:pt x="366" y="1406"/>
                </a:lnTo>
                <a:lnTo>
                  <a:pt x="374" y="1404"/>
                </a:lnTo>
                <a:lnTo>
                  <a:pt x="382" y="1402"/>
                </a:lnTo>
                <a:lnTo>
                  <a:pt x="388" y="1398"/>
                </a:lnTo>
                <a:lnTo>
                  <a:pt x="395" y="1395"/>
                </a:lnTo>
                <a:lnTo>
                  <a:pt x="402" y="1392"/>
                </a:lnTo>
                <a:lnTo>
                  <a:pt x="410" y="1390"/>
                </a:lnTo>
                <a:lnTo>
                  <a:pt x="418" y="1389"/>
                </a:lnTo>
                <a:lnTo>
                  <a:pt x="418" y="1389"/>
                </a:lnTo>
                <a:lnTo>
                  <a:pt x="424" y="1389"/>
                </a:lnTo>
                <a:lnTo>
                  <a:pt x="430" y="1390"/>
                </a:lnTo>
                <a:lnTo>
                  <a:pt x="435" y="1392"/>
                </a:lnTo>
                <a:lnTo>
                  <a:pt x="440" y="1394"/>
                </a:lnTo>
                <a:lnTo>
                  <a:pt x="448" y="1401"/>
                </a:lnTo>
                <a:lnTo>
                  <a:pt x="455" y="1408"/>
                </a:lnTo>
                <a:lnTo>
                  <a:pt x="460" y="1417"/>
                </a:lnTo>
                <a:lnTo>
                  <a:pt x="463" y="1428"/>
                </a:lnTo>
                <a:lnTo>
                  <a:pt x="465" y="1440"/>
                </a:lnTo>
                <a:lnTo>
                  <a:pt x="466" y="1451"/>
                </a:lnTo>
                <a:lnTo>
                  <a:pt x="466" y="1451"/>
                </a:lnTo>
                <a:lnTo>
                  <a:pt x="465" y="1469"/>
                </a:lnTo>
                <a:lnTo>
                  <a:pt x="463" y="1484"/>
                </a:lnTo>
                <a:lnTo>
                  <a:pt x="460" y="1496"/>
                </a:lnTo>
                <a:lnTo>
                  <a:pt x="455" y="1508"/>
                </a:lnTo>
                <a:lnTo>
                  <a:pt x="451" y="1519"/>
                </a:lnTo>
                <a:lnTo>
                  <a:pt x="448" y="1530"/>
                </a:lnTo>
                <a:lnTo>
                  <a:pt x="446" y="1541"/>
                </a:lnTo>
                <a:lnTo>
                  <a:pt x="445" y="1555"/>
                </a:lnTo>
                <a:lnTo>
                  <a:pt x="445" y="1555"/>
                </a:lnTo>
                <a:lnTo>
                  <a:pt x="445" y="1566"/>
                </a:lnTo>
                <a:lnTo>
                  <a:pt x="447" y="1578"/>
                </a:lnTo>
                <a:lnTo>
                  <a:pt x="450" y="1587"/>
                </a:lnTo>
                <a:lnTo>
                  <a:pt x="456" y="1595"/>
                </a:lnTo>
                <a:lnTo>
                  <a:pt x="462" y="1602"/>
                </a:lnTo>
                <a:lnTo>
                  <a:pt x="469" y="1608"/>
                </a:lnTo>
                <a:lnTo>
                  <a:pt x="477" y="1612"/>
                </a:lnTo>
                <a:lnTo>
                  <a:pt x="485" y="1616"/>
                </a:lnTo>
                <a:lnTo>
                  <a:pt x="494" y="1618"/>
                </a:lnTo>
                <a:lnTo>
                  <a:pt x="504" y="1621"/>
                </a:lnTo>
                <a:lnTo>
                  <a:pt x="526" y="1623"/>
                </a:lnTo>
                <a:lnTo>
                  <a:pt x="549" y="1624"/>
                </a:lnTo>
                <a:lnTo>
                  <a:pt x="573" y="1624"/>
                </a:lnTo>
                <a:lnTo>
                  <a:pt x="573" y="1624"/>
                </a:lnTo>
                <a:lnTo>
                  <a:pt x="584" y="1624"/>
                </a:lnTo>
                <a:lnTo>
                  <a:pt x="593" y="1622"/>
                </a:lnTo>
                <a:lnTo>
                  <a:pt x="601" y="1618"/>
                </a:lnTo>
                <a:lnTo>
                  <a:pt x="607" y="1614"/>
                </a:lnTo>
                <a:lnTo>
                  <a:pt x="617" y="1604"/>
                </a:lnTo>
                <a:lnTo>
                  <a:pt x="623" y="1600"/>
                </a:lnTo>
                <a:lnTo>
                  <a:pt x="628" y="1595"/>
                </a:lnTo>
                <a:lnTo>
                  <a:pt x="628" y="1595"/>
                </a:lnTo>
                <a:lnTo>
                  <a:pt x="636" y="1591"/>
                </a:lnTo>
                <a:lnTo>
                  <a:pt x="644" y="1587"/>
                </a:lnTo>
                <a:lnTo>
                  <a:pt x="652" y="1586"/>
                </a:lnTo>
                <a:lnTo>
                  <a:pt x="660" y="1585"/>
                </a:lnTo>
                <a:lnTo>
                  <a:pt x="677" y="1584"/>
                </a:lnTo>
                <a:lnTo>
                  <a:pt x="687" y="1583"/>
                </a:lnTo>
                <a:lnTo>
                  <a:pt x="698" y="1580"/>
                </a:lnTo>
                <a:lnTo>
                  <a:pt x="698" y="1580"/>
                </a:lnTo>
                <a:lnTo>
                  <a:pt x="705" y="1579"/>
                </a:lnTo>
                <a:lnTo>
                  <a:pt x="712" y="1577"/>
                </a:lnTo>
                <a:lnTo>
                  <a:pt x="724" y="1571"/>
                </a:lnTo>
                <a:lnTo>
                  <a:pt x="737" y="1563"/>
                </a:lnTo>
                <a:lnTo>
                  <a:pt x="748" y="1553"/>
                </a:lnTo>
                <a:lnTo>
                  <a:pt x="760" y="1542"/>
                </a:lnTo>
                <a:lnTo>
                  <a:pt x="769" y="1530"/>
                </a:lnTo>
                <a:lnTo>
                  <a:pt x="778" y="1518"/>
                </a:lnTo>
                <a:lnTo>
                  <a:pt x="786" y="1507"/>
                </a:lnTo>
                <a:lnTo>
                  <a:pt x="786" y="1507"/>
                </a:lnTo>
                <a:lnTo>
                  <a:pt x="799" y="1514"/>
                </a:lnTo>
                <a:lnTo>
                  <a:pt x="813" y="1519"/>
                </a:lnTo>
                <a:lnTo>
                  <a:pt x="843" y="1532"/>
                </a:lnTo>
                <a:lnTo>
                  <a:pt x="871" y="1543"/>
                </a:lnTo>
                <a:lnTo>
                  <a:pt x="896" y="1555"/>
                </a:lnTo>
                <a:lnTo>
                  <a:pt x="896" y="1555"/>
                </a:lnTo>
                <a:lnTo>
                  <a:pt x="999" y="1555"/>
                </a:lnTo>
                <a:lnTo>
                  <a:pt x="999" y="1555"/>
                </a:lnTo>
                <a:lnTo>
                  <a:pt x="1003" y="1555"/>
                </a:lnTo>
                <a:lnTo>
                  <a:pt x="1005" y="1556"/>
                </a:lnTo>
                <a:lnTo>
                  <a:pt x="1007" y="1558"/>
                </a:lnTo>
                <a:lnTo>
                  <a:pt x="1010" y="1562"/>
                </a:lnTo>
                <a:lnTo>
                  <a:pt x="1014" y="1570"/>
                </a:lnTo>
                <a:lnTo>
                  <a:pt x="1016" y="1580"/>
                </a:lnTo>
                <a:lnTo>
                  <a:pt x="1022" y="1602"/>
                </a:lnTo>
                <a:lnTo>
                  <a:pt x="1024" y="1612"/>
                </a:lnTo>
                <a:lnTo>
                  <a:pt x="1028" y="1621"/>
                </a:lnTo>
                <a:lnTo>
                  <a:pt x="1028" y="1621"/>
                </a:lnTo>
                <a:lnTo>
                  <a:pt x="1031" y="1615"/>
                </a:lnTo>
                <a:lnTo>
                  <a:pt x="1036" y="1610"/>
                </a:lnTo>
                <a:lnTo>
                  <a:pt x="1041" y="1607"/>
                </a:lnTo>
                <a:lnTo>
                  <a:pt x="1046" y="1603"/>
                </a:lnTo>
                <a:lnTo>
                  <a:pt x="1051" y="1601"/>
                </a:lnTo>
                <a:lnTo>
                  <a:pt x="1057" y="1600"/>
                </a:lnTo>
                <a:lnTo>
                  <a:pt x="1068" y="1599"/>
                </a:lnTo>
                <a:lnTo>
                  <a:pt x="1068" y="1599"/>
                </a:lnTo>
                <a:lnTo>
                  <a:pt x="1073" y="1600"/>
                </a:lnTo>
                <a:lnTo>
                  <a:pt x="1075" y="1601"/>
                </a:lnTo>
                <a:lnTo>
                  <a:pt x="1077" y="1604"/>
                </a:lnTo>
                <a:lnTo>
                  <a:pt x="1080" y="1609"/>
                </a:lnTo>
                <a:lnTo>
                  <a:pt x="1083" y="1618"/>
                </a:lnTo>
                <a:lnTo>
                  <a:pt x="1087" y="1627"/>
                </a:lnTo>
                <a:lnTo>
                  <a:pt x="1087" y="1627"/>
                </a:lnTo>
                <a:lnTo>
                  <a:pt x="1126" y="1650"/>
                </a:lnTo>
                <a:lnTo>
                  <a:pt x="1156" y="1665"/>
                </a:lnTo>
                <a:lnTo>
                  <a:pt x="1167" y="1670"/>
                </a:lnTo>
                <a:lnTo>
                  <a:pt x="1175" y="1672"/>
                </a:lnTo>
                <a:lnTo>
                  <a:pt x="1175" y="1672"/>
                </a:lnTo>
                <a:lnTo>
                  <a:pt x="1184" y="1671"/>
                </a:lnTo>
                <a:lnTo>
                  <a:pt x="1191" y="1670"/>
                </a:lnTo>
                <a:lnTo>
                  <a:pt x="1197" y="1667"/>
                </a:lnTo>
                <a:lnTo>
                  <a:pt x="1202" y="1663"/>
                </a:lnTo>
                <a:lnTo>
                  <a:pt x="1204" y="1660"/>
                </a:lnTo>
                <a:lnTo>
                  <a:pt x="1206" y="1655"/>
                </a:lnTo>
                <a:lnTo>
                  <a:pt x="1207" y="1650"/>
                </a:lnTo>
                <a:lnTo>
                  <a:pt x="1209" y="1646"/>
                </a:lnTo>
                <a:lnTo>
                  <a:pt x="1209" y="1646"/>
                </a:lnTo>
                <a:lnTo>
                  <a:pt x="1209" y="1621"/>
                </a:lnTo>
                <a:lnTo>
                  <a:pt x="1209" y="1621"/>
                </a:lnTo>
                <a:lnTo>
                  <a:pt x="1209" y="1615"/>
                </a:lnTo>
                <a:lnTo>
                  <a:pt x="1211" y="1610"/>
                </a:lnTo>
                <a:lnTo>
                  <a:pt x="1216" y="1602"/>
                </a:lnTo>
                <a:lnTo>
                  <a:pt x="1220" y="1595"/>
                </a:lnTo>
                <a:lnTo>
                  <a:pt x="1222" y="1592"/>
                </a:lnTo>
                <a:lnTo>
                  <a:pt x="1222" y="1587"/>
                </a:lnTo>
                <a:lnTo>
                  <a:pt x="1222" y="1587"/>
                </a:lnTo>
                <a:lnTo>
                  <a:pt x="1222" y="1569"/>
                </a:lnTo>
                <a:lnTo>
                  <a:pt x="1222" y="1569"/>
                </a:lnTo>
                <a:lnTo>
                  <a:pt x="1221" y="1565"/>
                </a:lnTo>
                <a:lnTo>
                  <a:pt x="1219" y="1561"/>
                </a:lnTo>
                <a:lnTo>
                  <a:pt x="1212" y="1554"/>
                </a:lnTo>
                <a:lnTo>
                  <a:pt x="1205" y="1547"/>
                </a:lnTo>
                <a:lnTo>
                  <a:pt x="1196" y="1540"/>
                </a:lnTo>
                <a:lnTo>
                  <a:pt x="1188" y="1534"/>
                </a:lnTo>
                <a:lnTo>
                  <a:pt x="1182" y="1528"/>
                </a:lnTo>
                <a:lnTo>
                  <a:pt x="1176" y="1523"/>
                </a:lnTo>
                <a:lnTo>
                  <a:pt x="1175" y="1520"/>
                </a:lnTo>
                <a:lnTo>
                  <a:pt x="1175" y="1517"/>
                </a:lnTo>
                <a:lnTo>
                  <a:pt x="1175" y="1517"/>
                </a:lnTo>
                <a:lnTo>
                  <a:pt x="1175" y="1511"/>
                </a:lnTo>
                <a:lnTo>
                  <a:pt x="1176" y="1507"/>
                </a:lnTo>
                <a:lnTo>
                  <a:pt x="1179" y="1502"/>
                </a:lnTo>
                <a:lnTo>
                  <a:pt x="1181" y="1497"/>
                </a:lnTo>
                <a:lnTo>
                  <a:pt x="1188" y="1489"/>
                </a:lnTo>
                <a:lnTo>
                  <a:pt x="1196" y="1484"/>
                </a:lnTo>
                <a:lnTo>
                  <a:pt x="1203" y="1477"/>
                </a:lnTo>
                <a:lnTo>
                  <a:pt x="1210" y="1470"/>
                </a:lnTo>
                <a:lnTo>
                  <a:pt x="1212" y="1465"/>
                </a:lnTo>
                <a:lnTo>
                  <a:pt x="1214" y="1462"/>
                </a:lnTo>
                <a:lnTo>
                  <a:pt x="1216" y="1457"/>
                </a:lnTo>
                <a:lnTo>
                  <a:pt x="1216" y="1451"/>
                </a:lnTo>
                <a:lnTo>
                  <a:pt x="1216" y="1451"/>
                </a:lnTo>
                <a:lnTo>
                  <a:pt x="1216" y="1444"/>
                </a:lnTo>
                <a:lnTo>
                  <a:pt x="1214" y="1439"/>
                </a:lnTo>
                <a:lnTo>
                  <a:pt x="1210" y="1428"/>
                </a:lnTo>
                <a:lnTo>
                  <a:pt x="1205" y="1419"/>
                </a:lnTo>
                <a:lnTo>
                  <a:pt x="1201" y="1411"/>
                </a:lnTo>
                <a:lnTo>
                  <a:pt x="1201" y="1411"/>
                </a:lnTo>
                <a:lnTo>
                  <a:pt x="1135" y="1411"/>
                </a:lnTo>
                <a:lnTo>
                  <a:pt x="1135" y="1411"/>
                </a:lnTo>
                <a:lnTo>
                  <a:pt x="1135" y="1411"/>
                </a:lnTo>
                <a:lnTo>
                  <a:pt x="1132" y="1405"/>
                </a:lnTo>
                <a:lnTo>
                  <a:pt x="1128" y="1398"/>
                </a:lnTo>
                <a:lnTo>
                  <a:pt x="1126" y="1389"/>
                </a:lnTo>
                <a:lnTo>
                  <a:pt x="1123" y="1380"/>
                </a:lnTo>
                <a:lnTo>
                  <a:pt x="1121" y="1357"/>
                </a:lnTo>
                <a:lnTo>
                  <a:pt x="1120" y="1334"/>
                </a:lnTo>
                <a:lnTo>
                  <a:pt x="1120" y="1334"/>
                </a:lnTo>
                <a:lnTo>
                  <a:pt x="1121" y="1321"/>
                </a:lnTo>
                <a:lnTo>
                  <a:pt x="1123" y="1312"/>
                </a:lnTo>
                <a:lnTo>
                  <a:pt x="1126" y="1305"/>
                </a:lnTo>
                <a:lnTo>
                  <a:pt x="1128" y="1298"/>
                </a:lnTo>
                <a:lnTo>
                  <a:pt x="1135" y="1286"/>
                </a:lnTo>
                <a:lnTo>
                  <a:pt x="1137" y="1278"/>
                </a:lnTo>
                <a:lnTo>
                  <a:pt x="1138" y="1268"/>
                </a:lnTo>
                <a:lnTo>
                  <a:pt x="1138" y="1268"/>
                </a:lnTo>
                <a:lnTo>
                  <a:pt x="1134" y="1267"/>
                </a:lnTo>
                <a:lnTo>
                  <a:pt x="1130" y="1265"/>
                </a:lnTo>
                <a:lnTo>
                  <a:pt x="1127" y="1260"/>
                </a:lnTo>
                <a:lnTo>
                  <a:pt x="1125" y="1253"/>
                </a:lnTo>
                <a:lnTo>
                  <a:pt x="1125" y="1253"/>
                </a:lnTo>
                <a:lnTo>
                  <a:pt x="1132" y="1249"/>
                </a:lnTo>
                <a:lnTo>
                  <a:pt x="1137" y="1244"/>
                </a:lnTo>
                <a:lnTo>
                  <a:pt x="1145" y="1234"/>
                </a:lnTo>
                <a:lnTo>
                  <a:pt x="1155" y="1224"/>
                </a:lnTo>
                <a:lnTo>
                  <a:pt x="1160" y="1218"/>
                </a:lnTo>
                <a:lnTo>
                  <a:pt x="1168" y="1213"/>
                </a:lnTo>
                <a:lnTo>
                  <a:pt x="1168" y="1213"/>
                </a:lnTo>
                <a:lnTo>
                  <a:pt x="1172" y="1207"/>
                </a:lnTo>
                <a:lnTo>
                  <a:pt x="1176" y="1203"/>
                </a:lnTo>
                <a:lnTo>
                  <a:pt x="1179" y="1199"/>
                </a:lnTo>
                <a:lnTo>
                  <a:pt x="1181" y="1196"/>
                </a:lnTo>
                <a:lnTo>
                  <a:pt x="1182" y="1192"/>
                </a:lnTo>
                <a:lnTo>
                  <a:pt x="1183" y="1187"/>
                </a:lnTo>
                <a:lnTo>
                  <a:pt x="1183" y="1187"/>
                </a:lnTo>
                <a:lnTo>
                  <a:pt x="1184" y="1177"/>
                </a:lnTo>
                <a:lnTo>
                  <a:pt x="1187" y="1169"/>
                </a:lnTo>
                <a:lnTo>
                  <a:pt x="1191" y="1163"/>
                </a:lnTo>
                <a:lnTo>
                  <a:pt x="1196" y="1156"/>
                </a:lnTo>
                <a:lnTo>
                  <a:pt x="1201" y="1148"/>
                </a:lnTo>
                <a:lnTo>
                  <a:pt x="1204" y="1141"/>
                </a:lnTo>
                <a:lnTo>
                  <a:pt x="1207" y="1131"/>
                </a:lnTo>
                <a:lnTo>
                  <a:pt x="1209" y="1121"/>
                </a:lnTo>
                <a:lnTo>
                  <a:pt x="1209" y="1121"/>
                </a:lnTo>
                <a:lnTo>
                  <a:pt x="1207" y="1118"/>
                </a:lnTo>
                <a:lnTo>
                  <a:pt x="1206" y="1114"/>
                </a:lnTo>
                <a:lnTo>
                  <a:pt x="1201" y="1107"/>
                </a:lnTo>
                <a:lnTo>
                  <a:pt x="1198" y="1104"/>
                </a:lnTo>
                <a:lnTo>
                  <a:pt x="1196" y="1099"/>
                </a:lnTo>
                <a:lnTo>
                  <a:pt x="1194" y="1093"/>
                </a:lnTo>
                <a:lnTo>
                  <a:pt x="1194" y="1088"/>
                </a:lnTo>
                <a:lnTo>
                  <a:pt x="1194" y="1088"/>
                </a:lnTo>
                <a:lnTo>
                  <a:pt x="1194" y="1083"/>
                </a:lnTo>
                <a:lnTo>
                  <a:pt x="1196" y="1080"/>
                </a:lnTo>
                <a:lnTo>
                  <a:pt x="1201" y="1070"/>
                </a:lnTo>
                <a:lnTo>
                  <a:pt x="1206" y="1061"/>
                </a:lnTo>
                <a:lnTo>
                  <a:pt x="1207" y="1057"/>
                </a:lnTo>
                <a:lnTo>
                  <a:pt x="1209" y="1051"/>
                </a:lnTo>
                <a:lnTo>
                  <a:pt x="1209" y="1051"/>
                </a:lnTo>
                <a:lnTo>
                  <a:pt x="1207" y="1045"/>
                </a:lnTo>
                <a:lnTo>
                  <a:pt x="1206" y="1039"/>
                </a:lnTo>
                <a:lnTo>
                  <a:pt x="1204" y="1034"/>
                </a:lnTo>
                <a:lnTo>
                  <a:pt x="1201" y="1029"/>
                </a:lnTo>
                <a:lnTo>
                  <a:pt x="1193" y="1021"/>
                </a:lnTo>
                <a:lnTo>
                  <a:pt x="1184" y="1014"/>
                </a:lnTo>
                <a:lnTo>
                  <a:pt x="1175" y="1007"/>
                </a:lnTo>
                <a:lnTo>
                  <a:pt x="1168" y="998"/>
                </a:lnTo>
                <a:lnTo>
                  <a:pt x="1165" y="993"/>
                </a:lnTo>
                <a:lnTo>
                  <a:pt x="1163" y="988"/>
                </a:lnTo>
                <a:lnTo>
                  <a:pt x="1161" y="981"/>
                </a:lnTo>
                <a:lnTo>
                  <a:pt x="1160" y="974"/>
                </a:lnTo>
                <a:lnTo>
                  <a:pt x="1160" y="974"/>
                </a:lnTo>
                <a:lnTo>
                  <a:pt x="1161" y="965"/>
                </a:lnTo>
                <a:lnTo>
                  <a:pt x="1164" y="958"/>
                </a:lnTo>
                <a:lnTo>
                  <a:pt x="1167" y="952"/>
                </a:lnTo>
                <a:lnTo>
                  <a:pt x="1172" y="946"/>
                </a:lnTo>
                <a:lnTo>
                  <a:pt x="1180" y="937"/>
                </a:lnTo>
                <a:lnTo>
                  <a:pt x="1182" y="931"/>
                </a:lnTo>
                <a:lnTo>
                  <a:pt x="1183" y="927"/>
                </a:lnTo>
                <a:lnTo>
                  <a:pt x="1183" y="927"/>
                </a:lnTo>
                <a:lnTo>
                  <a:pt x="1182" y="920"/>
                </a:lnTo>
                <a:lnTo>
                  <a:pt x="1180" y="914"/>
                </a:lnTo>
                <a:lnTo>
                  <a:pt x="1172" y="904"/>
                </a:lnTo>
                <a:lnTo>
                  <a:pt x="1167" y="898"/>
                </a:lnTo>
                <a:lnTo>
                  <a:pt x="1164" y="891"/>
                </a:lnTo>
                <a:lnTo>
                  <a:pt x="1161" y="882"/>
                </a:lnTo>
                <a:lnTo>
                  <a:pt x="1160" y="871"/>
                </a:lnTo>
                <a:lnTo>
                  <a:pt x="1160" y="871"/>
                </a:lnTo>
                <a:lnTo>
                  <a:pt x="1161" y="862"/>
                </a:lnTo>
                <a:lnTo>
                  <a:pt x="1164" y="854"/>
                </a:lnTo>
                <a:lnTo>
                  <a:pt x="1167" y="847"/>
                </a:lnTo>
                <a:lnTo>
                  <a:pt x="1172" y="841"/>
                </a:lnTo>
                <a:lnTo>
                  <a:pt x="1178" y="838"/>
                </a:lnTo>
                <a:lnTo>
                  <a:pt x="1184" y="835"/>
                </a:lnTo>
                <a:lnTo>
                  <a:pt x="1199" y="829"/>
                </a:lnTo>
                <a:lnTo>
                  <a:pt x="1214" y="824"/>
                </a:lnTo>
                <a:lnTo>
                  <a:pt x="1228" y="818"/>
                </a:lnTo>
                <a:lnTo>
                  <a:pt x="1235" y="815"/>
                </a:lnTo>
                <a:lnTo>
                  <a:pt x="1241" y="810"/>
                </a:lnTo>
                <a:lnTo>
                  <a:pt x="1245" y="805"/>
                </a:lnTo>
                <a:lnTo>
                  <a:pt x="1249" y="798"/>
                </a:lnTo>
                <a:lnTo>
                  <a:pt x="1249" y="798"/>
                </a:lnTo>
                <a:lnTo>
                  <a:pt x="1249" y="783"/>
                </a:lnTo>
                <a:lnTo>
                  <a:pt x="1249" y="783"/>
                </a:lnTo>
                <a:lnTo>
                  <a:pt x="1249" y="783"/>
                </a:lnTo>
                <a:lnTo>
                  <a:pt x="1242" y="783"/>
                </a:lnTo>
                <a:lnTo>
                  <a:pt x="1242" y="783"/>
                </a:lnTo>
                <a:lnTo>
                  <a:pt x="1228" y="784"/>
                </a:lnTo>
                <a:lnTo>
                  <a:pt x="1216" y="785"/>
                </a:lnTo>
                <a:lnTo>
                  <a:pt x="1203" y="786"/>
                </a:lnTo>
                <a:lnTo>
                  <a:pt x="1197" y="785"/>
                </a:lnTo>
                <a:lnTo>
                  <a:pt x="1190" y="783"/>
                </a:lnTo>
                <a:lnTo>
                  <a:pt x="1190" y="783"/>
                </a:lnTo>
                <a:lnTo>
                  <a:pt x="1176" y="777"/>
                </a:lnTo>
                <a:lnTo>
                  <a:pt x="1165" y="772"/>
                </a:lnTo>
                <a:lnTo>
                  <a:pt x="1156" y="769"/>
                </a:lnTo>
                <a:lnTo>
                  <a:pt x="1145" y="768"/>
                </a:lnTo>
                <a:lnTo>
                  <a:pt x="1145" y="768"/>
                </a:lnTo>
                <a:lnTo>
                  <a:pt x="1129" y="769"/>
                </a:lnTo>
                <a:lnTo>
                  <a:pt x="1113" y="771"/>
                </a:lnTo>
                <a:lnTo>
                  <a:pt x="1096" y="771"/>
                </a:lnTo>
                <a:lnTo>
                  <a:pt x="1088" y="770"/>
                </a:lnTo>
                <a:lnTo>
                  <a:pt x="1080" y="768"/>
                </a:lnTo>
                <a:lnTo>
                  <a:pt x="1080" y="768"/>
                </a:lnTo>
                <a:lnTo>
                  <a:pt x="1080" y="684"/>
                </a:lnTo>
                <a:lnTo>
                  <a:pt x="1080" y="684"/>
                </a:lnTo>
                <a:lnTo>
                  <a:pt x="1081" y="678"/>
                </a:lnTo>
                <a:lnTo>
                  <a:pt x="1081" y="672"/>
                </a:lnTo>
                <a:lnTo>
                  <a:pt x="1085" y="662"/>
                </a:lnTo>
                <a:lnTo>
                  <a:pt x="1090" y="653"/>
                </a:lnTo>
                <a:lnTo>
                  <a:pt x="1096" y="645"/>
                </a:lnTo>
                <a:lnTo>
                  <a:pt x="1107" y="631"/>
                </a:lnTo>
                <a:lnTo>
                  <a:pt x="1112" y="624"/>
                </a:lnTo>
                <a:lnTo>
                  <a:pt x="1112" y="621"/>
                </a:lnTo>
                <a:lnTo>
                  <a:pt x="1113" y="618"/>
                </a:lnTo>
                <a:lnTo>
                  <a:pt x="1113" y="618"/>
                </a:lnTo>
                <a:lnTo>
                  <a:pt x="1112" y="609"/>
                </a:lnTo>
                <a:lnTo>
                  <a:pt x="1110" y="601"/>
                </a:lnTo>
                <a:lnTo>
                  <a:pt x="1107" y="593"/>
                </a:lnTo>
                <a:lnTo>
                  <a:pt x="1103" y="585"/>
                </a:lnTo>
                <a:lnTo>
                  <a:pt x="1092" y="571"/>
                </a:lnTo>
                <a:lnTo>
                  <a:pt x="1081" y="557"/>
                </a:lnTo>
                <a:lnTo>
                  <a:pt x="1068" y="543"/>
                </a:lnTo>
                <a:lnTo>
                  <a:pt x="1057" y="529"/>
                </a:lnTo>
                <a:lnTo>
                  <a:pt x="1052" y="522"/>
                </a:lnTo>
                <a:lnTo>
                  <a:pt x="1048" y="514"/>
                </a:lnTo>
                <a:lnTo>
                  <a:pt x="1045" y="505"/>
                </a:lnTo>
                <a:lnTo>
                  <a:pt x="1043" y="496"/>
                </a:lnTo>
                <a:lnTo>
                  <a:pt x="1043" y="496"/>
                </a:lnTo>
                <a:lnTo>
                  <a:pt x="1042" y="487"/>
                </a:lnTo>
                <a:lnTo>
                  <a:pt x="1042" y="479"/>
                </a:lnTo>
                <a:lnTo>
                  <a:pt x="1043" y="470"/>
                </a:lnTo>
                <a:lnTo>
                  <a:pt x="1045" y="462"/>
                </a:lnTo>
                <a:lnTo>
                  <a:pt x="1048" y="454"/>
                </a:lnTo>
                <a:lnTo>
                  <a:pt x="1049" y="447"/>
                </a:lnTo>
                <a:lnTo>
                  <a:pt x="1049" y="439"/>
                </a:lnTo>
                <a:lnTo>
                  <a:pt x="1048" y="431"/>
                </a:lnTo>
                <a:lnTo>
                  <a:pt x="1048" y="431"/>
                </a:lnTo>
                <a:lnTo>
                  <a:pt x="1046" y="427"/>
                </a:lnTo>
                <a:lnTo>
                  <a:pt x="1044" y="424"/>
                </a:lnTo>
                <a:lnTo>
                  <a:pt x="1039" y="419"/>
                </a:lnTo>
                <a:lnTo>
                  <a:pt x="1033" y="415"/>
                </a:lnTo>
                <a:lnTo>
                  <a:pt x="1024" y="412"/>
                </a:lnTo>
                <a:lnTo>
                  <a:pt x="1006" y="408"/>
                </a:lnTo>
                <a:lnTo>
                  <a:pt x="988" y="404"/>
                </a:lnTo>
                <a:lnTo>
                  <a:pt x="988" y="404"/>
                </a:lnTo>
                <a:lnTo>
                  <a:pt x="990" y="397"/>
                </a:lnTo>
                <a:lnTo>
                  <a:pt x="992" y="393"/>
                </a:lnTo>
                <a:lnTo>
                  <a:pt x="996" y="387"/>
                </a:lnTo>
                <a:lnTo>
                  <a:pt x="999" y="384"/>
                </a:lnTo>
                <a:lnTo>
                  <a:pt x="1008" y="375"/>
                </a:lnTo>
                <a:lnTo>
                  <a:pt x="1019" y="370"/>
                </a:lnTo>
                <a:lnTo>
                  <a:pt x="1028" y="363"/>
                </a:lnTo>
                <a:lnTo>
                  <a:pt x="1035" y="356"/>
                </a:lnTo>
                <a:lnTo>
                  <a:pt x="1038" y="351"/>
                </a:lnTo>
                <a:lnTo>
                  <a:pt x="1041" y="347"/>
                </a:lnTo>
                <a:lnTo>
                  <a:pt x="1042" y="341"/>
                </a:lnTo>
                <a:lnTo>
                  <a:pt x="1043" y="335"/>
                </a:lnTo>
                <a:lnTo>
                  <a:pt x="1043" y="335"/>
                </a:lnTo>
                <a:lnTo>
                  <a:pt x="1042" y="311"/>
                </a:lnTo>
                <a:lnTo>
                  <a:pt x="1041" y="288"/>
                </a:lnTo>
                <a:lnTo>
                  <a:pt x="1038" y="266"/>
                </a:lnTo>
                <a:lnTo>
                  <a:pt x="1035" y="243"/>
                </a:lnTo>
                <a:lnTo>
                  <a:pt x="1030" y="221"/>
                </a:lnTo>
                <a:lnTo>
                  <a:pt x="1024" y="199"/>
                </a:lnTo>
                <a:lnTo>
                  <a:pt x="1019" y="178"/>
                </a:lnTo>
                <a:lnTo>
                  <a:pt x="1012" y="157"/>
                </a:lnTo>
                <a:lnTo>
                  <a:pt x="1004" y="136"/>
                </a:lnTo>
                <a:lnTo>
                  <a:pt x="996" y="115"/>
                </a:lnTo>
                <a:lnTo>
                  <a:pt x="977" y="75"/>
                </a:lnTo>
                <a:lnTo>
                  <a:pt x="958" y="37"/>
                </a:lnTo>
                <a:lnTo>
                  <a:pt x="936" y="0"/>
                </a:lnTo>
                <a:lnTo>
                  <a:pt x="936" y="0"/>
                </a:lnTo>
                <a:lnTo>
                  <a:pt x="932" y="3"/>
                </a:lnTo>
                <a:lnTo>
                  <a:pt x="929" y="5"/>
                </a:lnTo>
                <a:lnTo>
                  <a:pt x="924" y="12"/>
                </a:lnTo>
                <a:lnTo>
                  <a:pt x="921" y="19"/>
                </a:lnTo>
                <a:lnTo>
                  <a:pt x="917" y="27"/>
                </a:lnTo>
                <a:lnTo>
                  <a:pt x="914" y="34"/>
                </a:lnTo>
                <a:lnTo>
                  <a:pt x="911" y="39"/>
                </a:lnTo>
                <a:lnTo>
                  <a:pt x="907" y="42"/>
                </a:lnTo>
                <a:lnTo>
                  <a:pt x="904" y="43"/>
                </a:lnTo>
                <a:lnTo>
                  <a:pt x="900" y="44"/>
                </a:lnTo>
                <a:lnTo>
                  <a:pt x="896" y="44"/>
                </a:lnTo>
                <a:lnTo>
                  <a:pt x="896" y="44"/>
                </a:lnTo>
                <a:lnTo>
                  <a:pt x="892" y="44"/>
                </a:lnTo>
                <a:lnTo>
                  <a:pt x="888" y="42"/>
                </a:lnTo>
                <a:lnTo>
                  <a:pt x="880" y="37"/>
                </a:lnTo>
                <a:lnTo>
                  <a:pt x="870" y="33"/>
                </a:lnTo>
                <a:lnTo>
                  <a:pt x="865" y="30"/>
                </a:lnTo>
                <a:lnTo>
                  <a:pt x="860" y="30"/>
                </a:lnTo>
                <a:lnTo>
                  <a:pt x="860" y="30"/>
                </a:lnTo>
                <a:lnTo>
                  <a:pt x="855" y="30"/>
                </a:lnTo>
                <a:lnTo>
                  <a:pt x="852" y="34"/>
                </a:lnTo>
                <a:lnTo>
                  <a:pt x="848" y="37"/>
                </a:lnTo>
                <a:lnTo>
                  <a:pt x="845" y="42"/>
                </a:lnTo>
                <a:lnTo>
                  <a:pt x="839" y="50"/>
                </a:lnTo>
                <a:lnTo>
                  <a:pt x="837" y="53"/>
                </a:lnTo>
                <a:lnTo>
                  <a:pt x="833" y="56"/>
                </a:lnTo>
                <a:lnTo>
                  <a:pt x="833" y="56"/>
                </a:lnTo>
                <a:lnTo>
                  <a:pt x="825" y="60"/>
                </a:lnTo>
                <a:lnTo>
                  <a:pt x="819" y="61"/>
                </a:lnTo>
                <a:lnTo>
                  <a:pt x="812" y="62"/>
                </a:lnTo>
                <a:lnTo>
                  <a:pt x="805" y="61"/>
                </a:lnTo>
                <a:lnTo>
                  <a:pt x="792" y="58"/>
                </a:lnTo>
                <a:lnTo>
                  <a:pt x="785" y="57"/>
                </a:lnTo>
                <a:lnTo>
                  <a:pt x="778" y="56"/>
                </a:lnTo>
                <a:lnTo>
                  <a:pt x="778" y="56"/>
                </a:lnTo>
                <a:lnTo>
                  <a:pt x="762" y="54"/>
                </a:lnTo>
                <a:lnTo>
                  <a:pt x="749" y="53"/>
                </a:lnTo>
                <a:lnTo>
                  <a:pt x="738" y="50"/>
                </a:lnTo>
                <a:lnTo>
                  <a:pt x="728" y="46"/>
                </a:lnTo>
                <a:lnTo>
                  <a:pt x="718" y="43"/>
                </a:lnTo>
                <a:lnTo>
                  <a:pt x="708" y="41"/>
                </a:lnTo>
                <a:lnTo>
                  <a:pt x="697" y="38"/>
                </a:lnTo>
                <a:lnTo>
                  <a:pt x="683" y="37"/>
                </a:lnTo>
                <a:lnTo>
                  <a:pt x="683" y="37"/>
                </a:lnTo>
                <a:lnTo>
                  <a:pt x="676" y="38"/>
                </a:lnTo>
                <a:lnTo>
                  <a:pt x="670" y="39"/>
                </a:lnTo>
                <a:lnTo>
                  <a:pt x="664" y="42"/>
                </a:lnTo>
                <a:lnTo>
                  <a:pt x="660" y="45"/>
                </a:lnTo>
                <a:lnTo>
                  <a:pt x="651" y="50"/>
                </a:lnTo>
                <a:lnTo>
                  <a:pt x="645" y="51"/>
                </a:lnTo>
                <a:lnTo>
                  <a:pt x="639" y="52"/>
                </a:lnTo>
                <a:lnTo>
                  <a:pt x="639" y="52"/>
                </a:lnTo>
                <a:lnTo>
                  <a:pt x="636" y="52"/>
                </a:lnTo>
                <a:lnTo>
                  <a:pt x="633" y="50"/>
                </a:lnTo>
                <a:lnTo>
                  <a:pt x="630" y="48"/>
                </a:lnTo>
                <a:lnTo>
                  <a:pt x="628" y="44"/>
                </a:lnTo>
                <a:lnTo>
                  <a:pt x="624" y="37"/>
                </a:lnTo>
                <a:lnTo>
                  <a:pt x="619" y="28"/>
                </a:lnTo>
                <a:lnTo>
                  <a:pt x="615" y="19"/>
                </a:lnTo>
                <a:lnTo>
                  <a:pt x="610" y="12"/>
                </a:lnTo>
                <a:lnTo>
                  <a:pt x="607" y="8"/>
                </a:lnTo>
                <a:lnTo>
                  <a:pt x="603" y="6"/>
                </a:lnTo>
                <a:lnTo>
                  <a:pt x="600" y="5"/>
                </a:lnTo>
                <a:lnTo>
                  <a:pt x="595" y="4"/>
                </a:lnTo>
                <a:lnTo>
                  <a:pt x="595" y="4"/>
                </a:lnTo>
                <a:lnTo>
                  <a:pt x="588" y="4"/>
                </a:lnTo>
                <a:lnTo>
                  <a:pt x="583" y="6"/>
                </a:lnTo>
                <a:lnTo>
                  <a:pt x="578" y="7"/>
                </a:lnTo>
                <a:lnTo>
                  <a:pt x="575" y="11"/>
                </a:lnTo>
                <a:lnTo>
                  <a:pt x="568" y="16"/>
                </a:lnTo>
                <a:lnTo>
                  <a:pt x="562" y="24"/>
                </a:lnTo>
                <a:lnTo>
                  <a:pt x="558" y="31"/>
                </a:lnTo>
                <a:lnTo>
                  <a:pt x="554" y="38"/>
                </a:lnTo>
                <a:lnTo>
                  <a:pt x="549" y="43"/>
                </a:lnTo>
                <a:lnTo>
                  <a:pt x="547" y="44"/>
                </a:lnTo>
                <a:lnTo>
                  <a:pt x="544" y="44"/>
                </a:lnTo>
                <a:lnTo>
                  <a:pt x="544" y="44"/>
                </a:lnTo>
                <a:lnTo>
                  <a:pt x="537" y="43"/>
                </a:lnTo>
                <a:lnTo>
                  <a:pt x="531" y="41"/>
                </a:lnTo>
                <a:lnTo>
                  <a:pt x="525" y="38"/>
                </a:lnTo>
                <a:lnTo>
                  <a:pt x="518" y="37"/>
                </a:lnTo>
                <a:lnTo>
                  <a:pt x="518" y="37"/>
                </a:lnTo>
                <a:lnTo>
                  <a:pt x="506" y="38"/>
                </a:lnTo>
                <a:lnTo>
                  <a:pt x="494" y="41"/>
                </a:lnTo>
                <a:lnTo>
                  <a:pt x="483" y="44"/>
                </a:lnTo>
                <a:lnTo>
                  <a:pt x="472" y="50"/>
                </a:lnTo>
                <a:lnTo>
                  <a:pt x="462" y="56"/>
                </a:lnTo>
                <a:lnTo>
                  <a:pt x="451" y="61"/>
                </a:lnTo>
                <a:lnTo>
                  <a:pt x="432" y="77"/>
                </a:lnTo>
                <a:lnTo>
                  <a:pt x="396" y="108"/>
                </a:lnTo>
                <a:lnTo>
                  <a:pt x="380" y="122"/>
                </a:lnTo>
                <a:lnTo>
                  <a:pt x="371" y="128"/>
                </a:lnTo>
                <a:lnTo>
                  <a:pt x="363" y="133"/>
                </a:lnTo>
                <a:lnTo>
                  <a:pt x="363" y="133"/>
                </a:lnTo>
                <a:lnTo>
                  <a:pt x="359" y="137"/>
                </a:lnTo>
                <a:lnTo>
                  <a:pt x="352" y="148"/>
                </a:lnTo>
                <a:lnTo>
                  <a:pt x="336" y="179"/>
                </a:lnTo>
                <a:lnTo>
                  <a:pt x="312" y="228"/>
                </a:lnTo>
                <a:lnTo>
                  <a:pt x="312" y="228"/>
                </a:lnTo>
                <a:lnTo>
                  <a:pt x="310" y="235"/>
                </a:lnTo>
                <a:lnTo>
                  <a:pt x="308" y="243"/>
                </a:lnTo>
                <a:lnTo>
                  <a:pt x="305" y="259"/>
                </a:lnTo>
                <a:lnTo>
                  <a:pt x="303" y="266"/>
                </a:lnTo>
                <a:lnTo>
                  <a:pt x="300" y="271"/>
                </a:lnTo>
                <a:lnTo>
                  <a:pt x="296" y="275"/>
                </a:lnTo>
                <a:lnTo>
                  <a:pt x="293" y="275"/>
                </a:lnTo>
                <a:lnTo>
                  <a:pt x="289" y="276"/>
                </a:lnTo>
                <a:lnTo>
                  <a:pt x="289" y="276"/>
                </a:lnTo>
                <a:lnTo>
                  <a:pt x="268" y="276"/>
                </a:lnTo>
                <a:lnTo>
                  <a:pt x="268" y="276"/>
                </a:lnTo>
                <a:lnTo>
                  <a:pt x="262" y="276"/>
                </a:lnTo>
                <a:lnTo>
                  <a:pt x="255" y="280"/>
                </a:lnTo>
                <a:lnTo>
                  <a:pt x="249" y="285"/>
                </a:lnTo>
                <a:lnTo>
                  <a:pt x="243" y="289"/>
                </a:lnTo>
                <a:lnTo>
                  <a:pt x="237" y="297"/>
                </a:lnTo>
                <a:lnTo>
                  <a:pt x="232" y="305"/>
                </a:lnTo>
                <a:lnTo>
                  <a:pt x="220" y="324"/>
                </a:lnTo>
                <a:lnTo>
                  <a:pt x="196" y="371"/>
                </a:lnTo>
                <a:lnTo>
                  <a:pt x="182" y="395"/>
                </a:lnTo>
                <a:lnTo>
                  <a:pt x="174" y="407"/>
                </a:lnTo>
                <a:lnTo>
                  <a:pt x="165" y="419"/>
                </a:lnTo>
                <a:lnTo>
                  <a:pt x="165" y="419"/>
                </a:lnTo>
                <a:lnTo>
                  <a:pt x="165" y="419"/>
                </a:lnTo>
                <a:lnTo>
                  <a:pt x="165" y="41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5" name="Freeform 130"/>
          <p:cNvSpPr>
            <a:spLocks/>
          </p:cNvSpPr>
          <p:nvPr/>
        </p:nvSpPr>
        <p:spPr bwMode="auto">
          <a:xfrm>
            <a:off x="4052888" y="2347913"/>
            <a:ext cx="1370012" cy="1516062"/>
          </a:xfrm>
          <a:custGeom>
            <a:avLst/>
            <a:gdLst/>
            <a:ahLst/>
            <a:cxnLst>
              <a:cxn ang="0">
                <a:pos x="264" y="1733"/>
              </a:cxn>
              <a:cxn ang="0">
                <a:pos x="331" y="1639"/>
              </a:cxn>
              <a:cxn ang="0">
                <a:pos x="415" y="1708"/>
              </a:cxn>
              <a:cxn ang="0">
                <a:pos x="595" y="1723"/>
              </a:cxn>
              <a:cxn ang="0">
                <a:pos x="732" y="1600"/>
              </a:cxn>
              <a:cxn ang="0">
                <a:pos x="803" y="1561"/>
              </a:cxn>
              <a:cxn ang="0">
                <a:pos x="896" y="1403"/>
              </a:cxn>
              <a:cxn ang="0">
                <a:pos x="1044" y="1339"/>
              </a:cxn>
              <a:cxn ang="0">
                <a:pos x="1095" y="1299"/>
              </a:cxn>
              <a:cxn ang="0">
                <a:pos x="1139" y="1347"/>
              </a:cxn>
              <a:cxn ang="0">
                <a:pos x="1238" y="1345"/>
              </a:cxn>
              <a:cxn ang="0">
                <a:pos x="1337" y="1348"/>
              </a:cxn>
              <a:cxn ang="0">
                <a:pos x="1396" y="1339"/>
              </a:cxn>
              <a:cxn ang="0">
                <a:pos x="1436" y="1295"/>
              </a:cxn>
              <a:cxn ang="0">
                <a:pos x="1531" y="1216"/>
              </a:cxn>
              <a:cxn ang="0">
                <a:pos x="1571" y="1169"/>
              </a:cxn>
              <a:cxn ang="0">
                <a:pos x="1664" y="981"/>
              </a:cxn>
              <a:cxn ang="0">
                <a:pos x="1643" y="916"/>
              </a:cxn>
              <a:cxn ang="0">
                <a:pos x="1606" y="814"/>
              </a:cxn>
              <a:cxn ang="0">
                <a:pos x="1501" y="681"/>
              </a:cxn>
              <a:cxn ang="0">
                <a:pos x="1488" y="601"/>
              </a:cxn>
              <a:cxn ang="0">
                <a:pos x="1428" y="554"/>
              </a:cxn>
              <a:cxn ang="0">
                <a:pos x="1458" y="624"/>
              </a:cxn>
              <a:cxn ang="0">
                <a:pos x="1314" y="744"/>
              </a:cxn>
              <a:cxn ang="0">
                <a:pos x="1398" y="565"/>
              </a:cxn>
              <a:cxn ang="0">
                <a:pos x="1510" y="297"/>
              </a:cxn>
              <a:cxn ang="0">
                <a:pos x="1376" y="120"/>
              </a:cxn>
              <a:cxn ang="0">
                <a:pos x="1245" y="145"/>
              </a:cxn>
              <a:cxn ang="0">
                <a:pos x="1184" y="178"/>
              </a:cxn>
              <a:cxn ang="0">
                <a:pos x="1192" y="91"/>
              </a:cxn>
              <a:cxn ang="0">
                <a:pos x="1122" y="68"/>
              </a:cxn>
              <a:cxn ang="0">
                <a:pos x="1064" y="0"/>
              </a:cxn>
              <a:cxn ang="0">
                <a:pos x="970" y="133"/>
              </a:cxn>
              <a:cxn ang="0">
                <a:pos x="948" y="238"/>
              </a:cxn>
              <a:cxn ang="0">
                <a:pos x="941" y="297"/>
              </a:cxn>
              <a:cxn ang="0">
                <a:pos x="839" y="333"/>
              </a:cxn>
              <a:cxn ang="0">
                <a:pos x="829" y="291"/>
              </a:cxn>
              <a:cxn ang="0">
                <a:pos x="720" y="316"/>
              </a:cxn>
              <a:cxn ang="0">
                <a:pos x="696" y="359"/>
              </a:cxn>
              <a:cxn ang="0">
                <a:pos x="566" y="417"/>
              </a:cxn>
              <a:cxn ang="0">
                <a:pos x="423" y="578"/>
              </a:cxn>
              <a:cxn ang="0">
                <a:pos x="452" y="714"/>
              </a:cxn>
              <a:cxn ang="0">
                <a:pos x="209" y="700"/>
              </a:cxn>
              <a:cxn ang="0">
                <a:pos x="132" y="776"/>
              </a:cxn>
              <a:cxn ang="0">
                <a:pos x="144" y="901"/>
              </a:cxn>
              <a:cxn ang="0">
                <a:pos x="207" y="978"/>
              </a:cxn>
              <a:cxn ang="0">
                <a:pos x="258" y="1051"/>
              </a:cxn>
              <a:cxn ang="0">
                <a:pos x="255" y="1212"/>
              </a:cxn>
              <a:cxn ang="0">
                <a:pos x="194" y="1259"/>
              </a:cxn>
              <a:cxn ang="0">
                <a:pos x="209" y="1145"/>
              </a:cxn>
              <a:cxn ang="0">
                <a:pos x="191" y="1115"/>
              </a:cxn>
              <a:cxn ang="0">
                <a:pos x="214" y="1013"/>
              </a:cxn>
              <a:cxn ang="0">
                <a:pos x="122" y="950"/>
              </a:cxn>
              <a:cxn ang="0">
                <a:pos x="33" y="921"/>
              </a:cxn>
              <a:cxn ang="0">
                <a:pos x="99" y="973"/>
              </a:cxn>
              <a:cxn ang="0">
                <a:pos x="61" y="1042"/>
              </a:cxn>
              <a:cxn ang="0">
                <a:pos x="91" y="1126"/>
              </a:cxn>
              <a:cxn ang="0">
                <a:pos x="52" y="1246"/>
              </a:cxn>
              <a:cxn ang="0">
                <a:pos x="17" y="1356"/>
              </a:cxn>
              <a:cxn ang="0">
                <a:pos x="122" y="1414"/>
              </a:cxn>
              <a:cxn ang="0">
                <a:pos x="180" y="1486"/>
              </a:cxn>
            </a:cxnLst>
            <a:rect l="0" t="0" r="r" b="b"/>
            <a:pathLst>
              <a:path w="1675" h="1736">
                <a:moveTo>
                  <a:pt x="169" y="1560"/>
                </a:moveTo>
                <a:lnTo>
                  <a:pt x="169" y="1560"/>
                </a:lnTo>
                <a:lnTo>
                  <a:pt x="175" y="1580"/>
                </a:lnTo>
                <a:lnTo>
                  <a:pt x="184" y="1604"/>
                </a:lnTo>
                <a:lnTo>
                  <a:pt x="195" y="1632"/>
                </a:lnTo>
                <a:lnTo>
                  <a:pt x="209" y="1661"/>
                </a:lnTo>
                <a:lnTo>
                  <a:pt x="224" y="1689"/>
                </a:lnTo>
                <a:lnTo>
                  <a:pt x="231" y="1700"/>
                </a:lnTo>
                <a:lnTo>
                  <a:pt x="239" y="1712"/>
                </a:lnTo>
                <a:lnTo>
                  <a:pt x="246" y="1720"/>
                </a:lnTo>
                <a:lnTo>
                  <a:pt x="254" y="1727"/>
                </a:lnTo>
                <a:lnTo>
                  <a:pt x="261" y="1731"/>
                </a:lnTo>
                <a:lnTo>
                  <a:pt x="264" y="1733"/>
                </a:lnTo>
                <a:lnTo>
                  <a:pt x="268" y="1733"/>
                </a:lnTo>
                <a:lnTo>
                  <a:pt x="268" y="1733"/>
                </a:lnTo>
                <a:lnTo>
                  <a:pt x="275" y="1731"/>
                </a:lnTo>
                <a:lnTo>
                  <a:pt x="282" y="1728"/>
                </a:lnTo>
                <a:lnTo>
                  <a:pt x="286" y="1723"/>
                </a:lnTo>
                <a:lnTo>
                  <a:pt x="291" y="1716"/>
                </a:lnTo>
                <a:lnTo>
                  <a:pt x="294" y="1708"/>
                </a:lnTo>
                <a:lnTo>
                  <a:pt x="299" y="1700"/>
                </a:lnTo>
                <a:lnTo>
                  <a:pt x="306" y="1682"/>
                </a:lnTo>
                <a:lnTo>
                  <a:pt x="314" y="1662"/>
                </a:lnTo>
                <a:lnTo>
                  <a:pt x="319" y="1654"/>
                </a:lnTo>
                <a:lnTo>
                  <a:pt x="325" y="1646"/>
                </a:lnTo>
                <a:lnTo>
                  <a:pt x="331" y="1639"/>
                </a:lnTo>
                <a:lnTo>
                  <a:pt x="339" y="1635"/>
                </a:lnTo>
                <a:lnTo>
                  <a:pt x="348" y="1631"/>
                </a:lnTo>
                <a:lnTo>
                  <a:pt x="360" y="1630"/>
                </a:lnTo>
                <a:lnTo>
                  <a:pt x="360" y="1630"/>
                </a:lnTo>
                <a:lnTo>
                  <a:pt x="372" y="1631"/>
                </a:lnTo>
                <a:lnTo>
                  <a:pt x="381" y="1635"/>
                </a:lnTo>
                <a:lnTo>
                  <a:pt x="389" y="1639"/>
                </a:lnTo>
                <a:lnTo>
                  <a:pt x="395" y="1646"/>
                </a:lnTo>
                <a:lnTo>
                  <a:pt x="399" y="1654"/>
                </a:lnTo>
                <a:lnTo>
                  <a:pt x="403" y="1662"/>
                </a:lnTo>
                <a:lnTo>
                  <a:pt x="407" y="1682"/>
                </a:lnTo>
                <a:lnTo>
                  <a:pt x="412" y="1700"/>
                </a:lnTo>
                <a:lnTo>
                  <a:pt x="415" y="1708"/>
                </a:lnTo>
                <a:lnTo>
                  <a:pt x="420" y="1716"/>
                </a:lnTo>
                <a:lnTo>
                  <a:pt x="424" y="1723"/>
                </a:lnTo>
                <a:lnTo>
                  <a:pt x="432" y="1728"/>
                </a:lnTo>
                <a:lnTo>
                  <a:pt x="441" y="1731"/>
                </a:lnTo>
                <a:lnTo>
                  <a:pt x="452" y="1733"/>
                </a:lnTo>
                <a:lnTo>
                  <a:pt x="452" y="1733"/>
                </a:lnTo>
                <a:lnTo>
                  <a:pt x="473" y="1731"/>
                </a:lnTo>
                <a:lnTo>
                  <a:pt x="495" y="1729"/>
                </a:lnTo>
                <a:lnTo>
                  <a:pt x="518" y="1726"/>
                </a:lnTo>
                <a:lnTo>
                  <a:pt x="542" y="1723"/>
                </a:lnTo>
                <a:lnTo>
                  <a:pt x="567" y="1722"/>
                </a:lnTo>
                <a:lnTo>
                  <a:pt x="581" y="1722"/>
                </a:lnTo>
                <a:lnTo>
                  <a:pt x="595" y="1723"/>
                </a:lnTo>
                <a:lnTo>
                  <a:pt x="609" y="1725"/>
                </a:lnTo>
                <a:lnTo>
                  <a:pt x="624" y="1728"/>
                </a:lnTo>
                <a:lnTo>
                  <a:pt x="638" y="1731"/>
                </a:lnTo>
                <a:lnTo>
                  <a:pt x="653" y="1736"/>
                </a:lnTo>
                <a:lnTo>
                  <a:pt x="653" y="1736"/>
                </a:lnTo>
                <a:lnTo>
                  <a:pt x="658" y="1726"/>
                </a:lnTo>
                <a:lnTo>
                  <a:pt x="665" y="1714"/>
                </a:lnTo>
                <a:lnTo>
                  <a:pt x="665" y="1714"/>
                </a:lnTo>
                <a:lnTo>
                  <a:pt x="674" y="1702"/>
                </a:lnTo>
                <a:lnTo>
                  <a:pt x="682" y="1690"/>
                </a:lnTo>
                <a:lnTo>
                  <a:pt x="696" y="1666"/>
                </a:lnTo>
                <a:lnTo>
                  <a:pt x="720" y="1619"/>
                </a:lnTo>
                <a:lnTo>
                  <a:pt x="732" y="1600"/>
                </a:lnTo>
                <a:lnTo>
                  <a:pt x="737" y="1592"/>
                </a:lnTo>
                <a:lnTo>
                  <a:pt x="743" y="1584"/>
                </a:lnTo>
                <a:lnTo>
                  <a:pt x="749" y="1580"/>
                </a:lnTo>
                <a:lnTo>
                  <a:pt x="755" y="1575"/>
                </a:lnTo>
                <a:lnTo>
                  <a:pt x="762" y="1571"/>
                </a:lnTo>
                <a:lnTo>
                  <a:pt x="768" y="1571"/>
                </a:lnTo>
                <a:lnTo>
                  <a:pt x="768" y="1571"/>
                </a:lnTo>
                <a:lnTo>
                  <a:pt x="789" y="1571"/>
                </a:lnTo>
                <a:lnTo>
                  <a:pt x="789" y="1571"/>
                </a:lnTo>
                <a:lnTo>
                  <a:pt x="793" y="1570"/>
                </a:lnTo>
                <a:lnTo>
                  <a:pt x="796" y="1570"/>
                </a:lnTo>
                <a:lnTo>
                  <a:pt x="800" y="1566"/>
                </a:lnTo>
                <a:lnTo>
                  <a:pt x="803" y="1561"/>
                </a:lnTo>
                <a:lnTo>
                  <a:pt x="805" y="1554"/>
                </a:lnTo>
                <a:lnTo>
                  <a:pt x="808" y="1538"/>
                </a:lnTo>
                <a:lnTo>
                  <a:pt x="810" y="1530"/>
                </a:lnTo>
                <a:lnTo>
                  <a:pt x="812" y="1523"/>
                </a:lnTo>
                <a:lnTo>
                  <a:pt x="812" y="1523"/>
                </a:lnTo>
                <a:lnTo>
                  <a:pt x="836" y="1474"/>
                </a:lnTo>
                <a:lnTo>
                  <a:pt x="852" y="1443"/>
                </a:lnTo>
                <a:lnTo>
                  <a:pt x="859" y="1432"/>
                </a:lnTo>
                <a:lnTo>
                  <a:pt x="863" y="1428"/>
                </a:lnTo>
                <a:lnTo>
                  <a:pt x="863" y="1428"/>
                </a:lnTo>
                <a:lnTo>
                  <a:pt x="871" y="1423"/>
                </a:lnTo>
                <a:lnTo>
                  <a:pt x="880" y="1417"/>
                </a:lnTo>
                <a:lnTo>
                  <a:pt x="896" y="1403"/>
                </a:lnTo>
                <a:lnTo>
                  <a:pt x="932" y="1372"/>
                </a:lnTo>
                <a:lnTo>
                  <a:pt x="951" y="1356"/>
                </a:lnTo>
                <a:lnTo>
                  <a:pt x="962" y="1351"/>
                </a:lnTo>
                <a:lnTo>
                  <a:pt x="972" y="1345"/>
                </a:lnTo>
                <a:lnTo>
                  <a:pt x="983" y="1339"/>
                </a:lnTo>
                <a:lnTo>
                  <a:pt x="994" y="1336"/>
                </a:lnTo>
                <a:lnTo>
                  <a:pt x="1006" y="1333"/>
                </a:lnTo>
                <a:lnTo>
                  <a:pt x="1018" y="1332"/>
                </a:lnTo>
                <a:lnTo>
                  <a:pt x="1018" y="1332"/>
                </a:lnTo>
                <a:lnTo>
                  <a:pt x="1025" y="1333"/>
                </a:lnTo>
                <a:lnTo>
                  <a:pt x="1031" y="1336"/>
                </a:lnTo>
                <a:lnTo>
                  <a:pt x="1037" y="1338"/>
                </a:lnTo>
                <a:lnTo>
                  <a:pt x="1044" y="1339"/>
                </a:lnTo>
                <a:lnTo>
                  <a:pt x="1044" y="1339"/>
                </a:lnTo>
                <a:lnTo>
                  <a:pt x="1047" y="1339"/>
                </a:lnTo>
                <a:lnTo>
                  <a:pt x="1049" y="1338"/>
                </a:lnTo>
                <a:lnTo>
                  <a:pt x="1054" y="1333"/>
                </a:lnTo>
                <a:lnTo>
                  <a:pt x="1058" y="1326"/>
                </a:lnTo>
                <a:lnTo>
                  <a:pt x="1062" y="1319"/>
                </a:lnTo>
                <a:lnTo>
                  <a:pt x="1068" y="1311"/>
                </a:lnTo>
                <a:lnTo>
                  <a:pt x="1075" y="1306"/>
                </a:lnTo>
                <a:lnTo>
                  <a:pt x="1078" y="1302"/>
                </a:lnTo>
                <a:lnTo>
                  <a:pt x="1083" y="1301"/>
                </a:lnTo>
                <a:lnTo>
                  <a:pt x="1088" y="1299"/>
                </a:lnTo>
                <a:lnTo>
                  <a:pt x="1095" y="1299"/>
                </a:lnTo>
                <a:lnTo>
                  <a:pt x="1095" y="1299"/>
                </a:lnTo>
                <a:lnTo>
                  <a:pt x="1100" y="1300"/>
                </a:lnTo>
                <a:lnTo>
                  <a:pt x="1103" y="1301"/>
                </a:lnTo>
                <a:lnTo>
                  <a:pt x="1107" y="1303"/>
                </a:lnTo>
                <a:lnTo>
                  <a:pt x="1110" y="1307"/>
                </a:lnTo>
                <a:lnTo>
                  <a:pt x="1115" y="1314"/>
                </a:lnTo>
                <a:lnTo>
                  <a:pt x="1119" y="1323"/>
                </a:lnTo>
                <a:lnTo>
                  <a:pt x="1124" y="1332"/>
                </a:lnTo>
                <a:lnTo>
                  <a:pt x="1128" y="1339"/>
                </a:lnTo>
                <a:lnTo>
                  <a:pt x="1130" y="1343"/>
                </a:lnTo>
                <a:lnTo>
                  <a:pt x="1133" y="1345"/>
                </a:lnTo>
                <a:lnTo>
                  <a:pt x="1136" y="1347"/>
                </a:lnTo>
                <a:lnTo>
                  <a:pt x="1139" y="1347"/>
                </a:lnTo>
                <a:lnTo>
                  <a:pt x="1139" y="1347"/>
                </a:lnTo>
                <a:lnTo>
                  <a:pt x="1145" y="1346"/>
                </a:lnTo>
                <a:lnTo>
                  <a:pt x="1151" y="1345"/>
                </a:lnTo>
                <a:lnTo>
                  <a:pt x="1160" y="1340"/>
                </a:lnTo>
                <a:lnTo>
                  <a:pt x="1164" y="1337"/>
                </a:lnTo>
                <a:lnTo>
                  <a:pt x="1170" y="1334"/>
                </a:lnTo>
                <a:lnTo>
                  <a:pt x="1176" y="1333"/>
                </a:lnTo>
                <a:lnTo>
                  <a:pt x="1183" y="1332"/>
                </a:lnTo>
                <a:lnTo>
                  <a:pt x="1183" y="1332"/>
                </a:lnTo>
                <a:lnTo>
                  <a:pt x="1197" y="1333"/>
                </a:lnTo>
                <a:lnTo>
                  <a:pt x="1208" y="1336"/>
                </a:lnTo>
                <a:lnTo>
                  <a:pt x="1218" y="1338"/>
                </a:lnTo>
                <a:lnTo>
                  <a:pt x="1228" y="1341"/>
                </a:lnTo>
                <a:lnTo>
                  <a:pt x="1238" y="1345"/>
                </a:lnTo>
                <a:lnTo>
                  <a:pt x="1249" y="1348"/>
                </a:lnTo>
                <a:lnTo>
                  <a:pt x="1262" y="1349"/>
                </a:lnTo>
                <a:lnTo>
                  <a:pt x="1278" y="1351"/>
                </a:lnTo>
                <a:lnTo>
                  <a:pt x="1278" y="1351"/>
                </a:lnTo>
                <a:lnTo>
                  <a:pt x="1285" y="1352"/>
                </a:lnTo>
                <a:lnTo>
                  <a:pt x="1292" y="1353"/>
                </a:lnTo>
                <a:lnTo>
                  <a:pt x="1305" y="1356"/>
                </a:lnTo>
                <a:lnTo>
                  <a:pt x="1312" y="1357"/>
                </a:lnTo>
                <a:lnTo>
                  <a:pt x="1319" y="1356"/>
                </a:lnTo>
                <a:lnTo>
                  <a:pt x="1325" y="1355"/>
                </a:lnTo>
                <a:lnTo>
                  <a:pt x="1333" y="1351"/>
                </a:lnTo>
                <a:lnTo>
                  <a:pt x="1333" y="1351"/>
                </a:lnTo>
                <a:lnTo>
                  <a:pt x="1337" y="1348"/>
                </a:lnTo>
                <a:lnTo>
                  <a:pt x="1339" y="1345"/>
                </a:lnTo>
                <a:lnTo>
                  <a:pt x="1345" y="1337"/>
                </a:lnTo>
                <a:lnTo>
                  <a:pt x="1348" y="1332"/>
                </a:lnTo>
                <a:lnTo>
                  <a:pt x="1352" y="1329"/>
                </a:lnTo>
                <a:lnTo>
                  <a:pt x="1355" y="1325"/>
                </a:lnTo>
                <a:lnTo>
                  <a:pt x="1360" y="1325"/>
                </a:lnTo>
                <a:lnTo>
                  <a:pt x="1360" y="1325"/>
                </a:lnTo>
                <a:lnTo>
                  <a:pt x="1365" y="1325"/>
                </a:lnTo>
                <a:lnTo>
                  <a:pt x="1370" y="1328"/>
                </a:lnTo>
                <a:lnTo>
                  <a:pt x="1380" y="1332"/>
                </a:lnTo>
                <a:lnTo>
                  <a:pt x="1388" y="1337"/>
                </a:lnTo>
                <a:lnTo>
                  <a:pt x="1392" y="1339"/>
                </a:lnTo>
                <a:lnTo>
                  <a:pt x="1396" y="1339"/>
                </a:lnTo>
                <a:lnTo>
                  <a:pt x="1396" y="1339"/>
                </a:lnTo>
                <a:lnTo>
                  <a:pt x="1400" y="1339"/>
                </a:lnTo>
                <a:lnTo>
                  <a:pt x="1404" y="1338"/>
                </a:lnTo>
                <a:lnTo>
                  <a:pt x="1407" y="1337"/>
                </a:lnTo>
                <a:lnTo>
                  <a:pt x="1411" y="1334"/>
                </a:lnTo>
                <a:lnTo>
                  <a:pt x="1414" y="1329"/>
                </a:lnTo>
                <a:lnTo>
                  <a:pt x="1417" y="1322"/>
                </a:lnTo>
                <a:lnTo>
                  <a:pt x="1421" y="1314"/>
                </a:lnTo>
                <a:lnTo>
                  <a:pt x="1424" y="1307"/>
                </a:lnTo>
                <a:lnTo>
                  <a:pt x="1429" y="1300"/>
                </a:lnTo>
                <a:lnTo>
                  <a:pt x="1432" y="1298"/>
                </a:lnTo>
                <a:lnTo>
                  <a:pt x="1436" y="1295"/>
                </a:lnTo>
                <a:lnTo>
                  <a:pt x="1436" y="1295"/>
                </a:lnTo>
                <a:lnTo>
                  <a:pt x="1443" y="1292"/>
                </a:lnTo>
                <a:lnTo>
                  <a:pt x="1449" y="1288"/>
                </a:lnTo>
                <a:lnTo>
                  <a:pt x="1460" y="1278"/>
                </a:lnTo>
                <a:lnTo>
                  <a:pt x="1472" y="1267"/>
                </a:lnTo>
                <a:lnTo>
                  <a:pt x="1483" y="1254"/>
                </a:lnTo>
                <a:lnTo>
                  <a:pt x="1493" y="1242"/>
                </a:lnTo>
                <a:lnTo>
                  <a:pt x="1503" y="1231"/>
                </a:lnTo>
                <a:lnTo>
                  <a:pt x="1513" y="1223"/>
                </a:lnTo>
                <a:lnTo>
                  <a:pt x="1516" y="1221"/>
                </a:lnTo>
                <a:lnTo>
                  <a:pt x="1521" y="1218"/>
                </a:lnTo>
                <a:lnTo>
                  <a:pt x="1521" y="1218"/>
                </a:lnTo>
                <a:lnTo>
                  <a:pt x="1526" y="1217"/>
                </a:lnTo>
                <a:lnTo>
                  <a:pt x="1531" y="1216"/>
                </a:lnTo>
                <a:lnTo>
                  <a:pt x="1542" y="1215"/>
                </a:lnTo>
                <a:lnTo>
                  <a:pt x="1560" y="1215"/>
                </a:lnTo>
                <a:lnTo>
                  <a:pt x="1568" y="1214"/>
                </a:lnTo>
                <a:lnTo>
                  <a:pt x="1572" y="1212"/>
                </a:lnTo>
                <a:lnTo>
                  <a:pt x="1574" y="1210"/>
                </a:lnTo>
                <a:lnTo>
                  <a:pt x="1576" y="1208"/>
                </a:lnTo>
                <a:lnTo>
                  <a:pt x="1579" y="1203"/>
                </a:lnTo>
                <a:lnTo>
                  <a:pt x="1580" y="1199"/>
                </a:lnTo>
                <a:lnTo>
                  <a:pt x="1580" y="1193"/>
                </a:lnTo>
                <a:lnTo>
                  <a:pt x="1580" y="1193"/>
                </a:lnTo>
                <a:lnTo>
                  <a:pt x="1580" y="1186"/>
                </a:lnTo>
                <a:lnTo>
                  <a:pt x="1577" y="1180"/>
                </a:lnTo>
                <a:lnTo>
                  <a:pt x="1571" y="1169"/>
                </a:lnTo>
                <a:lnTo>
                  <a:pt x="1565" y="1157"/>
                </a:lnTo>
                <a:lnTo>
                  <a:pt x="1562" y="1151"/>
                </a:lnTo>
                <a:lnTo>
                  <a:pt x="1561" y="1145"/>
                </a:lnTo>
                <a:lnTo>
                  <a:pt x="1561" y="1145"/>
                </a:lnTo>
                <a:lnTo>
                  <a:pt x="1613" y="1012"/>
                </a:lnTo>
                <a:lnTo>
                  <a:pt x="1613" y="1012"/>
                </a:lnTo>
                <a:lnTo>
                  <a:pt x="1613" y="1012"/>
                </a:lnTo>
                <a:lnTo>
                  <a:pt x="1620" y="1008"/>
                </a:lnTo>
                <a:lnTo>
                  <a:pt x="1629" y="1002"/>
                </a:lnTo>
                <a:lnTo>
                  <a:pt x="1640" y="997"/>
                </a:lnTo>
                <a:lnTo>
                  <a:pt x="1650" y="992"/>
                </a:lnTo>
                <a:lnTo>
                  <a:pt x="1659" y="985"/>
                </a:lnTo>
                <a:lnTo>
                  <a:pt x="1664" y="981"/>
                </a:lnTo>
                <a:lnTo>
                  <a:pt x="1667" y="977"/>
                </a:lnTo>
                <a:lnTo>
                  <a:pt x="1671" y="972"/>
                </a:lnTo>
                <a:lnTo>
                  <a:pt x="1673" y="966"/>
                </a:lnTo>
                <a:lnTo>
                  <a:pt x="1674" y="960"/>
                </a:lnTo>
                <a:lnTo>
                  <a:pt x="1675" y="954"/>
                </a:lnTo>
                <a:lnTo>
                  <a:pt x="1675" y="954"/>
                </a:lnTo>
                <a:lnTo>
                  <a:pt x="1675" y="949"/>
                </a:lnTo>
                <a:lnTo>
                  <a:pt x="1674" y="944"/>
                </a:lnTo>
                <a:lnTo>
                  <a:pt x="1672" y="940"/>
                </a:lnTo>
                <a:lnTo>
                  <a:pt x="1669" y="936"/>
                </a:lnTo>
                <a:lnTo>
                  <a:pt x="1664" y="929"/>
                </a:lnTo>
                <a:lnTo>
                  <a:pt x="1657" y="925"/>
                </a:lnTo>
                <a:lnTo>
                  <a:pt x="1643" y="916"/>
                </a:lnTo>
                <a:lnTo>
                  <a:pt x="1636" y="911"/>
                </a:lnTo>
                <a:lnTo>
                  <a:pt x="1632" y="906"/>
                </a:lnTo>
                <a:lnTo>
                  <a:pt x="1632" y="906"/>
                </a:lnTo>
                <a:lnTo>
                  <a:pt x="1628" y="901"/>
                </a:lnTo>
                <a:lnTo>
                  <a:pt x="1626" y="895"/>
                </a:lnTo>
                <a:lnTo>
                  <a:pt x="1622" y="883"/>
                </a:lnTo>
                <a:lnTo>
                  <a:pt x="1621" y="871"/>
                </a:lnTo>
                <a:lnTo>
                  <a:pt x="1620" y="859"/>
                </a:lnTo>
                <a:lnTo>
                  <a:pt x="1619" y="847"/>
                </a:lnTo>
                <a:lnTo>
                  <a:pt x="1617" y="835"/>
                </a:lnTo>
                <a:lnTo>
                  <a:pt x="1612" y="825"/>
                </a:lnTo>
                <a:lnTo>
                  <a:pt x="1610" y="819"/>
                </a:lnTo>
                <a:lnTo>
                  <a:pt x="1606" y="814"/>
                </a:lnTo>
                <a:lnTo>
                  <a:pt x="1606" y="814"/>
                </a:lnTo>
                <a:lnTo>
                  <a:pt x="1595" y="802"/>
                </a:lnTo>
                <a:lnTo>
                  <a:pt x="1583" y="791"/>
                </a:lnTo>
                <a:lnTo>
                  <a:pt x="1559" y="773"/>
                </a:lnTo>
                <a:lnTo>
                  <a:pt x="1548" y="764"/>
                </a:lnTo>
                <a:lnTo>
                  <a:pt x="1536" y="753"/>
                </a:lnTo>
                <a:lnTo>
                  <a:pt x="1527" y="741"/>
                </a:lnTo>
                <a:lnTo>
                  <a:pt x="1522" y="734"/>
                </a:lnTo>
                <a:lnTo>
                  <a:pt x="1518" y="726"/>
                </a:lnTo>
                <a:lnTo>
                  <a:pt x="1518" y="726"/>
                </a:lnTo>
                <a:lnTo>
                  <a:pt x="1511" y="713"/>
                </a:lnTo>
                <a:lnTo>
                  <a:pt x="1507" y="702"/>
                </a:lnTo>
                <a:lnTo>
                  <a:pt x="1501" y="681"/>
                </a:lnTo>
                <a:lnTo>
                  <a:pt x="1498" y="673"/>
                </a:lnTo>
                <a:lnTo>
                  <a:pt x="1496" y="669"/>
                </a:lnTo>
                <a:lnTo>
                  <a:pt x="1492" y="665"/>
                </a:lnTo>
                <a:lnTo>
                  <a:pt x="1489" y="661"/>
                </a:lnTo>
                <a:lnTo>
                  <a:pt x="1483" y="659"/>
                </a:lnTo>
                <a:lnTo>
                  <a:pt x="1469" y="653"/>
                </a:lnTo>
                <a:lnTo>
                  <a:pt x="1469" y="653"/>
                </a:lnTo>
                <a:lnTo>
                  <a:pt x="1475" y="636"/>
                </a:lnTo>
                <a:lnTo>
                  <a:pt x="1482" y="622"/>
                </a:lnTo>
                <a:lnTo>
                  <a:pt x="1487" y="612"/>
                </a:lnTo>
                <a:lnTo>
                  <a:pt x="1488" y="606"/>
                </a:lnTo>
                <a:lnTo>
                  <a:pt x="1488" y="601"/>
                </a:lnTo>
                <a:lnTo>
                  <a:pt x="1488" y="601"/>
                </a:lnTo>
                <a:lnTo>
                  <a:pt x="1489" y="593"/>
                </a:lnTo>
                <a:lnTo>
                  <a:pt x="1492" y="586"/>
                </a:lnTo>
                <a:lnTo>
                  <a:pt x="1495" y="575"/>
                </a:lnTo>
                <a:lnTo>
                  <a:pt x="1496" y="557"/>
                </a:lnTo>
                <a:lnTo>
                  <a:pt x="1496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73" y="551"/>
                </a:lnTo>
                <a:lnTo>
                  <a:pt x="1459" y="542"/>
                </a:lnTo>
                <a:lnTo>
                  <a:pt x="1459" y="542"/>
                </a:lnTo>
                <a:lnTo>
                  <a:pt x="1440" y="549"/>
                </a:lnTo>
                <a:lnTo>
                  <a:pt x="1428" y="554"/>
                </a:lnTo>
                <a:lnTo>
                  <a:pt x="1420" y="561"/>
                </a:lnTo>
                <a:lnTo>
                  <a:pt x="1417" y="563"/>
                </a:lnTo>
                <a:lnTo>
                  <a:pt x="1416" y="567"/>
                </a:lnTo>
                <a:lnTo>
                  <a:pt x="1415" y="570"/>
                </a:lnTo>
                <a:lnTo>
                  <a:pt x="1415" y="573"/>
                </a:lnTo>
                <a:lnTo>
                  <a:pt x="1417" y="580"/>
                </a:lnTo>
                <a:lnTo>
                  <a:pt x="1422" y="585"/>
                </a:lnTo>
                <a:lnTo>
                  <a:pt x="1428" y="591"/>
                </a:lnTo>
                <a:lnTo>
                  <a:pt x="1440" y="601"/>
                </a:lnTo>
                <a:lnTo>
                  <a:pt x="1452" y="612"/>
                </a:lnTo>
                <a:lnTo>
                  <a:pt x="1457" y="618"/>
                </a:lnTo>
                <a:lnTo>
                  <a:pt x="1458" y="622"/>
                </a:lnTo>
                <a:lnTo>
                  <a:pt x="1458" y="624"/>
                </a:lnTo>
                <a:lnTo>
                  <a:pt x="1457" y="626"/>
                </a:lnTo>
                <a:lnTo>
                  <a:pt x="1451" y="630"/>
                </a:lnTo>
                <a:lnTo>
                  <a:pt x="1451" y="630"/>
                </a:lnTo>
                <a:lnTo>
                  <a:pt x="1444" y="645"/>
                </a:lnTo>
                <a:lnTo>
                  <a:pt x="1435" y="658"/>
                </a:lnTo>
                <a:lnTo>
                  <a:pt x="1426" y="669"/>
                </a:lnTo>
                <a:lnTo>
                  <a:pt x="1415" y="680"/>
                </a:lnTo>
                <a:lnTo>
                  <a:pt x="1404" y="689"/>
                </a:lnTo>
                <a:lnTo>
                  <a:pt x="1392" y="697"/>
                </a:lnTo>
                <a:lnTo>
                  <a:pt x="1369" y="712"/>
                </a:lnTo>
                <a:lnTo>
                  <a:pt x="1345" y="726"/>
                </a:lnTo>
                <a:lnTo>
                  <a:pt x="1323" y="737"/>
                </a:lnTo>
                <a:lnTo>
                  <a:pt x="1314" y="744"/>
                </a:lnTo>
                <a:lnTo>
                  <a:pt x="1305" y="751"/>
                </a:lnTo>
                <a:lnTo>
                  <a:pt x="1297" y="758"/>
                </a:lnTo>
                <a:lnTo>
                  <a:pt x="1290" y="766"/>
                </a:lnTo>
                <a:lnTo>
                  <a:pt x="1290" y="766"/>
                </a:lnTo>
                <a:lnTo>
                  <a:pt x="1290" y="758"/>
                </a:lnTo>
                <a:lnTo>
                  <a:pt x="1291" y="749"/>
                </a:lnTo>
                <a:lnTo>
                  <a:pt x="1294" y="738"/>
                </a:lnTo>
                <a:lnTo>
                  <a:pt x="1298" y="728"/>
                </a:lnTo>
                <a:lnTo>
                  <a:pt x="1308" y="705"/>
                </a:lnTo>
                <a:lnTo>
                  <a:pt x="1322" y="681"/>
                </a:lnTo>
                <a:lnTo>
                  <a:pt x="1339" y="653"/>
                </a:lnTo>
                <a:lnTo>
                  <a:pt x="1358" y="626"/>
                </a:lnTo>
                <a:lnTo>
                  <a:pt x="1398" y="565"/>
                </a:lnTo>
                <a:lnTo>
                  <a:pt x="1419" y="532"/>
                </a:lnTo>
                <a:lnTo>
                  <a:pt x="1439" y="499"/>
                </a:lnTo>
                <a:lnTo>
                  <a:pt x="1458" y="466"/>
                </a:lnTo>
                <a:lnTo>
                  <a:pt x="1475" y="432"/>
                </a:lnTo>
                <a:lnTo>
                  <a:pt x="1483" y="415"/>
                </a:lnTo>
                <a:lnTo>
                  <a:pt x="1489" y="398"/>
                </a:lnTo>
                <a:lnTo>
                  <a:pt x="1496" y="381"/>
                </a:lnTo>
                <a:lnTo>
                  <a:pt x="1500" y="363"/>
                </a:lnTo>
                <a:lnTo>
                  <a:pt x="1505" y="347"/>
                </a:lnTo>
                <a:lnTo>
                  <a:pt x="1507" y="330"/>
                </a:lnTo>
                <a:lnTo>
                  <a:pt x="1510" y="313"/>
                </a:lnTo>
                <a:lnTo>
                  <a:pt x="1510" y="297"/>
                </a:lnTo>
                <a:lnTo>
                  <a:pt x="1510" y="297"/>
                </a:lnTo>
                <a:lnTo>
                  <a:pt x="1508" y="284"/>
                </a:lnTo>
                <a:lnTo>
                  <a:pt x="1505" y="269"/>
                </a:lnTo>
                <a:lnTo>
                  <a:pt x="1499" y="254"/>
                </a:lnTo>
                <a:lnTo>
                  <a:pt x="1492" y="239"/>
                </a:lnTo>
                <a:lnTo>
                  <a:pt x="1483" y="223"/>
                </a:lnTo>
                <a:lnTo>
                  <a:pt x="1472" y="208"/>
                </a:lnTo>
                <a:lnTo>
                  <a:pt x="1460" y="193"/>
                </a:lnTo>
                <a:lnTo>
                  <a:pt x="1447" y="178"/>
                </a:lnTo>
                <a:lnTo>
                  <a:pt x="1434" y="164"/>
                </a:lnTo>
                <a:lnTo>
                  <a:pt x="1420" y="150"/>
                </a:lnTo>
                <a:lnTo>
                  <a:pt x="1405" y="139"/>
                </a:lnTo>
                <a:lnTo>
                  <a:pt x="1391" y="129"/>
                </a:lnTo>
                <a:lnTo>
                  <a:pt x="1376" y="120"/>
                </a:lnTo>
                <a:lnTo>
                  <a:pt x="1362" y="115"/>
                </a:lnTo>
                <a:lnTo>
                  <a:pt x="1350" y="110"/>
                </a:lnTo>
                <a:lnTo>
                  <a:pt x="1337" y="109"/>
                </a:lnTo>
                <a:lnTo>
                  <a:pt x="1337" y="109"/>
                </a:lnTo>
                <a:lnTo>
                  <a:pt x="1317" y="109"/>
                </a:lnTo>
                <a:lnTo>
                  <a:pt x="1293" y="110"/>
                </a:lnTo>
                <a:lnTo>
                  <a:pt x="1281" y="112"/>
                </a:lnTo>
                <a:lnTo>
                  <a:pt x="1269" y="115"/>
                </a:lnTo>
                <a:lnTo>
                  <a:pt x="1259" y="118"/>
                </a:lnTo>
                <a:lnTo>
                  <a:pt x="1248" y="124"/>
                </a:lnTo>
                <a:lnTo>
                  <a:pt x="1248" y="124"/>
                </a:lnTo>
                <a:lnTo>
                  <a:pt x="1247" y="135"/>
                </a:lnTo>
                <a:lnTo>
                  <a:pt x="1245" y="145"/>
                </a:lnTo>
                <a:lnTo>
                  <a:pt x="1243" y="153"/>
                </a:lnTo>
                <a:lnTo>
                  <a:pt x="1239" y="160"/>
                </a:lnTo>
                <a:lnTo>
                  <a:pt x="1236" y="165"/>
                </a:lnTo>
                <a:lnTo>
                  <a:pt x="1232" y="170"/>
                </a:lnTo>
                <a:lnTo>
                  <a:pt x="1228" y="173"/>
                </a:lnTo>
                <a:lnTo>
                  <a:pt x="1223" y="176"/>
                </a:lnTo>
                <a:lnTo>
                  <a:pt x="1218" y="178"/>
                </a:lnTo>
                <a:lnTo>
                  <a:pt x="1214" y="179"/>
                </a:lnTo>
                <a:lnTo>
                  <a:pt x="1205" y="179"/>
                </a:lnTo>
                <a:lnTo>
                  <a:pt x="1186" y="179"/>
                </a:lnTo>
                <a:lnTo>
                  <a:pt x="1186" y="179"/>
                </a:lnTo>
                <a:lnTo>
                  <a:pt x="1185" y="178"/>
                </a:lnTo>
                <a:lnTo>
                  <a:pt x="1184" y="178"/>
                </a:lnTo>
                <a:lnTo>
                  <a:pt x="1185" y="173"/>
                </a:lnTo>
                <a:lnTo>
                  <a:pt x="1187" y="168"/>
                </a:lnTo>
                <a:lnTo>
                  <a:pt x="1192" y="161"/>
                </a:lnTo>
                <a:lnTo>
                  <a:pt x="1201" y="142"/>
                </a:lnTo>
                <a:lnTo>
                  <a:pt x="1206" y="132"/>
                </a:lnTo>
                <a:lnTo>
                  <a:pt x="1208" y="123"/>
                </a:lnTo>
                <a:lnTo>
                  <a:pt x="1209" y="112"/>
                </a:lnTo>
                <a:lnTo>
                  <a:pt x="1208" y="108"/>
                </a:lnTo>
                <a:lnTo>
                  <a:pt x="1207" y="104"/>
                </a:lnTo>
                <a:lnTo>
                  <a:pt x="1205" y="100"/>
                </a:lnTo>
                <a:lnTo>
                  <a:pt x="1201" y="96"/>
                </a:lnTo>
                <a:lnTo>
                  <a:pt x="1197" y="93"/>
                </a:lnTo>
                <a:lnTo>
                  <a:pt x="1192" y="91"/>
                </a:lnTo>
                <a:lnTo>
                  <a:pt x="1185" y="88"/>
                </a:lnTo>
                <a:lnTo>
                  <a:pt x="1177" y="87"/>
                </a:lnTo>
                <a:lnTo>
                  <a:pt x="1167" y="86"/>
                </a:lnTo>
                <a:lnTo>
                  <a:pt x="1156" y="85"/>
                </a:lnTo>
                <a:lnTo>
                  <a:pt x="1129" y="86"/>
                </a:lnTo>
                <a:lnTo>
                  <a:pt x="1095" y="91"/>
                </a:lnTo>
                <a:lnTo>
                  <a:pt x="1095" y="91"/>
                </a:lnTo>
                <a:lnTo>
                  <a:pt x="1092" y="88"/>
                </a:lnTo>
                <a:lnTo>
                  <a:pt x="1092" y="85"/>
                </a:lnTo>
                <a:lnTo>
                  <a:pt x="1094" y="82"/>
                </a:lnTo>
                <a:lnTo>
                  <a:pt x="1098" y="80"/>
                </a:lnTo>
                <a:lnTo>
                  <a:pt x="1109" y="74"/>
                </a:lnTo>
                <a:lnTo>
                  <a:pt x="1122" y="68"/>
                </a:lnTo>
                <a:lnTo>
                  <a:pt x="1128" y="63"/>
                </a:lnTo>
                <a:lnTo>
                  <a:pt x="1132" y="58"/>
                </a:lnTo>
                <a:lnTo>
                  <a:pt x="1137" y="53"/>
                </a:lnTo>
                <a:lnTo>
                  <a:pt x="1139" y="47"/>
                </a:lnTo>
                <a:lnTo>
                  <a:pt x="1138" y="40"/>
                </a:lnTo>
                <a:lnTo>
                  <a:pt x="1136" y="32"/>
                </a:lnTo>
                <a:lnTo>
                  <a:pt x="1130" y="24"/>
                </a:lnTo>
                <a:lnTo>
                  <a:pt x="1121" y="13"/>
                </a:lnTo>
                <a:lnTo>
                  <a:pt x="1121" y="13"/>
                </a:lnTo>
                <a:lnTo>
                  <a:pt x="1103" y="7"/>
                </a:lnTo>
                <a:lnTo>
                  <a:pt x="1088" y="2"/>
                </a:lnTo>
                <a:lnTo>
                  <a:pt x="1076" y="0"/>
                </a:lnTo>
                <a:lnTo>
                  <a:pt x="1064" y="0"/>
                </a:lnTo>
                <a:lnTo>
                  <a:pt x="1055" y="2"/>
                </a:lnTo>
                <a:lnTo>
                  <a:pt x="1047" y="5"/>
                </a:lnTo>
                <a:lnTo>
                  <a:pt x="1042" y="11"/>
                </a:lnTo>
                <a:lnTo>
                  <a:pt x="1040" y="17"/>
                </a:lnTo>
                <a:lnTo>
                  <a:pt x="1040" y="17"/>
                </a:lnTo>
                <a:lnTo>
                  <a:pt x="1032" y="27"/>
                </a:lnTo>
                <a:lnTo>
                  <a:pt x="1024" y="39"/>
                </a:lnTo>
                <a:lnTo>
                  <a:pt x="1008" y="69"/>
                </a:lnTo>
                <a:lnTo>
                  <a:pt x="992" y="101"/>
                </a:lnTo>
                <a:lnTo>
                  <a:pt x="984" y="115"/>
                </a:lnTo>
                <a:lnTo>
                  <a:pt x="973" y="127"/>
                </a:lnTo>
                <a:lnTo>
                  <a:pt x="973" y="127"/>
                </a:lnTo>
                <a:lnTo>
                  <a:pt x="970" y="133"/>
                </a:lnTo>
                <a:lnTo>
                  <a:pt x="969" y="140"/>
                </a:lnTo>
                <a:lnTo>
                  <a:pt x="969" y="147"/>
                </a:lnTo>
                <a:lnTo>
                  <a:pt x="970" y="154"/>
                </a:lnTo>
                <a:lnTo>
                  <a:pt x="974" y="168"/>
                </a:lnTo>
                <a:lnTo>
                  <a:pt x="980" y="183"/>
                </a:lnTo>
                <a:lnTo>
                  <a:pt x="983" y="190"/>
                </a:lnTo>
                <a:lnTo>
                  <a:pt x="983" y="196"/>
                </a:lnTo>
                <a:lnTo>
                  <a:pt x="983" y="203"/>
                </a:lnTo>
                <a:lnTo>
                  <a:pt x="980" y="211"/>
                </a:lnTo>
                <a:lnTo>
                  <a:pt x="977" y="218"/>
                </a:lnTo>
                <a:lnTo>
                  <a:pt x="970" y="224"/>
                </a:lnTo>
                <a:lnTo>
                  <a:pt x="961" y="231"/>
                </a:lnTo>
                <a:lnTo>
                  <a:pt x="948" y="238"/>
                </a:lnTo>
                <a:lnTo>
                  <a:pt x="948" y="238"/>
                </a:lnTo>
                <a:lnTo>
                  <a:pt x="933" y="233"/>
                </a:lnTo>
                <a:lnTo>
                  <a:pt x="919" y="232"/>
                </a:lnTo>
                <a:lnTo>
                  <a:pt x="912" y="232"/>
                </a:lnTo>
                <a:lnTo>
                  <a:pt x="907" y="232"/>
                </a:lnTo>
                <a:lnTo>
                  <a:pt x="902" y="234"/>
                </a:lnTo>
                <a:lnTo>
                  <a:pt x="900" y="237"/>
                </a:lnTo>
                <a:lnTo>
                  <a:pt x="899" y="241"/>
                </a:lnTo>
                <a:lnTo>
                  <a:pt x="900" y="248"/>
                </a:lnTo>
                <a:lnTo>
                  <a:pt x="904" y="256"/>
                </a:lnTo>
                <a:lnTo>
                  <a:pt x="912" y="268"/>
                </a:lnTo>
                <a:lnTo>
                  <a:pt x="925" y="280"/>
                </a:lnTo>
                <a:lnTo>
                  <a:pt x="941" y="297"/>
                </a:lnTo>
                <a:lnTo>
                  <a:pt x="941" y="297"/>
                </a:lnTo>
                <a:lnTo>
                  <a:pt x="927" y="291"/>
                </a:lnTo>
                <a:lnTo>
                  <a:pt x="917" y="286"/>
                </a:lnTo>
                <a:lnTo>
                  <a:pt x="909" y="285"/>
                </a:lnTo>
                <a:lnTo>
                  <a:pt x="902" y="284"/>
                </a:lnTo>
                <a:lnTo>
                  <a:pt x="893" y="284"/>
                </a:lnTo>
                <a:lnTo>
                  <a:pt x="886" y="285"/>
                </a:lnTo>
                <a:lnTo>
                  <a:pt x="886" y="285"/>
                </a:lnTo>
                <a:lnTo>
                  <a:pt x="882" y="287"/>
                </a:lnTo>
                <a:lnTo>
                  <a:pt x="877" y="294"/>
                </a:lnTo>
                <a:lnTo>
                  <a:pt x="859" y="314"/>
                </a:lnTo>
                <a:lnTo>
                  <a:pt x="849" y="324"/>
                </a:lnTo>
                <a:lnTo>
                  <a:pt x="839" y="333"/>
                </a:lnTo>
                <a:lnTo>
                  <a:pt x="833" y="337"/>
                </a:lnTo>
                <a:lnTo>
                  <a:pt x="828" y="339"/>
                </a:lnTo>
                <a:lnTo>
                  <a:pt x="824" y="340"/>
                </a:lnTo>
                <a:lnTo>
                  <a:pt x="819" y="340"/>
                </a:lnTo>
                <a:lnTo>
                  <a:pt x="819" y="340"/>
                </a:lnTo>
                <a:lnTo>
                  <a:pt x="816" y="339"/>
                </a:lnTo>
                <a:lnTo>
                  <a:pt x="815" y="337"/>
                </a:lnTo>
                <a:lnTo>
                  <a:pt x="815" y="333"/>
                </a:lnTo>
                <a:lnTo>
                  <a:pt x="815" y="329"/>
                </a:lnTo>
                <a:lnTo>
                  <a:pt x="819" y="318"/>
                </a:lnTo>
                <a:lnTo>
                  <a:pt x="825" y="307"/>
                </a:lnTo>
                <a:lnTo>
                  <a:pt x="828" y="297"/>
                </a:lnTo>
                <a:lnTo>
                  <a:pt x="829" y="291"/>
                </a:lnTo>
                <a:lnTo>
                  <a:pt x="831" y="287"/>
                </a:lnTo>
                <a:lnTo>
                  <a:pt x="829" y="283"/>
                </a:lnTo>
                <a:lnTo>
                  <a:pt x="826" y="280"/>
                </a:lnTo>
                <a:lnTo>
                  <a:pt x="823" y="278"/>
                </a:lnTo>
                <a:lnTo>
                  <a:pt x="816" y="277"/>
                </a:lnTo>
                <a:lnTo>
                  <a:pt x="816" y="277"/>
                </a:lnTo>
                <a:lnTo>
                  <a:pt x="798" y="291"/>
                </a:lnTo>
                <a:lnTo>
                  <a:pt x="783" y="300"/>
                </a:lnTo>
                <a:lnTo>
                  <a:pt x="768" y="307"/>
                </a:lnTo>
                <a:lnTo>
                  <a:pt x="756" y="310"/>
                </a:lnTo>
                <a:lnTo>
                  <a:pt x="743" y="313"/>
                </a:lnTo>
                <a:lnTo>
                  <a:pt x="732" y="315"/>
                </a:lnTo>
                <a:lnTo>
                  <a:pt x="720" y="316"/>
                </a:lnTo>
                <a:lnTo>
                  <a:pt x="709" y="318"/>
                </a:lnTo>
                <a:lnTo>
                  <a:pt x="709" y="318"/>
                </a:lnTo>
                <a:lnTo>
                  <a:pt x="697" y="318"/>
                </a:lnTo>
                <a:lnTo>
                  <a:pt x="688" y="320"/>
                </a:lnTo>
                <a:lnTo>
                  <a:pt x="682" y="322"/>
                </a:lnTo>
                <a:lnTo>
                  <a:pt x="679" y="323"/>
                </a:lnTo>
                <a:lnTo>
                  <a:pt x="678" y="326"/>
                </a:lnTo>
                <a:lnTo>
                  <a:pt x="678" y="330"/>
                </a:lnTo>
                <a:lnTo>
                  <a:pt x="680" y="333"/>
                </a:lnTo>
                <a:lnTo>
                  <a:pt x="682" y="337"/>
                </a:lnTo>
                <a:lnTo>
                  <a:pt x="689" y="345"/>
                </a:lnTo>
                <a:lnTo>
                  <a:pt x="695" y="354"/>
                </a:lnTo>
                <a:lnTo>
                  <a:pt x="696" y="359"/>
                </a:lnTo>
                <a:lnTo>
                  <a:pt x="696" y="362"/>
                </a:lnTo>
                <a:lnTo>
                  <a:pt x="695" y="367"/>
                </a:lnTo>
                <a:lnTo>
                  <a:pt x="691" y="370"/>
                </a:lnTo>
                <a:lnTo>
                  <a:pt x="691" y="370"/>
                </a:lnTo>
                <a:lnTo>
                  <a:pt x="687" y="372"/>
                </a:lnTo>
                <a:lnTo>
                  <a:pt x="682" y="375"/>
                </a:lnTo>
                <a:lnTo>
                  <a:pt x="668" y="379"/>
                </a:lnTo>
                <a:lnTo>
                  <a:pt x="635" y="389"/>
                </a:lnTo>
                <a:lnTo>
                  <a:pt x="617" y="393"/>
                </a:lnTo>
                <a:lnTo>
                  <a:pt x="598" y="400"/>
                </a:lnTo>
                <a:lnTo>
                  <a:pt x="581" y="408"/>
                </a:lnTo>
                <a:lnTo>
                  <a:pt x="573" y="413"/>
                </a:lnTo>
                <a:lnTo>
                  <a:pt x="566" y="417"/>
                </a:lnTo>
                <a:lnTo>
                  <a:pt x="566" y="417"/>
                </a:lnTo>
                <a:lnTo>
                  <a:pt x="542" y="435"/>
                </a:lnTo>
                <a:lnTo>
                  <a:pt x="521" y="451"/>
                </a:lnTo>
                <a:lnTo>
                  <a:pt x="503" y="468"/>
                </a:lnTo>
                <a:lnTo>
                  <a:pt x="485" y="486"/>
                </a:lnTo>
                <a:lnTo>
                  <a:pt x="470" y="504"/>
                </a:lnTo>
                <a:lnTo>
                  <a:pt x="456" y="521"/>
                </a:lnTo>
                <a:lnTo>
                  <a:pt x="430" y="557"/>
                </a:lnTo>
                <a:lnTo>
                  <a:pt x="430" y="557"/>
                </a:lnTo>
                <a:lnTo>
                  <a:pt x="427" y="561"/>
                </a:lnTo>
                <a:lnTo>
                  <a:pt x="424" y="567"/>
                </a:lnTo>
                <a:lnTo>
                  <a:pt x="423" y="573"/>
                </a:lnTo>
                <a:lnTo>
                  <a:pt x="423" y="578"/>
                </a:lnTo>
                <a:lnTo>
                  <a:pt x="424" y="593"/>
                </a:lnTo>
                <a:lnTo>
                  <a:pt x="428" y="610"/>
                </a:lnTo>
                <a:lnTo>
                  <a:pt x="434" y="626"/>
                </a:lnTo>
                <a:lnTo>
                  <a:pt x="439" y="642"/>
                </a:lnTo>
                <a:lnTo>
                  <a:pt x="452" y="674"/>
                </a:lnTo>
                <a:lnTo>
                  <a:pt x="457" y="688"/>
                </a:lnTo>
                <a:lnTo>
                  <a:pt x="460" y="699"/>
                </a:lnTo>
                <a:lnTo>
                  <a:pt x="461" y="708"/>
                </a:lnTo>
                <a:lnTo>
                  <a:pt x="461" y="711"/>
                </a:lnTo>
                <a:lnTo>
                  <a:pt x="460" y="713"/>
                </a:lnTo>
                <a:lnTo>
                  <a:pt x="459" y="714"/>
                </a:lnTo>
                <a:lnTo>
                  <a:pt x="456" y="714"/>
                </a:lnTo>
                <a:lnTo>
                  <a:pt x="452" y="714"/>
                </a:lnTo>
                <a:lnTo>
                  <a:pt x="447" y="712"/>
                </a:lnTo>
                <a:lnTo>
                  <a:pt x="434" y="703"/>
                </a:lnTo>
                <a:lnTo>
                  <a:pt x="415" y="689"/>
                </a:lnTo>
                <a:lnTo>
                  <a:pt x="415" y="689"/>
                </a:lnTo>
                <a:lnTo>
                  <a:pt x="380" y="696"/>
                </a:lnTo>
                <a:lnTo>
                  <a:pt x="348" y="700"/>
                </a:lnTo>
                <a:lnTo>
                  <a:pt x="321" y="703"/>
                </a:lnTo>
                <a:lnTo>
                  <a:pt x="297" y="703"/>
                </a:lnTo>
                <a:lnTo>
                  <a:pt x="275" y="703"/>
                </a:lnTo>
                <a:lnTo>
                  <a:pt x="254" y="702"/>
                </a:lnTo>
                <a:lnTo>
                  <a:pt x="232" y="700"/>
                </a:lnTo>
                <a:lnTo>
                  <a:pt x="209" y="700"/>
                </a:lnTo>
                <a:lnTo>
                  <a:pt x="209" y="700"/>
                </a:lnTo>
                <a:lnTo>
                  <a:pt x="193" y="700"/>
                </a:lnTo>
                <a:lnTo>
                  <a:pt x="179" y="702"/>
                </a:lnTo>
                <a:lnTo>
                  <a:pt x="168" y="704"/>
                </a:lnTo>
                <a:lnTo>
                  <a:pt x="156" y="707"/>
                </a:lnTo>
                <a:lnTo>
                  <a:pt x="148" y="711"/>
                </a:lnTo>
                <a:lnTo>
                  <a:pt x="140" y="717"/>
                </a:lnTo>
                <a:lnTo>
                  <a:pt x="134" y="722"/>
                </a:lnTo>
                <a:lnTo>
                  <a:pt x="130" y="729"/>
                </a:lnTo>
                <a:lnTo>
                  <a:pt x="128" y="736"/>
                </a:lnTo>
                <a:lnTo>
                  <a:pt x="126" y="745"/>
                </a:lnTo>
                <a:lnTo>
                  <a:pt x="126" y="754"/>
                </a:lnTo>
                <a:lnTo>
                  <a:pt x="129" y="765"/>
                </a:lnTo>
                <a:lnTo>
                  <a:pt x="132" y="776"/>
                </a:lnTo>
                <a:lnTo>
                  <a:pt x="137" y="789"/>
                </a:lnTo>
                <a:lnTo>
                  <a:pt x="143" y="803"/>
                </a:lnTo>
                <a:lnTo>
                  <a:pt x="151" y="818"/>
                </a:lnTo>
                <a:lnTo>
                  <a:pt x="151" y="818"/>
                </a:lnTo>
                <a:lnTo>
                  <a:pt x="153" y="824"/>
                </a:lnTo>
                <a:lnTo>
                  <a:pt x="153" y="829"/>
                </a:lnTo>
                <a:lnTo>
                  <a:pt x="153" y="836"/>
                </a:lnTo>
                <a:lnTo>
                  <a:pt x="151" y="843"/>
                </a:lnTo>
                <a:lnTo>
                  <a:pt x="147" y="859"/>
                </a:lnTo>
                <a:lnTo>
                  <a:pt x="144" y="875"/>
                </a:lnTo>
                <a:lnTo>
                  <a:pt x="143" y="883"/>
                </a:lnTo>
                <a:lnTo>
                  <a:pt x="143" y="893"/>
                </a:lnTo>
                <a:lnTo>
                  <a:pt x="144" y="901"/>
                </a:lnTo>
                <a:lnTo>
                  <a:pt x="146" y="909"/>
                </a:lnTo>
                <a:lnTo>
                  <a:pt x="152" y="916"/>
                </a:lnTo>
                <a:lnTo>
                  <a:pt x="159" y="924"/>
                </a:lnTo>
                <a:lnTo>
                  <a:pt x="168" y="929"/>
                </a:lnTo>
                <a:lnTo>
                  <a:pt x="180" y="935"/>
                </a:lnTo>
                <a:lnTo>
                  <a:pt x="180" y="935"/>
                </a:lnTo>
                <a:lnTo>
                  <a:pt x="184" y="933"/>
                </a:lnTo>
                <a:lnTo>
                  <a:pt x="189" y="934"/>
                </a:lnTo>
                <a:lnTo>
                  <a:pt x="192" y="935"/>
                </a:lnTo>
                <a:lnTo>
                  <a:pt x="194" y="940"/>
                </a:lnTo>
                <a:lnTo>
                  <a:pt x="199" y="951"/>
                </a:lnTo>
                <a:lnTo>
                  <a:pt x="202" y="964"/>
                </a:lnTo>
                <a:lnTo>
                  <a:pt x="207" y="978"/>
                </a:lnTo>
                <a:lnTo>
                  <a:pt x="209" y="983"/>
                </a:lnTo>
                <a:lnTo>
                  <a:pt x="212" y="989"/>
                </a:lnTo>
                <a:lnTo>
                  <a:pt x="215" y="993"/>
                </a:lnTo>
                <a:lnTo>
                  <a:pt x="218" y="994"/>
                </a:lnTo>
                <a:lnTo>
                  <a:pt x="223" y="994"/>
                </a:lnTo>
                <a:lnTo>
                  <a:pt x="228" y="990"/>
                </a:lnTo>
                <a:lnTo>
                  <a:pt x="228" y="990"/>
                </a:lnTo>
                <a:lnTo>
                  <a:pt x="239" y="1007"/>
                </a:lnTo>
                <a:lnTo>
                  <a:pt x="248" y="1020"/>
                </a:lnTo>
                <a:lnTo>
                  <a:pt x="255" y="1033"/>
                </a:lnTo>
                <a:lnTo>
                  <a:pt x="256" y="1039"/>
                </a:lnTo>
                <a:lnTo>
                  <a:pt x="258" y="1046"/>
                </a:lnTo>
                <a:lnTo>
                  <a:pt x="258" y="1051"/>
                </a:lnTo>
                <a:lnTo>
                  <a:pt x="256" y="1058"/>
                </a:lnTo>
                <a:lnTo>
                  <a:pt x="254" y="1065"/>
                </a:lnTo>
                <a:lnTo>
                  <a:pt x="251" y="1072"/>
                </a:lnTo>
                <a:lnTo>
                  <a:pt x="246" y="1080"/>
                </a:lnTo>
                <a:lnTo>
                  <a:pt x="240" y="1089"/>
                </a:lnTo>
                <a:lnTo>
                  <a:pt x="224" y="1108"/>
                </a:lnTo>
                <a:lnTo>
                  <a:pt x="224" y="1108"/>
                </a:lnTo>
                <a:lnTo>
                  <a:pt x="230" y="1123"/>
                </a:lnTo>
                <a:lnTo>
                  <a:pt x="243" y="1157"/>
                </a:lnTo>
                <a:lnTo>
                  <a:pt x="250" y="1177"/>
                </a:lnTo>
                <a:lnTo>
                  <a:pt x="253" y="1196"/>
                </a:lnTo>
                <a:lnTo>
                  <a:pt x="255" y="1206"/>
                </a:lnTo>
                <a:lnTo>
                  <a:pt x="255" y="1212"/>
                </a:lnTo>
                <a:lnTo>
                  <a:pt x="255" y="1219"/>
                </a:lnTo>
                <a:lnTo>
                  <a:pt x="253" y="1225"/>
                </a:lnTo>
                <a:lnTo>
                  <a:pt x="253" y="1225"/>
                </a:lnTo>
                <a:lnTo>
                  <a:pt x="238" y="1252"/>
                </a:lnTo>
                <a:lnTo>
                  <a:pt x="225" y="1269"/>
                </a:lnTo>
                <a:lnTo>
                  <a:pt x="221" y="1275"/>
                </a:lnTo>
                <a:lnTo>
                  <a:pt x="217" y="1279"/>
                </a:lnTo>
                <a:lnTo>
                  <a:pt x="214" y="1282"/>
                </a:lnTo>
                <a:lnTo>
                  <a:pt x="210" y="1282"/>
                </a:lnTo>
                <a:lnTo>
                  <a:pt x="208" y="1282"/>
                </a:lnTo>
                <a:lnTo>
                  <a:pt x="206" y="1280"/>
                </a:lnTo>
                <a:lnTo>
                  <a:pt x="202" y="1275"/>
                </a:lnTo>
                <a:lnTo>
                  <a:pt x="194" y="1259"/>
                </a:lnTo>
                <a:lnTo>
                  <a:pt x="194" y="1259"/>
                </a:lnTo>
                <a:lnTo>
                  <a:pt x="205" y="1235"/>
                </a:lnTo>
                <a:lnTo>
                  <a:pt x="212" y="1215"/>
                </a:lnTo>
                <a:lnTo>
                  <a:pt x="217" y="1196"/>
                </a:lnTo>
                <a:lnTo>
                  <a:pt x="220" y="1181"/>
                </a:lnTo>
                <a:lnTo>
                  <a:pt x="221" y="1168"/>
                </a:lnTo>
                <a:lnTo>
                  <a:pt x="221" y="1157"/>
                </a:lnTo>
                <a:lnTo>
                  <a:pt x="220" y="1149"/>
                </a:lnTo>
                <a:lnTo>
                  <a:pt x="217" y="1147"/>
                </a:lnTo>
                <a:lnTo>
                  <a:pt x="216" y="1146"/>
                </a:lnTo>
                <a:lnTo>
                  <a:pt x="214" y="1145"/>
                </a:lnTo>
                <a:lnTo>
                  <a:pt x="212" y="1143"/>
                </a:lnTo>
                <a:lnTo>
                  <a:pt x="209" y="1145"/>
                </a:lnTo>
                <a:lnTo>
                  <a:pt x="206" y="1146"/>
                </a:lnTo>
                <a:lnTo>
                  <a:pt x="200" y="1151"/>
                </a:lnTo>
                <a:lnTo>
                  <a:pt x="194" y="1160"/>
                </a:lnTo>
                <a:lnTo>
                  <a:pt x="186" y="1172"/>
                </a:lnTo>
                <a:lnTo>
                  <a:pt x="179" y="1188"/>
                </a:lnTo>
                <a:lnTo>
                  <a:pt x="172" y="1209"/>
                </a:lnTo>
                <a:lnTo>
                  <a:pt x="166" y="1233"/>
                </a:lnTo>
                <a:lnTo>
                  <a:pt x="166" y="1233"/>
                </a:lnTo>
                <a:lnTo>
                  <a:pt x="167" y="1222"/>
                </a:lnTo>
                <a:lnTo>
                  <a:pt x="169" y="1203"/>
                </a:lnTo>
                <a:lnTo>
                  <a:pt x="178" y="1160"/>
                </a:lnTo>
                <a:lnTo>
                  <a:pt x="184" y="1137"/>
                </a:lnTo>
                <a:lnTo>
                  <a:pt x="191" y="1115"/>
                </a:lnTo>
                <a:lnTo>
                  <a:pt x="197" y="1097"/>
                </a:lnTo>
                <a:lnTo>
                  <a:pt x="202" y="1086"/>
                </a:lnTo>
                <a:lnTo>
                  <a:pt x="202" y="1086"/>
                </a:lnTo>
                <a:lnTo>
                  <a:pt x="215" y="1064"/>
                </a:lnTo>
                <a:lnTo>
                  <a:pt x="223" y="1047"/>
                </a:lnTo>
                <a:lnTo>
                  <a:pt x="228" y="1033"/>
                </a:lnTo>
                <a:lnTo>
                  <a:pt x="230" y="1024"/>
                </a:lnTo>
                <a:lnTo>
                  <a:pt x="230" y="1020"/>
                </a:lnTo>
                <a:lnTo>
                  <a:pt x="229" y="1018"/>
                </a:lnTo>
                <a:lnTo>
                  <a:pt x="228" y="1016"/>
                </a:lnTo>
                <a:lnTo>
                  <a:pt x="225" y="1015"/>
                </a:lnTo>
                <a:lnTo>
                  <a:pt x="221" y="1013"/>
                </a:lnTo>
                <a:lnTo>
                  <a:pt x="214" y="1013"/>
                </a:lnTo>
                <a:lnTo>
                  <a:pt x="197" y="1016"/>
                </a:lnTo>
                <a:lnTo>
                  <a:pt x="189" y="1016"/>
                </a:lnTo>
                <a:lnTo>
                  <a:pt x="179" y="1017"/>
                </a:lnTo>
                <a:lnTo>
                  <a:pt x="170" y="1016"/>
                </a:lnTo>
                <a:lnTo>
                  <a:pt x="162" y="1012"/>
                </a:lnTo>
                <a:lnTo>
                  <a:pt x="159" y="1010"/>
                </a:lnTo>
                <a:lnTo>
                  <a:pt x="155" y="1007"/>
                </a:lnTo>
                <a:lnTo>
                  <a:pt x="153" y="1003"/>
                </a:lnTo>
                <a:lnTo>
                  <a:pt x="151" y="997"/>
                </a:lnTo>
                <a:lnTo>
                  <a:pt x="151" y="997"/>
                </a:lnTo>
                <a:lnTo>
                  <a:pt x="141" y="979"/>
                </a:lnTo>
                <a:lnTo>
                  <a:pt x="132" y="963"/>
                </a:lnTo>
                <a:lnTo>
                  <a:pt x="122" y="950"/>
                </a:lnTo>
                <a:lnTo>
                  <a:pt x="111" y="940"/>
                </a:lnTo>
                <a:lnTo>
                  <a:pt x="87" y="918"/>
                </a:lnTo>
                <a:lnTo>
                  <a:pt x="72" y="905"/>
                </a:lnTo>
                <a:lnTo>
                  <a:pt x="55" y="888"/>
                </a:lnTo>
                <a:lnTo>
                  <a:pt x="55" y="888"/>
                </a:lnTo>
                <a:lnTo>
                  <a:pt x="54" y="890"/>
                </a:lnTo>
                <a:lnTo>
                  <a:pt x="50" y="893"/>
                </a:lnTo>
                <a:lnTo>
                  <a:pt x="45" y="895"/>
                </a:lnTo>
                <a:lnTo>
                  <a:pt x="37" y="895"/>
                </a:lnTo>
                <a:lnTo>
                  <a:pt x="37" y="895"/>
                </a:lnTo>
                <a:lnTo>
                  <a:pt x="33" y="902"/>
                </a:lnTo>
                <a:lnTo>
                  <a:pt x="32" y="908"/>
                </a:lnTo>
                <a:lnTo>
                  <a:pt x="33" y="921"/>
                </a:lnTo>
                <a:lnTo>
                  <a:pt x="33" y="921"/>
                </a:lnTo>
                <a:lnTo>
                  <a:pt x="33" y="928"/>
                </a:lnTo>
                <a:lnTo>
                  <a:pt x="36" y="934"/>
                </a:lnTo>
                <a:lnTo>
                  <a:pt x="39" y="939"/>
                </a:lnTo>
                <a:lnTo>
                  <a:pt x="44" y="942"/>
                </a:lnTo>
                <a:lnTo>
                  <a:pt x="48" y="946"/>
                </a:lnTo>
                <a:lnTo>
                  <a:pt x="54" y="948"/>
                </a:lnTo>
                <a:lnTo>
                  <a:pt x="67" y="952"/>
                </a:lnTo>
                <a:lnTo>
                  <a:pt x="79" y="957"/>
                </a:lnTo>
                <a:lnTo>
                  <a:pt x="85" y="960"/>
                </a:lnTo>
                <a:lnTo>
                  <a:pt x="91" y="964"/>
                </a:lnTo>
                <a:lnTo>
                  <a:pt x="95" y="967"/>
                </a:lnTo>
                <a:lnTo>
                  <a:pt x="99" y="973"/>
                </a:lnTo>
                <a:lnTo>
                  <a:pt x="101" y="979"/>
                </a:lnTo>
                <a:lnTo>
                  <a:pt x="103" y="987"/>
                </a:lnTo>
                <a:lnTo>
                  <a:pt x="103" y="987"/>
                </a:lnTo>
                <a:lnTo>
                  <a:pt x="103" y="998"/>
                </a:lnTo>
                <a:lnTo>
                  <a:pt x="103" y="1008"/>
                </a:lnTo>
                <a:lnTo>
                  <a:pt x="101" y="1015"/>
                </a:lnTo>
                <a:lnTo>
                  <a:pt x="98" y="1021"/>
                </a:lnTo>
                <a:lnTo>
                  <a:pt x="94" y="1026"/>
                </a:lnTo>
                <a:lnTo>
                  <a:pt x="90" y="1030"/>
                </a:lnTo>
                <a:lnTo>
                  <a:pt x="85" y="1032"/>
                </a:lnTo>
                <a:lnTo>
                  <a:pt x="80" y="1034"/>
                </a:lnTo>
                <a:lnTo>
                  <a:pt x="70" y="1039"/>
                </a:lnTo>
                <a:lnTo>
                  <a:pt x="61" y="1042"/>
                </a:lnTo>
                <a:lnTo>
                  <a:pt x="57" y="1046"/>
                </a:lnTo>
                <a:lnTo>
                  <a:pt x="54" y="1049"/>
                </a:lnTo>
                <a:lnTo>
                  <a:pt x="53" y="1054"/>
                </a:lnTo>
                <a:lnTo>
                  <a:pt x="52" y="1061"/>
                </a:lnTo>
                <a:lnTo>
                  <a:pt x="52" y="1061"/>
                </a:lnTo>
                <a:lnTo>
                  <a:pt x="53" y="1066"/>
                </a:lnTo>
                <a:lnTo>
                  <a:pt x="54" y="1072"/>
                </a:lnTo>
                <a:lnTo>
                  <a:pt x="56" y="1078"/>
                </a:lnTo>
                <a:lnTo>
                  <a:pt x="60" y="1082"/>
                </a:lnTo>
                <a:lnTo>
                  <a:pt x="68" y="1094"/>
                </a:lnTo>
                <a:lnTo>
                  <a:pt x="77" y="1105"/>
                </a:lnTo>
                <a:lnTo>
                  <a:pt x="87" y="1118"/>
                </a:lnTo>
                <a:lnTo>
                  <a:pt x="91" y="1126"/>
                </a:lnTo>
                <a:lnTo>
                  <a:pt x="95" y="1133"/>
                </a:lnTo>
                <a:lnTo>
                  <a:pt x="98" y="1141"/>
                </a:lnTo>
                <a:lnTo>
                  <a:pt x="101" y="1150"/>
                </a:lnTo>
                <a:lnTo>
                  <a:pt x="102" y="1161"/>
                </a:lnTo>
                <a:lnTo>
                  <a:pt x="103" y="1171"/>
                </a:lnTo>
                <a:lnTo>
                  <a:pt x="103" y="1171"/>
                </a:lnTo>
                <a:lnTo>
                  <a:pt x="102" y="1187"/>
                </a:lnTo>
                <a:lnTo>
                  <a:pt x="99" y="1201"/>
                </a:lnTo>
                <a:lnTo>
                  <a:pt x="93" y="1211"/>
                </a:lnTo>
                <a:lnTo>
                  <a:pt x="87" y="1221"/>
                </a:lnTo>
                <a:lnTo>
                  <a:pt x="79" y="1229"/>
                </a:lnTo>
                <a:lnTo>
                  <a:pt x="70" y="1234"/>
                </a:lnTo>
                <a:lnTo>
                  <a:pt x="52" y="1246"/>
                </a:lnTo>
                <a:lnTo>
                  <a:pt x="32" y="1256"/>
                </a:lnTo>
                <a:lnTo>
                  <a:pt x="24" y="1262"/>
                </a:lnTo>
                <a:lnTo>
                  <a:pt x="16" y="1269"/>
                </a:lnTo>
                <a:lnTo>
                  <a:pt x="9" y="1278"/>
                </a:lnTo>
                <a:lnTo>
                  <a:pt x="4" y="1288"/>
                </a:lnTo>
                <a:lnTo>
                  <a:pt x="1" y="1302"/>
                </a:lnTo>
                <a:lnTo>
                  <a:pt x="0" y="1317"/>
                </a:lnTo>
                <a:lnTo>
                  <a:pt x="0" y="1317"/>
                </a:lnTo>
                <a:lnTo>
                  <a:pt x="1" y="1325"/>
                </a:lnTo>
                <a:lnTo>
                  <a:pt x="3" y="1332"/>
                </a:lnTo>
                <a:lnTo>
                  <a:pt x="7" y="1340"/>
                </a:lnTo>
                <a:lnTo>
                  <a:pt x="11" y="1348"/>
                </a:lnTo>
                <a:lnTo>
                  <a:pt x="17" y="1356"/>
                </a:lnTo>
                <a:lnTo>
                  <a:pt x="23" y="1366"/>
                </a:lnTo>
                <a:lnTo>
                  <a:pt x="38" y="1380"/>
                </a:lnTo>
                <a:lnTo>
                  <a:pt x="54" y="1394"/>
                </a:lnTo>
                <a:lnTo>
                  <a:pt x="63" y="1401"/>
                </a:lnTo>
                <a:lnTo>
                  <a:pt x="71" y="1406"/>
                </a:lnTo>
                <a:lnTo>
                  <a:pt x="80" y="1410"/>
                </a:lnTo>
                <a:lnTo>
                  <a:pt x="88" y="1414"/>
                </a:lnTo>
                <a:lnTo>
                  <a:pt x="95" y="1416"/>
                </a:lnTo>
                <a:lnTo>
                  <a:pt x="103" y="1416"/>
                </a:lnTo>
                <a:lnTo>
                  <a:pt x="103" y="1416"/>
                </a:lnTo>
                <a:lnTo>
                  <a:pt x="110" y="1416"/>
                </a:lnTo>
                <a:lnTo>
                  <a:pt x="115" y="1415"/>
                </a:lnTo>
                <a:lnTo>
                  <a:pt x="122" y="1414"/>
                </a:lnTo>
                <a:lnTo>
                  <a:pt x="126" y="1412"/>
                </a:lnTo>
                <a:lnTo>
                  <a:pt x="132" y="1413"/>
                </a:lnTo>
                <a:lnTo>
                  <a:pt x="132" y="1413"/>
                </a:lnTo>
                <a:lnTo>
                  <a:pt x="139" y="1421"/>
                </a:lnTo>
                <a:lnTo>
                  <a:pt x="146" y="1428"/>
                </a:lnTo>
                <a:lnTo>
                  <a:pt x="162" y="1441"/>
                </a:lnTo>
                <a:lnTo>
                  <a:pt x="169" y="1450"/>
                </a:lnTo>
                <a:lnTo>
                  <a:pt x="175" y="1460"/>
                </a:lnTo>
                <a:lnTo>
                  <a:pt x="177" y="1466"/>
                </a:lnTo>
                <a:lnTo>
                  <a:pt x="178" y="1471"/>
                </a:lnTo>
                <a:lnTo>
                  <a:pt x="179" y="1478"/>
                </a:lnTo>
                <a:lnTo>
                  <a:pt x="180" y="1486"/>
                </a:lnTo>
                <a:lnTo>
                  <a:pt x="180" y="1486"/>
                </a:lnTo>
                <a:lnTo>
                  <a:pt x="179" y="1501"/>
                </a:lnTo>
                <a:lnTo>
                  <a:pt x="179" y="1507"/>
                </a:lnTo>
                <a:lnTo>
                  <a:pt x="178" y="1513"/>
                </a:lnTo>
                <a:lnTo>
                  <a:pt x="176" y="1517"/>
                </a:lnTo>
                <a:lnTo>
                  <a:pt x="172" y="1522"/>
                </a:lnTo>
                <a:lnTo>
                  <a:pt x="168" y="1527"/>
                </a:lnTo>
                <a:lnTo>
                  <a:pt x="162" y="1530"/>
                </a:lnTo>
                <a:lnTo>
                  <a:pt x="162" y="1530"/>
                </a:lnTo>
                <a:lnTo>
                  <a:pt x="166" y="1548"/>
                </a:lnTo>
                <a:lnTo>
                  <a:pt x="169" y="1560"/>
                </a:lnTo>
                <a:lnTo>
                  <a:pt x="169" y="156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6" name="Freeform 131"/>
          <p:cNvSpPr>
            <a:spLocks/>
          </p:cNvSpPr>
          <p:nvPr/>
        </p:nvSpPr>
        <p:spPr bwMode="auto">
          <a:xfrm>
            <a:off x="2840038" y="3776663"/>
            <a:ext cx="1447800" cy="1139825"/>
          </a:xfrm>
          <a:custGeom>
            <a:avLst/>
            <a:gdLst/>
            <a:ahLst/>
            <a:cxnLst>
              <a:cxn ang="0">
                <a:pos x="982" y="1239"/>
              </a:cxn>
              <a:cxn ang="0">
                <a:pos x="1036" y="1198"/>
              </a:cxn>
              <a:cxn ang="0">
                <a:pos x="1082" y="1136"/>
              </a:cxn>
              <a:cxn ang="0">
                <a:pos x="1149" y="1027"/>
              </a:cxn>
              <a:cxn ang="0">
                <a:pos x="1223" y="1044"/>
              </a:cxn>
              <a:cxn ang="0">
                <a:pos x="1350" y="1068"/>
              </a:cxn>
              <a:cxn ang="0">
                <a:pos x="1449" y="1099"/>
              </a:cxn>
              <a:cxn ang="0">
                <a:pos x="1512" y="1108"/>
              </a:cxn>
              <a:cxn ang="0">
                <a:pos x="1590" y="1059"/>
              </a:cxn>
              <a:cxn ang="0">
                <a:pos x="1643" y="1090"/>
              </a:cxn>
              <a:cxn ang="0">
                <a:pos x="1673" y="1059"/>
              </a:cxn>
              <a:cxn ang="0">
                <a:pos x="1766" y="1008"/>
              </a:cxn>
              <a:cxn ang="0">
                <a:pos x="1739" y="972"/>
              </a:cxn>
              <a:cxn ang="0">
                <a:pos x="1684" y="908"/>
              </a:cxn>
              <a:cxn ang="0">
                <a:pos x="1646" y="838"/>
              </a:cxn>
              <a:cxn ang="0">
                <a:pos x="1589" y="823"/>
              </a:cxn>
              <a:cxn ang="0">
                <a:pos x="1550" y="775"/>
              </a:cxn>
              <a:cxn ang="0">
                <a:pos x="1498" y="779"/>
              </a:cxn>
              <a:cxn ang="0">
                <a:pos x="1452" y="720"/>
              </a:cxn>
              <a:cxn ang="0">
                <a:pos x="1405" y="737"/>
              </a:cxn>
              <a:cxn ang="0">
                <a:pos x="1350" y="779"/>
              </a:cxn>
              <a:cxn ang="0">
                <a:pos x="1229" y="760"/>
              </a:cxn>
              <a:cxn ang="0">
                <a:pos x="1149" y="672"/>
              </a:cxn>
              <a:cxn ang="0">
                <a:pos x="998" y="632"/>
              </a:cxn>
              <a:cxn ang="0">
                <a:pos x="859" y="570"/>
              </a:cxn>
              <a:cxn ang="0">
                <a:pos x="836" y="508"/>
              </a:cxn>
              <a:cxn ang="0">
                <a:pos x="811" y="437"/>
              </a:cxn>
              <a:cxn ang="0">
                <a:pos x="745" y="357"/>
              </a:cxn>
              <a:cxn ang="0">
                <a:pos x="693" y="367"/>
              </a:cxn>
              <a:cxn ang="0">
                <a:pos x="649" y="367"/>
              </a:cxn>
              <a:cxn ang="0">
                <a:pos x="597" y="363"/>
              </a:cxn>
              <a:cxn ang="0">
                <a:pos x="555" y="256"/>
              </a:cxn>
              <a:cxn ang="0">
                <a:pos x="424" y="249"/>
              </a:cxn>
              <a:cxn ang="0">
                <a:pos x="385" y="210"/>
              </a:cxn>
              <a:cxn ang="0">
                <a:pos x="349" y="169"/>
              </a:cxn>
              <a:cxn ang="0">
                <a:pos x="384" y="91"/>
              </a:cxn>
              <a:cxn ang="0">
                <a:pos x="378" y="0"/>
              </a:cxn>
              <a:cxn ang="0">
                <a:pos x="293" y="56"/>
              </a:cxn>
              <a:cxn ang="0">
                <a:pos x="245" y="62"/>
              </a:cxn>
              <a:cxn ang="0">
                <a:pos x="189" y="63"/>
              </a:cxn>
              <a:cxn ang="0">
                <a:pos x="143" y="169"/>
              </a:cxn>
              <a:cxn ang="0">
                <a:pos x="81" y="244"/>
              </a:cxn>
              <a:cxn ang="0">
                <a:pos x="30" y="396"/>
              </a:cxn>
              <a:cxn ang="0">
                <a:pos x="3" y="455"/>
              </a:cxn>
              <a:cxn ang="0">
                <a:pos x="40" y="514"/>
              </a:cxn>
              <a:cxn ang="0">
                <a:pos x="120" y="613"/>
              </a:cxn>
              <a:cxn ang="0">
                <a:pos x="154" y="672"/>
              </a:cxn>
              <a:cxn ang="0">
                <a:pos x="145" y="760"/>
              </a:cxn>
              <a:cxn ang="0">
                <a:pos x="149" y="926"/>
              </a:cxn>
              <a:cxn ang="0">
                <a:pos x="173" y="975"/>
              </a:cxn>
              <a:cxn ang="0">
                <a:pos x="227" y="1024"/>
              </a:cxn>
              <a:cxn ang="0">
                <a:pos x="262" y="1127"/>
              </a:cxn>
              <a:cxn ang="0">
                <a:pos x="330" y="1107"/>
              </a:cxn>
              <a:cxn ang="0">
                <a:pos x="418" y="1088"/>
              </a:cxn>
              <a:cxn ang="0">
                <a:pos x="468" y="1064"/>
              </a:cxn>
              <a:cxn ang="0">
                <a:pos x="505" y="1045"/>
              </a:cxn>
              <a:cxn ang="0">
                <a:pos x="538" y="1008"/>
              </a:cxn>
              <a:cxn ang="0">
                <a:pos x="627" y="1047"/>
              </a:cxn>
              <a:cxn ang="0">
                <a:pos x="690" y="1066"/>
              </a:cxn>
              <a:cxn ang="0">
                <a:pos x="749" y="1183"/>
              </a:cxn>
              <a:cxn ang="0">
                <a:pos x="829" y="1273"/>
              </a:cxn>
            </a:cxnLst>
            <a:rect l="0" t="0" r="r" b="b"/>
            <a:pathLst>
              <a:path w="1771" h="1307">
                <a:moveTo>
                  <a:pt x="932" y="1307"/>
                </a:moveTo>
                <a:lnTo>
                  <a:pt x="954" y="1307"/>
                </a:lnTo>
                <a:lnTo>
                  <a:pt x="954" y="1307"/>
                </a:lnTo>
                <a:lnTo>
                  <a:pt x="954" y="1307"/>
                </a:lnTo>
                <a:lnTo>
                  <a:pt x="960" y="1297"/>
                </a:lnTo>
                <a:lnTo>
                  <a:pt x="965" y="1287"/>
                </a:lnTo>
                <a:lnTo>
                  <a:pt x="972" y="1267"/>
                </a:lnTo>
                <a:lnTo>
                  <a:pt x="979" y="1247"/>
                </a:lnTo>
                <a:lnTo>
                  <a:pt x="982" y="1239"/>
                </a:lnTo>
                <a:lnTo>
                  <a:pt x="987" y="1230"/>
                </a:lnTo>
                <a:lnTo>
                  <a:pt x="987" y="1230"/>
                </a:lnTo>
                <a:lnTo>
                  <a:pt x="991" y="1224"/>
                </a:lnTo>
                <a:lnTo>
                  <a:pt x="995" y="1219"/>
                </a:lnTo>
                <a:lnTo>
                  <a:pt x="1000" y="1215"/>
                </a:lnTo>
                <a:lnTo>
                  <a:pt x="1004" y="1212"/>
                </a:lnTo>
                <a:lnTo>
                  <a:pt x="1014" y="1206"/>
                </a:lnTo>
                <a:lnTo>
                  <a:pt x="1026" y="1201"/>
                </a:lnTo>
                <a:lnTo>
                  <a:pt x="1036" y="1198"/>
                </a:lnTo>
                <a:lnTo>
                  <a:pt x="1047" y="1193"/>
                </a:lnTo>
                <a:lnTo>
                  <a:pt x="1052" y="1190"/>
                </a:lnTo>
                <a:lnTo>
                  <a:pt x="1057" y="1185"/>
                </a:lnTo>
                <a:lnTo>
                  <a:pt x="1061" y="1181"/>
                </a:lnTo>
                <a:lnTo>
                  <a:pt x="1064" y="1175"/>
                </a:lnTo>
                <a:lnTo>
                  <a:pt x="1064" y="1175"/>
                </a:lnTo>
                <a:lnTo>
                  <a:pt x="1069" y="1168"/>
                </a:lnTo>
                <a:lnTo>
                  <a:pt x="1073" y="1159"/>
                </a:lnTo>
                <a:lnTo>
                  <a:pt x="1082" y="1136"/>
                </a:lnTo>
                <a:lnTo>
                  <a:pt x="1090" y="1112"/>
                </a:lnTo>
                <a:lnTo>
                  <a:pt x="1100" y="1086"/>
                </a:lnTo>
                <a:lnTo>
                  <a:pt x="1105" y="1074"/>
                </a:lnTo>
                <a:lnTo>
                  <a:pt x="1110" y="1063"/>
                </a:lnTo>
                <a:lnTo>
                  <a:pt x="1117" y="1052"/>
                </a:lnTo>
                <a:lnTo>
                  <a:pt x="1124" y="1043"/>
                </a:lnTo>
                <a:lnTo>
                  <a:pt x="1131" y="1036"/>
                </a:lnTo>
                <a:lnTo>
                  <a:pt x="1140" y="1030"/>
                </a:lnTo>
                <a:lnTo>
                  <a:pt x="1149" y="1027"/>
                </a:lnTo>
                <a:lnTo>
                  <a:pt x="1159" y="1024"/>
                </a:lnTo>
                <a:lnTo>
                  <a:pt x="1159" y="1024"/>
                </a:lnTo>
                <a:lnTo>
                  <a:pt x="1169" y="1025"/>
                </a:lnTo>
                <a:lnTo>
                  <a:pt x="1178" y="1028"/>
                </a:lnTo>
                <a:lnTo>
                  <a:pt x="1187" y="1030"/>
                </a:lnTo>
                <a:lnTo>
                  <a:pt x="1195" y="1032"/>
                </a:lnTo>
                <a:lnTo>
                  <a:pt x="1210" y="1039"/>
                </a:lnTo>
                <a:lnTo>
                  <a:pt x="1223" y="1044"/>
                </a:lnTo>
                <a:lnTo>
                  <a:pt x="1223" y="1044"/>
                </a:lnTo>
                <a:lnTo>
                  <a:pt x="1285" y="1044"/>
                </a:lnTo>
                <a:lnTo>
                  <a:pt x="1285" y="1044"/>
                </a:lnTo>
                <a:lnTo>
                  <a:pt x="1285" y="1044"/>
                </a:lnTo>
                <a:lnTo>
                  <a:pt x="1295" y="1051"/>
                </a:lnTo>
                <a:lnTo>
                  <a:pt x="1306" y="1056"/>
                </a:lnTo>
                <a:lnTo>
                  <a:pt x="1316" y="1061"/>
                </a:lnTo>
                <a:lnTo>
                  <a:pt x="1326" y="1064"/>
                </a:lnTo>
                <a:lnTo>
                  <a:pt x="1339" y="1067"/>
                </a:lnTo>
                <a:lnTo>
                  <a:pt x="1350" y="1068"/>
                </a:lnTo>
                <a:lnTo>
                  <a:pt x="1377" y="1069"/>
                </a:lnTo>
                <a:lnTo>
                  <a:pt x="1377" y="1069"/>
                </a:lnTo>
                <a:lnTo>
                  <a:pt x="1387" y="1069"/>
                </a:lnTo>
                <a:lnTo>
                  <a:pt x="1397" y="1070"/>
                </a:lnTo>
                <a:lnTo>
                  <a:pt x="1405" y="1073"/>
                </a:lnTo>
                <a:lnTo>
                  <a:pt x="1413" y="1076"/>
                </a:lnTo>
                <a:lnTo>
                  <a:pt x="1426" y="1083"/>
                </a:lnTo>
                <a:lnTo>
                  <a:pt x="1438" y="1091"/>
                </a:lnTo>
                <a:lnTo>
                  <a:pt x="1449" y="1099"/>
                </a:lnTo>
                <a:lnTo>
                  <a:pt x="1462" y="1106"/>
                </a:lnTo>
                <a:lnTo>
                  <a:pt x="1469" y="1109"/>
                </a:lnTo>
                <a:lnTo>
                  <a:pt x="1477" y="1111"/>
                </a:lnTo>
                <a:lnTo>
                  <a:pt x="1485" y="1113"/>
                </a:lnTo>
                <a:lnTo>
                  <a:pt x="1494" y="1113"/>
                </a:lnTo>
                <a:lnTo>
                  <a:pt x="1494" y="1113"/>
                </a:lnTo>
                <a:lnTo>
                  <a:pt x="1500" y="1113"/>
                </a:lnTo>
                <a:lnTo>
                  <a:pt x="1506" y="1111"/>
                </a:lnTo>
                <a:lnTo>
                  <a:pt x="1512" y="1108"/>
                </a:lnTo>
                <a:lnTo>
                  <a:pt x="1516" y="1105"/>
                </a:lnTo>
                <a:lnTo>
                  <a:pt x="1527" y="1096"/>
                </a:lnTo>
                <a:lnTo>
                  <a:pt x="1536" y="1085"/>
                </a:lnTo>
                <a:lnTo>
                  <a:pt x="1547" y="1076"/>
                </a:lnTo>
                <a:lnTo>
                  <a:pt x="1559" y="1067"/>
                </a:lnTo>
                <a:lnTo>
                  <a:pt x="1566" y="1063"/>
                </a:lnTo>
                <a:lnTo>
                  <a:pt x="1573" y="1061"/>
                </a:lnTo>
                <a:lnTo>
                  <a:pt x="1581" y="1059"/>
                </a:lnTo>
                <a:lnTo>
                  <a:pt x="1590" y="1059"/>
                </a:lnTo>
                <a:lnTo>
                  <a:pt x="1590" y="1059"/>
                </a:lnTo>
                <a:lnTo>
                  <a:pt x="1594" y="1059"/>
                </a:lnTo>
                <a:lnTo>
                  <a:pt x="1599" y="1060"/>
                </a:lnTo>
                <a:lnTo>
                  <a:pt x="1607" y="1063"/>
                </a:lnTo>
                <a:lnTo>
                  <a:pt x="1614" y="1069"/>
                </a:lnTo>
                <a:lnTo>
                  <a:pt x="1621" y="1075"/>
                </a:lnTo>
                <a:lnTo>
                  <a:pt x="1628" y="1081"/>
                </a:lnTo>
                <a:lnTo>
                  <a:pt x="1636" y="1086"/>
                </a:lnTo>
                <a:lnTo>
                  <a:pt x="1643" y="1090"/>
                </a:lnTo>
                <a:lnTo>
                  <a:pt x="1647" y="1091"/>
                </a:lnTo>
                <a:lnTo>
                  <a:pt x="1652" y="1091"/>
                </a:lnTo>
                <a:lnTo>
                  <a:pt x="1652" y="1091"/>
                </a:lnTo>
                <a:lnTo>
                  <a:pt x="1653" y="1085"/>
                </a:lnTo>
                <a:lnTo>
                  <a:pt x="1654" y="1081"/>
                </a:lnTo>
                <a:lnTo>
                  <a:pt x="1655" y="1076"/>
                </a:lnTo>
                <a:lnTo>
                  <a:pt x="1658" y="1071"/>
                </a:lnTo>
                <a:lnTo>
                  <a:pt x="1665" y="1064"/>
                </a:lnTo>
                <a:lnTo>
                  <a:pt x="1673" y="1059"/>
                </a:lnTo>
                <a:lnTo>
                  <a:pt x="1682" y="1054"/>
                </a:lnTo>
                <a:lnTo>
                  <a:pt x="1692" y="1050"/>
                </a:lnTo>
                <a:lnTo>
                  <a:pt x="1715" y="1041"/>
                </a:lnTo>
                <a:lnTo>
                  <a:pt x="1727" y="1037"/>
                </a:lnTo>
                <a:lnTo>
                  <a:pt x="1737" y="1032"/>
                </a:lnTo>
                <a:lnTo>
                  <a:pt x="1747" y="1027"/>
                </a:lnTo>
                <a:lnTo>
                  <a:pt x="1756" y="1021"/>
                </a:lnTo>
                <a:lnTo>
                  <a:pt x="1764" y="1013"/>
                </a:lnTo>
                <a:lnTo>
                  <a:pt x="1766" y="1008"/>
                </a:lnTo>
                <a:lnTo>
                  <a:pt x="1768" y="1002"/>
                </a:lnTo>
                <a:lnTo>
                  <a:pt x="1769" y="998"/>
                </a:lnTo>
                <a:lnTo>
                  <a:pt x="1771" y="991"/>
                </a:lnTo>
                <a:lnTo>
                  <a:pt x="1771" y="984"/>
                </a:lnTo>
                <a:lnTo>
                  <a:pt x="1771" y="977"/>
                </a:lnTo>
                <a:lnTo>
                  <a:pt x="1771" y="977"/>
                </a:lnTo>
                <a:lnTo>
                  <a:pt x="1759" y="977"/>
                </a:lnTo>
                <a:lnTo>
                  <a:pt x="1749" y="975"/>
                </a:lnTo>
                <a:lnTo>
                  <a:pt x="1739" y="972"/>
                </a:lnTo>
                <a:lnTo>
                  <a:pt x="1730" y="968"/>
                </a:lnTo>
                <a:lnTo>
                  <a:pt x="1722" y="963"/>
                </a:lnTo>
                <a:lnTo>
                  <a:pt x="1715" y="957"/>
                </a:lnTo>
                <a:lnTo>
                  <a:pt x="1708" y="951"/>
                </a:lnTo>
                <a:lnTo>
                  <a:pt x="1701" y="944"/>
                </a:lnTo>
                <a:lnTo>
                  <a:pt x="1696" y="936"/>
                </a:lnTo>
                <a:lnTo>
                  <a:pt x="1691" y="926"/>
                </a:lnTo>
                <a:lnTo>
                  <a:pt x="1688" y="917"/>
                </a:lnTo>
                <a:lnTo>
                  <a:pt x="1684" y="908"/>
                </a:lnTo>
                <a:lnTo>
                  <a:pt x="1681" y="896"/>
                </a:lnTo>
                <a:lnTo>
                  <a:pt x="1680" y="886"/>
                </a:lnTo>
                <a:lnTo>
                  <a:pt x="1678" y="875"/>
                </a:lnTo>
                <a:lnTo>
                  <a:pt x="1677" y="863"/>
                </a:lnTo>
                <a:lnTo>
                  <a:pt x="1677" y="863"/>
                </a:lnTo>
                <a:lnTo>
                  <a:pt x="1672" y="860"/>
                </a:lnTo>
                <a:lnTo>
                  <a:pt x="1666" y="856"/>
                </a:lnTo>
                <a:lnTo>
                  <a:pt x="1655" y="847"/>
                </a:lnTo>
                <a:lnTo>
                  <a:pt x="1646" y="838"/>
                </a:lnTo>
                <a:lnTo>
                  <a:pt x="1640" y="833"/>
                </a:lnTo>
                <a:lnTo>
                  <a:pt x="1634" y="830"/>
                </a:lnTo>
                <a:lnTo>
                  <a:pt x="1634" y="830"/>
                </a:lnTo>
                <a:lnTo>
                  <a:pt x="1627" y="829"/>
                </a:lnTo>
                <a:lnTo>
                  <a:pt x="1621" y="827"/>
                </a:lnTo>
                <a:lnTo>
                  <a:pt x="1608" y="827"/>
                </a:lnTo>
                <a:lnTo>
                  <a:pt x="1601" y="827"/>
                </a:lnTo>
                <a:lnTo>
                  <a:pt x="1596" y="826"/>
                </a:lnTo>
                <a:lnTo>
                  <a:pt x="1589" y="823"/>
                </a:lnTo>
                <a:lnTo>
                  <a:pt x="1583" y="819"/>
                </a:lnTo>
                <a:lnTo>
                  <a:pt x="1583" y="819"/>
                </a:lnTo>
                <a:lnTo>
                  <a:pt x="1577" y="815"/>
                </a:lnTo>
                <a:lnTo>
                  <a:pt x="1574" y="809"/>
                </a:lnTo>
                <a:lnTo>
                  <a:pt x="1569" y="798"/>
                </a:lnTo>
                <a:lnTo>
                  <a:pt x="1566" y="791"/>
                </a:lnTo>
                <a:lnTo>
                  <a:pt x="1562" y="785"/>
                </a:lnTo>
                <a:lnTo>
                  <a:pt x="1556" y="779"/>
                </a:lnTo>
                <a:lnTo>
                  <a:pt x="1550" y="775"/>
                </a:lnTo>
                <a:lnTo>
                  <a:pt x="1550" y="775"/>
                </a:lnTo>
                <a:lnTo>
                  <a:pt x="1545" y="775"/>
                </a:lnTo>
                <a:lnTo>
                  <a:pt x="1542" y="773"/>
                </a:lnTo>
                <a:lnTo>
                  <a:pt x="1533" y="775"/>
                </a:lnTo>
                <a:lnTo>
                  <a:pt x="1519" y="780"/>
                </a:lnTo>
                <a:lnTo>
                  <a:pt x="1512" y="783"/>
                </a:lnTo>
                <a:lnTo>
                  <a:pt x="1505" y="781"/>
                </a:lnTo>
                <a:lnTo>
                  <a:pt x="1501" y="780"/>
                </a:lnTo>
                <a:lnTo>
                  <a:pt x="1498" y="779"/>
                </a:lnTo>
                <a:lnTo>
                  <a:pt x="1494" y="776"/>
                </a:lnTo>
                <a:lnTo>
                  <a:pt x="1491" y="771"/>
                </a:lnTo>
                <a:lnTo>
                  <a:pt x="1491" y="771"/>
                </a:lnTo>
                <a:lnTo>
                  <a:pt x="1485" y="765"/>
                </a:lnTo>
                <a:lnTo>
                  <a:pt x="1481" y="758"/>
                </a:lnTo>
                <a:lnTo>
                  <a:pt x="1469" y="740"/>
                </a:lnTo>
                <a:lnTo>
                  <a:pt x="1463" y="731"/>
                </a:lnTo>
                <a:lnTo>
                  <a:pt x="1456" y="724"/>
                </a:lnTo>
                <a:lnTo>
                  <a:pt x="1452" y="720"/>
                </a:lnTo>
                <a:lnTo>
                  <a:pt x="1448" y="718"/>
                </a:lnTo>
                <a:lnTo>
                  <a:pt x="1444" y="717"/>
                </a:lnTo>
                <a:lnTo>
                  <a:pt x="1439" y="717"/>
                </a:lnTo>
                <a:lnTo>
                  <a:pt x="1439" y="717"/>
                </a:lnTo>
                <a:lnTo>
                  <a:pt x="1432" y="717"/>
                </a:lnTo>
                <a:lnTo>
                  <a:pt x="1425" y="719"/>
                </a:lnTo>
                <a:lnTo>
                  <a:pt x="1420" y="723"/>
                </a:lnTo>
                <a:lnTo>
                  <a:pt x="1414" y="726"/>
                </a:lnTo>
                <a:lnTo>
                  <a:pt x="1405" y="737"/>
                </a:lnTo>
                <a:lnTo>
                  <a:pt x="1397" y="748"/>
                </a:lnTo>
                <a:lnTo>
                  <a:pt x="1387" y="760"/>
                </a:lnTo>
                <a:lnTo>
                  <a:pt x="1383" y="764"/>
                </a:lnTo>
                <a:lnTo>
                  <a:pt x="1377" y="769"/>
                </a:lnTo>
                <a:lnTo>
                  <a:pt x="1371" y="773"/>
                </a:lnTo>
                <a:lnTo>
                  <a:pt x="1365" y="777"/>
                </a:lnTo>
                <a:lnTo>
                  <a:pt x="1359" y="778"/>
                </a:lnTo>
                <a:lnTo>
                  <a:pt x="1350" y="779"/>
                </a:lnTo>
                <a:lnTo>
                  <a:pt x="1350" y="779"/>
                </a:lnTo>
                <a:lnTo>
                  <a:pt x="1332" y="778"/>
                </a:lnTo>
                <a:lnTo>
                  <a:pt x="1314" y="776"/>
                </a:lnTo>
                <a:lnTo>
                  <a:pt x="1296" y="772"/>
                </a:lnTo>
                <a:lnTo>
                  <a:pt x="1277" y="771"/>
                </a:lnTo>
                <a:lnTo>
                  <a:pt x="1277" y="771"/>
                </a:lnTo>
                <a:lnTo>
                  <a:pt x="1263" y="771"/>
                </a:lnTo>
                <a:lnTo>
                  <a:pt x="1249" y="768"/>
                </a:lnTo>
                <a:lnTo>
                  <a:pt x="1239" y="764"/>
                </a:lnTo>
                <a:lnTo>
                  <a:pt x="1229" y="760"/>
                </a:lnTo>
                <a:lnTo>
                  <a:pt x="1220" y="754"/>
                </a:lnTo>
                <a:lnTo>
                  <a:pt x="1212" y="747"/>
                </a:lnTo>
                <a:lnTo>
                  <a:pt x="1206" y="739"/>
                </a:lnTo>
                <a:lnTo>
                  <a:pt x="1200" y="731"/>
                </a:lnTo>
                <a:lnTo>
                  <a:pt x="1187" y="714"/>
                </a:lnTo>
                <a:lnTo>
                  <a:pt x="1174" y="695"/>
                </a:lnTo>
                <a:lnTo>
                  <a:pt x="1166" y="687"/>
                </a:lnTo>
                <a:lnTo>
                  <a:pt x="1158" y="679"/>
                </a:lnTo>
                <a:lnTo>
                  <a:pt x="1149" y="672"/>
                </a:lnTo>
                <a:lnTo>
                  <a:pt x="1138" y="665"/>
                </a:lnTo>
                <a:lnTo>
                  <a:pt x="1138" y="665"/>
                </a:lnTo>
                <a:lnTo>
                  <a:pt x="1124" y="661"/>
                </a:lnTo>
                <a:lnTo>
                  <a:pt x="1107" y="656"/>
                </a:lnTo>
                <a:lnTo>
                  <a:pt x="1067" y="649"/>
                </a:lnTo>
                <a:lnTo>
                  <a:pt x="1047" y="646"/>
                </a:lnTo>
                <a:lnTo>
                  <a:pt x="1026" y="641"/>
                </a:lnTo>
                <a:lnTo>
                  <a:pt x="1008" y="635"/>
                </a:lnTo>
                <a:lnTo>
                  <a:pt x="998" y="632"/>
                </a:lnTo>
                <a:lnTo>
                  <a:pt x="991" y="628"/>
                </a:lnTo>
                <a:lnTo>
                  <a:pt x="991" y="628"/>
                </a:lnTo>
                <a:lnTo>
                  <a:pt x="981" y="623"/>
                </a:lnTo>
                <a:lnTo>
                  <a:pt x="973" y="617"/>
                </a:lnTo>
                <a:lnTo>
                  <a:pt x="958" y="603"/>
                </a:lnTo>
                <a:lnTo>
                  <a:pt x="944" y="587"/>
                </a:lnTo>
                <a:lnTo>
                  <a:pt x="928" y="570"/>
                </a:lnTo>
                <a:lnTo>
                  <a:pt x="928" y="570"/>
                </a:lnTo>
                <a:lnTo>
                  <a:pt x="859" y="570"/>
                </a:lnTo>
                <a:lnTo>
                  <a:pt x="859" y="570"/>
                </a:lnTo>
                <a:lnTo>
                  <a:pt x="859" y="570"/>
                </a:lnTo>
                <a:lnTo>
                  <a:pt x="855" y="565"/>
                </a:lnTo>
                <a:lnTo>
                  <a:pt x="851" y="560"/>
                </a:lnTo>
                <a:lnTo>
                  <a:pt x="845" y="551"/>
                </a:lnTo>
                <a:lnTo>
                  <a:pt x="843" y="541"/>
                </a:lnTo>
                <a:lnTo>
                  <a:pt x="841" y="531"/>
                </a:lnTo>
                <a:lnTo>
                  <a:pt x="838" y="519"/>
                </a:lnTo>
                <a:lnTo>
                  <a:pt x="836" y="508"/>
                </a:lnTo>
                <a:lnTo>
                  <a:pt x="833" y="496"/>
                </a:lnTo>
                <a:lnTo>
                  <a:pt x="829" y="490"/>
                </a:lnTo>
                <a:lnTo>
                  <a:pt x="826" y="485"/>
                </a:lnTo>
                <a:lnTo>
                  <a:pt x="826" y="485"/>
                </a:lnTo>
                <a:lnTo>
                  <a:pt x="820" y="473"/>
                </a:lnTo>
                <a:lnTo>
                  <a:pt x="815" y="459"/>
                </a:lnTo>
                <a:lnTo>
                  <a:pt x="812" y="448"/>
                </a:lnTo>
                <a:lnTo>
                  <a:pt x="811" y="437"/>
                </a:lnTo>
                <a:lnTo>
                  <a:pt x="811" y="437"/>
                </a:lnTo>
                <a:lnTo>
                  <a:pt x="811" y="409"/>
                </a:lnTo>
                <a:lnTo>
                  <a:pt x="811" y="409"/>
                </a:lnTo>
                <a:lnTo>
                  <a:pt x="810" y="405"/>
                </a:lnTo>
                <a:lnTo>
                  <a:pt x="809" y="402"/>
                </a:lnTo>
                <a:lnTo>
                  <a:pt x="799" y="392"/>
                </a:lnTo>
                <a:lnTo>
                  <a:pt x="788" y="383"/>
                </a:lnTo>
                <a:lnTo>
                  <a:pt x="774" y="373"/>
                </a:lnTo>
                <a:lnTo>
                  <a:pt x="759" y="364"/>
                </a:lnTo>
                <a:lnTo>
                  <a:pt x="745" y="357"/>
                </a:lnTo>
                <a:lnTo>
                  <a:pt x="734" y="351"/>
                </a:lnTo>
                <a:lnTo>
                  <a:pt x="727" y="349"/>
                </a:lnTo>
                <a:lnTo>
                  <a:pt x="727" y="349"/>
                </a:lnTo>
                <a:lnTo>
                  <a:pt x="722" y="350"/>
                </a:lnTo>
                <a:lnTo>
                  <a:pt x="719" y="352"/>
                </a:lnTo>
                <a:lnTo>
                  <a:pt x="711" y="358"/>
                </a:lnTo>
                <a:lnTo>
                  <a:pt x="703" y="365"/>
                </a:lnTo>
                <a:lnTo>
                  <a:pt x="698" y="367"/>
                </a:lnTo>
                <a:lnTo>
                  <a:pt x="693" y="367"/>
                </a:lnTo>
                <a:lnTo>
                  <a:pt x="693" y="367"/>
                </a:lnTo>
                <a:lnTo>
                  <a:pt x="687" y="367"/>
                </a:lnTo>
                <a:lnTo>
                  <a:pt x="682" y="365"/>
                </a:lnTo>
                <a:lnTo>
                  <a:pt x="678" y="361"/>
                </a:lnTo>
                <a:lnTo>
                  <a:pt x="675" y="357"/>
                </a:lnTo>
                <a:lnTo>
                  <a:pt x="675" y="357"/>
                </a:lnTo>
                <a:lnTo>
                  <a:pt x="668" y="358"/>
                </a:lnTo>
                <a:lnTo>
                  <a:pt x="661" y="360"/>
                </a:lnTo>
                <a:lnTo>
                  <a:pt x="649" y="367"/>
                </a:lnTo>
                <a:lnTo>
                  <a:pt x="637" y="372"/>
                </a:lnTo>
                <a:lnTo>
                  <a:pt x="630" y="374"/>
                </a:lnTo>
                <a:lnTo>
                  <a:pt x="623" y="374"/>
                </a:lnTo>
                <a:lnTo>
                  <a:pt x="623" y="374"/>
                </a:lnTo>
                <a:lnTo>
                  <a:pt x="618" y="374"/>
                </a:lnTo>
                <a:lnTo>
                  <a:pt x="613" y="373"/>
                </a:lnTo>
                <a:lnTo>
                  <a:pt x="608" y="372"/>
                </a:lnTo>
                <a:lnTo>
                  <a:pt x="604" y="369"/>
                </a:lnTo>
                <a:lnTo>
                  <a:pt x="597" y="363"/>
                </a:lnTo>
                <a:lnTo>
                  <a:pt x="592" y="355"/>
                </a:lnTo>
                <a:lnTo>
                  <a:pt x="588" y="345"/>
                </a:lnTo>
                <a:lnTo>
                  <a:pt x="584" y="335"/>
                </a:lnTo>
                <a:lnTo>
                  <a:pt x="578" y="312"/>
                </a:lnTo>
                <a:lnTo>
                  <a:pt x="574" y="289"/>
                </a:lnTo>
                <a:lnTo>
                  <a:pt x="570" y="279"/>
                </a:lnTo>
                <a:lnTo>
                  <a:pt x="567" y="269"/>
                </a:lnTo>
                <a:lnTo>
                  <a:pt x="562" y="261"/>
                </a:lnTo>
                <a:lnTo>
                  <a:pt x="555" y="256"/>
                </a:lnTo>
                <a:lnTo>
                  <a:pt x="552" y="253"/>
                </a:lnTo>
                <a:lnTo>
                  <a:pt x="548" y="251"/>
                </a:lnTo>
                <a:lnTo>
                  <a:pt x="544" y="250"/>
                </a:lnTo>
                <a:lnTo>
                  <a:pt x="539" y="250"/>
                </a:lnTo>
                <a:lnTo>
                  <a:pt x="539" y="250"/>
                </a:lnTo>
                <a:lnTo>
                  <a:pt x="447" y="250"/>
                </a:lnTo>
                <a:lnTo>
                  <a:pt x="447" y="250"/>
                </a:lnTo>
                <a:lnTo>
                  <a:pt x="436" y="250"/>
                </a:lnTo>
                <a:lnTo>
                  <a:pt x="424" y="249"/>
                </a:lnTo>
                <a:lnTo>
                  <a:pt x="414" y="246"/>
                </a:lnTo>
                <a:lnTo>
                  <a:pt x="405" y="244"/>
                </a:lnTo>
                <a:lnTo>
                  <a:pt x="397" y="238"/>
                </a:lnTo>
                <a:lnTo>
                  <a:pt x="393" y="235"/>
                </a:lnTo>
                <a:lnTo>
                  <a:pt x="391" y="231"/>
                </a:lnTo>
                <a:lnTo>
                  <a:pt x="389" y="227"/>
                </a:lnTo>
                <a:lnTo>
                  <a:pt x="386" y="222"/>
                </a:lnTo>
                <a:lnTo>
                  <a:pt x="386" y="215"/>
                </a:lnTo>
                <a:lnTo>
                  <a:pt x="385" y="210"/>
                </a:lnTo>
                <a:lnTo>
                  <a:pt x="385" y="210"/>
                </a:lnTo>
                <a:lnTo>
                  <a:pt x="378" y="207"/>
                </a:lnTo>
                <a:lnTo>
                  <a:pt x="372" y="205"/>
                </a:lnTo>
                <a:lnTo>
                  <a:pt x="366" y="201"/>
                </a:lnTo>
                <a:lnTo>
                  <a:pt x="361" y="198"/>
                </a:lnTo>
                <a:lnTo>
                  <a:pt x="355" y="192"/>
                </a:lnTo>
                <a:lnTo>
                  <a:pt x="352" y="185"/>
                </a:lnTo>
                <a:lnTo>
                  <a:pt x="349" y="178"/>
                </a:lnTo>
                <a:lnTo>
                  <a:pt x="349" y="169"/>
                </a:lnTo>
                <a:lnTo>
                  <a:pt x="349" y="169"/>
                </a:lnTo>
                <a:lnTo>
                  <a:pt x="349" y="162"/>
                </a:lnTo>
                <a:lnTo>
                  <a:pt x="351" y="157"/>
                </a:lnTo>
                <a:lnTo>
                  <a:pt x="355" y="145"/>
                </a:lnTo>
                <a:lnTo>
                  <a:pt x="361" y="135"/>
                </a:lnTo>
                <a:lnTo>
                  <a:pt x="367" y="124"/>
                </a:lnTo>
                <a:lnTo>
                  <a:pt x="374" y="114"/>
                </a:lnTo>
                <a:lnTo>
                  <a:pt x="379" y="104"/>
                </a:lnTo>
                <a:lnTo>
                  <a:pt x="384" y="91"/>
                </a:lnTo>
                <a:lnTo>
                  <a:pt x="385" y="84"/>
                </a:lnTo>
                <a:lnTo>
                  <a:pt x="385" y="77"/>
                </a:lnTo>
                <a:lnTo>
                  <a:pt x="385" y="77"/>
                </a:lnTo>
                <a:lnTo>
                  <a:pt x="385" y="22"/>
                </a:lnTo>
                <a:lnTo>
                  <a:pt x="385" y="22"/>
                </a:lnTo>
                <a:lnTo>
                  <a:pt x="385" y="16"/>
                </a:lnTo>
                <a:lnTo>
                  <a:pt x="383" y="12"/>
                </a:lnTo>
                <a:lnTo>
                  <a:pt x="380" y="7"/>
                </a:lnTo>
                <a:lnTo>
                  <a:pt x="378" y="0"/>
                </a:lnTo>
                <a:lnTo>
                  <a:pt x="378" y="0"/>
                </a:lnTo>
                <a:lnTo>
                  <a:pt x="369" y="4"/>
                </a:lnTo>
                <a:lnTo>
                  <a:pt x="360" y="7"/>
                </a:lnTo>
                <a:lnTo>
                  <a:pt x="351" y="12"/>
                </a:lnTo>
                <a:lnTo>
                  <a:pt x="342" y="17"/>
                </a:lnTo>
                <a:lnTo>
                  <a:pt x="328" y="29"/>
                </a:lnTo>
                <a:lnTo>
                  <a:pt x="314" y="40"/>
                </a:lnTo>
                <a:lnTo>
                  <a:pt x="300" y="52"/>
                </a:lnTo>
                <a:lnTo>
                  <a:pt x="293" y="56"/>
                </a:lnTo>
                <a:lnTo>
                  <a:pt x="285" y="61"/>
                </a:lnTo>
                <a:lnTo>
                  <a:pt x="277" y="65"/>
                </a:lnTo>
                <a:lnTo>
                  <a:pt x="269" y="68"/>
                </a:lnTo>
                <a:lnTo>
                  <a:pt x="260" y="69"/>
                </a:lnTo>
                <a:lnTo>
                  <a:pt x="249" y="70"/>
                </a:lnTo>
                <a:lnTo>
                  <a:pt x="249" y="70"/>
                </a:lnTo>
                <a:lnTo>
                  <a:pt x="248" y="69"/>
                </a:lnTo>
                <a:lnTo>
                  <a:pt x="247" y="68"/>
                </a:lnTo>
                <a:lnTo>
                  <a:pt x="245" y="62"/>
                </a:lnTo>
                <a:lnTo>
                  <a:pt x="242" y="56"/>
                </a:lnTo>
                <a:lnTo>
                  <a:pt x="242" y="52"/>
                </a:lnTo>
                <a:lnTo>
                  <a:pt x="242" y="52"/>
                </a:lnTo>
                <a:lnTo>
                  <a:pt x="224" y="52"/>
                </a:lnTo>
                <a:lnTo>
                  <a:pt x="224" y="52"/>
                </a:lnTo>
                <a:lnTo>
                  <a:pt x="214" y="53"/>
                </a:lnTo>
                <a:lnTo>
                  <a:pt x="204" y="54"/>
                </a:lnTo>
                <a:lnTo>
                  <a:pt x="196" y="58"/>
                </a:lnTo>
                <a:lnTo>
                  <a:pt x="189" y="63"/>
                </a:lnTo>
                <a:lnTo>
                  <a:pt x="183" y="69"/>
                </a:lnTo>
                <a:lnTo>
                  <a:pt x="177" y="75"/>
                </a:lnTo>
                <a:lnTo>
                  <a:pt x="171" y="83"/>
                </a:lnTo>
                <a:lnTo>
                  <a:pt x="166" y="91"/>
                </a:lnTo>
                <a:lnTo>
                  <a:pt x="158" y="109"/>
                </a:lnTo>
                <a:lnTo>
                  <a:pt x="153" y="129"/>
                </a:lnTo>
                <a:lnTo>
                  <a:pt x="147" y="150"/>
                </a:lnTo>
                <a:lnTo>
                  <a:pt x="143" y="169"/>
                </a:lnTo>
                <a:lnTo>
                  <a:pt x="143" y="169"/>
                </a:lnTo>
                <a:lnTo>
                  <a:pt x="142" y="173"/>
                </a:lnTo>
                <a:lnTo>
                  <a:pt x="141" y="176"/>
                </a:lnTo>
                <a:lnTo>
                  <a:pt x="137" y="184"/>
                </a:lnTo>
                <a:lnTo>
                  <a:pt x="128" y="192"/>
                </a:lnTo>
                <a:lnTo>
                  <a:pt x="119" y="203"/>
                </a:lnTo>
                <a:lnTo>
                  <a:pt x="101" y="221"/>
                </a:lnTo>
                <a:lnTo>
                  <a:pt x="88" y="235"/>
                </a:lnTo>
                <a:lnTo>
                  <a:pt x="88" y="235"/>
                </a:lnTo>
                <a:lnTo>
                  <a:pt x="81" y="244"/>
                </a:lnTo>
                <a:lnTo>
                  <a:pt x="76" y="252"/>
                </a:lnTo>
                <a:lnTo>
                  <a:pt x="67" y="269"/>
                </a:lnTo>
                <a:lnTo>
                  <a:pt x="61" y="288"/>
                </a:lnTo>
                <a:lnTo>
                  <a:pt x="55" y="306"/>
                </a:lnTo>
                <a:lnTo>
                  <a:pt x="46" y="346"/>
                </a:lnTo>
                <a:lnTo>
                  <a:pt x="40" y="367"/>
                </a:lnTo>
                <a:lnTo>
                  <a:pt x="33" y="389"/>
                </a:lnTo>
                <a:lnTo>
                  <a:pt x="33" y="389"/>
                </a:lnTo>
                <a:lnTo>
                  <a:pt x="30" y="396"/>
                </a:lnTo>
                <a:lnTo>
                  <a:pt x="25" y="403"/>
                </a:lnTo>
                <a:lnTo>
                  <a:pt x="13" y="418"/>
                </a:lnTo>
                <a:lnTo>
                  <a:pt x="9" y="425"/>
                </a:lnTo>
                <a:lnTo>
                  <a:pt x="4" y="433"/>
                </a:lnTo>
                <a:lnTo>
                  <a:pt x="1" y="440"/>
                </a:lnTo>
                <a:lnTo>
                  <a:pt x="0" y="448"/>
                </a:lnTo>
                <a:lnTo>
                  <a:pt x="0" y="448"/>
                </a:lnTo>
                <a:lnTo>
                  <a:pt x="1" y="451"/>
                </a:lnTo>
                <a:lnTo>
                  <a:pt x="3" y="455"/>
                </a:lnTo>
                <a:lnTo>
                  <a:pt x="9" y="460"/>
                </a:lnTo>
                <a:lnTo>
                  <a:pt x="15" y="466"/>
                </a:lnTo>
                <a:lnTo>
                  <a:pt x="17" y="468"/>
                </a:lnTo>
                <a:lnTo>
                  <a:pt x="18" y="471"/>
                </a:lnTo>
                <a:lnTo>
                  <a:pt x="18" y="471"/>
                </a:lnTo>
                <a:lnTo>
                  <a:pt x="23" y="483"/>
                </a:lnTo>
                <a:lnTo>
                  <a:pt x="28" y="495"/>
                </a:lnTo>
                <a:lnTo>
                  <a:pt x="34" y="505"/>
                </a:lnTo>
                <a:lnTo>
                  <a:pt x="40" y="514"/>
                </a:lnTo>
                <a:lnTo>
                  <a:pt x="47" y="523"/>
                </a:lnTo>
                <a:lnTo>
                  <a:pt x="55" y="531"/>
                </a:lnTo>
                <a:lnTo>
                  <a:pt x="70" y="544"/>
                </a:lnTo>
                <a:lnTo>
                  <a:pt x="85" y="558"/>
                </a:lnTo>
                <a:lnTo>
                  <a:pt x="99" y="574"/>
                </a:lnTo>
                <a:lnTo>
                  <a:pt x="105" y="582"/>
                </a:lnTo>
                <a:lnTo>
                  <a:pt x="111" y="592"/>
                </a:lnTo>
                <a:lnTo>
                  <a:pt x="116" y="602"/>
                </a:lnTo>
                <a:lnTo>
                  <a:pt x="120" y="613"/>
                </a:lnTo>
                <a:lnTo>
                  <a:pt x="120" y="613"/>
                </a:lnTo>
                <a:lnTo>
                  <a:pt x="125" y="620"/>
                </a:lnTo>
                <a:lnTo>
                  <a:pt x="131" y="627"/>
                </a:lnTo>
                <a:lnTo>
                  <a:pt x="141" y="640"/>
                </a:lnTo>
                <a:lnTo>
                  <a:pt x="146" y="648"/>
                </a:lnTo>
                <a:lnTo>
                  <a:pt x="150" y="655"/>
                </a:lnTo>
                <a:lnTo>
                  <a:pt x="153" y="663"/>
                </a:lnTo>
                <a:lnTo>
                  <a:pt x="154" y="672"/>
                </a:lnTo>
                <a:lnTo>
                  <a:pt x="154" y="672"/>
                </a:lnTo>
                <a:lnTo>
                  <a:pt x="154" y="680"/>
                </a:lnTo>
                <a:lnTo>
                  <a:pt x="153" y="688"/>
                </a:lnTo>
                <a:lnTo>
                  <a:pt x="148" y="702"/>
                </a:lnTo>
                <a:lnTo>
                  <a:pt x="145" y="716"/>
                </a:lnTo>
                <a:lnTo>
                  <a:pt x="143" y="723"/>
                </a:lnTo>
                <a:lnTo>
                  <a:pt x="143" y="731"/>
                </a:lnTo>
                <a:lnTo>
                  <a:pt x="143" y="731"/>
                </a:lnTo>
                <a:lnTo>
                  <a:pt x="143" y="746"/>
                </a:lnTo>
                <a:lnTo>
                  <a:pt x="145" y="760"/>
                </a:lnTo>
                <a:lnTo>
                  <a:pt x="148" y="788"/>
                </a:lnTo>
                <a:lnTo>
                  <a:pt x="153" y="816"/>
                </a:lnTo>
                <a:lnTo>
                  <a:pt x="154" y="830"/>
                </a:lnTo>
                <a:lnTo>
                  <a:pt x="154" y="845"/>
                </a:lnTo>
                <a:lnTo>
                  <a:pt x="154" y="845"/>
                </a:lnTo>
                <a:lnTo>
                  <a:pt x="154" y="911"/>
                </a:lnTo>
                <a:lnTo>
                  <a:pt x="154" y="911"/>
                </a:lnTo>
                <a:lnTo>
                  <a:pt x="153" y="918"/>
                </a:lnTo>
                <a:lnTo>
                  <a:pt x="149" y="926"/>
                </a:lnTo>
                <a:lnTo>
                  <a:pt x="147" y="937"/>
                </a:lnTo>
                <a:lnTo>
                  <a:pt x="146" y="943"/>
                </a:lnTo>
                <a:lnTo>
                  <a:pt x="147" y="948"/>
                </a:lnTo>
                <a:lnTo>
                  <a:pt x="147" y="948"/>
                </a:lnTo>
                <a:lnTo>
                  <a:pt x="149" y="954"/>
                </a:lnTo>
                <a:lnTo>
                  <a:pt x="153" y="960"/>
                </a:lnTo>
                <a:lnTo>
                  <a:pt x="157" y="964"/>
                </a:lnTo>
                <a:lnTo>
                  <a:pt x="162" y="968"/>
                </a:lnTo>
                <a:lnTo>
                  <a:pt x="173" y="975"/>
                </a:lnTo>
                <a:lnTo>
                  <a:pt x="185" y="979"/>
                </a:lnTo>
                <a:lnTo>
                  <a:pt x="198" y="984"/>
                </a:lnTo>
                <a:lnTo>
                  <a:pt x="209" y="990"/>
                </a:lnTo>
                <a:lnTo>
                  <a:pt x="214" y="994"/>
                </a:lnTo>
                <a:lnTo>
                  <a:pt x="217" y="999"/>
                </a:lnTo>
                <a:lnTo>
                  <a:pt x="222" y="1004"/>
                </a:lnTo>
                <a:lnTo>
                  <a:pt x="224" y="1010"/>
                </a:lnTo>
                <a:lnTo>
                  <a:pt x="224" y="1010"/>
                </a:lnTo>
                <a:lnTo>
                  <a:pt x="227" y="1024"/>
                </a:lnTo>
                <a:lnTo>
                  <a:pt x="232" y="1041"/>
                </a:lnTo>
                <a:lnTo>
                  <a:pt x="239" y="1076"/>
                </a:lnTo>
                <a:lnTo>
                  <a:pt x="246" y="1117"/>
                </a:lnTo>
                <a:lnTo>
                  <a:pt x="246" y="1117"/>
                </a:lnTo>
                <a:lnTo>
                  <a:pt x="249" y="1117"/>
                </a:lnTo>
                <a:lnTo>
                  <a:pt x="249" y="1117"/>
                </a:lnTo>
                <a:lnTo>
                  <a:pt x="249" y="1117"/>
                </a:lnTo>
                <a:lnTo>
                  <a:pt x="255" y="1122"/>
                </a:lnTo>
                <a:lnTo>
                  <a:pt x="262" y="1127"/>
                </a:lnTo>
                <a:lnTo>
                  <a:pt x="271" y="1130"/>
                </a:lnTo>
                <a:lnTo>
                  <a:pt x="276" y="1131"/>
                </a:lnTo>
                <a:lnTo>
                  <a:pt x="283" y="1132"/>
                </a:lnTo>
                <a:lnTo>
                  <a:pt x="283" y="1132"/>
                </a:lnTo>
                <a:lnTo>
                  <a:pt x="295" y="1131"/>
                </a:lnTo>
                <a:lnTo>
                  <a:pt x="305" y="1128"/>
                </a:lnTo>
                <a:lnTo>
                  <a:pt x="313" y="1124"/>
                </a:lnTo>
                <a:lnTo>
                  <a:pt x="319" y="1119"/>
                </a:lnTo>
                <a:lnTo>
                  <a:pt x="330" y="1107"/>
                </a:lnTo>
                <a:lnTo>
                  <a:pt x="336" y="1100"/>
                </a:lnTo>
                <a:lnTo>
                  <a:pt x="341" y="1094"/>
                </a:lnTo>
                <a:lnTo>
                  <a:pt x="341" y="1094"/>
                </a:lnTo>
                <a:lnTo>
                  <a:pt x="348" y="1092"/>
                </a:lnTo>
                <a:lnTo>
                  <a:pt x="355" y="1090"/>
                </a:lnTo>
                <a:lnTo>
                  <a:pt x="370" y="1088"/>
                </a:lnTo>
                <a:lnTo>
                  <a:pt x="386" y="1086"/>
                </a:lnTo>
                <a:lnTo>
                  <a:pt x="402" y="1088"/>
                </a:lnTo>
                <a:lnTo>
                  <a:pt x="418" y="1088"/>
                </a:lnTo>
                <a:lnTo>
                  <a:pt x="432" y="1088"/>
                </a:lnTo>
                <a:lnTo>
                  <a:pt x="439" y="1086"/>
                </a:lnTo>
                <a:lnTo>
                  <a:pt x="445" y="1085"/>
                </a:lnTo>
                <a:lnTo>
                  <a:pt x="451" y="1083"/>
                </a:lnTo>
                <a:lnTo>
                  <a:pt x="455" y="1081"/>
                </a:lnTo>
                <a:lnTo>
                  <a:pt x="455" y="1081"/>
                </a:lnTo>
                <a:lnTo>
                  <a:pt x="459" y="1078"/>
                </a:lnTo>
                <a:lnTo>
                  <a:pt x="462" y="1074"/>
                </a:lnTo>
                <a:lnTo>
                  <a:pt x="468" y="1064"/>
                </a:lnTo>
                <a:lnTo>
                  <a:pt x="473" y="1055"/>
                </a:lnTo>
                <a:lnTo>
                  <a:pt x="475" y="1052"/>
                </a:lnTo>
                <a:lnTo>
                  <a:pt x="477" y="1051"/>
                </a:lnTo>
                <a:lnTo>
                  <a:pt x="477" y="1051"/>
                </a:lnTo>
                <a:lnTo>
                  <a:pt x="483" y="1047"/>
                </a:lnTo>
                <a:lnTo>
                  <a:pt x="489" y="1046"/>
                </a:lnTo>
                <a:lnTo>
                  <a:pt x="493" y="1045"/>
                </a:lnTo>
                <a:lnTo>
                  <a:pt x="499" y="1045"/>
                </a:lnTo>
                <a:lnTo>
                  <a:pt x="505" y="1045"/>
                </a:lnTo>
                <a:lnTo>
                  <a:pt x="510" y="1045"/>
                </a:lnTo>
                <a:lnTo>
                  <a:pt x="516" y="1043"/>
                </a:lnTo>
                <a:lnTo>
                  <a:pt x="521" y="1039"/>
                </a:lnTo>
                <a:lnTo>
                  <a:pt x="521" y="1039"/>
                </a:lnTo>
                <a:lnTo>
                  <a:pt x="525" y="1036"/>
                </a:lnTo>
                <a:lnTo>
                  <a:pt x="529" y="1031"/>
                </a:lnTo>
                <a:lnTo>
                  <a:pt x="532" y="1018"/>
                </a:lnTo>
                <a:lnTo>
                  <a:pt x="536" y="1013"/>
                </a:lnTo>
                <a:lnTo>
                  <a:pt x="538" y="1008"/>
                </a:lnTo>
                <a:lnTo>
                  <a:pt x="543" y="1005"/>
                </a:lnTo>
                <a:lnTo>
                  <a:pt x="546" y="1004"/>
                </a:lnTo>
                <a:lnTo>
                  <a:pt x="550" y="1004"/>
                </a:lnTo>
                <a:lnTo>
                  <a:pt x="550" y="1004"/>
                </a:lnTo>
                <a:lnTo>
                  <a:pt x="557" y="1005"/>
                </a:lnTo>
                <a:lnTo>
                  <a:pt x="567" y="1009"/>
                </a:lnTo>
                <a:lnTo>
                  <a:pt x="590" y="1022"/>
                </a:lnTo>
                <a:lnTo>
                  <a:pt x="613" y="1037"/>
                </a:lnTo>
                <a:lnTo>
                  <a:pt x="627" y="1047"/>
                </a:lnTo>
                <a:lnTo>
                  <a:pt x="627" y="1047"/>
                </a:lnTo>
                <a:lnTo>
                  <a:pt x="635" y="1051"/>
                </a:lnTo>
                <a:lnTo>
                  <a:pt x="643" y="1053"/>
                </a:lnTo>
                <a:lnTo>
                  <a:pt x="659" y="1055"/>
                </a:lnTo>
                <a:lnTo>
                  <a:pt x="666" y="1056"/>
                </a:lnTo>
                <a:lnTo>
                  <a:pt x="674" y="1058"/>
                </a:lnTo>
                <a:lnTo>
                  <a:pt x="682" y="1061"/>
                </a:lnTo>
                <a:lnTo>
                  <a:pt x="690" y="1066"/>
                </a:lnTo>
                <a:lnTo>
                  <a:pt x="690" y="1066"/>
                </a:lnTo>
                <a:lnTo>
                  <a:pt x="703" y="1077"/>
                </a:lnTo>
                <a:lnTo>
                  <a:pt x="713" y="1089"/>
                </a:lnTo>
                <a:lnTo>
                  <a:pt x="722" y="1101"/>
                </a:lnTo>
                <a:lnTo>
                  <a:pt x="730" y="1114"/>
                </a:lnTo>
                <a:lnTo>
                  <a:pt x="736" y="1129"/>
                </a:lnTo>
                <a:lnTo>
                  <a:pt x="742" y="1145"/>
                </a:lnTo>
                <a:lnTo>
                  <a:pt x="745" y="1163"/>
                </a:lnTo>
                <a:lnTo>
                  <a:pt x="749" y="1183"/>
                </a:lnTo>
                <a:lnTo>
                  <a:pt x="749" y="1183"/>
                </a:lnTo>
                <a:lnTo>
                  <a:pt x="766" y="1209"/>
                </a:lnTo>
                <a:lnTo>
                  <a:pt x="786" y="1238"/>
                </a:lnTo>
                <a:lnTo>
                  <a:pt x="786" y="1238"/>
                </a:lnTo>
                <a:lnTo>
                  <a:pt x="789" y="1245"/>
                </a:lnTo>
                <a:lnTo>
                  <a:pt x="795" y="1252"/>
                </a:lnTo>
                <a:lnTo>
                  <a:pt x="802" y="1258"/>
                </a:lnTo>
                <a:lnTo>
                  <a:pt x="810" y="1264"/>
                </a:lnTo>
                <a:lnTo>
                  <a:pt x="819" y="1268"/>
                </a:lnTo>
                <a:lnTo>
                  <a:pt x="829" y="1273"/>
                </a:lnTo>
                <a:lnTo>
                  <a:pt x="850" y="1281"/>
                </a:lnTo>
                <a:lnTo>
                  <a:pt x="873" y="1288"/>
                </a:lnTo>
                <a:lnTo>
                  <a:pt x="895" y="1295"/>
                </a:lnTo>
                <a:lnTo>
                  <a:pt x="914" y="1302"/>
                </a:lnTo>
                <a:lnTo>
                  <a:pt x="932" y="1307"/>
                </a:lnTo>
                <a:lnTo>
                  <a:pt x="932" y="1307"/>
                </a:lnTo>
                <a:lnTo>
                  <a:pt x="932" y="1307"/>
                </a:lnTo>
                <a:lnTo>
                  <a:pt x="932" y="1307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7" name="Freeform 132"/>
          <p:cNvSpPr>
            <a:spLocks/>
          </p:cNvSpPr>
          <p:nvPr/>
        </p:nvSpPr>
        <p:spPr bwMode="auto">
          <a:xfrm>
            <a:off x="2362200" y="4084638"/>
            <a:ext cx="177800" cy="334962"/>
          </a:xfrm>
          <a:custGeom>
            <a:avLst/>
            <a:gdLst/>
            <a:ahLst/>
            <a:cxnLst>
              <a:cxn ang="0">
                <a:pos x="8" y="86"/>
              </a:cxn>
              <a:cxn ang="0">
                <a:pos x="20" y="106"/>
              </a:cxn>
              <a:cxn ang="0">
                <a:pos x="45" y="122"/>
              </a:cxn>
              <a:cxn ang="0">
                <a:pos x="69" y="138"/>
              </a:cxn>
              <a:cxn ang="0">
                <a:pos x="80" y="157"/>
              </a:cxn>
              <a:cxn ang="0">
                <a:pos x="80" y="174"/>
              </a:cxn>
              <a:cxn ang="0">
                <a:pos x="68" y="195"/>
              </a:cxn>
              <a:cxn ang="0">
                <a:pos x="42" y="214"/>
              </a:cxn>
              <a:cxn ang="0">
                <a:pos x="15" y="234"/>
              </a:cxn>
              <a:cxn ang="0">
                <a:pos x="5" y="256"/>
              </a:cxn>
              <a:cxn ang="0">
                <a:pos x="4" y="338"/>
              </a:cxn>
              <a:cxn ang="0">
                <a:pos x="7" y="356"/>
              </a:cxn>
              <a:cxn ang="0">
                <a:pos x="23" y="373"/>
              </a:cxn>
              <a:cxn ang="0">
                <a:pos x="51" y="382"/>
              </a:cxn>
              <a:cxn ang="0">
                <a:pos x="139" y="386"/>
              </a:cxn>
              <a:cxn ang="0">
                <a:pos x="168" y="386"/>
              </a:cxn>
              <a:cxn ang="0">
                <a:pos x="190" y="381"/>
              </a:cxn>
              <a:cxn ang="0">
                <a:pos x="195" y="374"/>
              </a:cxn>
              <a:cxn ang="0">
                <a:pos x="194" y="367"/>
              </a:cxn>
              <a:cxn ang="0">
                <a:pos x="182" y="351"/>
              </a:cxn>
              <a:cxn ang="0">
                <a:pos x="160" y="332"/>
              </a:cxn>
              <a:cxn ang="0">
                <a:pos x="154" y="318"/>
              </a:cxn>
              <a:cxn ang="0">
                <a:pos x="154" y="303"/>
              </a:cxn>
              <a:cxn ang="0">
                <a:pos x="162" y="278"/>
              </a:cxn>
              <a:cxn ang="0">
                <a:pos x="189" y="233"/>
              </a:cxn>
              <a:cxn ang="0">
                <a:pos x="204" y="198"/>
              </a:cxn>
              <a:cxn ang="0">
                <a:pos x="206" y="176"/>
              </a:cxn>
              <a:cxn ang="0">
                <a:pos x="213" y="120"/>
              </a:cxn>
              <a:cxn ang="0">
                <a:pos x="210" y="98"/>
              </a:cxn>
              <a:cxn ang="0">
                <a:pos x="195" y="92"/>
              </a:cxn>
              <a:cxn ang="0">
                <a:pos x="175" y="72"/>
              </a:cxn>
              <a:cxn ang="0">
                <a:pos x="162" y="60"/>
              </a:cxn>
              <a:cxn ang="0">
                <a:pos x="154" y="59"/>
              </a:cxn>
              <a:cxn ang="0">
                <a:pos x="137" y="58"/>
              </a:cxn>
              <a:cxn ang="0">
                <a:pos x="133" y="39"/>
              </a:cxn>
              <a:cxn ang="0">
                <a:pos x="131" y="25"/>
              </a:cxn>
              <a:cxn ang="0">
                <a:pos x="124" y="10"/>
              </a:cxn>
              <a:cxn ang="0">
                <a:pos x="112" y="3"/>
              </a:cxn>
              <a:cxn ang="0">
                <a:pos x="83" y="2"/>
              </a:cxn>
              <a:cxn ang="0">
                <a:pos x="59" y="4"/>
              </a:cxn>
              <a:cxn ang="0">
                <a:pos x="32" y="3"/>
              </a:cxn>
              <a:cxn ang="0">
                <a:pos x="15" y="2"/>
              </a:cxn>
              <a:cxn ang="0">
                <a:pos x="15" y="18"/>
              </a:cxn>
              <a:cxn ang="0">
                <a:pos x="22" y="59"/>
              </a:cxn>
              <a:cxn ang="0">
                <a:pos x="20" y="67"/>
              </a:cxn>
              <a:cxn ang="0">
                <a:pos x="6" y="76"/>
              </a:cxn>
              <a:cxn ang="0">
                <a:pos x="7" y="76"/>
              </a:cxn>
            </a:cxnLst>
            <a:rect l="0" t="0" r="r" b="b"/>
            <a:pathLst>
              <a:path w="217" h="386">
                <a:moveTo>
                  <a:pt x="7" y="76"/>
                </a:moveTo>
                <a:lnTo>
                  <a:pt x="7" y="76"/>
                </a:lnTo>
                <a:lnTo>
                  <a:pt x="8" y="86"/>
                </a:lnTo>
                <a:lnTo>
                  <a:pt x="11" y="94"/>
                </a:lnTo>
                <a:lnTo>
                  <a:pt x="15" y="100"/>
                </a:lnTo>
                <a:lnTo>
                  <a:pt x="20" y="106"/>
                </a:lnTo>
                <a:lnTo>
                  <a:pt x="25" y="111"/>
                </a:lnTo>
                <a:lnTo>
                  <a:pt x="31" y="115"/>
                </a:lnTo>
                <a:lnTo>
                  <a:pt x="45" y="122"/>
                </a:lnTo>
                <a:lnTo>
                  <a:pt x="58" y="129"/>
                </a:lnTo>
                <a:lnTo>
                  <a:pt x="63" y="134"/>
                </a:lnTo>
                <a:lnTo>
                  <a:pt x="69" y="138"/>
                </a:lnTo>
                <a:lnTo>
                  <a:pt x="74" y="143"/>
                </a:lnTo>
                <a:lnTo>
                  <a:pt x="77" y="150"/>
                </a:lnTo>
                <a:lnTo>
                  <a:pt x="80" y="157"/>
                </a:lnTo>
                <a:lnTo>
                  <a:pt x="81" y="165"/>
                </a:lnTo>
                <a:lnTo>
                  <a:pt x="81" y="165"/>
                </a:lnTo>
                <a:lnTo>
                  <a:pt x="80" y="174"/>
                </a:lnTo>
                <a:lnTo>
                  <a:pt x="77" y="182"/>
                </a:lnTo>
                <a:lnTo>
                  <a:pt x="74" y="189"/>
                </a:lnTo>
                <a:lnTo>
                  <a:pt x="68" y="195"/>
                </a:lnTo>
                <a:lnTo>
                  <a:pt x="62" y="201"/>
                </a:lnTo>
                <a:lnTo>
                  <a:pt x="57" y="205"/>
                </a:lnTo>
                <a:lnTo>
                  <a:pt x="42" y="214"/>
                </a:lnTo>
                <a:lnTo>
                  <a:pt x="28" y="224"/>
                </a:lnTo>
                <a:lnTo>
                  <a:pt x="21" y="229"/>
                </a:lnTo>
                <a:lnTo>
                  <a:pt x="15" y="234"/>
                </a:lnTo>
                <a:lnTo>
                  <a:pt x="11" y="241"/>
                </a:lnTo>
                <a:lnTo>
                  <a:pt x="7" y="248"/>
                </a:lnTo>
                <a:lnTo>
                  <a:pt x="5" y="256"/>
                </a:lnTo>
                <a:lnTo>
                  <a:pt x="4" y="264"/>
                </a:lnTo>
                <a:lnTo>
                  <a:pt x="4" y="264"/>
                </a:lnTo>
                <a:lnTo>
                  <a:pt x="4" y="338"/>
                </a:lnTo>
                <a:lnTo>
                  <a:pt x="4" y="338"/>
                </a:lnTo>
                <a:lnTo>
                  <a:pt x="5" y="348"/>
                </a:lnTo>
                <a:lnTo>
                  <a:pt x="7" y="356"/>
                </a:lnTo>
                <a:lnTo>
                  <a:pt x="12" y="363"/>
                </a:lnTo>
                <a:lnTo>
                  <a:pt x="16" y="369"/>
                </a:lnTo>
                <a:lnTo>
                  <a:pt x="23" y="373"/>
                </a:lnTo>
                <a:lnTo>
                  <a:pt x="31" y="377"/>
                </a:lnTo>
                <a:lnTo>
                  <a:pt x="40" y="380"/>
                </a:lnTo>
                <a:lnTo>
                  <a:pt x="51" y="382"/>
                </a:lnTo>
                <a:lnTo>
                  <a:pt x="72" y="385"/>
                </a:lnTo>
                <a:lnTo>
                  <a:pt x="95" y="386"/>
                </a:lnTo>
                <a:lnTo>
                  <a:pt x="139" y="386"/>
                </a:lnTo>
                <a:lnTo>
                  <a:pt x="139" y="386"/>
                </a:lnTo>
                <a:lnTo>
                  <a:pt x="159" y="386"/>
                </a:lnTo>
                <a:lnTo>
                  <a:pt x="168" y="386"/>
                </a:lnTo>
                <a:lnTo>
                  <a:pt x="176" y="385"/>
                </a:lnTo>
                <a:lnTo>
                  <a:pt x="184" y="384"/>
                </a:lnTo>
                <a:lnTo>
                  <a:pt x="190" y="381"/>
                </a:lnTo>
                <a:lnTo>
                  <a:pt x="191" y="379"/>
                </a:lnTo>
                <a:lnTo>
                  <a:pt x="194" y="377"/>
                </a:lnTo>
                <a:lnTo>
                  <a:pt x="195" y="374"/>
                </a:lnTo>
                <a:lnTo>
                  <a:pt x="195" y="371"/>
                </a:lnTo>
                <a:lnTo>
                  <a:pt x="195" y="371"/>
                </a:lnTo>
                <a:lnTo>
                  <a:pt x="194" y="367"/>
                </a:lnTo>
                <a:lnTo>
                  <a:pt x="192" y="363"/>
                </a:lnTo>
                <a:lnTo>
                  <a:pt x="188" y="357"/>
                </a:lnTo>
                <a:lnTo>
                  <a:pt x="182" y="351"/>
                </a:lnTo>
                <a:lnTo>
                  <a:pt x="174" y="346"/>
                </a:lnTo>
                <a:lnTo>
                  <a:pt x="167" y="340"/>
                </a:lnTo>
                <a:lnTo>
                  <a:pt x="160" y="332"/>
                </a:lnTo>
                <a:lnTo>
                  <a:pt x="158" y="328"/>
                </a:lnTo>
                <a:lnTo>
                  <a:pt x="156" y="323"/>
                </a:lnTo>
                <a:lnTo>
                  <a:pt x="154" y="318"/>
                </a:lnTo>
                <a:lnTo>
                  <a:pt x="154" y="312"/>
                </a:lnTo>
                <a:lnTo>
                  <a:pt x="154" y="312"/>
                </a:lnTo>
                <a:lnTo>
                  <a:pt x="154" y="303"/>
                </a:lnTo>
                <a:lnTo>
                  <a:pt x="157" y="294"/>
                </a:lnTo>
                <a:lnTo>
                  <a:pt x="159" y="286"/>
                </a:lnTo>
                <a:lnTo>
                  <a:pt x="162" y="278"/>
                </a:lnTo>
                <a:lnTo>
                  <a:pt x="170" y="263"/>
                </a:lnTo>
                <a:lnTo>
                  <a:pt x="180" y="248"/>
                </a:lnTo>
                <a:lnTo>
                  <a:pt x="189" y="233"/>
                </a:lnTo>
                <a:lnTo>
                  <a:pt x="198" y="217"/>
                </a:lnTo>
                <a:lnTo>
                  <a:pt x="200" y="207"/>
                </a:lnTo>
                <a:lnTo>
                  <a:pt x="204" y="198"/>
                </a:lnTo>
                <a:lnTo>
                  <a:pt x="205" y="188"/>
                </a:lnTo>
                <a:lnTo>
                  <a:pt x="206" y="176"/>
                </a:lnTo>
                <a:lnTo>
                  <a:pt x="206" y="176"/>
                </a:lnTo>
                <a:lnTo>
                  <a:pt x="207" y="156"/>
                </a:lnTo>
                <a:lnTo>
                  <a:pt x="210" y="137"/>
                </a:lnTo>
                <a:lnTo>
                  <a:pt x="213" y="120"/>
                </a:lnTo>
                <a:lnTo>
                  <a:pt x="217" y="99"/>
                </a:lnTo>
                <a:lnTo>
                  <a:pt x="217" y="99"/>
                </a:lnTo>
                <a:lnTo>
                  <a:pt x="210" y="98"/>
                </a:lnTo>
                <a:lnTo>
                  <a:pt x="204" y="97"/>
                </a:lnTo>
                <a:lnTo>
                  <a:pt x="199" y="96"/>
                </a:lnTo>
                <a:lnTo>
                  <a:pt x="195" y="92"/>
                </a:lnTo>
                <a:lnTo>
                  <a:pt x="188" y="87"/>
                </a:lnTo>
                <a:lnTo>
                  <a:pt x="181" y="79"/>
                </a:lnTo>
                <a:lnTo>
                  <a:pt x="175" y="72"/>
                </a:lnTo>
                <a:lnTo>
                  <a:pt x="169" y="65"/>
                </a:lnTo>
                <a:lnTo>
                  <a:pt x="166" y="62"/>
                </a:lnTo>
                <a:lnTo>
                  <a:pt x="162" y="60"/>
                </a:lnTo>
                <a:lnTo>
                  <a:pt x="159" y="59"/>
                </a:lnTo>
                <a:lnTo>
                  <a:pt x="154" y="59"/>
                </a:lnTo>
                <a:lnTo>
                  <a:pt x="154" y="59"/>
                </a:lnTo>
                <a:lnTo>
                  <a:pt x="139" y="59"/>
                </a:lnTo>
                <a:lnTo>
                  <a:pt x="139" y="59"/>
                </a:lnTo>
                <a:lnTo>
                  <a:pt x="137" y="58"/>
                </a:lnTo>
                <a:lnTo>
                  <a:pt x="135" y="56"/>
                </a:lnTo>
                <a:lnTo>
                  <a:pt x="133" y="49"/>
                </a:lnTo>
                <a:lnTo>
                  <a:pt x="133" y="39"/>
                </a:lnTo>
                <a:lnTo>
                  <a:pt x="133" y="33"/>
                </a:lnTo>
                <a:lnTo>
                  <a:pt x="133" y="33"/>
                </a:lnTo>
                <a:lnTo>
                  <a:pt x="131" y="25"/>
                </a:lnTo>
                <a:lnTo>
                  <a:pt x="130" y="19"/>
                </a:lnTo>
                <a:lnTo>
                  <a:pt x="128" y="13"/>
                </a:lnTo>
                <a:lnTo>
                  <a:pt x="124" y="10"/>
                </a:lnTo>
                <a:lnTo>
                  <a:pt x="121" y="6"/>
                </a:lnTo>
                <a:lnTo>
                  <a:pt x="116" y="4"/>
                </a:lnTo>
                <a:lnTo>
                  <a:pt x="112" y="3"/>
                </a:lnTo>
                <a:lnTo>
                  <a:pt x="106" y="2"/>
                </a:lnTo>
                <a:lnTo>
                  <a:pt x="95" y="2"/>
                </a:lnTo>
                <a:lnTo>
                  <a:pt x="83" y="2"/>
                </a:lnTo>
                <a:lnTo>
                  <a:pt x="70" y="3"/>
                </a:lnTo>
                <a:lnTo>
                  <a:pt x="59" y="4"/>
                </a:lnTo>
                <a:lnTo>
                  <a:pt x="59" y="4"/>
                </a:lnTo>
                <a:lnTo>
                  <a:pt x="39" y="4"/>
                </a:lnTo>
                <a:lnTo>
                  <a:pt x="39" y="4"/>
                </a:lnTo>
                <a:lnTo>
                  <a:pt x="32" y="3"/>
                </a:lnTo>
                <a:lnTo>
                  <a:pt x="24" y="0"/>
                </a:lnTo>
                <a:lnTo>
                  <a:pt x="17" y="0"/>
                </a:lnTo>
                <a:lnTo>
                  <a:pt x="15" y="2"/>
                </a:lnTo>
                <a:lnTo>
                  <a:pt x="15" y="4"/>
                </a:lnTo>
                <a:lnTo>
                  <a:pt x="15" y="4"/>
                </a:lnTo>
                <a:lnTo>
                  <a:pt x="15" y="18"/>
                </a:lnTo>
                <a:lnTo>
                  <a:pt x="19" y="29"/>
                </a:lnTo>
                <a:lnTo>
                  <a:pt x="21" y="42"/>
                </a:lnTo>
                <a:lnTo>
                  <a:pt x="22" y="59"/>
                </a:lnTo>
                <a:lnTo>
                  <a:pt x="22" y="59"/>
                </a:lnTo>
                <a:lnTo>
                  <a:pt x="21" y="64"/>
                </a:lnTo>
                <a:lnTo>
                  <a:pt x="20" y="67"/>
                </a:lnTo>
                <a:lnTo>
                  <a:pt x="16" y="71"/>
                </a:lnTo>
                <a:lnTo>
                  <a:pt x="13" y="73"/>
                </a:lnTo>
                <a:lnTo>
                  <a:pt x="6" y="76"/>
                </a:lnTo>
                <a:lnTo>
                  <a:pt x="0" y="76"/>
                </a:lnTo>
                <a:lnTo>
                  <a:pt x="0" y="76"/>
                </a:lnTo>
                <a:lnTo>
                  <a:pt x="7" y="76"/>
                </a:lnTo>
                <a:lnTo>
                  <a:pt x="7" y="7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8" name="Freeform 133"/>
          <p:cNvSpPr>
            <a:spLocks/>
          </p:cNvSpPr>
          <p:nvPr/>
        </p:nvSpPr>
        <p:spPr bwMode="auto">
          <a:xfrm>
            <a:off x="3127375" y="2955925"/>
            <a:ext cx="1187450" cy="1577975"/>
          </a:xfrm>
          <a:custGeom>
            <a:avLst/>
            <a:gdLst/>
            <a:ahLst/>
            <a:cxnLst>
              <a:cxn ang="0">
                <a:pos x="1366" y="1758"/>
              </a:cxn>
              <a:cxn ang="0">
                <a:pos x="1401" y="1649"/>
              </a:cxn>
              <a:cxn ang="0">
                <a:pos x="1451" y="1525"/>
              </a:cxn>
              <a:cxn ang="0">
                <a:pos x="1357" y="1395"/>
              </a:cxn>
              <a:cxn ang="0">
                <a:pos x="1312" y="1249"/>
              </a:cxn>
              <a:cxn ang="0">
                <a:pos x="1266" y="1059"/>
              </a:cxn>
              <a:cxn ang="0">
                <a:pos x="1288" y="900"/>
              </a:cxn>
              <a:cxn ang="0">
                <a:pos x="1306" y="827"/>
              </a:cxn>
              <a:cxn ang="0">
                <a:pos x="1266" y="718"/>
              </a:cxn>
              <a:cxn ang="0">
                <a:pos x="1145" y="653"/>
              </a:cxn>
              <a:cxn ang="0">
                <a:pos x="1227" y="516"/>
              </a:cxn>
              <a:cxn ang="0">
                <a:pos x="1187" y="371"/>
              </a:cxn>
              <a:cxn ang="0">
                <a:pos x="1237" y="292"/>
              </a:cxn>
              <a:cxn ang="0">
                <a:pos x="1167" y="226"/>
              </a:cxn>
              <a:cxn ang="0">
                <a:pos x="1144" y="268"/>
              </a:cxn>
              <a:cxn ang="0">
                <a:pos x="1030" y="262"/>
              </a:cxn>
              <a:cxn ang="0">
                <a:pos x="1136" y="413"/>
              </a:cxn>
              <a:cxn ang="0">
                <a:pos x="1060" y="378"/>
              </a:cxn>
              <a:cxn ang="0">
                <a:pos x="1008" y="229"/>
              </a:cxn>
              <a:cxn ang="0">
                <a:pos x="1014" y="74"/>
              </a:cxn>
              <a:cxn ang="0">
                <a:pos x="954" y="215"/>
              </a:cxn>
              <a:cxn ang="0">
                <a:pos x="876" y="333"/>
              </a:cxn>
              <a:cxn ang="0">
                <a:pos x="837" y="590"/>
              </a:cxn>
              <a:cxn ang="0">
                <a:pos x="943" y="667"/>
              </a:cxn>
              <a:cxn ang="0">
                <a:pos x="1033" y="802"/>
              </a:cxn>
              <a:cxn ang="0">
                <a:pos x="990" y="901"/>
              </a:cxn>
              <a:cxn ang="0">
                <a:pos x="987" y="936"/>
              </a:cxn>
              <a:cxn ang="0">
                <a:pos x="990" y="779"/>
              </a:cxn>
              <a:cxn ang="0">
                <a:pos x="865" y="712"/>
              </a:cxn>
              <a:cxn ang="0">
                <a:pos x="783" y="924"/>
              </a:cxn>
              <a:cxn ang="0">
                <a:pos x="654" y="1028"/>
              </a:cxn>
              <a:cxn ang="0">
                <a:pos x="506" y="1008"/>
              </a:cxn>
              <a:cxn ang="0">
                <a:pos x="496" y="934"/>
              </a:cxn>
              <a:cxn ang="0">
                <a:pos x="594" y="1019"/>
              </a:cxn>
              <a:cxn ang="0">
                <a:pos x="752" y="842"/>
              </a:cxn>
              <a:cxn ang="0">
                <a:pos x="768" y="675"/>
              </a:cxn>
              <a:cxn ang="0">
                <a:pos x="852" y="376"/>
              </a:cxn>
              <a:cxn ang="0">
                <a:pos x="843" y="229"/>
              </a:cxn>
              <a:cxn ang="0">
                <a:pos x="913" y="100"/>
              </a:cxn>
              <a:cxn ang="0">
                <a:pos x="781" y="1"/>
              </a:cxn>
              <a:cxn ang="0">
                <a:pos x="670" y="168"/>
              </a:cxn>
              <a:cxn ang="0">
                <a:pos x="540" y="274"/>
              </a:cxn>
              <a:cxn ang="0">
                <a:pos x="514" y="412"/>
              </a:cxn>
              <a:cxn ang="0">
                <a:pos x="533" y="527"/>
              </a:cxn>
              <a:cxn ang="0">
                <a:pos x="547" y="664"/>
              </a:cxn>
              <a:cxn ang="0">
                <a:pos x="438" y="576"/>
              </a:cxn>
              <a:cxn ang="0">
                <a:pos x="359" y="565"/>
              </a:cxn>
              <a:cxn ang="0">
                <a:pos x="334" y="679"/>
              </a:cxn>
              <a:cxn ang="0">
                <a:pos x="323" y="795"/>
              </a:cxn>
              <a:cxn ang="0">
                <a:pos x="31" y="949"/>
              </a:cxn>
              <a:cxn ang="0">
                <a:pos x="0" y="1111"/>
              </a:cxn>
              <a:cxn ang="0">
                <a:pos x="48" y="1180"/>
              </a:cxn>
              <a:cxn ang="0">
                <a:pos x="225" y="1231"/>
              </a:cxn>
              <a:cxn ang="0">
                <a:pos x="319" y="1300"/>
              </a:cxn>
              <a:cxn ang="0">
                <a:pos x="396" y="1299"/>
              </a:cxn>
              <a:cxn ang="0">
                <a:pos x="480" y="1432"/>
              </a:cxn>
              <a:cxn ang="0">
                <a:pos x="624" y="1559"/>
              </a:cxn>
              <a:cxn ang="0">
                <a:pos x="825" y="1637"/>
              </a:cxn>
              <a:cxn ang="0">
                <a:pos x="1001" y="1721"/>
              </a:cxn>
              <a:cxn ang="0">
                <a:pos x="1099" y="1660"/>
              </a:cxn>
              <a:cxn ang="0">
                <a:pos x="1193" y="1715"/>
              </a:cxn>
              <a:cxn ang="0">
                <a:pos x="1272" y="1769"/>
              </a:cxn>
            </a:cxnLst>
            <a:rect l="0" t="0" r="r" b="b"/>
            <a:pathLst>
              <a:path w="1454" h="1810">
                <a:moveTo>
                  <a:pt x="1328" y="1805"/>
                </a:moveTo>
                <a:lnTo>
                  <a:pt x="1328" y="1810"/>
                </a:lnTo>
                <a:lnTo>
                  <a:pt x="1328" y="1810"/>
                </a:lnTo>
                <a:lnTo>
                  <a:pt x="1328" y="1810"/>
                </a:lnTo>
                <a:lnTo>
                  <a:pt x="1336" y="1807"/>
                </a:lnTo>
                <a:lnTo>
                  <a:pt x="1342" y="1806"/>
                </a:lnTo>
                <a:lnTo>
                  <a:pt x="1348" y="1805"/>
                </a:lnTo>
                <a:lnTo>
                  <a:pt x="1355" y="1802"/>
                </a:lnTo>
                <a:lnTo>
                  <a:pt x="1355" y="1802"/>
                </a:lnTo>
                <a:lnTo>
                  <a:pt x="1358" y="1798"/>
                </a:lnTo>
                <a:lnTo>
                  <a:pt x="1361" y="1795"/>
                </a:lnTo>
                <a:lnTo>
                  <a:pt x="1362" y="1789"/>
                </a:lnTo>
                <a:lnTo>
                  <a:pt x="1363" y="1783"/>
                </a:lnTo>
                <a:lnTo>
                  <a:pt x="1364" y="1771"/>
                </a:lnTo>
                <a:lnTo>
                  <a:pt x="1366" y="1758"/>
                </a:lnTo>
                <a:lnTo>
                  <a:pt x="1366" y="1758"/>
                </a:lnTo>
                <a:lnTo>
                  <a:pt x="1367" y="1752"/>
                </a:lnTo>
                <a:lnTo>
                  <a:pt x="1370" y="1748"/>
                </a:lnTo>
                <a:lnTo>
                  <a:pt x="1377" y="1738"/>
                </a:lnTo>
                <a:lnTo>
                  <a:pt x="1384" y="1731"/>
                </a:lnTo>
                <a:lnTo>
                  <a:pt x="1392" y="1725"/>
                </a:lnTo>
                <a:lnTo>
                  <a:pt x="1400" y="1717"/>
                </a:lnTo>
                <a:lnTo>
                  <a:pt x="1407" y="1708"/>
                </a:lnTo>
                <a:lnTo>
                  <a:pt x="1410" y="1704"/>
                </a:lnTo>
                <a:lnTo>
                  <a:pt x="1411" y="1699"/>
                </a:lnTo>
                <a:lnTo>
                  <a:pt x="1412" y="1693"/>
                </a:lnTo>
                <a:lnTo>
                  <a:pt x="1413" y="1688"/>
                </a:lnTo>
                <a:lnTo>
                  <a:pt x="1413" y="1688"/>
                </a:lnTo>
                <a:lnTo>
                  <a:pt x="1412" y="1676"/>
                </a:lnTo>
                <a:lnTo>
                  <a:pt x="1409" y="1666"/>
                </a:lnTo>
                <a:lnTo>
                  <a:pt x="1405" y="1657"/>
                </a:lnTo>
                <a:lnTo>
                  <a:pt x="1401" y="1649"/>
                </a:lnTo>
                <a:lnTo>
                  <a:pt x="1392" y="1634"/>
                </a:lnTo>
                <a:lnTo>
                  <a:pt x="1388" y="1626"/>
                </a:lnTo>
                <a:lnTo>
                  <a:pt x="1387" y="1619"/>
                </a:lnTo>
                <a:lnTo>
                  <a:pt x="1387" y="1619"/>
                </a:lnTo>
                <a:lnTo>
                  <a:pt x="1388" y="1607"/>
                </a:lnTo>
                <a:lnTo>
                  <a:pt x="1390" y="1598"/>
                </a:lnTo>
                <a:lnTo>
                  <a:pt x="1394" y="1590"/>
                </a:lnTo>
                <a:lnTo>
                  <a:pt x="1397" y="1583"/>
                </a:lnTo>
                <a:lnTo>
                  <a:pt x="1403" y="1577"/>
                </a:lnTo>
                <a:lnTo>
                  <a:pt x="1409" y="1573"/>
                </a:lnTo>
                <a:lnTo>
                  <a:pt x="1420" y="1562"/>
                </a:lnTo>
                <a:lnTo>
                  <a:pt x="1433" y="1553"/>
                </a:lnTo>
                <a:lnTo>
                  <a:pt x="1439" y="1547"/>
                </a:lnTo>
                <a:lnTo>
                  <a:pt x="1443" y="1542"/>
                </a:lnTo>
                <a:lnTo>
                  <a:pt x="1448" y="1534"/>
                </a:lnTo>
                <a:lnTo>
                  <a:pt x="1451" y="1525"/>
                </a:lnTo>
                <a:lnTo>
                  <a:pt x="1454" y="1515"/>
                </a:lnTo>
                <a:lnTo>
                  <a:pt x="1454" y="1504"/>
                </a:lnTo>
                <a:lnTo>
                  <a:pt x="1454" y="1504"/>
                </a:lnTo>
                <a:lnTo>
                  <a:pt x="1453" y="1483"/>
                </a:lnTo>
                <a:lnTo>
                  <a:pt x="1450" y="1465"/>
                </a:lnTo>
                <a:lnTo>
                  <a:pt x="1448" y="1447"/>
                </a:lnTo>
                <a:lnTo>
                  <a:pt x="1446" y="1430"/>
                </a:lnTo>
                <a:lnTo>
                  <a:pt x="1446" y="1430"/>
                </a:lnTo>
                <a:lnTo>
                  <a:pt x="1435" y="1430"/>
                </a:lnTo>
                <a:lnTo>
                  <a:pt x="1422" y="1428"/>
                </a:lnTo>
                <a:lnTo>
                  <a:pt x="1407" y="1423"/>
                </a:lnTo>
                <a:lnTo>
                  <a:pt x="1390" y="1418"/>
                </a:lnTo>
                <a:lnTo>
                  <a:pt x="1377" y="1412"/>
                </a:lnTo>
                <a:lnTo>
                  <a:pt x="1365" y="1405"/>
                </a:lnTo>
                <a:lnTo>
                  <a:pt x="1361" y="1400"/>
                </a:lnTo>
                <a:lnTo>
                  <a:pt x="1357" y="1395"/>
                </a:lnTo>
                <a:lnTo>
                  <a:pt x="1355" y="1391"/>
                </a:lnTo>
                <a:lnTo>
                  <a:pt x="1355" y="1386"/>
                </a:lnTo>
                <a:lnTo>
                  <a:pt x="1355" y="1386"/>
                </a:lnTo>
                <a:lnTo>
                  <a:pt x="1355" y="1382"/>
                </a:lnTo>
                <a:lnTo>
                  <a:pt x="1356" y="1377"/>
                </a:lnTo>
                <a:lnTo>
                  <a:pt x="1361" y="1369"/>
                </a:lnTo>
                <a:lnTo>
                  <a:pt x="1365" y="1362"/>
                </a:lnTo>
                <a:lnTo>
                  <a:pt x="1370" y="1357"/>
                </a:lnTo>
                <a:lnTo>
                  <a:pt x="1370" y="1357"/>
                </a:lnTo>
                <a:lnTo>
                  <a:pt x="1366" y="1287"/>
                </a:lnTo>
                <a:lnTo>
                  <a:pt x="1366" y="1287"/>
                </a:lnTo>
                <a:lnTo>
                  <a:pt x="1366" y="1287"/>
                </a:lnTo>
                <a:lnTo>
                  <a:pt x="1343" y="1273"/>
                </a:lnTo>
                <a:lnTo>
                  <a:pt x="1332" y="1267"/>
                </a:lnTo>
                <a:lnTo>
                  <a:pt x="1321" y="1259"/>
                </a:lnTo>
                <a:lnTo>
                  <a:pt x="1312" y="1249"/>
                </a:lnTo>
                <a:lnTo>
                  <a:pt x="1309" y="1244"/>
                </a:lnTo>
                <a:lnTo>
                  <a:pt x="1305" y="1238"/>
                </a:lnTo>
                <a:lnTo>
                  <a:pt x="1303" y="1232"/>
                </a:lnTo>
                <a:lnTo>
                  <a:pt x="1301" y="1225"/>
                </a:lnTo>
                <a:lnTo>
                  <a:pt x="1300" y="1218"/>
                </a:lnTo>
                <a:lnTo>
                  <a:pt x="1300" y="1210"/>
                </a:lnTo>
                <a:lnTo>
                  <a:pt x="1300" y="1210"/>
                </a:lnTo>
                <a:lnTo>
                  <a:pt x="1300" y="1111"/>
                </a:lnTo>
                <a:lnTo>
                  <a:pt x="1300" y="1111"/>
                </a:lnTo>
                <a:lnTo>
                  <a:pt x="1298" y="1100"/>
                </a:lnTo>
                <a:lnTo>
                  <a:pt x="1296" y="1091"/>
                </a:lnTo>
                <a:lnTo>
                  <a:pt x="1294" y="1085"/>
                </a:lnTo>
                <a:lnTo>
                  <a:pt x="1289" y="1080"/>
                </a:lnTo>
                <a:lnTo>
                  <a:pt x="1279" y="1072"/>
                </a:lnTo>
                <a:lnTo>
                  <a:pt x="1273" y="1066"/>
                </a:lnTo>
                <a:lnTo>
                  <a:pt x="1266" y="1059"/>
                </a:lnTo>
                <a:lnTo>
                  <a:pt x="1266" y="1059"/>
                </a:lnTo>
                <a:lnTo>
                  <a:pt x="1263" y="1050"/>
                </a:lnTo>
                <a:lnTo>
                  <a:pt x="1259" y="1034"/>
                </a:lnTo>
                <a:lnTo>
                  <a:pt x="1251" y="992"/>
                </a:lnTo>
                <a:lnTo>
                  <a:pt x="1241" y="935"/>
                </a:lnTo>
                <a:lnTo>
                  <a:pt x="1241" y="935"/>
                </a:lnTo>
                <a:lnTo>
                  <a:pt x="1241" y="929"/>
                </a:lnTo>
                <a:lnTo>
                  <a:pt x="1244" y="925"/>
                </a:lnTo>
                <a:lnTo>
                  <a:pt x="1248" y="921"/>
                </a:lnTo>
                <a:lnTo>
                  <a:pt x="1254" y="920"/>
                </a:lnTo>
                <a:lnTo>
                  <a:pt x="1264" y="918"/>
                </a:lnTo>
                <a:lnTo>
                  <a:pt x="1274" y="916"/>
                </a:lnTo>
                <a:lnTo>
                  <a:pt x="1274" y="916"/>
                </a:lnTo>
                <a:lnTo>
                  <a:pt x="1279" y="911"/>
                </a:lnTo>
                <a:lnTo>
                  <a:pt x="1285" y="905"/>
                </a:lnTo>
                <a:lnTo>
                  <a:pt x="1288" y="900"/>
                </a:lnTo>
                <a:lnTo>
                  <a:pt x="1293" y="893"/>
                </a:lnTo>
                <a:lnTo>
                  <a:pt x="1295" y="885"/>
                </a:lnTo>
                <a:lnTo>
                  <a:pt x="1297" y="878"/>
                </a:lnTo>
                <a:lnTo>
                  <a:pt x="1298" y="871"/>
                </a:lnTo>
                <a:lnTo>
                  <a:pt x="1300" y="865"/>
                </a:lnTo>
                <a:lnTo>
                  <a:pt x="1300" y="865"/>
                </a:lnTo>
                <a:lnTo>
                  <a:pt x="1303" y="865"/>
                </a:lnTo>
                <a:lnTo>
                  <a:pt x="1300" y="857"/>
                </a:lnTo>
                <a:lnTo>
                  <a:pt x="1300" y="857"/>
                </a:lnTo>
                <a:lnTo>
                  <a:pt x="1300" y="857"/>
                </a:lnTo>
                <a:lnTo>
                  <a:pt x="1298" y="851"/>
                </a:lnTo>
                <a:lnTo>
                  <a:pt x="1297" y="845"/>
                </a:lnTo>
                <a:lnTo>
                  <a:pt x="1296" y="835"/>
                </a:lnTo>
                <a:lnTo>
                  <a:pt x="1296" y="835"/>
                </a:lnTo>
                <a:lnTo>
                  <a:pt x="1302" y="832"/>
                </a:lnTo>
                <a:lnTo>
                  <a:pt x="1306" y="827"/>
                </a:lnTo>
                <a:lnTo>
                  <a:pt x="1310" y="822"/>
                </a:lnTo>
                <a:lnTo>
                  <a:pt x="1312" y="818"/>
                </a:lnTo>
                <a:lnTo>
                  <a:pt x="1313" y="812"/>
                </a:lnTo>
                <a:lnTo>
                  <a:pt x="1313" y="806"/>
                </a:lnTo>
                <a:lnTo>
                  <a:pt x="1314" y="791"/>
                </a:lnTo>
                <a:lnTo>
                  <a:pt x="1314" y="791"/>
                </a:lnTo>
                <a:lnTo>
                  <a:pt x="1313" y="783"/>
                </a:lnTo>
                <a:lnTo>
                  <a:pt x="1312" y="776"/>
                </a:lnTo>
                <a:lnTo>
                  <a:pt x="1311" y="771"/>
                </a:lnTo>
                <a:lnTo>
                  <a:pt x="1309" y="765"/>
                </a:lnTo>
                <a:lnTo>
                  <a:pt x="1303" y="755"/>
                </a:lnTo>
                <a:lnTo>
                  <a:pt x="1296" y="746"/>
                </a:lnTo>
                <a:lnTo>
                  <a:pt x="1280" y="733"/>
                </a:lnTo>
                <a:lnTo>
                  <a:pt x="1273" y="726"/>
                </a:lnTo>
                <a:lnTo>
                  <a:pt x="1266" y="718"/>
                </a:lnTo>
                <a:lnTo>
                  <a:pt x="1266" y="718"/>
                </a:lnTo>
                <a:lnTo>
                  <a:pt x="1260" y="717"/>
                </a:lnTo>
                <a:lnTo>
                  <a:pt x="1256" y="719"/>
                </a:lnTo>
                <a:lnTo>
                  <a:pt x="1249" y="720"/>
                </a:lnTo>
                <a:lnTo>
                  <a:pt x="1244" y="721"/>
                </a:lnTo>
                <a:lnTo>
                  <a:pt x="1237" y="721"/>
                </a:lnTo>
                <a:lnTo>
                  <a:pt x="1237" y="721"/>
                </a:lnTo>
                <a:lnTo>
                  <a:pt x="1229" y="721"/>
                </a:lnTo>
                <a:lnTo>
                  <a:pt x="1222" y="719"/>
                </a:lnTo>
                <a:lnTo>
                  <a:pt x="1214" y="715"/>
                </a:lnTo>
                <a:lnTo>
                  <a:pt x="1205" y="711"/>
                </a:lnTo>
                <a:lnTo>
                  <a:pt x="1197" y="706"/>
                </a:lnTo>
                <a:lnTo>
                  <a:pt x="1188" y="699"/>
                </a:lnTo>
                <a:lnTo>
                  <a:pt x="1172" y="685"/>
                </a:lnTo>
                <a:lnTo>
                  <a:pt x="1157" y="671"/>
                </a:lnTo>
                <a:lnTo>
                  <a:pt x="1151" y="661"/>
                </a:lnTo>
                <a:lnTo>
                  <a:pt x="1145" y="653"/>
                </a:lnTo>
                <a:lnTo>
                  <a:pt x="1141" y="645"/>
                </a:lnTo>
                <a:lnTo>
                  <a:pt x="1137" y="637"/>
                </a:lnTo>
                <a:lnTo>
                  <a:pt x="1135" y="630"/>
                </a:lnTo>
                <a:lnTo>
                  <a:pt x="1134" y="622"/>
                </a:lnTo>
                <a:lnTo>
                  <a:pt x="1134" y="622"/>
                </a:lnTo>
                <a:lnTo>
                  <a:pt x="1135" y="607"/>
                </a:lnTo>
                <a:lnTo>
                  <a:pt x="1138" y="593"/>
                </a:lnTo>
                <a:lnTo>
                  <a:pt x="1143" y="583"/>
                </a:lnTo>
                <a:lnTo>
                  <a:pt x="1150" y="574"/>
                </a:lnTo>
                <a:lnTo>
                  <a:pt x="1158" y="567"/>
                </a:lnTo>
                <a:lnTo>
                  <a:pt x="1166" y="561"/>
                </a:lnTo>
                <a:lnTo>
                  <a:pt x="1186" y="551"/>
                </a:lnTo>
                <a:lnTo>
                  <a:pt x="1204" y="539"/>
                </a:lnTo>
                <a:lnTo>
                  <a:pt x="1213" y="534"/>
                </a:lnTo>
                <a:lnTo>
                  <a:pt x="1221" y="526"/>
                </a:lnTo>
                <a:lnTo>
                  <a:pt x="1227" y="516"/>
                </a:lnTo>
                <a:lnTo>
                  <a:pt x="1233" y="506"/>
                </a:lnTo>
                <a:lnTo>
                  <a:pt x="1236" y="492"/>
                </a:lnTo>
                <a:lnTo>
                  <a:pt x="1237" y="476"/>
                </a:lnTo>
                <a:lnTo>
                  <a:pt x="1237" y="476"/>
                </a:lnTo>
                <a:lnTo>
                  <a:pt x="1236" y="466"/>
                </a:lnTo>
                <a:lnTo>
                  <a:pt x="1235" y="455"/>
                </a:lnTo>
                <a:lnTo>
                  <a:pt x="1232" y="446"/>
                </a:lnTo>
                <a:lnTo>
                  <a:pt x="1229" y="438"/>
                </a:lnTo>
                <a:lnTo>
                  <a:pt x="1225" y="431"/>
                </a:lnTo>
                <a:lnTo>
                  <a:pt x="1221" y="423"/>
                </a:lnTo>
                <a:lnTo>
                  <a:pt x="1211" y="410"/>
                </a:lnTo>
                <a:lnTo>
                  <a:pt x="1202" y="399"/>
                </a:lnTo>
                <a:lnTo>
                  <a:pt x="1194" y="387"/>
                </a:lnTo>
                <a:lnTo>
                  <a:pt x="1190" y="383"/>
                </a:lnTo>
                <a:lnTo>
                  <a:pt x="1188" y="377"/>
                </a:lnTo>
                <a:lnTo>
                  <a:pt x="1187" y="371"/>
                </a:lnTo>
                <a:lnTo>
                  <a:pt x="1186" y="366"/>
                </a:lnTo>
                <a:lnTo>
                  <a:pt x="1186" y="366"/>
                </a:lnTo>
                <a:lnTo>
                  <a:pt x="1187" y="359"/>
                </a:lnTo>
                <a:lnTo>
                  <a:pt x="1188" y="354"/>
                </a:lnTo>
                <a:lnTo>
                  <a:pt x="1191" y="351"/>
                </a:lnTo>
                <a:lnTo>
                  <a:pt x="1195" y="347"/>
                </a:lnTo>
                <a:lnTo>
                  <a:pt x="1204" y="344"/>
                </a:lnTo>
                <a:lnTo>
                  <a:pt x="1214" y="339"/>
                </a:lnTo>
                <a:lnTo>
                  <a:pt x="1219" y="337"/>
                </a:lnTo>
                <a:lnTo>
                  <a:pt x="1224" y="335"/>
                </a:lnTo>
                <a:lnTo>
                  <a:pt x="1228" y="331"/>
                </a:lnTo>
                <a:lnTo>
                  <a:pt x="1232" y="326"/>
                </a:lnTo>
                <a:lnTo>
                  <a:pt x="1235" y="320"/>
                </a:lnTo>
                <a:lnTo>
                  <a:pt x="1237" y="313"/>
                </a:lnTo>
                <a:lnTo>
                  <a:pt x="1237" y="303"/>
                </a:lnTo>
                <a:lnTo>
                  <a:pt x="1237" y="292"/>
                </a:lnTo>
                <a:lnTo>
                  <a:pt x="1237" y="292"/>
                </a:lnTo>
                <a:lnTo>
                  <a:pt x="1235" y="284"/>
                </a:lnTo>
                <a:lnTo>
                  <a:pt x="1233" y="278"/>
                </a:lnTo>
                <a:lnTo>
                  <a:pt x="1229" y="272"/>
                </a:lnTo>
                <a:lnTo>
                  <a:pt x="1225" y="269"/>
                </a:lnTo>
                <a:lnTo>
                  <a:pt x="1219" y="265"/>
                </a:lnTo>
                <a:lnTo>
                  <a:pt x="1213" y="262"/>
                </a:lnTo>
                <a:lnTo>
                  <a:pt x="1201" y="257"/>
                </a:lnTo>
                <a:lnTo>
                  <a:pt x="1188" y="253"/>
                </a:lnTo>
                <a:lnTo>
                  <a:pt x="1182" y="251"/>
                </a:lnTo>
                <a:lnTo>
                  <a:pt x="1178" y="247"/>
                </a:lnTo>
                <a:lnTo>
                  <a:pt x="1173" y="244"/>
                </a:lnTo>
                <a:lnTo>
                  <a:pt x="1170" y="239"/>
                </a:lnTo>
                <a:lnTo>
                  <a:pt x="1167" y="233"/>
                </a:lnTo>
                <a:lnTo>
                  <a:pt x="1167" y="226"/>
                </a:lnTo>
                <a:lnTo>
                  <a:pt x="1167" y="226"/>
                </a:lnTo>
                <a:lnTo>
                  <a:pt x="1166" y="213"/>
                </a:lnTo>
                <a:lnTo>
                  <a:pt x="1167" y="207"/>
                </a:lnTo>
                <a:lnTo>
                  <a:pt x="1171" y="200"/>
                </a:lnTo>
                <a:lnTo>
                  <a:pt x="1171" y="200"/>
                </a:lnTo>
                <a:lnTo>
                  <a:pt x="1153" y="203"/>
                </a:lnTo>
                <a:lnTo>
                  <a:pt x="1136" y="207"/>
                </a:lnTo>
                <a:lnTo>
                  <a:pt x="1129" y="210"/>
                </a:lnTo>
                <a:lnTo>
                  <a:pt x="1122" y="213"/>
                </a:lnTo>
                <a:lnTo>
                  <a:pt x="1118" y="217"/>
                </a:lnTo>
                <a:lnTo>
                  <a:pt x="1115" y="223"/>
                </a:lnTo>
                <a:lnTo>
                  <a:pt x="1115" y="223"/>
                </a:lnTo>
                <a:lnTo>
                  <a:pt x="1127" y="234"/>
                </a:lnTo>
                <a:lnTo>
                  <a:pt x="1135" y="245"/>
                </a:lnTo>
                <a:lnTo>
                  <a:pt x="1141" y="254"/>
                </a:lnTo>
                <a:lnTo>
                  <a:pt x="1143" y="261"/>
                </a:lnTo>
                <a:lnTo>
                  <a:pt x="1144" y="268"/>
                </a:lnTo>
                <a:lnTo>
                  <a:pt x="1143" y="271"/>
                </a:lnTo>
                <a:lnTo>
                  <a:pt x="1141" y="274"/>
                </a:lnTo>
                <a:lnTo>
                  <a:pt x="1135" y="275"/>
                </a:lnTo>
                <a:lnTo>
                  <a:pt x="1129" y="275"/>
                </a:lnTo>
                <a:lnTo>
                  <a:pt x="1121" y="272"/>
                </a:lnTo>
                <a:lnTo>
                  <a:pt x="1112" y="269"/>
                </a:lnTo>
                <a:lnTo>
                  <a:pt x="1102" y="264"/>
                </a:lnTo>
                <a:lnTo>
                  <a:pt x="1090" y="257"/>
                </a:lnTo>
                <a:lnTo>
                  <a:pt x="1079" y="249"/>
                </a:lnTo>
                <a:lnTo>
                  <a:pt x="1066" y="240"/>
                </a:lnTo>
                <a:lnTo>
                  <a:pt x="1053" y="230"/>
                </a:lnTo>
                <a:lnTo>
                  <a:pt x="1053" y="230"/>
                </a:lnTo>
                <a:lnTo>
                  <a:pt x="1046" y="239"/>
                </a:lnTo>
                <a:lnTo>
                  <a:pt x="1038" y="249"/>
                </a:lnTo>
                <a:lnTo>
                  <a:pt x="1034" y="255"/>
                </a:lnTo>
                <a:lnTo>
                  <a:pt x="1030" y="262"/>
                </a:lnTo>
                <a:lnTo>
                  <a:pt x="1028" y="269"/>
                </a:lnTo>
                <a:lnTo>
                  <a:pt x="1027" y="276"/>
                </a:lnTo>
                <a:lnTo>
                  <a:pt x="1027" y="284"/>
                </a:lnTo>
                <a:lnTo>
                  <a:pt x="1030" y="292"/>
                </a:lnTo>
                <a:lnTo>
                  <a:pt x="1035" y="301"/>
                </a:lnTo>
                <a:lnTo>
                  <a:pt x="1042" y="310"/>
                </a:lnTo>
                <a:lnTo>
                  <a:pt x="1052" y="320"/>
                </a:lnTo>
                <a:lnTo>
                  <a:pt x="1066" y="329"/>
                </a:lnTo>
                <a:lnTo>
                  <a:pt x="1083" y="339"/>
                </a:lnTo>
                <a:lnTo>
                  <a:pt x="1105" y="351"/>
                </a:lnTo>
                <a:lnTo>
                  <a:pt x="1105" y="351"/>
                </a:lnTo>
                <a:lnTo>
                  <a:pt x="1113" y="362"/>
                </a:lnTo>
                <a:lnTo>
                  <a:pt x="1120" y="375"/>
                </a:lnTo>
                <a:lnTo>
                  <a:pt x="1128" y="390"/>
                </a:lnTo>
                <a:lnTo>
                  <a:pt x="1134" y="405"/>
                </a:lnTo>
                <a:lnTo>
                  <a:pt x="1136" y="413"/>
                </a:lnTo>
                <a:lnTo>
                  <a:pt x="1137" y="420"/>
                </a:lnTo>
                <a:lnTo>
                  <a:pt x="1137" y="427"/>
                </a:lnTo>
                <a:lnTo>
                  <a:pt x="1135" y="433"/>
                </a:lnTo>
                <a:lnTo>
                  <a:pt x="1133" y="438"/>
                </a:lnTo>
                <a:lnTo>
                  <a:pt x="1127" y="443"/>
                </a:lnTo>
                <a:lnTo>
                  <a:pt x="1127" y="443"/>
                </a:lnTo>
                <a:lnTo>
                  <a:pt x="1119" y="437"/>
                </a:lnTo>
                <a:lnTo>
                  <a:pt x="1113" y="430"/>
                </a:lnTo>
                <a:lnTo>
                  <a:pt x="1107" y="423"/>
                </a:lnTo>
                <a:lnTo>
                  <a:pt x="1103" y="414"/>
                </a:lnTo>
                <a:lnTo>
                  <a:pt x="1092" y="396"/>
                </a:lnTo>
                <a:lnTo>
                  <a:pt x="1087" y="387"/>
                </a:lnTo>
                <a:lnTo>
                  <a:pt x="1079" y="379"/>
                </a:lnTo>
                <a:lnTo>
                  <a:pt x="1079" y="379"/>
                </a:lnTo>
                <a:lnTo>
                  <a:pt x="1069" y="379"/>
                </a:lnTo>
                <a:lnTo>
                  <a:pt x="1060" y="378"/>
                </a:lnTo>
                <a:lnTo>
                  <a:pt x="1052" y="375"/>
                </a:lnTo>
                <a:lnTo>
                  <a:pt x="1043" y="372"/>
                </a:lnTo>
                <a:lnTo>
                  <a:pt x="1036" y="368"/>
                </a:lnTo>
                <a:lnTo>
                  <a:pt x="1028" y="363"/>
                </a:lnTo>
                <a:lnTo>
                  <a:pt x="1015" y="354"/>
                </a:lnTo>
                <a:lnTo>
                  <a:pt x="1005" y="343"/>
                </a:lnTo>
                <a:lnTo>
                  <a:pt x="996" y="332"/>
                </a:lnTo>
                <a:lnTo>
                  <a:pt x="990" y="322"/>
                </a:lnTo>
                <a:lnTo>
                  <a:pt x="987" y="314"/>
                </a:lnTo>
                <a:lnTo>
                  <a:pt x="987" y="314"/>
                </a:lnTo>
                <a:lnTo>
                  <a:pt x="987" y="303"/>
                </a:lnTo>
                <a:lnTo>
                  <a:pt x="988" y="294"/>
                </a:lnTo>
                <a:lnTo>
                  <a:pt x="990" y="276"/>
                </a:lnTo>
                <a:lnTo>
                  <a:pt x="995" y="260"/>
                </a:lnTo>
                <a:lnTo>
                  <a:pt x="1001" y="244"/>
                </a:lnTo>
                <a:lnTo>
                  <a:pt x="1008" y="229"/>
                </a:lnTo>
                <a:lnTo>
                  <a:pt x="1016" y="214"/>
                </a:lnTo>
                <a:lnTo>
                  <a:pt x="1023" y="198"/>
                </a:lnTo>
                <a:lnTo>
                  <a:pt x="1031" y="181"/>
                </a:lnTo>
                <a:lnTo>
                  <a:pt x="1031" y="181"/>
                </a:lnTo>
                <a:lnTo>
                  <a:pt x="1033" y="173"/>
                </a:lnTo>
                <a:lnTo>
                  <a:pt x="1035" y="152"/>
                </a:lnTo>
                <a:lnTo>
                  <a:pt x="1036" y="135"/>
                </a:lnTo>
                <a:lnTo>
                  <a:pt x="1036" y="118"/>
                </a:lnTo>
                <a:lnTo>
                  <a:pt x="1035" y="99"/>
                </a:lnTo>
                <a:lnTo>
                  <a:pt x="1031" y="79"/>
                </a:lnTo>
                <a:lnTo>
                  <a:pt x="1031" y="79"/>
                </a:lnTo>
                <a:lnTo>
                  <a:pt x="1027" y="76"/>
                </a:lnTo>
                <a:lnTo>
                  <a:pt x="1023" y="73"/>
                </a:lnTo>
                <a:lnTo>
                  <a:pt x="1020" y="73"/>
                </a:lnTo>
                <a:lnTo>
                  <a:pt x="1016" y="73"/>
                </a:lnTo>
                <a:lnTo>
                  <a:pt x="1014" y="74"/>
                </a:lnTo>
                <a:lnTo>
                  <a:pt x="1011" y="77"/>
                </a:lnTo>
                <a:lnTo>
                  <a:pt x="1007" y="84"/>
                </a:lnTo>
                <a:lnTo>
                  <a:pt x="1004" y="93"/>
                </a:lnTo>
                <a:lnTo>
                  <a:pt x="1001" y="104"/>
                </a:lnTo>
                <a:lnTo>
                  <a:pt x="997" y="132"/>
                </a:lnTo>
                <a:lnTo>
                  <a:pt x="993" y="162"/>
                </a:lnTo>
                <a:lnTo>
                  <a:pt x="991" y="176"/>
                </a:lnTo>
                <a:lnTo>
                  <a:pt x="989" y="187"/>
                </a:lnTo>
                <a:lnTo>
                  <a:pt x="985" y="198"/>
                </a:lnTo>
                <a:lnTo>
                  <a:pt x="981" y="206"/>
                </a:lnTo>
                <a:lnTo>
                  <a:pt x="978" y="208"/>
                </a:lnTo>
                <a:lnTo>
                  <a:pt x="976" y="210"/>
                </a:lnTo>
                <a:lnTo>
                  <a:pt x="973" y="211"/>
                </a:lnTo>
                <a:lnTo>
                  <a:pt x="969" y="211"/>
                </a:lnTo>
                <a:lnTo>
                  <a:pt x="969" y="211"/>
                </a:lnTo>
                <a:lnTo>
                  <a:pt x="954" y="215"/>
                </a:lnTo>
                <a:lnTo>
                  <a:pt x="941" y="218"/>
                </a:lnTo>
                <a:lnTo>
                  <a:pt x="929" y="223"/>
                </a:lnTo>
                <a:lnTo>
                  <a:pt x="920" y="226"/>
                </a:lnTo>
                <a:lnTo>
                  <a:pt x="912" y="231"/>
                </a:lnTo>
                <a:lnTo>
                  <a:pt x="905" y="237"/>
                </a:lnTo>
                <a:lnTo>
                  <a:pt x="899" y="241"/>
                </a:lnTo>
                <a:lnTo>
                  <a:pt x="893" y="246"/>
                </a:lnTo>
                <a:lnTo>
                  <a:pt x="890" y="252"/>
                </a:lnTo>
                <a:lnTo>
                  <a:pt x="886" y="257"/>
                </a:lnTo>
                <a:lnTo>
                  <a:pt x="883" y="269"/>
                </a:lnTo>
                <a:lnTo>
                  <a:pt x="880" y="283"/>
                </a:lnTo>
                <a:lnTo>
                  <a:pt x="877" y="295"/>
                </a:lnTo>
                <a:lnTo>
                  <a:pt x="877" y="295"/>
                </a:lnTo>
                <a:lnTo>
                  <a:pt x="875" y="308"/>
                </a:lnTo>
                <a:lnTo>
                  <a:pt x="875" y="321"/>
                </a:lnTo>
                <a:lnTo>
                  <a:pt x="876" y="333"/>
                </a:lnTo>
                <a:lnTo>
                  <a:pt x="877" y="347"/>
                </a:lnTo>
                <a:lnTo>
                  <a:pt x="883" y="375"/>
                </a:lnTo>
                <a:lnTo>
                  <a:pt x="889" y="401"/>
                </a:lnTo>
                <a:lnTo>
                  <a:pt x="893" y="425"/>
                </a:lnTo>
                <a:lnTo>
                  <a:pt x="894" y="437"/>
                </a:lnTo>
                <a:lnTo>
                  <a:pt x="893" y="447"/>
                </a:lnTo>
                <a:lnTo>
                  <a:pt x="892" y="456"/>
                </a:lnTo>
                <a:lnTo>
                  <a:pt x="888" y="465"/>
                </a:lnTo>
                <a:lnTo>
                  <a:pt x="882" y="470"/>
                </a:lnTo>
                <a:lnTo>
                  <a:pt x="874" y="476"/>
                </a:lnTo>
                <a:lnTo>
                  <a:pt x="874" y="476"/>
                </a:lnTo>
                <a:lnTo>
                  <a:pt x="860" y="512"/>
                </a:lnTo>
                <a:lnTo>
                  <a:pt x="848" y="545"/>
                </a:lnTo>
                <a:lnTo>
                  <a:pt x="843" y="561"/>
                </a:lnTo>
                <a:lnTo>
                  <a:pt x="839" y="576"/>
                </a:lnTo>
                <a:lnTo>
                  <a:pt x="837" y="590"/>
                </a:lnTo>
                <a:lnTo>
                  <a:pt x="837" y="604"/>
                </a:lnTo>
                <a:lnTo>
                  <a:pt x="837" y="604"/>
                </a:lnTo>
                <a:lnTo>
                  <a:pt x="836" y="627"/>
                </a:lnTo>
                <a:lnTo>
                  <a:pt x="836" y="646"/>
                </a:lnTo>
                <a:lnTo>
                  <a:pt x="837" y="654"/>
                </a:lnTo>
                <a:lnTo>
                  <a:pt x="838" y="661"/>
                </a:lnTo>
                <a:lnTo>
                  <a:pt x="840" y="668"/>
                </a:lnTo>
                <a:lnTo>
                  <a:pt x="844" y="673"/>
                </a:lnTo>
                <a:lnTo>
                  <a:pt x="850" y="676"/>
                </a:lnTo>
                <a:lnTo>
                  <a:pt x="857" y="679"/>
                </a:lnTo>
                <a:lnTo>
                  <a:pt x="865" y="680"/>
                </a:lnTo>
                <a:lnTo>
                  <a:pt x="875" y="680"/>
                </a:lnTo>
                <a:lnTo>
                  <a:pt x="888" y="679"/>
                </a:lnTo>
                <a:lnTo>
                  <a:pt x="904" y="676"/>
                </a:lnTo>
                <a:lnTo>
                  <a:pt x="922" y="673"/>
                </a:lnTo>
                <a:lnTo>
                  <a:pt x="943" y="667"/>
                </a:lnTo>
                <a:lnTo>
                  <a:pt x="943" y="667"/>
                </a:lnTo>
                <a:lnTo>
                  <a:pt x="952" y="669"/>
                </a:lnTo>
                <a:lnTo>
                  <a:pt x="961" y="673"/>
                </a:lnTo>
                <a:lnTo>
                  <a:pt x="969" y="677"/>
                </a:lnTo>
                <a:lnTo>
                  <a:pt x="977" y="682"/>
                </a:lnTo>
                <a:lnTo>
                  <a:pt x="984" y="688"/>
                </a:lnTo>
                <a:lnTo>
                  <a:pt x="991" y="695"/>
                </a:lnTo>
                <a:lnTo>
                  <a:pt x="997" y="702"/>
                </a:lnTo>
                <a:lnTo>
                  <a:pt x="1003" y="710"/>
                </a:lnTo>
                <a:lnTo>
                  <a:pt x="1007" y="719"/>
                </a:lnTo>
                <a:lnTo>
                  <a:pt x="1012" y="727"/>
                </a:lnTo>
                <a:lnTo>
                  <a:pt x="1020" y="748"/>
                </a:lnTo>
                <a:lnTo>
                  <a:pt x="1027" y="768"/>
                </a:lnTo>
                <a:lnTo>
                  <a:pt x="1031" y="791"/>
                </a:lnTo>
                <a:lnTo>
                  <a:pt x="1031" y="791"/>
                </a:lnTo>
                <a:lnTo>
                  <a:pt x="1033" y="802"/>
                </a:lnTo>
                <a:lnTo>
                  <a:pt x="1033" y="811"/>
                </a:lnTo>
                <a:lnTo>
                  <a:pt x="1031" y="819"/>
                </a:lnTo>
                <a:lnTo>
                  <a:pt x="1029" y="825"/>
                </a:lnTo>
                <a:lnTo>
                  <a:pt x="1027" y="830"/>
                </a:lnTo>
                <a:lnTo>
                  <a:pt x="1023" y="835"/>
                </a:lnTo>
                <a:lnTo>
                  <a:pt x="1014" y="842"/>
                </a:lnTo>
                <a:lnTo>
                  <a:pt x="1005" y="848"/>
                </a:lnTo>
                <a:lnTo>
                  <a:pt x="996" y="855"/>
                </a:lnTo>
                <a:lnTo>
                  <a:pt x="992" y="858"/>
                </a:lnTo>
                <a:lnTo>
                  <a:pt x="988" y="864"/>
                </a:lnTo>
                <a:lnTo>
                  <a:pt x="985" y="870"/>
                </a:lnTo>
                <a:lnTo>
                  <a:pt x="983" y="876"/>
                </a:lnTo>
                <a:lnTo>
                  <a:pt x="983" y="876"/>
                </a:lnTo>
                <a:lnTo>
                  <a:pt x="984" y="885"/>
                </a:lnTo>
                <a:lnTo>
                  <a:pt x="987" y="893"/>
                </a:lnTo>
                <a:lnTo>
                  <a:pt x="990" y="901"/>
                </a:lnTo>
                <a:lnTo>
                  <a:pt x="995" y="908"/>
                </a:lnTo>
                <a:lnTo>
                  <a:pt x="1000" y="914"/>
                </a:lnTo>
                <a:lnTo>
                  <a:pt x="1007" y="921"/>
                </a:lnTo>
                <a:lnTo>
                  <a:pt x="1022" y="932"/>
                </a:lnTo>
                <a:lnTo>
                  <a:pt x="1037" y="941"/>
                </a:lnTo>
                <a:lnTo>
                  <a:pt x="1050" y="949"/>
                </a:lnTo>
                <a:lnTo>
                  <a:pt x="1058" y="956"/>
                </a:lnTo>
                <a:lnTo>
                  <a:pt x="1060" y="958"/>
                </a:lnTo>
                <a:lnTo>
                  <a:pt x="1060" y="960"/>
                </a:lnTo>
                <a:lnTo>
                  <a:pt x="1060" y="960"/>
                </a:lnTo>
                <a:lnTo>
                  <a:pt x="1052" y="960"/>
                </a:lnTo>
                <a:lnTo>
                  <a:pt x="1044" y="960"/>
                </a:lnTo>
                <a:lnTo>
                  <a:pt x="1028" y="957"/>
                </a:lnTo>
                <a:lnTo>
                  <a:pt x="1012" y="952"/>
                </a:lnTo>
                <a:lnTo>
                  <a:pt x="998" y="944"/>
                </a:lnTo>
                <a:lnTo>
                  <a:pt x="987" y="936"/>
                </a:lnTo>
                <a:lnTo>
                  <a:pt x="981" y="931"/>
                </a:lnTo>
                <a:lnTo>
                  <a:pt x="977" y="925"/>
                </a:lnTo>
                <a:lnTo>
                  <a:pt x="974" y="919"/>
                </a:lnTo>
                <a:lnTo>
                  <a:pt x="970" y="913"/>
                </a:lnTo>
                <a:lnTo>
                  <a:pt x="969" y="908"/>
                </a:lnTo>
                <a:lnTo>
                  <a:pt x="969" y="902"/>
                </a:lnTo>
                <a:lnTo>
                  <a:pt x="969" y="902"/>
                </a:lnTo>
                <a:lnTo>
                  <a:pt x="969" y="889"/>
                </a:lnTo>
                <a:lnTo>
                  <a:pt x="970" y="878"/>
                </a:lnTo>
                <a:lnTo>
                  <a:pt x="974" y="866"/>
                </a:lnTo>
                <a:lnTo>
                  <a:pt x="977" y="853"/>
                </a:lnTo>
                <a:lnTo>
                  <a:pt x="988" y="826"/>
                </a:lnTo>
                <a:lnTo>
                  <a:pt x="1001" y="791"/>
                </a:lnTo>
                <a:lnTo>
                  <a:pt x="1001" y="791"/>
                </a:lnTo>
                <a:lnTo>
                  <a:pt x="996" y="786"/>
                </a:lnTo>
                <a:lnTo>
                  <a:pt x="990" y="779"/>
                </a:lnTo>
                <a:lnTo>
                  <a:pt x="985" y="772"/>
                </a:lnTo>
                <a:lnTo>
                  <a:pt x="981" y="764"/>
                </a:lnTo>
                <a:lnTo>
                  <a:pt x="974" y="748"/>
                </a:lnTo>
                <a:lnTo>
                  <a:pt x="966" y="733"/>
                </a:lnTo>
                <a:lnTo>
                  <a:pt x="960" y="725"/>
                </a:lnTo>
                <a:lnTo>
                  <a:pt x="955" y="719"/>
                </a:lnTo>
                <a:lnTo>
                  <a:pt x="949" y="713"/>
                </a:lnTo>
                <a:lnTo>
                  <a:pt x="941" y="708"/>
                </a:lnTo>
                <a:lnTo>
                  <a:pt x="932" y="705"/>
                </a:lnTo>
                <a:lnTo>
                  <a:pt x="922" y="703"/>
                </a:lnTo>
                <a:lnTo>
                  <a:pt x="909" y="702"/>
                </a:lnTo>
                <a:lnTo>
                  <a:pt x="896" y="703"/>
                </a:lnTo>
                <a:lnTo>
                  <a:pt x="896" y="703"/>
                </a:lnTo>
                <a:lnTo>
                  <a:pt x="884" y="705"/>
                </a:lnTo>
                <a:lnTo>
                  <a:pt x="874" y="707"/>
                </a:lnTo>
                <a:lnTo>
                  <a:pt x="865" y="712"/>
                </a:lnTo>
                <a:lnTo>
                  <a:pt x="857" y="717"/>
                </a:lnTo>
                <a:lnTo>
                  <a:pt x="850" y="722"/>
                </a:lnTo>
                <a:lnTo>
                  <a:pt x="844" y="729"/>
                </a:lnTo>
                <a:lnTo>
                  <a:pt x="839" y="737"/>
                </a:lnTo>
                <a:lnTo>
                  <a:pt x="836" y="746"/>
                </a:lnTo>
                <a:lnTo>
                  <a:pt x="833" y="758"/>
                </a:lnTo>
                <a:lnTo>
                  <a:pt x="832" y="771"/>
                </a:lnTo>
                <a:lnTo>
                  <a:pt x="831" y="786"/>
                </a:lnTo>
                <a:lnTo>
                  <a:pt x="831" y="802"/>
                </a:lnTo>
                <a:lnTo>
                  <a:pt x="835" y="840"/>
                </a:lnTo>
                <a:lnTo>
                  <a:pt x="840" y="887"/>
                </a:lnTo>
                <a:lnTo>
                  <a:pt x="840" y="887"/>
                </a:lnTo>
                <a:lnTo>
                  <a:pt x="816" y="900"/>
                </a:lnTo>
                <a:lnTo>
                  <a:pt x="800" y="909"/>
                </a:lnTo>
                <a:lnTo>
                  <a:pt x="790" y="917"/>
                </a:lnTo>
                <a:lnTo>
                  <a:pt x="783" y="924"/>
                </a:lnTo>
                <a:lnTo>
                  <a:pt x="778" y="931"/>
                </a:lnTo>
                <a:lnTo>
                  <a:pt x="776" y="939"/>
                </a:lnTo>
                <a:lnTo>
                  <a:pt x="773" y="948"/>
                </a:lnTo>
                <a:lnTo>
                  <a:pt x="767" y="960"/>
                </a:lnTo>
                <a:lnTo>
                  <a:pt x="767" y="960"/>
                </a:lnTo>
                <a:lnTo>
                  <a:pt x="756" y="977"/>
                </a:lnTo>
                <a:lnTo>
                  <a:pt x="746" y="989"/>
                </a:lnTo>
                <a:lnTo>
                  <a:pt x="736" y="998"/>
                </a:lnTo>
                <a:lnTo>
                  <a:pt x="725" y="1005"/>
                </a:lnTo>
                <a:lnTo>
                  <a:pt x="715" y="1010"/>
                </a:lnTo>
                <a:lnTo>
                  <a:pt x="706" y="1013"/>
                </a:lnTo>
                <a:lnTo>
                  <a:pt x="695" y="1016"/>
                </a:lnTo>
                <a:lnTo>
                  <a:pt x="686" y="1018"/>
                </a:lnTo>
                <a:lnTo>
                  <a:pt x="669" y="1021"/>
                </a:lnTo>
                <a:lnTo>
                  <a:pt x="661" y="1024"/>
                </a:lnTo>
                <a:lnTo>
                  <a:pt x="654" y="1028"/>
                </a:lnTo>
                <a:lnTo>
                  <a:pt x="647" y="1034"/>
                </a:lnTo>
                <a:lnTo>
                  <a:pt x="640" y="1042"/>
                </a:lnTo>
                <a:lnTo>
                  <a:pt x="636" y="1054"/>
                </a:lnTo>
                <a:lnTo>
                  <a:pt x="631" y="1068"/>
                </a:lnTo>
                <a:lnTo>
                  <a:pt x="631" y="1068"/>
                </a:lnTo>
                <a:lnTo>
                  <a:pt x="621" y="1057"/>
                </a:lnTo>
                <a:lnTo>
                  <a:pt x="609" y="1049"/>
                </a:lnTo>
                <a:lnTo>
                  <a:pt x="599" y="1042"/>
                </a:lnTo>
                <a:lnTo>
                  <a:pt x="587" y="1038"/>
                </a:lnTo>
                <a:lnTo>
                  <a:pt x="576" y="1033"/>
                </a:lnTo>
                <a:lnTo>
                  <a:pt x="565" y="1030"/>
                </a:lnTo>
                <a:lnTo>
                  <a:pt x="544" y="1024"/>
                </a:lnTo>
                <a:lnTo>
                  <a:pt x="526" y="1019"/>
                </a:lnTo>
                <a:lnTo>
                  <a:pt x="518" y="1016"/>
                </a:lnTo>
                <a:lnTo>
                  <a:pt x="511" y="1012"/>
                </a:lnTo>
                <a:lnTo>
                  <a:pt x="506" y="1008"/>
                </a:lnTo>
                <a:lnTo>
                  <a:pt x="502" y="1002"/>
                </a:lnTo>
                <a:lnTo>
                  <a:pt x="500" y="995"/>
                </a:lnTo>
                <a:lnTo>
                  <a:pt x="499" y="986"/>
                </a:lnTo>
                <a:lnTo>
                  <a:pt x="499" y="986"/>
                </a:lnTo>
                <a:lnTo>
                  <a:pt x="497" y="981"/>
                </a:lnTo>
                <a:lnTo>
                  <a:pt x="495" y="977"/>
                </a:lnTo>
                <a:lnTo>
                  <a:pt x="489" y="966"/>
                </a:lnTo>
                <a:lnTo>
                  <a:pt x="481" y="957"/>
                </a:lnTo>
                <a:lnTo>
                  <a:pt x="476" y="949"/>
                </a:lnTo>
                <a:lnTo>
                  <a:pt x="473" y="946"/>
                </a:lnTo>
                <a:lnTo>
                  <a:pt x="472" y="942"/>
                </a:lnTo>
                <a:lnTo>
                  <a:pt x="473" y="940"/>
                </a:lnTo>
                <a:lnTo>
                  <a:pt x="476" y="937"/>
                </a:lnTo>
                <a:lnTo>
                  <a:pt x="480" y="936"/>
                </a:lnTo>
                <a:lnTo>
                  <a:pt x="487" y="935"/>
                </a:lnTo>
                <a:lnTo>
                  <a:pt x="496" y="934"/>
                </a:lnTo>
                <a:lnTo>
                  <a:pt x="510" y="935"/>
                </a:lnTo>
                <a:lnTo>
                  <a:pt x="510" y="935"/>
                </a:lnTo>
                <a:lnTo>
                  <a:pt x="517" y="936"/>
                </a:lnTo>
                <a:lnTo>
                  <a:pt x="523" y="940"/>
                </a:lnTo>
                <a:lnTo>
                  <a:pt x="529" y="944"/>
                </a:lnTo>
                <a:lnTo>
                  <a:pt x="532" y="949"/>
                </a:lnTo>
                <a:lnTo>
                  <a:pt x="535" y="956"/>
                </a:lnTo>
                <a:lnTo>
                  <a:pt x="538" y="963"/>
                </a:lnTo>
                <a:lnTo>
                  <a:pt x="544" y="978"/>
                </a:lnTo>
                <a:lnTo>
                  <a:pt x="550" y="993"/>
                </a:lnTo>
                <a:lnTo>
                  <a:pt x="554" y="1000"/>
                </a:lnTo>
                <a:lnTo>
                  <a:pt x="560" y="1007"/>
                </a:lnTo>
                <a:lnTo>
                  <a:pt x="565" y="1011"/>
                </a:lnTo>
                <a:lnTo>
                  <a:pt x="573" y="1016"/>
                </a:lnTo>
                <a:lnTo>
                  <a:pt x="583" y="1018"/>
                </a:lnTo>
                <a:lnTo>
                  <a:pt x="594" y="1019"/>
                </a:lnTo>
                <a:lnTo>
                  <a:pt x="594" y="1019"/>
                </a:lnTo>
                <a:lnTo>
                  <a:pt x="603" y="1017"/>
                </a:lnTo>
                <a:lnTo>
                  <a:pt x="613" y="1012"/>
                </a:lnTo>
                <a:lnTo>
                  <a:pt x="621" y="1007"/>
                </a:lnTo>
                <a:lnTo>
                  <a:pt x="629" y="997"/>
                </a:lnTo>
                <a:lnTo>
                  <a:pt x="637" y="988"/>
                </a:lnTo>
                <a:lnTo>
                  <a:pt x="646" y="977"/>
                </a:lnTo>
                <a:lnTo>
                  <a:pt x="662" y="950"/>
                </a:lnTo>
                <a:lnTo>
                  <a:pt x="680" y="921"/>
                </a:lnTo>
                <a:lnTo>
                  <a:pt x="690" y="908"/>
                </a:lnTo>
                <a:lnTo>
                  <a:pt x="700" y="893"/>
                </a:lnTo>
                <a:lnTo>
                  <a:pt x="712" y="879"/>
                </a:lnTo>
                <a:lnTo>
                  <a:pt x="724" y="866"/>
                </a:lnTo>
                <a:lnTo>
                  <a:pt x="737" y="853"/>
                </a:lnTo>
                <a:lnTo>
                  <a:pt x="752" y="842"/>
                </a:lnTo>
                <a:lnTo>
                  <a:pt x="752" y="842"/>
                </a:lnTo>
                <a:lnTo>
                  <a:pt x="756" y="824"/>
                </a:lnTo>
                <a:lnTo>
                  <a:pt x="761" y="810"/>
                </a:lnTo>
                <a:lnTo>
                  <a:pt x="768" y="799"/>
                </a:lnTo>
                <a:lnTo>
                  <a:pt x="774" y="792"/>
                </a:lnTo>
                <a:lnTo>
                  <a:pt x="781" y="788"/>
                </a:lnTo>
                <a:lnTo>
                  <a:pt x="787" y="786"/>
                </a:lnTo>
                <a:lnTo>
                  <a:pt x="799" y="781"/>
                </a:lnTo>
                <a:lnTo>
                  <a:pt x="802" y="779"/>
                </a:lnTo>
                <a:lnTo>
                  <a:pt x="805" y="775"/>
                </a:lnTo>
                <a:lnTo>
                  <a:pt x="806" y="769"/>
                </a:lnTo>
                <a:lnTo>
                  <a:pt x="805" y="760"/>
                </a:lnTo>
                <a:lnTo>
                  <a:pt x="800" y="748"/>
                </a:lnTo>
                <a:lnTo>
                  <a:pt x="793" y="732"/>
                </a:lnTo>
                <a:lnTo>
                  <a:pt x="770" y="682"/>
                </a:lnTo>
                <a:lnTo>
                  <a:pt x="770" y="682"/>
                </a:lnTo>
                <a:lnTo>
                  <a:pt x="768" y="675"/>
                </a:lnTo>
                <a:lnTo>
                  <a:pt x="766" y="667"/>
                </a:lnTo>
                <a:lnTo>
                  <a:pt x="762" y="652"/>
                </a:lnTo>
                <a:lnTo>
                  <a:pt x="761" y="635"/>
                </a:lnTo>
                <a:lnTo>
                  <a:pt x="762" y="618"/>
                </a:lnTo>
                <a:lnTo>
                  <a:pt x="764" y="598"/>
                </a:lnTo>
                <a:lnTo>
                  <a:pt x="769" y="578"/>
                </a:lnTo>
                <a:lnTo>
                  <a:pt x="775" y="559"/>
                </a:lnTo>
                <a:lnTo>
                  <a:pt x="781" y="538"/>
                </a:lnTo>
                <a:lnTo>
                  <a:pt x="789" y="519"/>
                </a:lnTo>
                <a:lnTo>
                  <a:pt x="797" y="499"/>
                </a:lnTo>
                <a:lnTo>
                  <a:pt x="813" y="461"/>
                </a:lnTo>
                <a:lnTo>
                  <a:pt x="830" y="427"/>
                </a:lnTo>
                <a:lnTo>
                  <a:pt x="844" y="398"/>
                </a:lnTo>
                <a:lnTo>
                  <a:pt x="844" y="398"/>
                </a:lnTo>
                <a:lnTo>
                  <a:pt x="850" y="386"/>
                </a:lnTo>
                <a:lnTo>
                  <a:pt x="852" y="376"/>
                </a:lnTo>
                <a:lnTo>
                  <a:pt x="853" y="367"/>
                </a:lnTo>
                <a:lnTo>
                  <a:pt x="853" y="359"/>
                </a:lnTo>
                <a:lnTo>
                  <a:pt x="851" y="352"/>
                </a:lnTo>
                <a:lnTo>
                  <a:pt x="848" y="346"/>
                </a:lnTo>
                <a:lnTo>
                  <a:pt x="840" y="335"/>
                </a:lnTo>
                <a:lnTo>
                  <a:pt x="833" y="322"/>
                </a:lnTo>
                <a:lnTo>
                  <a:pt x="830" y="315"/>
                </a:lnTo>
                <a:lnTo>
                  <a:pt x="827" y="307"/>
                </a:lnTo>
                <a:lnTo>
                  <a:pt x="825" y="297"/>
                </a:lnTo>
                <a:lnTo>
                  <a:pt x="825" y="286"/>
                </a:lnTo>
                <a:lnTo>
                  <a:pt x="827" y="274"/>
                </a:lnTo>
                <a:lnTo>
                  <a:pt x="830" y="259"/>
                </a:lnTo>
                <a:lnTo>
                  <a:pt x="830" y="259"/>
                </a:lnTo>
                <a:lnTo>
                  <a:pt x="833" y="246"/>
                </a:lnTo>
                <a:lnTo>
                  <a:pt x="838" y="237"/>
                </a:lnTo>
                <a:lnTo>
                  <a:pt x="843" y="229"/>
                </a:lnTo>
                <a:lnTo>
                  <a:pt x="847" y="223"/>
                </a:lnTo>
                <a:lnTo>
                  <a:pt x="853" y="218"/>
                </a:lnTo>
                <a:lnTo>
                  <a:pt x="858" y="215"/>
                </a:lnTo>
                <a:lnTo>
                  <a:pt x="868" y="209"/>
                </a:lnTo>
                <a:lnTo>
                  <a:pt x="874" y="206"/>
                </a:lnTo>
                <a:lnTo>
                  <a:pt x="878" y="201"/>
                </a:lnTo>
                <a:lnTo>
                  <a:pt x="884" y="195"/>
                </a:lnTo>
                <a:lnTo>
                  <a:pt x="890" y="188"/>
                </a:lnTo>
                <a:lnTo>
                  <a:pt x="894" y="179"/>
                </a:lnTo>
                <a:lnTo>
                  <a:pt x="900" y="167"/>
                </a:lnTo>
                <a:lnTo>
                  <a:pt x="905" y="153"/>
                </a:lnTo>
                <a:lnTo>
                  <a:pt x="909" y="134"/>
                </a:lnTo>
                <a:lnTo>
                  <a:pt x="909" y="134"/>
                </a:lnTo>
                <a:lnTo>
                  <a:pt x="913" y="115"/>
                </a:lnTo>
                <a:lnTo>
                  <a:pt x="913" y="107"/>
                </a:lnTo>
                <a:lnTo>
                  <a:pt x="913" y="100"/>
                </a:lnTo>
                <a:lnTo>
                  <a:pt x="912" y="93"/>
                </a:lnTo>
                <a:lnTo>
                  <a:pt x="911" y="86"/>
                </a:lnTo>
                <a:lnTo>
                  <a:pt x="907" y="80"/>
                </a:lnTo>
                <a:lnTo>
                  <a:pt x="904" y="76"/>
                </a:lnTo>
                <a:lnTo>
                  <a:pt x="900" y="70"/>
                </a:lnTo>
                <a:lnTo>
                  <a:pt x="894" y="65"/>
                </a:lnTo>
                <a:lnTo>
                  <a:pt x="881" y="56"/>
                </a:lnTo>
                <a:lnTo>
                  <a:pt x="862" y="48"/>
                </a:lnTo>
                <a:lnTo>
                  <a:pt x="840" y="39"/>
                </a:lnTo>
                <a:lnTo>
                  <a:pt x="840" y="39"/>
                </a:lnTo>
                <a:lnTo>
                  <a:pt x="829" y="33"/>
                </a:lnTo>
                <a:lnTo>
                  <a:pt x="820" y="27"/>
                </a:lnTo>
                <a:lnTo>
                  <a:pt x="804" y="16"/>
                </a:lnTo>
                <a:lnTo>
                  <a:pt x="791" y="7"/>
                </a:lnTo>
                <a:lnTo>
                  <a:pt x="785" y="3"/>
                </a:lnTo>
                <a:lnTo>
                  <a:pt x="781" y="1"/>
                </a:lnTo>
                <a:lnTo>
                  <a:pt x="776" y="0"/>
                </a:lnTo>
                <a:lnTo>
                  <a:pt x="771" y="0"/>
                </a:lnTo>
                <a:lnTo>
                  <a:pt x="767" y="1"/>
                </a:lnTo>
                <a:lnTo>
                  <a:pt x="761" y="4"/>
                </a:lnTo>
                <a:lnTo>
                  <a:pt x="756" y="10"/>
                </a:lnTo>
                <a:lnTo>
                  <a:pt x="751" y="17"/>
                </a:lnTo>
                <a:lnTo>
                  <a:pt x="737" y="39"/>
                </a:lnTo>
                <a:lnTo>
                  <a:pt x="737" y="39"/>
                </a:lnTo>
                <a:lnTo>
                  <a:pt x="735" y="43"/>
                </a:lnTo>
                <a:lnTo>
                  <a:pt x="731" y="53"/>
                </a:lnTo>
                <a:lnTo>
                  <a:pt x="722" y="76"/>
                </a:lnTo>
                <a:lnTo>
                  <a:pt x="709" y="106"/>
                </a:lnTo>
                <a:lnTo>
                  <a:pt x="701" y="120"/>
                </a:lnTo>
                <a:lnTo>
                  <a:pt x="692" y="137"/>
                </a:lnTo>
                <a:lnTo>
                  <a:pt x="682" y="153"/>
                </a:lnTo>
                <a:lnTo>
                  <a:pt x="670" y="168"/>
                </a:lnTo>
                <a:lnTo>
                  <a:pt x="657" y="183"/>
                </a:lnTo>
                <a:lnTo>
                  <a:pt x="642" y="195"/>
                </a:lnTo>
                <a:lnTo>
                  <a:pt x="634" y="201"/>
                </a:lnTo>
                <a:lnTo>
                  <a:pt x="626" y="206"/>
                </a:lnTo>
                <a:lnTo>
                  <a:pt x="617" y="210"/>
                </a:lnTo>
                <a:lnTo>
                  <a:pt x="608" y="214"/>
                </a:lnTo>
                <a:lnTo>
                  <a:pt x="598" y="217"/>
                </a:lnTo>
                <a:lnTo>
                  <a:pt x="587" y="219"/>
                </a:lnTo>
                <a:lnTo>
                  <a:pt x="577" y="222"/>
                </a:lnTo>
                <a:lnTo>
                  <a:pt x="565" y="223"/>
                </a:lnTo>
                <a:lnTo>
                  <a:pt x="565" y="223"/>
                </a:lnTo>
                <a:lnTo>
                  <a:pt x="553" y="234"/>
                </a:lnTo>
                <a:lnTo>
                  <a:pt x="546" y="246"/>
                </a:lnTo>
                <a:lnTo>
                  <a:pt x="541" y="256"/>
                </a:lnTo>
                <a:lnTo>
                  <a:pt x="540" y="265"/>
                </a:lnTo>
                <a:lnTo>
                  <a:pt x="540" y="274"/>
                </a:lnTo>
                <a:lnTo>
                  <a:pt x="544" y="282"/>
                </a:lnTo>
                <a:lnTo>
                  <a:pt x="547" y="288"/>
                </a:lnTo>
                <a:lnTo>
                  <a:pt x="552" y="295"/>
                </a:lnTo>
                <a:lnTo>
                  <a:pt x="560" y="309"/>
                </a:lnTo>
                <a:lnTo>
                  <a:pt x="562" y="315"/>
                </a:lnTo>
                <a:lnTo>
                  <a:pt x="564" y="322"/>
                </a:lnTo>
                <a:lnTo>
                  <a:pt x="563" y="328"/>
                </a:lnTo>
                <a:lnTo>
                  <a:pt x="560" y="336"/>
                </a:lnTo>
                <a:lnTo>
                  <a:pt x="553" y="343"/>
                </a:lnTo>
                <a:lnTo>
                  <a:pt x="542" y="351"/>
                </a:lnTo>
                <a:lnTo>
                  <a:pt x="542" y="351"/>
                </a:lnTo>
                <a:lnTo>
                  <a:pt x="540" y="364"/>
                </a:lnTo>
                <a:lnTo>
                  <a:pt x="534" y="378"/>
                </a:lnTo>
                <a:lnTo>
                  <a:pt x="529" y="391"/>
                </a:lnTo>
                <a:lnTo>
                  <a:pt x="522" y="401"/>
                </a:lnTo>
                <a:lnTo>
                  <a:pt x="514" y="412"/>
                </a:lnTo>
                <a:lnTo>
                  <a:pt x="506" y="421"/>
                </a:lnTo>
                <a:lnTo>
                  <a:pt x="492" y="438"/>
                </a:lnTo>
                <a:lnTo>
                  <a:pt x="486" y="445"/>
                </a:lnTo>
                <a:lnTo>
                  <a:pt x="481" y="453"/>
                </a:lnTo>
                <a:lnTo>
                  <a:pt x="478" y="460"/>
                </a:lnTo>
                <a:lnTo>
                  <a:pt x="478" y="467"/>
                </a:lnTo>
                <a:lnTo>
                  <a:pt x="480" y="475"/>
                </a:lnTo>
                <a:lnTo>
                  <a:pt x="485" y="482"/>
                </a:lnTo>
                <a:lnTo>
                  <a:pt x="494" y="490"/>
                </a:lnTo>
                <a:lnTo>
                  <a:pt x="506" y="498"/>
                </a:lnTo>
                <a:lnTo>
                  <a:pt x="506" y="498"/>
                </a:lnTo>
                <a:lnTo>
                  <a:pt x="515" y="503"/>
                </a:lnTo>
                <a:lnTo>
                  <a:pt x="521" y="508"/>
                </a:lnTo>
                <a:lnTo>
                  <a:pt x="526" y="514"/>
                </a:lnTo>
                <a:lnTo>
                  <a:pt x="530" y="520"/>
                </a:lnTo>
                <a:lnTo>
                  <a:pt x="533" y="527"/>
                </a:lnTo>
                <a:lnTo>
                  <a:pt x="535" y="534"/>
                </a:lnTo>
                <a:lnTo>
                  <a:pt x="538" y="547"/>
                </a:lnTo>
                <a:lnTo>
                  <a:pt x="540" y="561"/>
                </a:lnTo>
                <a:lnTo>
                  <a:pt x="542" y="575"/>
                </a:lnTo>
                <a:lnTo>
                  <a:pt x="544" y="582"/>
                </a:lnTo>
                <a:lnTo>
                  <a:pt x="546" y="589"/>
                </a:lnTo>
                <a:lnTo>
                  <a:pt x="549" y="595"/>
                </a:lnTo>
                <a:lnTo>
                  <a:pt x="554" y="600"/>
                </a:lnTo>
                <a:lnTo>
                  <a:pt x="554" y="600"/>
                </a:lnTo>
                <a:lnTo>
                  <a:pt x="555" y="612"/>
                </a:lnTo>
                <a:lnTo>
                  <a:pt x="556" y="623"/>
                </a:lnTo>
                <a:lnTo>
                  <a:pt x="555" y="637"/>
                </a:lnTo>
                <a:lnTo>
                  <a:pt x="555" y="644"/>
                </a:lnTo>
                <a:lnTo>
                  <a:pt x="553" y="651"/>
                </a:lnTo>
                <a:lnTo>
                  <a:pt x="550" y="658"/>
                </a:lnTo>
                <a:lnTo>
                  <a:pt x="547" y="664"/>
                </a:lnTo>
                <a:lnTo>
                  <a:pt x="544" y="669"/>
                </a:lnTo>
                <a:lnTo>
                  <a:pt x="538" y="673"/>
                </a:lnTo>
                <a:lnTo>
                  <a:pt x="532" y="676"/>
                </a:lnTo>
                <a:lnTo>
                  <a:pt x="524" y="677"/>
                </a:lnTo>
                <a:lnTo>
                  <a:pt x="524" y="677"/>
                </a:lnTo>
                <a:lnTo>
                  <a:pt x="519" y="677"/>
                </a:lnTo>
                <a:lnTo>
                  <a:pt x="515" y="677"/>
                </a:lnTo>
                <a:lnTo>
                  <a:pt x="510" y="676"/>
                </a:lnTo>
                <a:lnTo>
                  <a:pt x="506" y="674"/>
                </a:lnTo>
                <a:lnTo>
                  <a:pt x="496" y="668"/>
                </a:lnTo>
                <a:lnTo>
                  <a:pt x="488" y="660"/>
                </a:lnTo>
                <a:lnTo>
                  <a:pt x="479" y="650"/>
                </a:lnTo>
                <a:lnTo>
                  <a:pt x="471" y="638"/>
                </a:lnTo>
                <a:lnTo>
                  <a:pt x="463" y="624"/>
                </a:lnTo>
                <a:lnTo>
                  <a:pt x="455" y="610"/>
                </a:lnTo>
                <a:lnTo>
                  <a:pt x="438" y="576"/>
                </a:lnTo>
                <a:lnTo>
                  <a:pt x="422" y="540"/>
                </a:lnTo>
                <a:lnTo>
                  <a:pt x="403" y="505"/>
                </a:lnTo>
                <a:lnTo>
                  <a:pt x="385" y="471"/>
                </a:lnTo>
                <a:lnTo>
                  <a:pt x="385" y="471"/>
                </a:lnTo>
                <a:lnTo>
                  <a:pt x="380" y="480"/>
                </a:lnTo>
                <a:lnTo>
                  <a:pt x="374" y="486"/>
                </a:lnTo>
                <a:lnTo>
                  <a:pt x="361" y="500"/>
                </a:lnTo>
                <a:lnTo>
                  <a:pt x="355" y="507"/>
                </a:lnTo>
                <a:lnTo>
                  <a:pt x="349" y="514"/>
                </a:lnTo>
                <a:lnTo>
                  <a:pt x="346" y="521"/>
                </a:lnTo>
                <a:lnTo>
                  <a:pt x="344" y="530"/>
                </a:lnTo>
                <a:lnTo>
                  <a:pt x="344" y="530"/>
                </a:lnTo>
                <a:lnTo>
                  <a:pt x="346" y="539"/>
                </a:lnTo>
                <a:lnTo>
                  <a:pt x="349" y="549"/>
                </a:lnTo>
                <a:lnTo>
                  <a:pt x="354" y="557"/>
                </a:lnTo>
                <a:lnTo>
                  <a:pt x="359" y="565"/>
                </a:lnTo>
                <a:lnTo>
                  <a:pt x="364" y="573"/>
                </a:lnTo>
                <a:lnTo>
                  <a:pt x="370" y="582"/>
                </a:lnTo>
                <a:lnTo>
                  <a:pt x="372" y="592"/>
                </a:lnTo>
                <a:lnTo>
                  <a:pt x="374" y="604"/>
                </a:lnTo>
                <a:lnTo>
                  <a:pt x="374" y="604"/>
                </a:lnTo>
                <a:lnTo>
                  <a:pt x="373" y="612"/>
                </a:lnTo>
                <a:lnTo>
                  <a:pt x="372" y="619"/>
                </a:lnTo>
                <a:lnTo>
                  <a:pt x="370" y="624"/>
                </a:lnTo>
                <a:lnTo>
                  <a:pt x="367" y="630"/>
                </a:lnTo>
                <a:lnTo>
                  <a:pt x="361" y="639"/>
                </a:lnTo>
                <a:lnTo>
                  <a:pt x="354" y="648"/>
                </a:lnTo>
                <a:lnTo>
                  <a:pt x="346" y="654"/>
                </a:lnTo>
                <a:lnTo>
                  <a:pt x="340" y="662"/>
                </a:lnTo>
                <a:lnTo>
                  <a:pt x="336" y="667"/>
                </a:lnTo>
                <a:lnTo>
                  <a:pt x="335" y="673"/>
                </a:lnTo>
                <a:lnTo>
                  <a:pt x="334" y="679"/>
                </a:lnTo>
                <a:lnTo>
                  <a:pt x="333" y="685"/>
                </a:lnTo>
                <a:lnTo>
                  <a:pt x="333" y="685"/>
                </a:lnTo>
                <a:lnTo>
                  <a:pt x="334" y="690"/>
                </a:lnTo>
                <a:lnTo>
                  <a:pt x="338" y="696"/>
                </a:lnTo>
                <a:lnTo>
                  <a:pt x="346" y="706"/>
                </a:lnTo>
                <a:lnTo>
                  <a:pt x="351" y="712"/>
                </a:lnTo>
                <a:lnTo>
                  <a:pt x="355" y="718"/>
                </a:lnTo>
                <a:lnTo>
                  <a:pt x="358" y="725"/>
                </a:lnTo>
                <a:lnTo>
                  <a:pt x="359" y="733"/>
                </a:lnTo>
                <a:lnTo>
                  <a:pt x="359" y="733"/>
                </a:lnTo>
                <a:lnTo>
                  <a:pt x="358" y="744"/>
                </a:lnTo>
                <a:lnTo>
                  <a:pt x="355" y="756"/>
                </a:lnTo>
                <a:lnTo>
                  <a:pt x="349" y="767"/>
                </a:lnTo>
                <a:lnTo>
                  <a:pt x="342" y="776"/>
                </a:lnTo>
                <a:lnTo>
                  <a:pt x="333" y="786"/>
                </a:lnTo>
                <a:lnTo>
                  <a:pt x="323" y="795"/>
                </a:lnTo>
                <a:lnTo>
                  <a:pt x="312" y="803"/>
                </a:lnTo>
                <a:lnTo>
                  <a:pt x="301" y="811"/>
                </a:lnTo>
                <a:lnTo>
                  <a:pt x="275" y="824"/>
                </a:lnTo>
                <a:lnTo>
                  <a:pt x="251" y="835"/>
                </a:lnTo>
                <a:lnTo>
                  <a:pt x="228" y="843"/>
                </a:lnTo>
                <a:lnTo>
                  <a:pt x="209" y="850"/>
                </a:lnTo>
                <a:lnTo>
                  <a:pt x="209" y="850"/>
                </a:lnTo>
                <a:lnTo>
                  <a:pt x="182" y="860"/>
                </a:lnTo>
                <a:lnTo>
                  <a:pt x="158" y="872"/>
                </a:lnTo>
                <a:lnTo>
                  <a:pt x="136" y="883"/>
                </a:lnTo>
                <a:lnTo>
                  <a:pt x="115" y="896"/>
                </a:lnTo>
                <a:lnTo>
                  <a:pt x="74" y="920"/>
                </a:lnTo>
                <a:lnTo>
                  <a:pt x="53" y="932"/>
                </a:lnTo>
                <a:lnTo>
                  <a:pt x="29" y="942"/>
                </a:lnTo>
                <a:lnTo>
                  <a:pt x="29" y="942"/>
                </a:lnTo>
                <a:lnTo>
                  <a:pt x="31" y="949"/>
                </a:lnTo>
                <a:lnTo>
                  <a:pt x="34" y="954"/>
                </a:lnTo>
                <a:lnTo>
                  <a:pt x="36" y="958"/>
                </a:lnTo>
                <a:lnTo>
                  <a:pt x="36" y="964"/>
                </a:lnTo>
                <a:lnTo>
                  <a:pt x="36" y="964"/>
                </a:lnTo>
                <a:lnTo>
                  <a:pt x="36" y="1019"/>
                </a:lnTo>
                <a:lnTo>
                  <a:pt x="36" y="1019"/>
                </a:lnTo>
                <a:lnTo>
                  <a:pt x="36" y="1026"/>
                </a:lnTo>
                <a:lnTo>
                  <a:pt x="35" y="1033"/>
                </a:lnTo>
                <a:lnTo>
                  <a:pt x="30" y="1046"/>
                </a:lnTo>
                <a:lnTo>
                  <a:pt x="25" y="1056"/>
                </a:lnTo>
                <a:lnTo>
                  <a:pt x="18" y="1066"/>
                </a:lnTo>
                <a:lnTo>
                  <a:pt x="12" y="1077"/>
                </a:lnTo>
                <a:lnTo>
                  <a:pt x="6" y="1087"/>
                </a:lnTo>
                <a:lnTo>
                  <a:pt x="2" y="1099"/>
                </a:lnTo>
                <a:lnTo>
                  <a:pt x="0" y="1104"/>
                </a:lnTo>
                <a:lnTo>
                  <a:pt x="0" y="1111"/>
                </a:lnTo>
                <a:lnTo>
                  <a:pt x="0" y="1111"/>
                </a:lnTo>
                <a:lnTo>
                  <a:pt x="0" y="1120"/>
                </a:lnTo>
                <a:lnTo>
                  <a:pt x="3" y="1127"/>
                </a:lnTo>
                <a:lnTo>
                  <a:pt x="6" y="1134"/>
                </a:lnTo>
                <a:lnTo>
                  <a:pt x="12" y="1140"/>
                </a:lnTo>
                <a:lnTo>
                  <a:pt x="17" y="1143"/>
                </a:lnTo>
                <a:lnTo>
                  <a:pt x="23" y="1147"/>
                </a:lnTo>
                <a:lnTo>
                  <a:pt x="29" y="1149"/>
                </a:lnTo>
                <a:lnTo>
                  <a:pt x="36" y="1152"/>
                </a:lnTo>
                <a:lnTo>
                  <a:pt x="36" y="1152"/>
                </a:lnTo>
                <a:lnTo>
                  <a:pt x="37" y="1157"/>
                </a:lnTo>
                <a:lnTo>
                  <a:pt x="37" y="1164"/>
                </a:lnTo>
                <a:lnTo>
                  <a:pt x="40" y="1169"/>
                </a:lnTo>
                <a:lnTo>
                  <a:pt x="42" y="1173"/>
                </a:lnTo>
                <a:lnTo>
                  <a:pt x="44" y="1177"/>
                </a:lnTo>
                <a:lnTo>
                  <a:pt x="48" y="1180"/>
                </a:lnTo>
                <a:lnTo>
                  <a:pt x="56" y="1186"/>
                </a:lnTo>
                <a:lnTo>
                  <a:pt x="65" y="1188"/>
                </a:lnTo>
                <a:lnTo>
                  <a:pt x="75" y="1191"/>
                </a:lnTo>
                <a:lnTo>
                  <a:pt x="87" y="1192"/>
                </a:lnTo>
                <a:lnTo>
                  <a:pt x="98" y="1192"/>
                </a:lnTo>
                <a:lnTo>
                  <a:pt x="98" y="1192"/>
                </a:lnTo>
                <a:lnTo>
                  <a:pt x="190" y="1192"/>
                </a:lnTo>
                <a:lnTo>
                  <a:pt x="190" y="1192"/>
                </a:lnTo>
                <a:lnTo>
                  <a:pt x="195" y="1192"/>
                </a:lnTo>
                <a:lnTo>
                  <a:pt x="199" y="1193"/>
                </a:lnTo>
                <a:lnTo>
                  <a:pt x="203" y="1195"/>
                </a:lnTo>
                <a:lnTo>
                  <a:pt x="206" y="1198"/>
                </a:lnTo>
                <a:lnTo>
                  <a:pt x="213" y="1203"/>
                </a:lnTo>
                <a:lnTo>
                  <a:pt x="218" y="1211"/>
                </a:lnTo>
                <a:lnTo>
                  <a:pt x="221" y="1221"/>
                </a:lnTo>
                <a:lnTo>
                  <a:pt x="225" y="1231"/>
                </a:lnTo>
                <a:lnTo>
                  <a:pt x="229" y="1254"/>
                </a:lnTo>
                <a:lnTo>
                  <a:pt x="235" y="1277"/>
                </a:lnTo>
                <a:lnTo>
                  <a:pt x="239" y="1287"/>
                </a:lnTo>
                <a:lnTo>
                  <a:pt x="243" y="1297"/>
                </a:lnTo>
                <a:lnTo>
                  <a:pt x="248" y="1305"/>
                </a:lnTo>
                <a:lnTo>
                  <a:pt x="255" y="1311"/>
                </a:lnTo>
                <a:lnTo>
                  <a:pt x="259" y="1314"/>
                </a:lnTo>
                <a:lnTo>
                  <a:pt x="264" y="1315"/>
                </a:lnTo>
                <a:lnTo>
                  <a:pt x="269" y="1316"/>
                </a:lnTo>
                <a:lnTo>
                  <a:pt x="274" y="1316"/>
                </a:lnTo>
                <a:lnTo>
                  <a:pt x="274" y="1316"/>
                </a:lnTo>
                <a:lnTo>
                  <a:pt x="281" y="1316"/>
                </a:lnTo>
                <a:lnTo>
                  <a:pt x="288" y="1314"/>
                </a:lnTo>
                <a:lnTo>
                  <a:pt x="300" y="1309"/>
                </a:lnTo>
                <a:lnTo>
                  <a:pt x="312" y="1302"/>
                </a:lnTo>
                <a:lnTo>
                  <a:pt x="319" y="1300"/>
                </a:lnTo>
                <a:lnTo>
                  <a:pt x="326" y="1299"/>
                </a:lnTo>
                <a:lnTo>
                  <a:pt x="326" y="1299"/>
                </a:lnTo>
                <a:lnTo>
                  <a:pt x="329" y="1303"/>
                </a:lnTo>
                <a:lnTo>
                  <a:pt x="333" y="1307"/>
                </a:lnTo>
                <a:lnTo>
                  <a:pt x="338" y="1309"/>
                </a:lnTo>
                <a:lnTo>
                  <a:pt x="344" y="1309"/>
                </a:lnTo>
                <a:lnTo>
                  <a:pt x="344" y="1309"/>
                </a:lnTo>
                <a:lnTo>
                  <a:pt x="349" y="1309"/>
                </a:lnTo>
                <a:lnTo>
                  <a:pt x="354" y="1307"/>
                </a:lnTo>
                <a:lnTo>
                  <a:pt x="362" y="1300"/>
                </a:lnTo>
                <a:lnTo>
                  <a:pt x="370" y="1294"/>
                </a:lnTo>
                <a:lnTo>
                  <a:pt x="373" y="1292"/>
                </a:lnTo>
                <a:lnTo>
                  <a:pt x="378" y="1291"/>
                </a:lnTo>
                <a:lnTo>
                  <a:pt x="378" y="1291"/>
                </a:lnTo>
                <a:lnTo>
                  <a:pt x="385" y="1293"/>
                </a:lnTo>
                <a:lnTo>
                  <a:pt x="396" y="1299"/>
                </a:lnTo>
                <a:lnTo>
                  <a:pt x="410" y="1306"/>
                </a:lnTo>
                <a:lnTo>
                  <a:pt x="425" y="1315"/>
                </a:lnTo>
                <a:lnTo>
                  <a:pt x="439" y="1325"/>
                </a:lnTo>
                <a:lnTo>
                  <a:pt x="450" y="1334"/>
                </a:lnTo>
                <a:lnTo>
                  <a:pt x="460" y="1344"/>
                </a:lnTo>
                <a:lnTo>
                  <a:pt x="461" y="1347"/>
                </a:lnTo>
                <a:lnTo>
                  <a:pt x="462" y="1351"/>
                </a:lnTo>
                <a:lnTo>
                  <a:pt x="462" y="1351"/>
                </a:lnTo>
                <a:lnTo>
                  <a:pt x="462" y="1379"/>
                </a:lnTo>
                <a:lnTo>
                  <a:pt x="462" y="1379"/>
                </a:lnTo>
                <a:lnTo>
                  <a:pt x="463" y="1390"/>
                </a:lnTo>
                <a:lnTo>
                  <a:pt x="466" y="1401"/>
                </a:lnTo>
                <a:lnTo>
                  <a:pt x="471" y="1415"/>
                </a:lnTo>
                <a:lnTo>
                  <a:pt x="477" y="1427"/>
                </a:lnTo>
                <a:lnTo>
                  <a:pt x="477" y="1427"/>
                </a:lnTo>
                <a:lnTo>
                  <a:pt x="480" y="1432"/>
                </a:lnTo>
                <a:lnTo>
                  <a:pt x="484" y="1438"/>
                </a:lnTo>
                <a:lnTo>
                  <a:pt x="487" y="1450"/>
                </a:lnTo>
                <a:lnTo>
                  <a:pt x="489" y="1461"/>
                </a:lnTo>
                <a:lnTo>
                  <a:pt x="492" y="1473"/>
                </a:lnTo>
                <a:lnTo>
                  <a:pt x="494" y="1483"/>
                </a:lnTo>
                <a:lnTo>
                  <a:pt x="496" y="1493"/>
                </a:lnTo>
                <a:lnTo>
                  <a:pt x="502" y="1502"/>
                </a:lnTo>
                <a:lnTo>
                  <a:pt x="506" y="1507"/>
                </a:lnTo>
                <a:lnTo>
                  <a:pt x="510" y="1512"/>
                </a:lnTo>
                <a:lnTo>
                  <a:pt x="510" y="1512"/>
                </a:lnTo>
                <a:lnTo>
                  <a:pt x="579" y="1512"/>
                </a:lnTo>
                <a:lnTo>
                  <a:pt x="579" y="1512"/>
                </a:lnTo>
                <a:lnTo>
                  <a:pt x="579" y="1512"/>
                </a:lnTo>
                <a:lnTo>
                  <a:pt x="595" y="1529"/>
                </a:lnTo>
                <a:lnTo>
                  <a:pt x="609" y="1545"/>
                </a:lnTo>
                <a:lnTo>
                  <a:pt x="624" y="1559"/>
                </a:lnTo>
                <a:lnTo>
                  <a:pt x="632" y="1565"/>
                </a:lnTo>
                <a:lnTo>
                  <a:pt x="642" y="1570"/>
                </a:lnTo>
                <a:lnTo>
                  <a:pt x="642" y="1570"/>
                </a:lnTo>
                <a:lnTo>
                  <a:pt x="649" y="1574"/>
                </a:lnTo>
                <a:lnTo>
                  <a:pt x="659" y="1577"/>
                </a:lnTo>
                <a:lnTo>
                  <a:pt x="677" y="1583"/>
                </a:lnTo>
                <a:lnTo>
                  <a:pt x="698" y="1588"/>
                </a:lnTo>
                <a:lnTo>
                  <a:pt x="718" y="1591"/>
                </a:lnTo>
                <a:lnTo>
                  <a:pt x="758" y="1598"/>
                </a:lnTo>
                <a:lnTo>
                  <a:pt x="775" y="1603"/>
                </a:lnTo>
                <a:lnTo>
                  <a:pt x="789" y="1607"/>
                </a:lnTo>
                <a:lnTo>
                  <a:pt x="789" y="1607"/>
                </a:lnTo>
                <a:lnTo>
                  <a:pt x="800" y="1614"/>
                </a:lnTo>
                <a:lnTo>
                  <a:pt x="809" y="1621"/>
                </a:lnTo>
                <a:lnTo>
                  <a:pt x="817" y="1629"/>
                </a:lnTo>
                <a:lnTo>
                  <a:pt x="825" y="1637"/>
                </a:lnTo>
                <a:lnTo>
                  <a:pt x="838" y="1656"/>
                </a:lnTo>
                <a:lnTo>
                  <a:pt x="851" y="1673"/>
                </a:lnTo>
                <a:lnTo>
                  <a:pt x="857" y="1681"/>
                </a:lnTo>
                <a:lnTo>
                  <a:pt x="863" y="1689"/>
                </a:lnTo>
                <a:lnTo>
                  <a:pt x="871" y="1696"/>
                </a:lnTo>
                <a:lnTo>
                  <a:pt x="880" y="1702"/>
                </a:lnTo>
                <a:lnTo>
                  <a:pt x="890" y="1706"/>
                </a:lnTo>
                <a:lnTo>
                  <a:pt x="900" y="1710"/>
                </a:lnTo>
                <a:lnTo>
                  <a:pt x="914" y="1713"/>
                </a:lnTo>
                <a:lnTo>
                  <a:pt x="928" y="1713"/>
                </a:lnTo>
                <a:lnTo>
                  <a:pt x="928" y="1713"/>
                </a:lnTo>
                <a:lnTo>
                  <a:pt x="947" y="1714"/>
                </a:lnTo>
                <a:lnTo>
                  <a:pt x="965" y="1718"/>
                </a:lnTo>
                <a:lnTo>
                  <a:pt x="983" y="1720"/>
                </a:lnTo>
                <a:lnTo>
                  <a:pt x="1001" y="1721"/>
                </a:lnTo>
                <a:lnTo>
                  <a:pt x="1001" y="1721"/>
                </a:lnTo>
                <a:lnTo>
                  <a:pt x="1010" y="1720"/>
                </a:lnTo>
                <a:lnTo>
                  <a:pt x="1016" y="1719"/>
                </a:lnTo>
                <a:lnTo>
                  <a:pt x="1022" y="1715"/>
                </a:lnTo>
                <a:lnTo>
                  <a:pt x="1028" y="1711"/>
                </a:lnTo>
                <a:lnTo>
                  <a:pt x="1034" y="1706"/>
                </a:lnTo>
                <a:lnTo>
                  <a:pt x="1038" y="1702"/>
                </a:lnTo>
                <a:lnTo>
                  <a:pt x="1048" y="1690"/>
                </a:lnTo>
                <a:lnTo>
                  <a:pt x="1056" y="1679"/>
                </a:lnTo>
                <a:lnTo>
                  <a:pt x="1065" y="1668"/>
                </a:lnTo>
                <a:lnTo>
                  <a:pt x="1071" y="1665"/>
                </a:lnTo>
                <a:lnTo>
                  <a:pt x="1076" y="1661"/>
                </a:lnTo>
                <a:lnTo>
                  <a:pt x="1083" y="1659"/>
                </a:lnTo>
                <a:lnTo>
                  <a:pt x="1090" y="1659"/>
                </a:lnTo>
                <a:lnTo>
                  <a:pt x="1090" y="1659"/>
                </a:lnTo>
                <a:lnTo>
                  <a:pt x="1095" y="1659"/>
                </a:lnTo>
                <a:lnTo>
                  <a:pt x="1099" y="1660"/>
                </a:lnTo>
                <a:lnTo>
                  <a:pt x="1103" y="1662"/>
                </a:lnTo>
                <a:lnTo>
                  <a:pt x="1107" y="1666"/>
                </a:lnTo>
                <a:lnTo>
                  <a:pt x="1114" y="1673"/>
                </a:lnTo>
                <a:lnTo>
                  <a:pt x="1120" y="1682"/>
                </a:lnTo>
                <a:lnTo>
                  <a:pt x="1132" y="1700"/>
                </a:lnTo>
                <a:lnTo>
                  <a:pt x="1136" y="1707"/>
                </a:lnTo>
                <a:lnTo>
                  <a:pt x="1142" y="1713"/>
                </a:lnTo>
                <a:lnTo>
                  <a:pt x="1142" y="1713"/>
                </a:lnTo>
                <a:lnTo>
                  <a:pt x="1145" y="1718"/>
                </a:lnTo>
                <a:lnTo>
                  <a:pt x="1149" y="1721"/>
                </a:lnTo>
                <a:lnTo>
                  <a:pt x="1152" y="1722"/>
                </a:lnTo>
                <a:lnTo>
                  <a:pt x="1156" y="1723"/>
                </a:lnTo>
                <a:lnTo>
                  <a:pt x="1163" y="1725"/>
                </a:lnTo>
                <a:lnTo>
                  <a:pt x="1170" y="1722"/>
                </a:lnTo>
                <a:lnTo>
                  <a:pt x="1184" y="1717"/>
                </a:lnTo>
                <a:lnTo>
                  <a:pt x="1193" y="1715"/>
                </a:lnTo>
                <a:lnTo>
                  <a:pt x="1196" y="1717"/>
                </a:lnTo>
                <a:lnTo>
                  <a:pt x="1201" y="1717"/>
                </a:lnTo>
                <a:lnTo>
                  <a:pt x="1201" y="1717"/>
                </a:lnTo>
                <a:lnTo>
                  <a:pt x="1207" y="1721"/>
                </a:lnTo>
                <a:lnTo>
                  <a:pt x="1213" y="1727"/>
                </a:lnTo>
                <a:lnTo>
                  <a:pt x="1217" y="1733"/>
                </a:lnTo>
                <a:lnTo>
                  <a:pt x="1220" y="1740"/>
                </a:lnTo>
                <a:lnTo>
                  <a:pt x="1225" y="1751"/>
                </a:lnTo>
                <a:lnTo>
                  <a:pt x="1228" y="1757"/>
                </a:lnTo>
                <a:lnTo>
                  <a:pt x="1234" y="1761"/>
                </a:lnTo>
                <a:lnTo>
                  <a:pt x="1234" y="1761"/>
                </a:lnTo>
                <a:lnTo>
                  <a:pt x="1240" y="1765"/>
                </a:lnTo>
                <a:lnTo>
                  <a:pt x="1247" y="1768"/>
                </a:lnTo>
                <a:lnTo>
                  <a:pt x="1252" y="1769"/>
                </a:lnTo>
                <a:lnTo>
                  <a:pt x="1259" y="1769"/>
                </a:lnTo>
                <a:lnTo>
                  <a:pt x="1272" y="1769"/>
                </a:lnTo>
                <a:lnTo>
                  <a:pt x="1278" y="1771"/>
                </a:lnTo>
                <a:lnTo>
                  <a:pt x="1285" y="1772"/>
                </a:lnTo>
                <a:lnTo>
                  <a:pt x="1285" y="1772"/>
                </a:lnTo>
                <a:lnTo>
                  <a:pt x="1291" y="1775"/>
                </a:lnTo>
                <a:lnTo>
                  <a:pt x="1297" y="1780"/>
                </a:lnTo>
                <a:lnTo>
                  <a:pt x="1306" y="1789"/>
                </a:lnTo>
                <a:lnTo>
                  <a:pt x="1317" y="1798"/>
                </a:lnTo>
                <a:lnTo>
                  <a:pt x="1323" y="1802"/>
                </a:lnTo>
                <a:lnTo>
                  <a:pt x="1328" y="1805"/>
                </a:lnTo>
                <a:lnTo>
                  <a:pt x="1328" y="1805"/>
                </a:lnTo>
                <a:lnTo>
                  <a:pt x="1328" y="1805"/>
                </a:lnTo>
                <a:lnTo>
                  <a:pt x="1328" y="1805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9" name="Freeform 134"/>
          <p:cNvSpPr>
            <a:spLocks/>
          </p:cNvSpPr>
          <p:nvPr/>
        </p:nvSpPr>
        <p:spPr bwMode="auto">
          <a:xfrm>
            <a:off x="2416175" y="2932113"/>
            <a:ext cx="1023938" cy="677862"/>
          </a:xfrm>
          <a:custGeom>
            <a:avLst/>
            <a:gdLst/>
            <a:ahLst/>
            <a:cxnLst>
              <a:cxn ang="0">
                <a:pos x="1175" y="663"/>
              </a:cxn>
              <a:cxn ang="0">
                <a:pos x="1042" y="755"/>
              </a:cxn>
              <a:cxn ang="0">
                <a:pos x="958" y="779"/>
              </a:cxn>
              <a:cxn ang="0">
                <a:pos x="664" y="642"/>
              </a:cxn>
              <a:cxn ang="0">
                <a:pos x="508" y="528"/>
              </a:cxn>
              <a:cxn ang="0">
                <a:pos x="453" y="501"/>
              </a:cxn>
              <a:cxn ang="0">
                <a:pos x="337" y="524"/>
              </a:cxn>
              <a:cxn ang="0">
                <a:pos x="217" y="519"/>
              </a:cxn>
              <a:cxn ang="0">
                <a:pos x="171" y="494"/>
              </a:cxn>
              <a:cxn ang="0">
                <a:pos x="116" y="508"/>
              </a:cxn>
              <a:cxn ang="0">
                <a:pos x="85" y="451"/>
              </a:cxn>
              <a:cxn ang="0">
                <a:pos x="16" y="357"/>
              </a:cxn>
              <a:cxn ang="0">
                <a:pos x="9" y="290"/>
              </a:cxn>
              <a:cxn ang="0">
                <a:pos x="37" y="282"/>
              </a:cxn>
              <a:cxn ang="0">
                <a:pos x="67" y="236"/>
              </a:cxn>
              <a:cxn ang="0">
                <a:pos x="45" y="188"/>
              </a:cxn>
              <a:cxn ang="0">
                <a:pos x="85" y="142"/>
              </a:cxn>
              <a:cxn ang="0">
                <a:pos x="162" y="80"/>
              </a:cxn>
              <a:cxn ang="0">
                <a:pos x="164" y="6"/>
              </a:cxn>
              <a:cxn ang="0">
                <a:pos x="205" y="42"/>
              </a:cxn>
              <a:cxn ang="0">
                <a:pos x="263" y="124"/>
              </a:cxn>
              <a:cxn ang="0">
                <a:pos x="256" y="205"/>
              </a:cxn>
              <a:cxn ang="0">
                <a:pos x="195" y="200"/>
              </a:cxn>
              <a:cxn ang="0">
                <a:pos x="140" y="200"/>
              </a:cxn>
              <a:cxn ang="0">
                <a:pos x="117" y="230"/>
              </a:cxn>
              <a:cxn ang="0">
                <a:pos x="129" y="326"/>
              </a:cxn>
              <a:cxn ang="0">
                <a:pos x="183" y="374"/>
              </a:cxn>
              <a:cxn ang="0">
                <a:pos x="230" y="330"/>
              </a:cxn>
              <a:cxn ang="0">
                <a:pos x="316" y="288"/>
              </a:cxn>
              <a:cxn ang="0">
                <a:pos x="450" y="296"/>
              </a:cxn>
              <a:cxn ang="0">
                <a:pos x="549" y="320"/>
              </a:cxn>
              <a:cxn ang="0">
                <a:pos x="577" y="325"/>
              </a:cxn>
              <a:cxn ang="0">
                <a:pos x="676" y="291"/>
              </a:cxn>
              <a:cxn ang="0">
                <a:pos x="686" y="310"/>
              </a:cxn>
              <a:cxn ang="0">
                <a:pos x="633" y="345"/>
              </a:cxn>
              <a:cxn ang="0">
                <a:pos x="594" y="364"/>
              </a:cxn>
              <a:cxn ang="0">
                <a:pos x="629" y="393"/>
              </a:cxn>
              <a:cxn ang="0">
                <a:pos x="667" y="418"/>
              </a:cxn>
              <a:cxn ang="0">
                <a:pos x="709" y="408"/>
              </a:cxn>
              <a:cxn ang="0">
                <a:pos x="809" y="433"/>
              </a:cxn>
              <a:cxn ang="0">
                <a:pos x="933" y="418"/>
              </a:cxn>
              <a:cxn ang="0">
                <a:pos x="936" y="459"/>
              </a:cxn>
              <a:cxn ang="0">
                <a:pos x="901" y="496"/>
              </a:cxn>
              <a:cxn ang="0">
                <a:pos x="910" y="543"/>
              </a:cxn>
              <a:cxn ang="0">
                <a:pos x="946" y="519"/>
              </a:cxn>
              <a:cxn ang="0">
                <a:pos x="957" y="478"/>
              </a:cxn>
              <a:cxn ang="0">
                <a:pos x="1017" y="485"/>
              </a:cxn>
              <a:cxn ang="0">
                <a:pos x="1023" y="421"/>
              </a:cxn>
              <a:cxn ang="0">
                <a:pos x="1017" y="365"/>
              </a:cxn>
              <a:cxn ang="0">
                <a:pos x="1060" y="344"/>
              </a:cxn>
              <a:cxn ang="0">
                <a:pos x="1110" y="380"/>
              </a:cxn>
              <a:cxn ang="0">
                <a:pos x="1230" y="460"/>
              </a:cxn>
              <a:cxn ang="0">
                <a:pos x="1241" y="513"/>
              </a:cxn>
              <a:cxn ang="0">
                <a:pos x="1213" y="566"/>
              </a:cxn>
              <a:cxn ang="0">
                <a:pos x="1241" y="631"/>
              </a:cxn>
              <a:cxn ang="0">
                <a:pos x="1237" y="649"/>
              </a:cxn>
            </a:cxnLst>
            <a:rect l="0" t="0" r="r" b="b"/>
            <a:pathLst>
              <a:path w="1252" h="779">
                <a:moveTo>
                  <a:pt x="1237" y="649"/>
                </a:moveTo>
                <a:lnTo>
                  <a:pt x="1237" y="649"/>
                </a:lnTo>
                <a:lnTo>
                  <a:pt x="1225" y="650"/>
                </a:lnTo>
                <a:lnTo>
                  <a:pt x="1215" y="651"/>
                </a:lnTo>
                <a:lnTo>
                  <a:pt x="1205" y="654"/>
                </a:lnTo>
                <a:lnTo>
                  <a:pt x="1194" y="656"/>
                </a:lnTo>
                <a:lnTo>
                  <a:pt x="1175" y="663"/>
                </a:lnTo>
                <a:lnTo>
                  <a:pt x="1156" y="672"/>
                </a:lnTo>
                <a:lnTo>
                  <a:pt x="1139" y="683"/>
                </a:lnTo>
                <a:lnTo>
                  <a:pt x="1123" y="694"/>
                </a:lnTo>
                <a:lnTo>
                  <a:pt x="1091" y="719"/>
                </a:lnTo>
                <a:lnTo>
                  <a:pt x="1075" y="732"/>
                </a:lnTo>
                <a:lnTo>
                  <a:pt x="1060" y="744"/>
                </a:lnTo>
                <a:lnTo>
                  <a:pt x="1042" y="755"/>
                </a:lnTo>
                <a:lnTo>
                  <a:pt x="1026" y="764"/>
                </a:lnTo>
                <a:lnTo>
                  <a:pt x="1008" y="771"/>
                </a:lnTo>
                <a:lnTo>
                  <a:pt x="999" y="775"/>
                </a:lnTo>
                <a:lnTo>
                  <a:pt x="989" y="777"/>
                </a:lnTo>
                <a:lnTo>
                  <a:pt x="979" y="778"/>
                </a:lnTo>
                <a:lnTo>
                  <a:pt x="969" y="779"/>
                </a:lnTo>
                <a:lnTo>
                  <a:pt x="958" y="779"/>
                </a:lnTo>
                <a:lnTo>
                  <a:pt x="948" y="778"/>
                </a:lnTo>
                <a:lnTo>
                  <a:pt x="948" y="778"/>
                </a:lnTo>
                <a:lnTo>
                  <a:pt x="928" y="770"/>
                </a:lnTo>
                <a:lnTo>
                  <a:pt x="893" y="754"/>
                </a:lnTo>
                <a:lnTo>
                  <a:pt x="785" y="702"/>
                </a:lnTo>
                <a:lnTo>
                  <a:pt x="724" y="672"/>
                </a:lnTo>
                <a:lnTo>
                  <a:pt x="664" y="642"/>
                </a:lnTo>
                <a:lnTo>
                  <a:pt x="611" y="615"/>
                </a:lnTo>
                <a:lnTo>
                  <a:pt x="569" y="591"/>
                </a:lnTo>
                <a:lnTo>
                  <a:pt x="569" y="591"/>
                </a:lnTo>
                <a:lnTo>
                  <a:pt x="560" y="585"/>
                </a:lnTo>
                <a:lnTo>
                  <a:pt x="552" y="578"/>
                </a:lnTo>
                <a:lnTo>
                  <a:pt x="537" y="562"/>
                </a:lnTo>
                <a:lnTo>
                  <a:pt x="508" y="528"/>
                </a:lnTo>
                <a:lnTo>
                  <a:pt x="501" y="521"/>
                </a:lnTo>
                <a:lnTo>
                  <a:pt x="493" y="515"/>
                </a:lnTo>
                <a:lnTo>
                  <a:pt x="487" y="509"/>
                </a:lnTo>
                <a:lnTo>
                  <a:pt x="478" y="504"/>
                </a:lnTo>
                <a:lnTo>
                  <a:pt x="470" y="502"/>
                </a:lnTo>
                <a:lnTo>
                  <a:pt x="462" y="500"/>
                </a:lnTo>
                <a:lnTo>
                  <a:pt x="453" y="501"/>
                </a:lnTo>
                <a:lnTo>
                  <a:pt x="444" y="503"/>
                </a:lnTo>
                <a:lnTo>
                  <a:pt x="444" y="503"/>
                </a:lnTo>
                <a:lnTo>
                  <a:pt x="423" y="510"/>
                </a:lnTo>
                <a:lnTo>
                  <a:pt x="403" y="516"/>
                </a:lnTo>
                <a:lnTo>
                  <a:pt x="382" y="519"/>
                </a:lnTo>
                <a:lnTo>
                  <a:pt x="360" y="521"/>
                </a:lnTo>
                <a:lnTo>
                  <a:pt x="337" y="524"/>
                </a:lnTo>
                <a:lnTo>
                  <a:pt x="314" y="524"/>
                </a:lnTo>
                <a:lnTo>
                  <a:pt x="264" y="525"/>
                </a:lnTo>
                <a:lnTo>
                  <a:pt x="264" y="525"/>
                </a:lnTo>
                <a:lnTo>
                  <a:pt x="251" y="524"/>
                </a:lnTo>
                <a:lnTo>
                  <a:pt x="239" y="524"/>
                </a:lnTo>
                <a:lnTo>
                  <a:pt x="228" y="521"/>
                </a:lnTo>
                <a:lnTo>
                  <a:pt x="217" y="519"/>
                </a:lnTo>
                <a:lnTo>
                  <a:pt x="208" y="515"/>
                </a:lnTo>
                <a:lnTo>
                  <a:pt x="200" y="509"/>
                </a:lnTo>
                <a:lnTo>
                  <a:pt x="193" y="502"/>
                </a:lnTo>
                <a:lnTo>
                  <a:pt x="187" y="492"/>
                </a:lnTo>
                <a:lnTo>
                  <a:pt x="187" y="492"/>
                </a:lnTo>
                <a:lnTo>
                  <a:pt x="179" y="493"/>
                </a:lnTo>
                <a:lnTo>
                  <a:pt x="171" y="494"/>
                </a:lnTo>
                <a:lnTo>
                  <a:pt x="156" y="501"/>
                </a:lnTo>
                <a:lnTo>
                  <a:pt x="140" y="507"/>
                </a:lnTo>
                <a:lnTo>
                  <a:pt x="133" y="509"/>
                </a:lnTo>
                <a:lnTo>
                  <a:pt x="125" y="510"/>
                </a:lnTo>
                <a:lnTo>
                  <a:pt x="125" y="510"/>
                </a:lnTo>
                <a:lnTo>
                  <a:pt x="121" y="509"/>
                </a:lnTo>
                <a:lnTo>
                  <a:pt x="116" y="508"/>
                </a:lnTo>
                <a:lnTo>
                  <a:pt x="113" y="507"/>
                </a:lnTo>
                <a:lnTo>
                  <a:pt x="109" y="504"/>
                </a:lnTo>
                <a:lnTo>
                  <a:pt x="103" y="497"/>
                </a:lnTo>
                <a:lnTo>
                  <a:pt x="99" y="489"/>
                </a:lnTo>
                <a:lnTo>
                  <a:pt x="92" y="470"/>
                </a:lnTo>
                <a:lnTo>
                  <a:pt x="88" y="459"/>
                </a:lnTo>
                <a:lnTo>
                  <a:pt x="85" y="451"/>
                </a:lnTo>
                <a:lnTo>
                  <a:pt x="85" y="451"/>
                </a:lnTo>
                <a:lnTo>
                  <a:pt x="80" y="441"/>
                </a:lnTo>
                <a:lnTo>
                  <a:pt x="75" y="432"/>
                </a:lnTo>
                <a:lnTo>
                  <a:pt x="62" y="414"/>
                </a:lnTo>
                <a:lnTo>
                  <a:pt x="35" y="383"/>
                </a:lnTo>
                <a:lnTo>
                  <a:pt x="22" y="366"/>
                </a:lnTo>
                <a:lnTo>
                  <a:pt x="16" y="357"/>
                </a:lnTo>
                <a:lnTo>
                  <a:pt x="11" y="348"/>
                </a:lnTo>
                <a:lnTo>
                  <a:pt x="7" y="336"/>
                </a:lnTo>
                <a:lnTo>
                  <a:pt x="3" y="325"/>
                </a:lnTo>
                <a:lnTo>
                  <a:pt x="1" y="311"/>
                </a:lnTo>
                <a:lnTo>
                  <a:pt x="0" y="297"/>
                </a:lnTo>
                <a:lnTo>
                  <a:pt x="0" y="297"/>
                </a:lnTo>
                <a:lnTo>
                  <a:pt x="9" y="290"/>
                </a:lnTo>
                <a:lnTo>
                  <a:pt x="16" y="286"/>
                </a:lnTo>
                <a:lnTo>
                  <a:pt x="23" y="283"/>
                </a:lnTo>
                <a:lnTo>
                  <a:pt x="27" y="282"/>
                </a:lnTo>
                <a:lnTo>
                  <a:pt x="34" y="283"/>
                </a:lnTo>
                <a:lnTo>
                  <a:pt x="37" y="283"/>
                </a:lnTo>
                <a:lnTo>
                  <a:pt x="37" y="282"/>
                </a:lnTo>
                <a:lnTo>
                  <a:pt x="37" y="282"/>
                </a:lnTo>
                <a:lnTo>
                  <a:pt x="52" y="271"/>
                </a:lnTo>
                <a:lnTo>
                  <a:pt x="61" y="261"/>
                </a:lnTo>
                <a:lnTo>
                  <a:pt x="64" y="257"/>
                </a:lnTo>
                <a:lnTo>
                  <a:pt x="67" y="252"/>
                </a:lnTo>
                <a:lnTo>
                  <a:pt x="68" y="248"/>
                </a:lnTo>
                <a:lnTo>
                  <a:pt x="68" y="243"/>
                </a:lnTo>
                <a:lnTo>
                  <a:pt x="67" y="236"/>
                </a:lnTo>
                <a:lnTo>
                  <a:pt x="64" y="228"/>
                </a:lnTo>
                <a:lnTo>
                  <a:pt x="60" y="221"/>
                </a:lnTo>
                <a:lnTo>
                  <a:pt x="55" y="214"/>
                </a:lnTo>
                <a:lnTo>
                  <a:pt x="50" y="206"/>
                </a:lnTo>
                <a:lnTo>
                  <a:pt x="47" y="199"/>
                </a:lnTo>
                <a:lnTo>
                  <a:pt x="45" y="191"/>
                </a:lnTo>
                <a:lnTo>
                  <a:pt x="45" y="188"/>
                </a:lnTo>
                <a:lnTo>
                  <a:pt x="45" y="183"/>
                </a:lnTo>
                <a:lnTo>
                  <a:pt x="46" y="179"/>
                </a:lnTo>
                <a:lnTo>
                  <a:pt x="48" y="174"/>
                </a:lnTo>
                <a:lnTo>
                  <a:pt x="52" y="169"/>
                </a:lnTo>
                <a:lnTo>
                  <a:pt x="55" y="165"/>
                </a:lnTo>
                <a:lnTo>
                  <a:pt x="68" y="154"/>
                </a:lnTo>
                <a:lnTo>
                  <a:pt x="85" y="142"/>
                </a:lnTo>
                <a:lnTo>
                  <a:pt x="85" y="142"/>
                </a:lnTo>
                <a:lnTo>
                  <a:pt x="119" y="120"/>
                </a:lnTo>
                <a:lnTo>
                  <a:pt x="132" y="111"/>
                </a:lnTo>
                <a:lnTo>
                  <a:pt x="142" y="101"/>
                </a:lnTo>
                <a:lnTo>
                  <a:pt x="151" y="95"/>
                </a:lnTo>
                <a:lnTo>
                  <a:pt x="157" y="86"/>
                </a:lnTo>
                <a:lnTo>
                  <a:pt x="162" y="80"/>
                </a:lnTo>
                <a:lnTo>
                  <a:pt x="164" y="73"/>
                </a:lnTo>
                <a:lnTo>
                  <a:pt x="167" y="66"/>
                </a:lnTo>
                <a:lnTo>
                  <a:pt x="167" y="59"/>
                </a:lnTo>
                <a:lnTo>
                  <a:pt x="167" y="45"/>
                </a:lnTo>
                <a:lnTo>
                  <a:pt x="165" y="28"/>
                </a:lnTo>
                <a:lnTo>
                  <a:pt x="164" y="6"/>
                </a:lnTo>
                <a:lnTo>
                  <a:pt x="164" y="6"/>
                </a:lnTo>
                <a:lnTo>
                  <a:pt x="165" y="2"/>
                </a:lnTo>
                <a:lnTo>
                  <a:pt x="167" y="0"/>
                </a:lnTo>
                <a:lnTo>
                  <a:pt x="169" y="0"/>
                </a:lnTo>
                <a:lnTo>
                  <a:pt x="172" y="2"/>
                </a:lnTo>
                <a:lnTo>
                  <a:pt x="180" y="12"/>
                </a:lnTo>
                <a:lnTo>
                  <a:pt x="191" y="26"/>
                </a:lnTo>
                <a:lnTo>
                  <a:pt x="205" y="42"/>
                </a:lnTo>
                <a:lnTo>
                  <a:pt x="220" y="59"/>
                </a:lnTo>
                <a:lnTo>
                  <a:pt x="236" y="75"/>
                </a:lnTo>
                <a:lnTo>
                  <a:pt x="244" y="82"/>
                </a:lnTo>
                <a:lnTo>
                  <a:pt x="253" y="88"/>
                </a:lnTo>
                <a:lnTo>
                  <a:pt x="253" y="88"/>
                </a:lnTo>
                <a:lnTo>
                  <a:pt x="259" y="104"/>
                </a:lnTo>
                <a:lnTo>
                  <a:pt x="263" y="124"/>
                </a:lnTo>
                <a:lnTo>
                  <a:pt x="266" y="147"/>
                </a:lnTo>
                <a:lnTo>
                  <a:pt x="267" y="159"/>
                </a:lnTo>
                <a:lnTo>
                  <a:pt x="267" y="170"/>
                </a:lnTo>
                <a:lnTo>
                  <a:pt x="266" y="181"/>
                </a:lnTo>
                <a:lnTo>
                  <a:pt x="263" y="190"/>
                </a:lnTo>
                <a:lnTo>
                  <a:pt x="261" y="199"/>
                </a:lnTo>
                <a:lnTo>
                  <a:pt x="256" y="205"/>
                </a:lnTo>
                <a:lnTo>
                  <a:pt x="252" y="211"/>
                </a:lnTo>
                <a:lnTo>
                  <a:pt x="245" y="213"/>
                </a:lnTo>
                <a:lnTo>
                  <a:pt x="237" y="214"/>
                </a:lnTo>
                <a:lnTo>
                  <a:pt x="228" y="212"/>
                </a:lnTo>
                <a:lnTo>
                  <a:pt x="228" y="212"/>
                </a:lnTo>
                <a:lnTo>
                  <a:pt x="210" y="205"/>
                </a:lnTo>
                <a:lnTo>
                  <a:pt x="195" y="200"/>
                </a:lnTo>
                <a:lnTo>
                  <a:pt x="183" y="197"/>
                </a:lnTo>
                <a:lnTo>
                  <a:pt x="172" y="195"/>
                </a:lnTo>
                <a:lnTo>
                  <a:pt x="163" y="195"/>
                </a:lnTo>
                <a:lnTo>
                  <a:pt x="155" y="195"/>
                </a:lnTo>
                <a:lnTo>
                  <a:pt x="149" y="196"/>
                </a:lnTo>
                <a:lnTo>
                  <a:pt x="145" y="198"/>
                </a:lnTo>
                <a:lnTo>
                  <a:pt x="140" y="200"/>
                </a:lnTo>
                <a:lnTo>
                  <a:pt x="137" y="204"/>
                </a:lnTo>
                <a:lnTo>
                  <a:pt x="130" y="210"/>
                </a:lnTo>
                <a:lnTo>
                  <a:pt x="123" y="215"/>
                </a:lnTo>
                <a:lnTo>
                  <a:pt x="118" y="218"/>
                </a:lnTo>
                <a:lnTo>
                  <a:pt x="114" y="220"/>
                </a:lnTo>
                <a:lnTo>
                  <a:pt x="114" y="220"/>
                </a:lnTo>
                <a:lnTo>
                  <a:pt x="117" y="230"/>
                </a:lnTo>
                <a:lnTo>
                  <a:pt x="122" y="241"/>
                </a:lnTo>
                <a:lnTo>
                  <a:pt x="125" y="256"/>
                </a:lnTo>
                <a:lnTo>
                  <a:pt x="129" y="272"/>
                </a:lnTo>
                <a:lnTo>
                  <a:pt x="131" y="290"/>
                </a:lnTo>
                <a:lnTo>
                  <a:pt x="131" y="309"/>
                </a:lnTo>
                <a:lnTo>
                  <a:pt x="130" y="318"/>
                </a:lnTo>
                <a:lnTo>
                  <a:pt x="129" y="326"/>
                </a:lnTo>
                <a:lnTo>
                  <a:pt x="129" y="326"/>
                </a:lnTo>
                <a:lnTo>
                  <a:pt x="138" y="334"/>
                </a:lnTo>
                <a:lnTo>
                  <a:pt x="147" y="344"/>
                </a:lnTo>
                <a:lnTo>
                  <a:pt x="165" y="363"/>
                </a:lnTo>
                <a:lnTo>
                  <a:pt x="175" y="370"/>
                </a:lnTo>
                <a:lnTo>
                  <a:pt x="179" y="372"/>
                </a:lnTo>
                <a:lnTo>
                  <a:pt x="183" y="374"/>
                </a:lnTo>
                <a:lnTo>
                  <a:pt x="187" y="374"/>
                </a:lnTo>
                <a:lnTo>
                  <a:pt x="191" y="373"/>
                </a:lnTo>
                <a:lnTo>
                  <a:pt x="194" y="371"/>
                </a:lnTo>
                <a:lnTo>
                  <a:pt x="198" y="367"/>
                </a:lnTo>
                <a:lnTo>
                  <a:pt x="198" y="367"/>
                </a:lnTo>
                <a:lnTo>
                  <a:pt x="214" y="347"/>
                </a:lnTo>
                <a:lnTo>
                  <a:pt x="230" y="330"/>
                </a:lnTo>
                <a:lnTo>
                  <a:pt x="244" y="317"/>
                </a:lnTo>
                <a:lnTo>
                  <a:pt x="256" y="306"/>
                </a:lnTo>
                <a:lnTo>
                  <a:pt x="269" y="298"/>
                </a:lnTo>
                <a:lnTo>
                  <a:pt x="282" y="294"/>
                </a:lnTo>
                <a:lnTo>
                  <a:pt x="293" y="290"/>
                </a:lnTo>
                <a:lnTo>
                  <a:pt x="305" y="288"/>
                </a:lnTo>
                <a:lnTo>
                  <a:pt x="316" y="288"/>
                </a:lnTo>
                <a:lnTo>
                  <a:pt x="329" y="288"/>
                </a:lnTo>
                <a:lnTo>
                  <a:pt x="355" y="291"/>
                </a:lnTo>
                <a:lnTo>
                  <a:pt x="386" y="295"/>
                </a:lnTo>
                <a:lnTo>
                  <a:pt x="404" y="296"/>
                </a:lnTo>
                <a:lnTo>
                  <a:pt x="422" y="297"/>
                </a:lnTo>
                <a:lnTo>
                  <a:pt x="422" y="297"/>
                </a:lnTo>
                <a:lnTo>
                  <a:pt x="450" y="296"/>
                </a:lnTo>
                <a:lnTo>
                  <a:pt x="482" y="295"/>
                </a:lnTo>
                <a:lnTo>
                  <a:pt x="513" y="292"/>
                </a:lnTo>
                <a:lnTo>
                  <a:pt x="536" y="289"/>
                </a:lnTo>
                <a:lnTo>
                  <a:pt x="536" y="289"/>
                </a:lnTo>
                <a:lnTo>
                  <a:pt x="541" y="302"/>
                </a:lnTo>
                <a:lnTo>
                  <a:pt x="544" y="312"/>
                </a:lnTo>
                <a:lnTo>
                  <a:pt x="549" y="320"/>
                </a:lnTo>
                <a:lnTo>
                  <a:pt x="553" y="326"/>
                </a:lnTo>
                <a:lnTo>
                  <a:pt x="558" y="329"/>
                </a:lnTo>
                <a:lnTo>
                  <a:pt x="561" y="332"/>
                </a:lnTo>
                <a:lnTo>
                  <a:pt x="566" y="332"/>
                </a:lnTo>
                <a:lnTo>
                  <a:pt x="569" y="330"/>
                </a:lnTo>
                <a:lnTo>
                  <a:pt x="574" y="328"/>
                </a:lnTo>
                <a:lnTo>
                  <a:pt x="577" y="325"/>
                </a:lnTo>
                <a:lnTo>
                  <a:pt x="585" y="315"/>
                </a:lnTo>
                <a:lnTo>
                  <a:pt x="592" y="303"/>
                </a:lnTo>
                <a:lnTo>
                  <a:pt x="598" y="289"/>
                </a:lnTo>
                <a:lnTo>
                  <a:pt x="598" y="289"/>
                </a:lnTo>
                <a:lnTo>
                  <a:pt x="657" y="289"/>
                </a:lnTo>
                <a:lnTo>
                  <a:pt x="657" y="289"/>
                </a:lnTo>
                <a:lnTo>
                  <a:pt x="676" y="291"/>
                </a:lnTo>
                <a:lnTo>
                  <a:pt x="689" y="294"/>
                </a:lnTo>
                <a:lnTo>
                  <a:pt x="698" y="296"/>
                </a:lnTo>
                <a:lnTo>
                  <a:pt x="702" y="298"/>
                </a:lnTo>
                <a:lnTo>
                  <a:pt x="702" y="299"/>
                </a:lnTo>
                <a:lnTo>
                  <a:pt x="702" y="301"/>
                </a:lnTo>
                <a:lnTo>
                  <a:pt x="698" y="303"/>
                </a:lnTo>
                <a:lnTo>
                  <a:pt x="686" y="310"/>
                </a:lnTo>
                <a:lnTo>
                  <a:pt x="667" y="318"/>
                </a:lnTo>
                <a:lnTo>
                  <a:pt x="658" y="322"/>
                </a:lnTo>
                <a:lnTo>
                  <a:pt x="649" y="327"/>
                </a:lnTo>
                <a:lnTo>
                  <a:pt x="642" y="333"/>
                </a:lnTo>
                <a:lnTo>
                  <a:pt x="635" y="339"/>
                </a:lnTo>
                <a:lnTo>
                  <a:pt x="634" y="342"/>
                </a:lnTo>
                <a:lnTo>
                  <a:pt x="633" y="345"/>
                </a:lnTo>
                <a:lnTo>
                  <a:pt x="632" y="349"/>
                </a:lnTo>
                <a:lnTo>
                  <a:pt x="632" y="352"/>
                </a:lnTo>
                <a:lnTo>
                  <a:pt x="632" y="352"/>
                </a:lnTo>
                <a:lnTo>
                  <a:pt x="610" y="357"/>
                </a:lnTo>
                <a:lnTo>
                  <a:pt x="603" y="359"/>
                </a:lnTo>
                <a:lnTo>
                  <a:pt x="597" y="362"/>
                </a:lnTo>
                <a:lnTo>
                  <a:pt x="594" y="364"/>
                </a:lnTo>
                <a:lnTo>
                  <a:pt x="591" y="367"/>
                </a:lnTo>
                <a:lnTo>
                  <a:pt x="591" y="370"/>
                </a:lnTo>
                <a:lnTo>
                  <a:pt x="592" y="373"/>
                </a:lnTo>
                <a:lnTo>
                  <a:pt x="596" y="376"/>
                </a:lnTo>
                <a:lnTo>
                  <a:pt x="600" y="379"/>
                </a:lnTo>
                <a:lnTo>
                  <a:pt x="612" y="386"/>
                </a:lnTo>
                <a:lnTo>
                  <a:pt x="629" y="393"/>
                </a:lnTo>
                <a:lnTo>
                  <a:pt x="650" y="399"/>
                </a:lnTo>
                <a:lnTo>
                  <a:pt x="650" y="399"/>
                </a:lnTo>
                <a:lnTo>
                  <a:pt x="653" y="402"/>
                </a:lnTo>
                <a:lnTo>
                  <a:pt x="657" y="404"/>
                </a:lnTo>
                <a:lnTo>
                  <a:pt x="661" y="410"/>
                </a:lnTo>
                <a:lnTo>
                  <a:pt x="665" y="416"/>
                </a:lnTo>
                <a:lnTo>
                  <a:pt x="667" y="418"/>
                </a:lnTo>
                <a:lnTo>
                  <a:pt x="669" y="420"/>
                </a:lnTo>
                <a:lnTo>
                  <a:pt x="674" y="421"/>
                </a:lnTo>
                <a:lnTo>
                  <a:pt x="678" y="421"/>
                </a:lnTo>
                <a:lnTo>
                  <a:pt x="683" y="420"/>
                </a:lnTo>
                <a:lnTo>
                  <a:pt x="690" y="418"/>
                </a:lnTo>
                <a:lnTo>
                  <a:pt x="698" y="413"/>
                </a:lnTo>
                <a:lnTo>
                  <a:pt x="709" y="408"/>
                </a:lnTo>
                <a:lnTo>
                  <a:pt x="735" y="389"/>
                </a:lnTo>
                <a:lnTo>
                  <a:pt x="735" y="389"/>
                </a:lnTo>
                <a:lnTo>
                  <a:pt x="758" y="408"/>
                </a:lnTo>
                <a:lnTo>
                  <a:pt x="780" y="420"/>
                </a:lnTo>
                <a:lnTo>
                  <a:pt x="789" y="426"/>
                </a:lnTo>
                <a:lnTo>
                  <a:pt x="798" y="431"/>
                </a:lnTo>
                <a:lnTo>
                  <a:pt x="809" y="433"/>
                </a:lnTo>
                <a:lnTo>
                  <a:pt x="819" y="435"/>
                </a:lnTo>
                <a:lnTo>
                  <a:pt x="829" y="436"/>
                </a:lnTo>
                <a:lnTo>
                  <a:pt x="840" y="436"/>
                </a:lnTo>
                <a:lnTo>
                  <a:pt x="852" y="435"/>
                </a:lnTo>
                <a:lnTo>
                  <a:pt x="865" y="434"/>
                </a:lnTo>
                <a:lnTo>
                  <a:pt x="895" y="427"/>
                </a:lnTo>
                <a:lnTo>
                  <a:pt x="933" y="418"/>
                </a:lnTo>
                <a:lnTo>
                  <a:pt x="933" y="418"/>
                </a:lnTo>
                <a:lnTo>
                  <a:pt x="938" y="428"/>
                </a:lnTo>
                <a:lnTo>
                  <a:pt x="941" y="436"/>
                </a:lnTo>
                <a:lnTo>
                  <a:pt x="942" y="443"/>
                </a:lnTo>
                <a:lnTo>
                  <a:pt x="941" y="449"/>
                </a:lnTo>
                <a:lnTo>
                  <a:pt x="940" y="455"/>
                </a:lnTo>
                <a:lnTo>
                  <a:pt x="936" y="459"/>
                </a:lnTo>
                <a:lnTo>
                  <a:pt x="933" y="464"/>
                </a:lnTo>
                <a:lnTo>
                  <a:pt x="928" y="467"/>
                </a:lnTo>
                <a:lnTo>
                  <a:pt x="919" y="474"/>
                </a:lnTo>
                <a:lnTo>
                  <a:pt x="910" y="481"/>
                </a:lnTo>
                <a:lnTo>
                  <a:pt x="905" y="486"/>
                </a:lnTo>
                <a:lnTo>
                  <a:pt x="903" y="490"/>
                </a:lnTo>
                <a:lnTo>
                  <a:pt x="901" y="496"/>
                </a:lnTo>
                <a:lnTo>
                  <a:pt x="900" y="503"/>
                </a:lnTo>
                <a:lnTo>
                  <a:pt x="900" y="503"/>
                </a:lnTo>
                <a:lnTo>
                  <a:pt x="900" y="516"/>
                </a:lnTo>
                <a:lnTo>
                  <a:pt x="901" y="526"/>
                </a:lnTo>
                <a:lnTo>
                  <a:pt x="903" y="534"/>
                </a:lnTo>
                <a:lnTo>
                  <a:pt x="907" y="540"/>
                </a:lnTo>
                <a:lnTo>
                  <a:pt x="910" y="543"/>
                </a:lnTo>
                <a:lnTo>
                  <a:pt x="916" y="544"/>
                </a:lnTo>
                <a:lnTo>
                  <a:pt x="920" y="543"/>
                </a:lnTo>
                <a:lnTo>
                  <a:pt x="926" y="541"/>
                </a:lnTo>
                <a:lnTo>
                  <a:pt x="932" y="538"/>
                </a:lnTo>
                <a:lnTo>
                  <a:pt x="936" y="533"/>
                </a:lnTo>
                <a:lnTo>
                  <a:pt x="941" y="527"/>
                </a:lnTo>
                <a:lnTo>
                  <a:pt x="946" y="519"/>
                </a:lnTo>
                <a:lnTo>
                  <a:pt x="948" y="511"/>
                </a:lnTo>
                <a:lnTo>
                  <a:pt x="949" y="503"/>
                </a:lnTo>
                <a:lnTo>
                  <a:pt x="949" y="494"/>
                </a:lnTo>
                <a:lnTo>
                  <a:pt x="948" y="483"/>
                </a:lnTo>
                <a:lnTo>
                  <a:pt x="948" y="483"/>
                </a:lnTo>
                <a:lnTo>
                  <a:pt x="951" y="480"/>
                </a:lnTo>
                <a:lnTo>
                  <a:pt x="957" y="478"/>
                </a:lnTo>
                <a:lnTo>
                  <a:pt x="963" y="478"/>
                </a:lnTo>
                <a:lnTo>
                  <a:pt x="970" y="479"/>
                </a:lnTo>
                <a:lnTo>
                  <a:pt x="985" y="483"/>
                </a:lnTo>
                <a:lnTo>
                  <a:pt x="1000" y="487"/>
                </a:lnTo>
                <a:lnTo>
                  <a:pt x="1005" y="488"/>
                </a:lnTo>
                <a:lnTo>
                  <a:pt x="1012" y="488"/>
                </a:lnTo>
                <a:lnTo>
                  <a:pt x="1017" y="485"/>
                </a:lnTo>
                <a:lnTo>
                  <a:pt x="1022" y="480"/>
                </a:lnTo>
                <a:lnTo>
                  <a:pt x="1024" y="472"/>
                </a:lnTo>
                <a:lnTo>
                  <a:pt x="1025" y="460"/>
                </a:lnTo>
                <a:lnTo>
                  <a:pt x="1024" y="444"/>
                </a:lnTo>
                <a:lnTo>
                  <a:pt x="1020" y="425"/>
                </a:lnTo>
                <a:lnTo>
                  <a:pt x="1020" y="425"/>
                </a:lnTo>
                <a:lnTo>
                  <a:pt x="1023" y="421"/>
                </a:lnTo>
                <a:lnTo>
                  <a:pt x="1024" y="417"/>
                </a:lnTo>
                <a:lnTo>
                  <a:pt x="1023" y="406"/>
                </a:lnTo>
                <a:lnTo>
                  <a:pt x="1022" y="396"/>
                </a:lnTo>
                <a:lnTo>
                  <a:pt x="1019" y="387"/>
                </a:lnTo>
                <a:lnTo>
                  <a:pt x="1017" y="376"/>
                </a:lnTo>
                <a:lnTo>
                  <a:pt x="1016" y="368"/>
                </a:lnTo>
                <a:lnTo>
                  <a:pt x="1017" y="365"/>
                </a:lnTo>
                <a:lnTo>
                  <a:pt x="1018" y="362"/>
                </a:lnTo>
                <a:lnTo>
                  <a:pt x="1020" y="358"/>
                </a:lnTo>
                <a:lnTo>
                  <a:pt x="1025" y="356"/>
                </a:lnTo>
                <a:lnTo>
                  <a:pt x="1025" y="356"/>
                </a:lnTo>
                <a:lnTo>
                  <a:pt x="1035" y="351"/>
                </a:lnTo>
                <a:lnTo>
                  <a:pt x="1046" y="348"/>
                </a:lnTo>
                <a:lnTo>
                  <a:pt x="1060" y="344"/>
                </a:lnTo>
                <a:lnTo>
                  <a:pt x="1069" y="344"/>
                </a:lnTo>
                <a:lnTo>
                  <a:pt x="1071" y="344"/>
                </a:lnTo>
                <a:lnTo>
                  <a:pt x="1071" y="344"/>
                </a:lnTo>
                <a:lnTo>
                  <a:pt x="1079" y="355"/>
                </a:lnTo>
                <a:lnTo>
                  <a:pt x="1088" y="364"/>
                </a:lnTo>
                <a:lnTo>
                  <a:pt x="1099" y="372"/>
                </a:lnTo>
                <a:lnTo>
                  <a:pt x="1110" y="380"/>
                </a:lnTo>
                <a:lnTo>
                  <a:pt x="1133" y="395"/>
                </a:lnTo>
                <a:lnTo>
                  <a:pt x="1157" y="409"/>
                </a:lnTo>
                <a:lnTo>
                  <a:pt x="1180" y="421"/>
                </a:lnTo>
                <a:lnTo>
                  <a:pt x="1203" y="436"/>
                </a:lnTo>
                <a:lnTo>
                  <a:pt x="1213" y="443"/>
                </a:lnTo>
                <a:lnTo>
                  <a:pt x="1222" y="451"/>
                </a:lnTo>
                <a:lnTo>
                  <a:pt x="1230" y="460"/>
                </a:lnTo>
                <a:lnTo>
                  <a:pt x="1237" y="470"/>
                </a:lnTo>
                <a:lnTo>
                  <a:pt x="1237" y="470"/>
                </a:lnTo>
                <a:lnTo>
                  <a:pt x="1245" y="485"/>
                </a:lnTo>
                <a:lnTo>
                  <a:pt x="1252" y="498"/>
                </a:lnTo>
                <a:lnTo>
                  <a:pt x="1252" y="498"/>
                </a:lnTo>
                <a:lnTo>
                  <a:pt x="1247" y="507"/>
                </a:lnTo>
                <a:lnTo>
                  <a:pt x="1241" y="513"/>
                </a:lnTo>
                <a:lnTo>
                  <a:pt x="1228" y="527"/>
                </a:lnTo>
                <a:lnTo>
                  <a:pt x="1222" y="534"/>
                </a:lnTo>
                <a:lnTo>
                  <a:pt x="1216" y="541"/>
                </a:lnTo>
                <a:lnTo>
                  <a:pt x="1213" y="548"/>
                </a:lnTo>
                <a:lnTo>
                  <a:pt x="1211" y="557"/>
                </a:lnTo>
                <a:lnTo>
                  <a:pt x="1211" y="557"/>
                </a:lnTo>
                <a:lnTo>
                  <a:pt x="1213" y="566"/>
                </a:lnTo>
                <a:lnTo>
                  <a:pt x="1216" y="576"/>
                </a:lnTo>
                <a:lnTo>
                  <a:pt x="1221" y="584"/>
                </a:lnTo>
                <a:lnTo>
                  <a:pt x="1226" y="592"/>
                </a:lnTo>
                <a:lnTo>
                  <a:pt x="1231" y="600"/>
                </a:lnTo>
                <a:lnTo>
                  <a:pt x="1237" y="609"/>
                </a:lnTo>
                <a:lnTo>
                  <a:pt x="1239" y="619"/>
                </a:lnTo>
                <a:lnTo>
                  <a:pt x="1241" y="631"/>
                </a:lnTo>
                <a:lnTo>
                  <a:pt x="1241" y="631"/>
                </a:lnTo>
                <a:lnTo>
                  <a:pt x="1240" y="639"/>
                </a:lnTo>
                <a:lnTo>
                  <a:pt x="1239" y="646"/>
                </a:lnTo>
                <a:lnTo>
                  <a:pt x="1236" y="651"/>
                </a:lnTo>
                <a:lnTo>
                  <a:pt x="1233" y="657"/>
                </a:lnTo>
                <a:lnTo>
                  <a:pt x="1233" y="657"/>
                </a:lnTo>
                <a:lnTo>
                  <a:pt x="1237" y="649"/>
                </a:lnTo>
                <a:lnTo>
                  <a:pt x="1237" y="64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0" name="Freeform 135"/>
          <p:cNvSpPr>
            <a:spLocks/>
          </p:cNvSpPr>
          <p:nvPr/>
        </p:nvSpPr>
        <p:spPr bwMode="auto">
          <a:xfrm>
            <a:off x="7142163" y="736600"/>
            <a:ext cx="1152525" cy="1608138"/>
          </a:xfrm>
          <a:custGeom>
            <a:avLst/>
            <a:gdLst/>
            <a:ahLst/>
            <a:cxnLst>
              <a:cxn ang="0">
                <a:pos x="672" y="1636"/>
              </a:cxn>
              <a:cxn ang="0">
                <a:pos x="714" y="1590"/>
              </a:cxn>
              <a:cxn ang="0">
                <a:pos x="805" y="1495"/>
              </a:cxn>
              <a:cxn ang="0">
                <a:pos x="957" y="1401"/>
              </a:cxn>
              <a:cxn ang="0">
                <a:pos x="1008" y="1419"/>
              </a:cxn>
              <a:cxn ang="0">
                <a:pos x="1066" y="1488"/>
              </a:cxn>
              <a:cxn ang="0">
                <a:pos x="1205" y="1440"/>
              </a:cxn>
              <a:cxn ang="0">
                <a:pos x="1237" y="1332"/>
              </a:cxn>
              <a:cxn ang="0">
                <a:pos x="1273" y="1201"/>
              </a:cxn>
              <a:cxn ang="0">
                <a:pos x="1339" y="1189"/>
              </a:cxn>
              <a:cxn ang="0">
                <a:pos x="1326" y="975"/>
              </a:cxn>
              <a:cxn ang="0">
                <a:pos x="1410" y="867"/>
              </a:cxn>
              <a:cxn ang="0">
                <a:pos x="1380" y="802"/>
              </a:cxn>
              <a:cxn ang="0">
                <a:pos x="1245" y="797"/>
              </a:cxn>
              <a:cxn ang="0">
                <a:pos x="1066" y="863"/>
              </a:cxn>
              <a:cxn ang="0">
                <a:pos x="984" y="898"/>
              </a:cxn>
              <a:cxn ang="0">
                <a:pos x="1021" y="834"/>
              </a:cxn>
              <a:cxn ang="0">
                <a:pos x="1073" y="739"/>
              </a:cxn>
              <a:cxn ang="0">
                <a:pos x="1019" y="626"/>
              </a:cxn>
              <a:cxn ang="0">
                <a:pos x="891" y="591"/>
              </a:cxn>
              <a:cxn ang="0">
                <a:pos x="897" y="540"/>
              </a:cxn>
              <a:cxn ang="0">
                <a:pos x="1015" y="517"/>
              </a:cxn>
              <a:cxn ang="0">
                <a:pos x="1015" y="419"/>
              </a:cxn>
              <a:cxn ang="0">
                <a:pos x="1106" y="403"/>
              </a:cxn>
              <a:cxn ang="0">
                <a:pos x="1175" y="326"/>
              </a:cxn>
              <a:cxn ang="0">
                <a:pos x="1262" y="254"/>
              </a:cxn>
              <a:cxn ang="0">
                <a:pos x="1221" y="212"/>
              </a:cxn>
              <a:cxn ang="0">
                <a:pos x="1140" y="168"/>
              </a:cxn>
              <a:cxn ang="0">
                <a:pos x="1062" y="181"/>
              </a:cxn>
              <a:cxn ang="0">
                <a:pos x="1088" y="82"/>
              </a:cxn>
              <a:cxn ang="0">
                <a:pos x="1022" y="0"/>
              </a:cxn>
              <a:cxn ang="0">
                <a:pos x="848" y="149"/>
              </a:cxn>
              <a:cxn ang="0">
                <a:pos x="928" y="219"/>
              </a:cxn>
              <a:cxn ang="0">
                <a:pos x="921" y="288"/>
              </a:cxn>
              <a:cxn ang="0">
                <a:pos x="800" y="262"/>
              </a:cxn>
              <a:cxn ang="0">
                <a:pos x="595" y="384"/>
              </a:cxn>
              <a:cxn ang="0">
                <a:pos x="317" y="610"/>
              </a:cxn>
              <a:cxn ang="0">
                <a:pos x="151" y="898"/>
              </a:cxn>
              <a:cxn ang="0">
                <a:pos x="217" y="959"/>
              </a:cxn>
              <a:cxn ang="0">
                <a:pos x="304" y="972"/>
              </a:cxn>
              <a:cxn ang="0">
                <a:pos x="300" y="1052"/>
              </a:cxn>
              <a:cxn ang="0">
                <a:pos x="225" y="1069"/>
              </a:cxn>
              <a:cxn ang="0">
                <a:pos x="133" y="1059"/>
              </a:cxn>
              <a:cxn ang="0">
                <a:pos x="122" y="1153"/>
              </a:cxn>
              <a:cxn ang="0">
                <a:pos x="33" y="1266"/>
              </a:cxn>
              <a:cxn ang="0">
                <a:pos x="4" y="1361"/>
              </a:cxn>
              <a:cxn ang="0">
                <a:pos x="51" y="1366"/>
              </a:cxn>
              <a:cxn ang="0">
                <a:pos x="162" y="1447"/>
              </a:cxn>
              <a:cxn ang="0">
                <a:pos x="135" y="1516"/>
              </a:cxn>
              <a:cxn ang="0">
                <a:pos x="92" y="1621"/>
              </a:cxn>
              <a:cxn ang="0">
                <a:pos x="94" y="1698"/>
              </a:cxn>
              <a:cxn ang="0">
                <a:pos x="126" y="1744"/>
              </a:cxn>
              <a:cxn ang="0">
                <a:pos x="214" y="1755"/>
              </a:cxn>
              <a:cxn ang="0">
                <a:pos x="277" y="1797"/>
              </a:cxn>
              <a:cxn ang="0">
                <a:pos x="326" y="1806"/>
              </a:cxn>
              <a:cxn ang="0">
                <a:pos x="397" y="1845"/>
              </a:cxn>
              <a:cxn ang="0">
                <a:pos x="488" y="1812"/>
              </a:cxn>
              <a:cxn ang="0">
                <a:pos x="560" y="1779"/>
              </a:cxn>
              <a:cxn ang="0">
                <a:pos x="654" y="1741"/>
              </a:cxn>
            </a:cxnLst>
            <a:rect l="0" t="0" r="r" b="b"/>
            <a:pathLst>
              <a:path w="1411" h="1845">
                <a:moveTo>
                  <a:pt x="666" y="1709"/>
                </a:moveTo>
                <a:lnTo>
                  <a:pt x="666" y="1709"/>
                </a:lnTo>
                <a:lnTo>
                  <a:pt x="663" y="1700"/>
                </a:lnTo>
                <a:lnTo>
                  <a:pt x="662" y="1692"/>
                </a:lnTo>
                <a:lnTo>
                  <a:pt x="662" y="1676"/>
                </a:lnTo>
                <a:lnTo>
                  <a:pt x="662" y="1676"/>
                </a:lnTo>
                <a:lnTo>
                  <a:pt x="663" y="1659"/>
                </a:lnTo>
                <a:lnTo>
                  <a:pt x="666" y="1646"/>
                </a:lnTo>
                <a:lnTo>
                  <a:pt x="667" y="1643"/>
                </a:lnTo>
                <a:lnTo>
                  <a:pt x="669" y="1639"/>
                </a:lnTo>
                <a:lnTo>
                  <a:pt x="672" y="1636"/>
                </a:lnTo>
                <a:lnTo>
                  <a:pt x="675" y="1634"/>
                </a:lnTo>
                <a:lnTo>
                  <a:pt x="682" y="1631"/>
                </a:lnTo>
                <a:lnTo>
                  <a:pt x="690" y="1628"/>
                </a:lnTo>
                <a:lnTo>
                  <a:pt x="699" y="1624"/>
                </a:lnTo>
                <a:lnTo>
                  <a:pt x="709" y="1617"/>
                </a:lnTo>
                <a:lnTo>
                  <a:pt x="709" y="1617"/>
                </a:lnTo>
                <a:lnTo>
                  <a:pt x="713" y="1614"/>
                </a:lnTo>
                <a:lnTo>
                  <a:pt x="715" y="1610"/>
                </a:lnTo>
                <a:lnTo>
                  <a:pt x="715" y="1605"/>
                </a:lnTo>
                <a:lnTo>
                  <a:pt x="715" y="1600"/>
                </a:lnTo>
                <a:lnTo>
                  <a:pt x="714" y="1590"/>
                </a:lnTo>
                <a:lnTo>
                  <a:pt x="715" y="1585"/>
                </a:lnTo>
                <a:lnTo>
                  <a:pt x="716" y="1580"/>
                </a:lnTo>
                <a:lnTo>
                  <a:pt x="716" y="1580"/>
                </a:lnTo>
                <a:lnTo>
                  <a:pt x="738" y="1563"/>
                </a:lnTo>
                <a:lnTo>
                  <a:pt x="758" y="1549"/>
                </a:lnTo>
                <a:lnTo>
                  <a:pt x="767" y="1541"/>
                </a:lnTo>
                <a:lnTo>
                  <a:pt x="775" y="1533"/>
                </a:lnTo>
                <a:lnTo>
                  <a:pt x="783" y="1524"/>
                </a:lnTo>
                <a:lnTo>
                  <a:pt x="790" y="1515"/>
                </a:lnTo>
                <a:lnTo>
                  <a:pt x="790" y="1515"/>
                </a:lnTo>
                <a:lnTo>
                  <a:pt x="805" y="1495"/>
                </a:lnTo>
                <a:lnTo>
                  <a:pt x="819" y="1479"/>
                </a:lnTo>
                <a:lnTo>
                  <a:pt x="835" y="1464"/>
                </a:lnTo>
                <a:lnTo>
                  <a:pt x="851" y="1453"/>
                </a:lnTo>
                <a:lnTo>
                  <a:pt x="869" y="1442"/>
                </a:lnTo>
                <a:lnTo>
                  <a:pt x="889" y="1434"/>
                </a:lnTo>
                <a:lnTo>
                  <a:pt x="911" y="1426"/>
                </a:lnTo>
                <a:lnTo>
                  <a:pt x="934" y="1419"/>
                </a:lnTo>
                <a:lnTo>
                  <a:pt x="934" y="1419"/>
                </a:lnTo>
                <a:lnTo>
                  <a:pt x="941" y="1417"/>
                </a:lnTo>
                <a:lnTo>
                  <a:pt x="946" y="1412"/>
                </a:lnTo>
                <a:lnTo>
                  <a:pt x="957" y="1401"/>
                </a:lnTo>
                <a:lnTo>
                  <a:pt x="962" y="1395"/>
                </a:lnTo>
                <a:lnTo>
                  <a:pt x="969" y="1391"/>
                </a:lnTo>
                <a:lnTo>
                  <a:pt x="976" y="1387"/>
                </a:lnTo>
                <a:lnTo>
                  <a:pt x="984" y="1386"/>
                </a:lnTo>
                <a:lnTo>
                  <a:pt x="984" y="1386"/>
                </a:lnTo>
                <a:lnTo>
                  <a:pt x="991" y="1387"/>
                </a:lnTo>
                <a:lnTo>
                  <a:pt x="996" y="1391"/>
                </a:lnTo>
                <a:lnTo>
                  <a:pt x="1000" y="1395"/>
                </a:lnTo>
                <a:lnTo>
                  <a:pt x="1004" y="1402"/>
                </a:lnTo>
                <a:lnTo>
                  <a:pt x="1006" y="1410"/>
                </a:lnTo>
                <a:lnTo>
                  <a:pt x="1008" y="1419"/>
                </a:lnTo>
                <a:lnTo>
                  <a:pt x="1013" y="1439"/>
                </a:lnTo>
                <a:lnTo>
                  <a:pt x="1018" y="1458"/>
                </a:lnTo>
                <a:lnTo>
                  <a:pt x="1020" y="1468"/>
                </a:lnTo>
                <a:lnTo>
                  <a:pt x="1025" y="1476"/>
                </a:lnTo>
                <a:lnTo>
                  <a:pt x="1029" y="1483"/>
                </a:lnTo>
                <a:lnTo>
                  <a:pt x="1035" y="1488"/>
                </a:lnTo>
                <a:lnTo>
                  <a:pt x="1043" y="1492"/>
                </a:lnTo>
                <a:lnTo>
                  <a:pt x="1051" y="1493"/>
                </a:lnTo>
                <a:lnTo>
                  <a:pt x="1051" y="1493"/>
                </a:lnTo>
                <a:lnTo>
                  <a:pt x="1058" y="1492"/>
                </a:lnTo>
                <a:lnTo>
                  <a:pt x="1066" y="1488"/>
                </a:lnTo>
                <a:lnTo>
                  <a:pt x="1074" y="1484"/>
                </a:lnTo>
                <a:lnTo>
                  <a:pt x="1082" y="1479"/>
                </a:lnTo>
                <a:lnTo>
                  <a:pt x="1106" y="1460"/>
                </a:lnTo>
                <a:lnTo>
                  <a:pt x="1106" y="1460"/>
                </a:lnTo>
                <a:lnTo>
                  <a:pt x="1114" y="1455"/>
                </a:lnTo>
                <a:lnTo>
                  <a:pt x="1123" y="1453"/>
                </a:lnTo>
                <a:lnTo>
                  <a:pt x="1143" y="1449"/>
                </a:lnTo>
                <a:lnTo>
                  <a:pt x="1165" y="1447"/>
                </a:lnTo>
                <a:lnTo>
                  <a:pt x="1186" y="1445"/>
                </a:lnTo>
                <a:lnTo>
                  <a:pt x="1196" y="1442"/>
                </a:lnTo>
                <a:lnTo>
                  <a:pt x="1205" y="1440"/>
                </a:lnTo>
                <a:lnTo>
                  <a:pt x="1213" y="1437"/>
                </a:lnTo>
                <a:lnTo>
                  <a:pt x="1220" y="1432"/>
                </a:lnTo>
                <a:lnTo>
                  <a:pt x="1226" y="1425"/>
                </a:lnTo>
                <a:lnTo>
                  <a:pt x="1230" y="1418"/>
                </a:lnTo>
                <a:lnTo>
                  <a:pt x="1234" y="1408"/>
                </a:lnTo>
                <a:lnTo>
                  <a:pt x="1235" y="1396"/>
                </a:lnTo>
                <a:lnTo>
                  <a:pt x="1235" y="1396"/>
                </a:lnTo>
                <a:lnTo>
                  <a:pt x="1235" y="1361"/>
                </a:lnTo>
                <a:lnTo>
                  <a:pt x="1235" y="1361"/>
                </a:lnTo>
                <a:lnTo>
                  <a:pt x="1235" y="1346"/>
                </a:lnTo>
                <a:lnTo>
                  <a:pt x="1237" y="1332"/>
                </a:lnTo>
                <a:lnTo>
                  <a:pt x="1241" y="1319"/>
                </a:lnTo>
                <a:lnTo>
                  <a:pt x="1245" y="1308"/>
                </a:lnTo>
                <a:lnTo>
                  <a:pt x="1255" y="1285"/>
                </a:lnTo>
                <a:lnTo>
                  <a:pt x="1259" y="1273"/>
                </a:lnTo>
                <a:lnTo>
                  <a:pt x="1264" y="1260"/>
                </a:lnTo>
                <a:lnTo>
                  <a:pt x="1264" y="1260"/>
                </a:lnTo>
                <a:lnTo>
                  <a:pt x="1266" y="1250"/>
                </a:lnTo>
                <a:lnTo>
                  <a:pt x="1267" y="1240"/>
                </a:lnTo>
                <a:lnTo>
                  <a:pt x="1270" y="1219"/>
                </a:lnTo>
                <a:lnTo>
                  <a:pt x="1271" y="1210"/>
                </a:lnTo>
                <a:lnTo>
                  <a:pt x="1273" y="1201"/>
                </a:lnTo>
                <a:lnTo>
                  <a:pt x="1277" y="1193"/>
                </a:lnTo>
                <a:lnTo>
                  <a:pt x="1283" y="1183"/>
                </a:lnTo>
                <a:lnTo>
                  <a:pt x="1283" y="1183"/>
                </a:lnTo>
                <a:lnTo>
                  <a:pt x="1296" y="1194"/>
                </a:lnTo>
                <a:lnTo>
                  <a:pt x="1303" y="1197"/>
                </a:lnTo>
                <a:lnTo>
                  <a:pt x="1308" y="1198"/>
                </a:lnTo>
                <a:lnTo>
                  <a:pt x="1312" y="1198"/>
                </a:lnTo>
                <a:lnTo>
                  <a:pt x="1312" y="1198"/>
                </a:lnTo>
                <a:lnTo>
                  <a:pt x="1320" y="1198"/>
                </a:lnTo>
                <a:lnTo>
                  <a:pt x="1326" y="1196"/>
                </a:lnTo>
                <a:lnTo>
                  <a:pt x="1339" y="1189"/>
                </a:lnTo>
                <a:lnTo>
                  <a:pt x="1344" y="1186"/>
                </a:lnTo>
                <a:lnTo>
                  <a:pt x="1351" y="1182"/>
                </a:lnTo>
                <a:lnTo>
                  <a:pt x="1358" y="1180"/>
                </a:lnTo>
                <a:lnTo>
                  <a:pt x="1367" y="1180"/>
                </a:lnTo>
                <a:lnTo>
                  <a:pt x="1367" y="1180"/>
                </a:lnTo>
                <a:lnTo>
                  <a:pt x="1357" y="1134"/>
                </a:lnTo>
                <a:lnTo>
                  <a:pt x="1347" y="1086"/>
                </a:lnTo>
                <a:lnTo>
                  <a:pt x="1338" y="1034"/>
                </a:lnTo>
                <a:lnTo>
                  <a:pt x="1327" y="982"/>
                </a:lnTo>
                <a:lnTo>
                  <a:pt x="1327" y="982"/>
                </a:lnTo>
                <a:lnTo>
                  <a:pt x="1326" y="975"/>
                </a:lnTo>
                <a:lnTo>
                  <a:pt x="1327" y="969"/>
                </a:lnTo>
                <a:lnTo>
                  <a:pt x="1331" y="962"/>
                </a:lnTo>
                <a:lnTo>
                  <a:pt x="1335" y="956"/>
                </a:lnTo>
                <a:lnTo>
                  <a:pt x="1349" y="942"/>
                </a:lnTo>
                <a:lnTo>
                  <a:pt x="1365" y="928"/>
                </a:lnTo>
                <a:lnTo>
                  <a:pt x="1381" y="912"/>
                </a:lnTo>
                <a:lnTo>
                  <a:pt x="1389" y="904"/>
                </a:lnTo>
                <a:lnTo>
                  <a:pt x="1396" y="895"/>
                </a:lnTo>
                <a:lnTo>
                  <a:pt x="1402" y="886"/>
                </a:lnTo>
                <a:lnTo>
                  <a:pt x="1407" y="876"/>
                </a:lnTo>
                <a:lnTo>
                  <a:pt x="1410" y="867"/>
                </a:lnTo>
                <a:lnTo>
                  <a:pt x="1411" y="857"/>
                </a:lnTo>
                <a:lnTo>
                  <a:pt x="1411" y="857"/>
                </a:lnTo>
                <a:lnTo>
                  <a:pt x="1411" y="851"/>
                </a:lnTo>
                <a:lnTo>
                  <a:pt x="1410" y="844"/>
                </a:lnTo>
                <a:lnTo>
                  <a:pt x="1408" y="837"/>
                </a:lnTo>
                <a:lnTo>
                  <a:pt x="1405" y="831"/>
                </a:lnTo>
                <a:lnTo>
                  <a:pt x="1402" y="824"/>
                </a:lnTo>
                <a:lnTo>
                  <a:pt x="1398" y="819"/>
                </a:lnTo>
                <a:lnTo>
                  <a:pt x="1393" y="813"/>
                </a:lnTo>
                <a:lnTo>
                  <a:pt x="1387" y="807"/>
                </a:lnTo>
                <a:lnTo>
                  <a:pt x="1380" y="802"/>
                </a:lnTo>
                <a:lnTo>
                  <a:pt x="1373" y="798"/>
                </a:lnTo>
                <a:lnTo>
                  <a:pt x="1365" y="794"/>
                </a:lnTo>
                <a:lnTo>
                  <a:pt x="1355" y="791"/>
                </a:lnTo>
                <a:lnTo>
                  <a:pt x="1346" y="790"/>
                </a:lnTo>
                <a:lnTo>
                  <a:pt x="1334" y="789"/>
                </a:lnTo>
                <a:lnTo>
                  <a:pt x="1321" y="789"/>
                </a:lnTo>
                <a:lnTo>
                  <a:pt x="1309" y="791"/>
                </a:lnTo>
                <a:lnTo>
                  <a:pt x="1309" y="791"/>
                </a:lnTo>
                <a:lnTo>
                  <a:pt x="1287" y="793"/>
                </a:lnTo>
                <a:lnTo>
                  <a:pt x="1266" y="796"/>
                </a:lnTo>
                <a:lnTo>
                  <a:pt x="1245" y="797"/>
                </a:lnTo>
                <a:lnTo>
                  <a:pt x="1227" y="797"/>
                </a:lnTo>
                <a:lnTo>
                  <a:pt x="1191" y="796"/>
                </a:lnTo>
                <a:lnTo>
                  <a:pt x="1174" y="796"/>
                </a:lnTo>
                <a:lnTo>
                  <a:pt x="1158" y="797"/>
                </a:lnTo>
                <a:lnTo>
                  <a:pt x="1143" y="800"/>
                </a:lnTo>
                <a:lnTo>
                  <a:pt x="1128" y="804"/>
                </a:lnTo>
                <a:lnTo>
                  <a:pt x="1114" y="811"/>
                </a:lnTo>
                <a:lnTo>
                  <a:pt x="1102" y="819"/>
                </a:lnTo>
                <a:lnTo>
                  <a:pt x="1089" y="830"/>
                </a:lnTo>
                <a:lnTo>
                  <a:pt x="1076" y="845"/>
                </a:lnTo>
                <a:lnTo>
                  <a:pt x="1066" y="863"/>
                </a:lnTo>
                <a:lnTo>
                  <a:pt x="1054" y="886"/>
                </a:lnTo>
                <a:lnTo>
                  <a:pt x="1054" y="886"/>
                </a:lnTo>
                <a:lnTo>
                  <a:pt x="1046" y="895"/>
                </a:lnTo>
                <a:lnTo>
                  <a:pt x="1037" y="901"/>
                </a:lnTo>
                <a:lnTo>
                  <a:pt x="1029" y="905"/>
                </a:lnTo>
                <a:lnTo>
                  <a:pt x="1020" y="907"/>
                </a:lnTo>
                <a:lnTo>
                  <a:pt x="1012" y="908"/>
                </a:lnTo>
                <a:lnTo>
                  <a:pt x="1004" y="907"/>
                </a:lnTo>
                <a:lnTo>
                  <a:pt x="997" y="905"/>
                </a:lnTo>
                <a:lnTo>
                  <a:pt x="990" y="901"/>
                </a:lnTo>
                <a:lnTo>
                  <a:pt x="984" y="898"/>
                </a:lnTo>
                <a:lnTo>
                  <a:pt x="981" y="892"/>
                </a:lnTo>
                <a:lnTo>
                  <a:pt x="977" y="888"/>
                </a:lnTo>
                <a:lnTo>
                  <a:pt x="976" y="881"/>
                </a:lnTo>
                <a:lnTo>
                  <a:pt x="976" y="875"/>
                </a:lnTo>
                <a:lnTo>
                  <a:pt x="978" y="869"/>
                </a:lnTo>
                <a:lnTo>
                  <a:pt x="983" y="862"/>
                </a:lnTo>
                <a:lnTo>
                  <a:pt x="989" y="857"/>
                </a:lnTo>
                <a:lnTo>
                  <a:pt x="989" y="857"/>
                </a:lnTo>
                <a:lnTo>
                  <a:pt x="997" y="851"/>
                </a:lnTo>
                <a:lnTo>
                  <a:pt x="1005" y="844"/>
                </a:lnTo>
                <a:lnTo>
                  <a:pt x="1021" y="834"/>
                </a:lnTo>
                <a:lnTo>
                  <a:pt x="1036" y="823"/>
                </a:lnTo>
                <a:lnTo>
                  <a:pt x="1050" y="813"/>
                </a:lnTo>
                <a:lnTo>
                  <a:pt x="1057" y="807"/>
                </a:lnTo>
                <a:lnTo>
                  <a:pt x="1061" y="800"/>
                </a:lnTo>
                <a:lnTo>
                  <a:pt x="1067" y="793"/>
                </a:lnTo>
                <a:lnTo>
                  <a:pt x="1071" y="785"/>
                </a:lnTo>
                <a:lnTo>
                  <a:pt x="1073" y="776"/>
                </a:lnTo>
                <a:lnTo>
                  <a:pt x="1074" y="765"/>
                </a:lnTo>
                <a:lnTo>
                  <a:pt x="1074" y="753"/>
                </a:lnTo>
                <a:lnTo>
                  <a:pt x="1073" y="739"/>
                </a:lnTo>
                <a:lnTo>
                  <a:pt x="1073" y="739"/>
                </a:lnTo>
                <a:lnTo>
                  <a:pt x="1071" y="722"/>
                </a:lnTo>
                <a:lnTo>
                  <a:pt x="1067" y="707"/>
                </a:lnTo>
                <a:lnTo>
                  <a:pt x="1064" y="693"/>
                </a:lnTo>
                <a:lnTo>
                  <a:pt x="1060" y="681"/>
                </a:lnTo>
                <a:lnTo>
                  <a:pt x="1056" y="669"/>
                </a:lnTo>
                <a:lnTo>
                  <a:pt x="1050" y="660"/>
                </a:lnTo>
                <a:lnTo>
                  <a:pt x="1044" y="651"/>
                </a:lnTo>
                <a:lnTo>
                  <a:pt x="1038" y="644"/>
                </a:lnTo>
                <a:lnTo>
                  <a:pt x="1033" y="637"/>
                </a:lnTo>
                <a:lnTo>
                  <a:pt x="1026" y="631"/>
                </a:lnTo>
                <a:lnTo>
                  <a:pt x="1019" y="626"/>
                </a:lnTo>
                <a:lnTo>
                  <a:pt x="1012" y="623"/>
                </a:lnTo>
                <a:lnTo>
                  <a:pt x="997" y="616"/>
                </a:lnTo>
                <a:lnTo>
                  <a:pt x="982" y="613"/>
                </a:lnTo>
                <a:lnTo>
                  <a:pt x="966" y="610"/>
                </a:lnTo>
                <a:lnTo>
                  <a:pt x="951" y="608"/>
                </a:lnTo>
                <a:lnTo>
                  <a:pt x="936" y="607"/>
                </a:lnTo>
                <a:lnTo>
                  <a:pt x="921" y="605"/>
                </a:lnTo>
                <a:lnTo>
                  <a:pt x="908" y="600"/>
                </a:lnTo>
                <a:lnTo>
                  <a:pt x="903" y="598"/>
                </a:lnTo>
                <a:lnTo>
                  <a:pt x="897" y="594"/>
                </a:lnTo>
                <a:lnTo>
                  <a:pt x="891" y="591"/>
                </a:lnTo>
                <a:lnTo>
                  <a:pt x="886" y="586"/>
                </a:lnTo>
                <a:lnTo>
                  <a:pt x="882" y="580"/>
                </a:lnTo>
                <a:lnTo>
                  <a:pt x="878" y="575"/>
                </a:lnTo>
                <a:lnTo>
                  <a:pt x="878" y="575"/>
                </a:lnTo>
                <a:lnTo>
                  <a:pt x="878" y="567"/>
                </a:lnTo>
                <a:lnTo>
                  <a:pt x="880" y="560"/>
                </a:lnTo>
                <a:lnTo>
                  <a:pt x="881" y="554"/>
                </a:lnTo>
                <a:lnTo>
                  <a:pt x="884" y="549"/>
                </a:lnTo>
                <a:lnTo>
                  <a:pt x="888" y="546"/>
                </a:lnTo>
                <a:lnTo>
                  <a:pt x="891" y="542"/>
                </a:lnTo>
                <a:lnTo>
                  <a:pt x="897" y="540"/>
                </a:lnTo>
                <a:lnTo>
                  <a:pt x="901" y="539"/>
                </a:lnTo>
                <a:lnTo>
                  <a:pt x="914" y="537"/>
                </a:lnTo>
                <a:lnTo>
                  <a:pt x="928" y="537"/>
                </a:lnTo>
                <a:lnTo>
                  <a:pt x="958" y="537"/>
                </a:lnTo>
                <a:lnTo>
                  <a:pt x="972" y="537"/>
                </a:lnTo>
                <a:lnTo>
                  <a:pt x="985" y="536"/>
                </a:lnTo>
                <a:lnTo>
                  <a:pt x="998" y="532"/>
                </a:lnTo>
                <a:lnTo>
                  <a:pt x="1003" y="529"/>
                </a:lnTo>
                <a:lnTo>
                  <a:pt x="1007" y="525"/>
                </a:lnTo>
                <a:lnTo>
                  <a:pt x="1012" y="522"/>
                </a:lnTo>
                <a:lnTo>
                  <a:pt x="1015" y="517"/>
                </a:lnTo>
                <a:lnTo>
                  <a:pt x="1018" y="510"/>
                </a:lnTo>
                <a:lnTo>
                  <a:pt x="1019" y="503"/>
                </a:lnTo>
                <a:lnTo>
                  <a:pt x="1019" y="495"/>
                </a:lnTo>
                <a:lnTo>
                  <a:pt x="1019" y="486"/>
                </a:lnTo>
                <a:lnTo>
                  <a:pt x="1018" y="476"/>
                </a:lnTo>
                <a:lnTo>
                  <a:pt x="1014" y="463"/>
                </a:lnTo>
                <a:lnTo>
                  <a:pt x="1014" y="463"/>
                </a:lnTo>
                <a:lnTo>
                  <a:pt x="1013" y="449"/>
                </a:lnTo>
                <a:lnTo>
                  <a:pt x="1013" y="438"/>
                </a:lnTo>
                <a:lnTo>
                  <a:pt x="1013" y="427"/>
                </a:lnTo>
                <a:lnTo>
                  <a:pt x="1015" y="419"/>
                </a:lnTo>
                <a:lnTo>
                  <a:pt x="1018" y="412"/>
                </a:lnTo>
                <a:lnTo>
                  <a:pt x="1020" y="408"/>
                </a:lnTo>
                <a:lnTo>
                  <a:pt x="1025" y="403"/>
                </a:lnTo>
                <a:lnTo>
                  <a:pt x="1028" y="401"/>
                </a:lnTo>
                <a:lnTo>
                  <a:pt x="1033" y="399"/>
                </a:lnTo>
                <a:lnTo>
                  <a:pt x="1038" y="399"/>
                </a:lnTo>
                <a:lnTo>
                  <a:pt x="1049" y="399"/>
                </a:lnTo>
                <a:lnTo>
                  <a:pt x="1069" y="401"/>
                </a:lnTo>
                <a:lnTo>
                  <a:pt x="1069" y="401"/>
                </a:lnTo>
                <a:lnTo>
                  <a:pt x="1090" y="403"/>
                </a:lnTo>
                <a:lnTo>
                  <a:pt x="1106" y="403"/>
                </a:lnTo>
                <a:lnTo>
                  <a:pt x="1120" y="402"/>
                </a:lnTo>
                <a:lnTo>
                  <a:pt x="1130" y="397"/>
                </a:lnTo>
                <a:lnTo>
                  <a:pt x="1138" y="393"/>
                </a:lnTo>
                <a:lnTo>
                  <a:pt x="1144" y="387"/>
                </a:lnTo>
                <a:lnTo>
                  <a:pt x="1150" y="380"/>
                </a:lnTo>
                <a:lnTo>
                  <a:pt x="1152" y="372"/>
                </a:lnTo>
                <a:lnTo>
                  <a:pt x="1158" y="356"/>
                </a:lnTo>
                <a:lnTo>
                  <a:pt x="1163" y="342"/>
                </a:lnTo>
                <a:lnTo>
                  <a:pt x="1166" y="335"/>
                </a:lnTo>
                <a:lnTo>
                  <a:pt x="1170" y="331"/>
                </a:lnTo>
                <a:lnTo>
                  <a:pt x="1175" y="326"/>
                </a:lnTo>
                <a:lnTo>
                  <a:pt x="1183" y="324"/>
                </a:lnTo>
                <a:lnTo>
                  <a:pt x="1183" y="324"/>
                </a:lnTo>
                <a:lnTo>
                  <a:pt x="1197" y="321"/>
                </a:lnTo>
                <a:lnTo>
                  <a:pt x="1209" y="317"/>
                </a:lnTo>
                <a:lnTo>
                  <a:pt x="1220" y="310"/>
                </a:lnTo>
                <a:lnTo>
                  <a:pt x="1229" y="303"/>
                </a:lnTo>
                <a:lnTo>
                  <a:pt x="1239" y="294"/>
                </a:lnTo>
                <a:lnTo>
                  <a:pt x="1245" y="285"/>
                </a:lnTo>
                <a:lnTo>
                  <a:pt x="1252" y="274"/>
                </a:lnTo>
                <a:lnTo>
                  <a:pt x="1258" y="264"/>
                </a:lnTo>
                <a:lnTo>
                  <a:pt x="1262" y="254"/>
                </a:lnTo>
                <a:lnTo>
                  <a:pt x="1265" y="244"/>
                </a:lnTo>
                <a:lnTo>
                  <a:pt x="1266" y="234"/>
                </a:lnTo>
                <a:lnTo>
                  <a:pt x="1267" y="225"/>
                </a:lnTo>
                <a:lnTo>
                  <a:pt x="1266" y="217"/>
                </a:lnTo>
                <a:lnTo>
                  <a:pt x="1264" y="209"/>
                </a:lnTo>
                <a:lnTo>
                  <a:pt x="1262" y="203"/>
                </a:lnTo>
                <a:lnTo>
                  <a:pt x="1257" y="200"/>
                </a:lnTo>
                <a:lnTo>
                  <a:pt x="1257" y="200"/>
                </a:lnTo>
                <a:lnTo>
                  <a:pt x="1237" y="208"/>
                </a:lnTo>
                <a:lnTo>
                  <a:pt x="1229" y="211"/>
                </a:lnTo>
                <a:lnTo>
                  <a:pt x="1221" y="212"/>
                </a:lnTo>
                <a:lnTo>
                  <a:pt x="1214" y="213"/>
                </a:lnTo>
                <a:lnTo>
                  <a:pt x="1207" y="213"/>
                </a:lnTo>
                <a:lnTo>
                  <a:pt x="1202" y="213"/>
                </a:lnTo>
                <a:lnTo>
                  <a:pt x="1196" y="212"/>
                </a:lnTo>
                <a:lnTo>
                  <a:pt x="1186" y="208"/>
                </a:lnTo>
                <a:lnTo>
                  <a:pt x="1178" y="203"/>
                </a:lnTo>
                <a:lnTo>
                  <a:pt x="1170" y="196"/>
                </a:lnTo>
                <a:lnTo>
                  <a:pt x="1163" y="188"/>
                </a:lnTo>
                <a:lnTo>
                  <a:pt x="1155" y="181"/>
                </a:lnTo>
                <a:lnTo>
                  <a:pt x="1148" y="174"/>
                </a:lnTo>
                <a:lnTo>
                  <a:pt x="1140" y="168"/>
                </a:lnTo>
                <a:lnTo>
                  <a:pt x="1129" y="164"/>
                </a:lnTo>
                <a:lnTo>
                  <a:pt x="1125" y="163"/>
                </a:lnTo>
                <a:lnTo>
                  <a:pt x="1119" y="163"/>
                </a:lnTo>
                <a:lnTo>
                  <a:pt x="1113" y="163"/>
                </a:lnTo>
                <a:lnTo>
                  <a:pt x="1106" y="164"/>
                </a:lnTo>
                <a:lnTo>
                  <a:pt x="1098" y="166"/>
                </a:lnTo>
                <a:lnTo>
                  <a:pt x="1091" y="168"/>
                </a:lnTo>
                <a:lnTo>
                  <a:pt x="1073" y="178"/>
                </a:lnTo>
                <a:lnTo>
                  <a:pt x="1073" y="178"/>
                </a:lnTo>
                <a:lnTo>
                  <a:pt x="1065" y="181"/>
                </a:lnTo>
                <a:lnTo>
                  <a:pt x="1062" y="181"/>
                </a:lnTo>
                <a:lnTo>
                  <a:pt x="1061" y="181"/>
                </a:lnTo>
                <a:lnTo>
                  <a:pt x="1060" y="180"/>
                </a:lnTo>
                <a:lnTo>
                  <a:pt x="1060" y="179"/>
                </a:lnTo>
                <a:lnTo>
                  <a:pt x="1062" y="173"/>
                </a:lnTo>
                <a:lnTo>
                  <a:pt x="1072" y="155"/>
                </a:lnTo>
                <a:lnTo>
                  <a:pt x="1077" y="143"/>
                </a:lnTo>
                <a:lnTo>
                  <a:pt x="1082" y="129"/>
                </a:lnTo>
                <a:lnTo>
                  <a:pt x="1087" y="114"/>
                </a:lnTo>
                <a:lnTo>
                  <a:pt x="1088" y="98"/>
                </a:lnTo>
                <a:lnTo>
                  <a:pt x="1089" y="90"/>
                </a:lnTo>
                <a:lnTo>
                  <a:pt x="1088" y="82"/>
                </a:lnTo>
                <a:lnTo>
                  <a:pt x="1087" y="73"/>
                </a:lnTo>
                <a:lnTo>
                  <a:pt x="1084" y="65"/>
                </a:lnTo>
                <a:lnTo>
                  <a:pt x="1081" y="57"/>
                </a:lnTo>
                <a:lnTo>
                  <a:pt x="1076" y="49"/>
                </a:lnTo>
                <a:lnTo>
                  <a:pt x="1071" y="40"/>
                </a:lnTo>
                <a:lnTo>
                  <a:pt x="1064" y="32"/>
                </a:lnTo>
                <a:lnTo>
                  <a:pt x="1056" y="23"/>
                </a:lnTo>
                <a:lnTo>
                  <a:pt x="1046" y="15"/>
                </a:lnTo>
                <a:lnTo>
                  <a:pt x="1035" y="9"/>
                </a:lnTo>
                <a:lnTo>
                  <a:pt x="1022" y="0"/>
                </a:lnTo>
                <a:lnTo>
                  <a:pt x="1022" y="0"/>
                </a:lnTo>
                <a:lnTo>
                  <a:pt x="988" y="20"/>
                </a:lnTo>
                <a:lnTo>
                  <a:pt x="955" y="38"/>
                </a:lnTo>
                <a:lnTo>
                  <a:pt x="939" y="46"/>
                </a:lnTo>
                <a:lnTo>
                  <a:pt x="924" y="56"/>
                </a:lnTo>
                <a:lnTo>
                  <a:pt x="911" y="66"/>
                </a:lnTo>
                <a:lnTo>
                  <a:pt x="897" y="76"/>
                </a:lnTo>
                <a:lnTo>
                  <a:pt x="885" y="88"/>
                </a:lnTo>
                <a:lnTo>
                  <a:pt x="874" y="101"/>
                </a:lnTo>
                <a:lnTo>
                  <a:pt x="865" y="116"/>
                </a:lnTo>
                <a:lnTo>
                  <a:pt x="855" y="132"/>
                </a:lnTo>
                <a:lnTo>
                  <a:pt x="848" y="149"/>
                </a:lnTo>
                <a:lnTo>
                  <a:pt x="844" y="170"/>
                </a:lnTo>
                <a:lnTo>
                  <a:pt x="840" y="193"/>
                </a:lnTo>
                <a:lnTo>
                  <a:pt x="838" y="218"/>
                </a:lnTo>
                <a:lnTo>
                  <a:pt x="838" y="218"/>
                </a:lnTo>
                <a:lnTo>
                  <a:pt x="848" y="216"/>
                </a:lnTo>
                <a:lnTo>
                  <a:pt x="860" y="213"/>
                </a:lnTo>
                <a:lnTo>
                  <a:pt x="875" y="212"/>
                </a:lnTo>
                <a:lnTo>
                  <a:pt x="892" y="212"/>
                </a:lnTo>
                <a:lnTo>
                  <a:pt x="909" y="214"/>
                </a:lnTo>
                <a:lnTo>
                  <a:pt x="919" y="217"/>
                </a:lnTo>
                <a:lnTo>
                  <a:pt x="928" y="219"/>
                </a:lnTo>
                <a:lnTo>
                  <a:pt x="936" y="224"/>
                </a:lnTo>
                <a:lnTo>
                  <a:pt x="945" y="228"/>
                </a:lnTo>
                <a:lnTo>
                  <a:pt x="945" y="228"/>
                </a:lnTo>
                <a:lnTo>
                  <a:pt x="943" y="261"/>
                </a:lnTo>
                <a:lnTo>
                  <a:pt x="941" y="271"/>
                </a:lnTo>
                <a:lnTo>
                  <a:pt x="939" y="275"/>
                </a:lnTo>
                <a:lnTo>
                  <a:pt x="937" y="279"/>
                </a:lnTo>
                <a:lnTo>
                  <a:pt x="934" y="282"/>
                </a:lnTo>
                <a:lnTo>
                  <a:pt x="930" y="285"/>
                </a:lnTo>
                <a:lnTo>
                  <a:pt x="927" y="287"/>
                </a:lnTo>
                <a:lnTo>
                  <a:pt x="921" y="288"/>
                </a:lnTo>
                <a:lnTo>
                  <a:pt x="907" y="290"/>
                </a:lnTo>
                <a:lnTo>
                  <a:pt x="890" y="290"/>
                </a:lnTo>
                <a:lnTo>
                  <a:pt x="890" y="290"/>
                </a:lnTo>
                <a:lnTo>
                  <a:pt x="883" y="290"/>
                </a:lnTo>
                <a:lnTo>
                  <a:pt x="877" y="288"/>
                </a:lnTo>
                <a:lnTo>
                  <a:pt x="863" y="282"/>
                </a:lnTo>
                <a:lnTo>
                  <a:pt x="850" y="275"/>
                </a:lnTo>
                <a:lnTo>
                  <a:pt x="832" y="269"/>
                </a:lnTo>
                <a:lnTo>
                  <a:pt x="822" y="265"/>
                </a:lnTo>
                <a:lnTo>
                  <a:pt x="812" y="263"/>
                </a:lnTo>
                <a:lnTo>
                  <a:pt x="800" y="262"/>
                </a:lnTo>
                <a:lnTo>
                  <a:pt x="787" y="262"/>
                </a:lnTo>
                <a:lnTo>
                  <a:pt x="774" y="263"/>
                </a:lnTo>
                <a:lnTo>
                  <a:pt x="759" y="265"/>
                </a:lnTo>
                <a:lnTo>
                  <a:pt x="743" y="270"/>
                </a:lnTo>
                <a:lnTo>
                  <a:pt x="724" y="275"/>
                </a:lnTo>
                <a:lnTo>
                  <a:pt x="724" y="275"/>
                </a:lnTo>
                <a:lnTo>
                  <a:pt x="700" y="301"/>
                </a:lnTo>
                <a:lnTo>
                  <a:pt x="676" y="324"/>
                </a:lnTo>
                <a:lnTo>
                  <a:pt x="649" y="345"/>
                </a:lnTo>
                <a:lnTo>
                  <a:pt x="623" y="365"/>
                </a:lnTo>
                <a:lnTo>
                  <a:pt x="595" y="384"/>
                </a:lnTo>
                <a:lnTo>
                  <a:pt x="569" y="402"/>
                </a:lnTo>
                <a:lnTo>
                  <a:pt x="514" y="438"/>
                </a:lnTo>
                <a:lnTo>
                  <a:pt x="486" y="456"/>
                </a:lnTo>
                <a:lnTo>
                  <a:pt x="460" y="475"/>
                </a:lnTo>
                <a:lnTo>
                  <a:pt x="433" y="494"/>
                </a:lnTo>
                <a:lnTo>
                  <a:pt x="408" y="514"/>
                </a:lnTo>
                <a:lnTo>
                  <a:pt x="382" y="536"/>
                </a:lnTo>
                <a:lnTo>
                  <a:pt x="359" y="559"/>
                </a:lnTo>
                <a:lnTo>
                  <a:pt x="338" y="584"/>
                </a:lnTo>
                <a:lnTo>
                  <a:pt x="317" y="610"/>
                </a:lnTo>
                <a:lnTo>
                  <a:pt x="317" y="610"/>
                </a:lnTo>
                <a:lnTo>
                  <a:pt x="305" y="629"/>
                </a:lnTo>
                <a:lnTo>
                  <a:pt x="295" y="648"/>
                </a:lnTo>
                <a:lnTo>
                  <a:pt x="274" y="692"/>
                </a:lnTo>
                <a:lnTo>
                  <a:pt x="252" y="738"/>
                </a:lnTo>
                <a:lnTo>
                  <a:pt x="241" y="759"/>
                </a:lnTo>
                <a:lnTo>
                  <a:pt x="228" y="779"/>
                </a:lnTo>
                <a:lnTo>
                  <a:pt x="228" y="779"/>
                </a:lnTo>
                <a:lnTo>
                  <a:pt x="209" y="808"/>
                </a:lnTo>
                <a:lnTo>
                  <a:pt x="191" y="835"/>
                </a:lnTo>
                <a:lnTo>
                  <a:pt x="162" y="880"/>
                </a:lnTo>
                <a:lnTo>
                  <a:pt x="151" y="898"/>
                </a:lnTo>
                <a:lnTo>
                  <a:pt x="145" y="912"/>
                </a:lnTo>
                <a:lnTo>
                  <a:pt x="144" y="918"/>
                </a:lnTo>
                <a:lnTo>
                  <a:pt x="144" y="923"/>
                </a:lnTo>
                <a:lnTo>
                  <a:pt x="145" y="927"/>
                </a:lnTo>
                <a:lnTo>
                  <a:pt x="148" y="930"/>
                </a:lnTo>
                <a:lnTo>
                  <a:pt x="148" y="930"/>
                </a:lnTo>
                <a:lnTo>
                  <a:pt x="167" y="944"/>
                </a:lnTo>
                <a:lnTo>
                  <a:pt x="182" y="952"/>
                </a:lnTo>
                <a:lnTo>
                  <a:pt x="195" y="957"/>
                </a:lnTo>
                <a:lnTo>
                  <a:pt x="206" y="959"/>
                </a:lnTo>
                <a:lnTo>
                  <a:pt x="217" y="959"/>
                </a:lnTo>
                <a:lnTo>
                  <a:pt x="228" y="958"/>
                </a:lnTo>
                <a:lnTo>
                  <a:pt x="243" y="958"/>
                </a:lnTo>
                <a:lnTo>
                  <a:pt x="262" y="960"/>
                </a:lnTo>
                <a:lnTo>
                  <a:pt x="262" y="960"/>
                </a:lnTo>
                <a:lnTo>
                  <a:pt x="270" y="957"/>
                </a:lnTo>
                <a:lnTo>
                  <a:pt x="278" y="954"/>
                </a:lnTo>
                <a:lnTo>
                  <a:pt x="285" y="956"/>
                </a:lnTo>
                <a:lnTo>
                  <a:pt x="290" y="958"/>
                </a:lnTo>
                <a:lnTo>
                  <a:pt x="295" y="961"/>
                </a:lnTo>
                <a:lnTo>
                  <a:pt x="300" y="966"/>
                </a:lnTo>
                <a:lnTo>
                  <a:pt x="304" y="972"/>
                </a:lnTo>
                <a:lnTo>
                  <a:pt x="306" y="977"/>
                </a:lnTo>
                <a:lnTo>
                  <a:pt x="311" y="990"/>
                </a:lnTo>
                <a:lnTo>
                  <a:pt x="315" y="1003"/>
                </a:lnTo>
                <a:lnTo>
                  <a:pt x="317" y="1014"/>
                </a:lnTo>
                <a:lnTo>
                  <a:pt x="317" y="1014"/>
                </a:lnTo>
                <a:lnTo>
                  <a:pt x="312" y="1019"/>
                </a:lnTo>
                <a:lnTo>
                  <a:pt x="310" y="1022"/>
                </a:lnTo>
                <a:lnTo>
                  <a:pt x="308" y="1031"/>
                </a:lnTo>
                <a:lnTo>
                  <a:pt x="305" y="1041"/>
                </a:lnTo>
                <a:lnTo>
                  <a:pt x="302" y="1050"/>
                </a:lnTo>
                <a:lnTo>
                  <a:pt x="300" y="1052"/>
                </a:lnTo>
                <a:lnTo>
                  <a:pt x="296" y="1056"/>
                </a:lnTo>
                <a:lnTo>
                  <a:pt x="292" y="1057"/>
                </a:lnTo>
                <a:lnTo>
                  <a:pt x="286" y="1058"/>
                </a:lnTo>
                <a:lnTo>
                  <a:pt x="278" y="1058"/>
                </a:lnTo>
                <a:lnTo>
                  <a:pt x="269" y="1056"/>
                </a:lnTo>
                <a:lnTo>
                  <a:pt x="257" y="1052"/>
                </a:lnTo>
                <a:lnTo>
                  <a:pt x="243" y="1048"/>
                </a:lnTo>
                <a:lnTo>
                  <a:pt x="243" y="1048"/>
                </a:lnTo>
                <a:lnTo>
                  <a:pt x="237" y="1057"/>
                </a:lnTo>
                <a:lnTo>
                  <a:pt x="232" y="1064"/>
                </a:lnTo>
                <a:lnTo>
                  <a:pt x="225" y="1069"/>
                </a:lnTo>
                <a:lnTo>
                  <a:pt x="219" y="1073"/>
                </a:lnTo>
                <a:lnTo>
                  <a:pt x="212" y="1076"/>
                </a:lnTo>
                <a:lnTo>
                  <a:pt x="206" y="1079"/>
                </a:lnTo>
                <a:lnTo>
                  <a:pt x="199" y="1081"/>
                </a:lnTo>
                <a:lnTo>
                  <a:pt x="193" y="1081"/>
                </a:lnTo>
                <a:lnTo>
                  <a:pt x="185" y="1081"/>
                </a:lnTo>
                <a:lnTo>
                  <a:pt x="178" y="1079"/>
                </a:lnTo>
                <a:lnTo>
                  <a:pt x="163" y="1074"/>
                </a:lnTo>
                <a:lnTo>
                  <a:pt x="148" y="1067"/>
                </a:lnTo>
                <a:lnTo>
                  <a:pt x="133" y="1059"/>
                </a:lnTo>
                <a:lnTo>
                  <a:pt x="133" y="1059"/>
                </a:lnTo>
                <a:lnTo>
                  <a:pt x="127" y="1057"/>
                </a:lnTo>
                <a:lnTo>
                  <a:pt x="124" y="1056"/>
                </a:lnTo>
                <a:lnTo>
                  <a:pt x="121" y="1058"/>
                </a:lnTo>
                <a:lnTo>
                  <a:pt x="119" y="1061"/>
                </a:lnTo>
                <a:lnTo>
                  <a:pt x="119" y="1066"/>
                </a:lnTo>
                <a:lnTo>
                  <a:pt x="119" y="1072"/>
                </a:lnTo>
                <a:lnTo>
                  <a:pt x="120" y="1089"/>
                </a:lnTo>
                <a:lnTo>
                  <a:pt x="122" y="1109"/>
                </a:lnTo>
                <a:lnTo>
                  <a:pt x="124" y="1130"/>
                </a:lnTo>
                <a:lnTo>
                  <a:pt x="124" y="1142"/>
                </a:lnTo>
                <a:lnTo>
                  <a:pt x="122" y="1153"/>
                </a:lnTo>
                <a:lnTo>
                  <a:pt x="121" y="1165"/>
                </a:lnTo>
                <a:lnTo>
                  <a:pt x="118" y="1176"/>
                </a:lnTo>
                <a:lnTo>
                  <a:pt x="118" y="1176"/>
                </a:lnTo>
                <a:lnTo>
                  <a:pt x="114" y="1187"/>
                </a:lnTo>
                <a:lnTo>
                  <a:pt x="107" y="1197"/>
                </a:lnTo>
                <a:lnTo>
                  <a:pt x="101" y="1208"/>
                </a:lnTo>
                <a:lnTo>
                  <a:pt x="92" y="1216"/>
                </a:lnTo>
                <a:lnTo>
                  <a:pt x="73" y="1233"/>
                </a:lnTo>
                <a:lnTo>
                  <a:pt x="52" y="1249"/>
                </a:lnTo>
                <a:lnTo>
                  <a:pt x="43" y="1258"/>
                </a:lnTo>
                <a:lnTo>
                  <a:pt x="33" y="1266"/>
                </a:lnTo>
                <a:lnTo>
                  <a:pt x="25" y="1277"/>
                </a:lnTo>
                <a:lnTo>
                  <a:pt x="17" y="1287"/>
                </a:lnTo>
                <a:lnTo>
                  <a:pt x="10" y="1298"/>
                </a:lnTo>
                <a:lnTo>
                  <a:pt x="5" y="1311"/>
                </a:lnTo>
                <a:lnTo>
                  <a:pt x="2" y="1326"/>
                </a:lnTo>
                <a:lnTo>
                  <a:pt x="0" y="1341"/>
                </a:lnTo>
                <a:lnTo>
                  <a:pt x="0" y="1341"/>
                </a:lnTo>
                <a:lnTo>
                  <a:pt x="2" y="1349"/>
                </a:lnTo>
                <a:lnTo>
                  <a:pt x="2" y="1355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11" y="1359"/>
                </a:lnTo>
                <a:lnTo>
                  <a:pt x="15" y="1359"/>
                </a:lnTo>
                <a:lnTo>
                  <a:pt x="23" y="1361"/>
                </a:lnTo>
                <a:lnTo>
                  <a:pt x="29" y="1363"/>
                </a:lnTo>
                <a:lnTo>
                  <a:pt x="34" y="1364"/>
                </a:lnTo>
                <a:lnTo>
                  <a:pt x="34" y="1364"/>
                </a:lnTo>
                <a:lnTo>
                  <a:pt x="42" y="1364"/>
                </a:lnTo>
                <a:lnTo>
                  <a:pt x="51" y="1366"/>
                </a:lnTo>
                <a:lnTo>
                  <a:pt x="60" y="1369"/>
                </a:lnTo>
                <a:lnTo>
                  <a:pt x="71" y="1372"/>
                </a:lnTo>
                <a:lnTo>
                  <a:pt x="92" y="1381"/>
                </a:lnTo>
                <a:lnTo>
                  <a:pt x="113" y="1393"/>
                </a:lnTo>
                <a:lnTo>
                  <a:pt x="124" y="1400"/>
                </a:lnTo>
                <a:lnTo>
                  <a:pt x="133" y="1407"/>
                </a:lnTo>
                <a:lnTo>
                  <a:pt x="141" y="1415"/>
                </a:lnTo>
                <a:lnTo>
                  <a:pt x="148" y="1423"/>
                </a:lnTo>
                <a:lnTo>
                  <a:pt x="153" y="1431"/>
                </a:lnTo>
                <a:lnTo>
                  <a:pt x="158" y="1439"/>
                </a:lnTo>
                <a:lnTo>
                  <a:pt x="162" y="1447"/>
                </a:lnTo>
                <a:lnTo>
                  <a:pt x="163" y="1455"/>
                </a:lnTo>
                <a:lnTo>
                  <a:pt x="163" y="1455"/>
                </a:lnTo>
                <a:lnTo>
                  <a:pt x="162" y="1468"/>
                </a:lnTo>
                <a:lnTo>
                  <a:pt x="159" y="1477"/>
                </a:lnTo>
                <a:lnTo>
                  <a:pt x="155" y="1485"/>
                </a:lnTo>
                <a:lnTo>
                  <a:pt x="151" y="1491"/>
                </a:lnTo>
                <a:lnTo>
                  <a:pt x="142" y="1500"/>
                </a:lnTo>
                <a:lnTo>
                  <a:pt x="138" y="1504"/>
                </a:lnTo>
                <a:lnTo>
                  <a:pt x="136" y="1511"/>
                </a:lnTo>
                <a:lnTo>
                  <a:pt x="136" y="1511"/>
                </a:lnTo>
                <a:lnTo>
                  <a:pt x="135" y="1516"/>
                </a:lnTo>
                <a:lnTo>
                  <a:pt x="134" y="1522"/>
                </a:lnTo>
                <a:lnTo>
                  <a:pt x="135" y="1531"/>
                </a:lnTo>
                <a:lnTo>
                  <a:pt x="137" y="1541"/>
                </a:lnTo>
                <a:lnTo>
                  <a:pt x="137" y="1546"/>
                </a:lnTo>
                <a:lnTo>
                  <a:pt x="136" y="1552"/>
                </a:lnTo>
                <a:lnTo>
                  <a:pt x="136" y="1552"/>
                </a:lnTo>
                <a:lnTo>
                  <a:pt x="134" y="1560"/>
                </a:lnTo>
                <a:lnTo>
                  <a:pt x="129" y="1567"/>
                </a:lnTo>
                <a:lnTo>
                  <a:pt x="121" y="1580"/>
                </a:lnTo>
                <a:lnTo>
                  <a:pt x="102" y="1607"/>
                </a:lnTo>
                <a:lnTo>
                  <a:pt x="92" y="1621"/>
                </a:lnTo>
                <a:lnTo>
                  <a:pt x="84" y="1634"/>
                </a:lnTo>
                <a:lnTo>
                  <a:pt x="82" y="1643"/>
                </a:lnTo>
                <a:lnTo>
                  <a:pt x="80" y="1651"/>
                </a:lnTo>
                <a:lnTo>
                  <a:pt x="79" y="1659"/>
                </a:lnTo>
                <a:lnTo>
                  <a:pt x="78" y="1668"/>
                </a:lnTo>
                <a:lnTo>
                  <a:pt x="78" y="1668"/>
                </a:lnTo>
                <a:lnTo>
                  <a:pt x="79" y="1678"/>
                </a:lnTo>
                <a:lnTo>
                  <a:pt x="80" y="1686"/>
                </a:lnTo>
                <a:lnTo>
                  <a:pt x="83" y="1692"/>
                </a:lnTo>
                <a:lnTo>
                  <a:pt x="88" y="1695"/>
                </a:lnTo>
                <a:lnTo>
                  <a:pt x="94" y="1698"/>
                </a:lnTo>
                <a:lnTo>
                  <a:pt x="101" y="1699"/>
                </a:lnTo>
                <a:lnTo>
                  <a:pt x="109" y="1699"/>
                </a:lnTo>
                <a:lnTo>
                  <a:pt x="118" y="1698"/>
                </a:lnTo>
                <a:lnTo>
                  <a:pt x="118" y="1698"/>
                </a:lnTo>
                <a:lnTo>
                  <a:pt x="120" y="1703"/>
                </a:lnTo>
                <a:lnTo>
                  <a:pt x="121" y="1708"/>
                </a:lnTo>
                <a:lnTo>
                  <a:pt x="122" y="1717"/>
                </a:lnTo>
                <a:lnTo>
                  <a:pt x="121" y="1735"/>
                </a:lnTo>
                <a:lnTo>
                  <a:pt x="121" y="1735"/>
                </a:lnTo>
                <a:lnTo>
                  <a:pt x="122" y="1739"/>
                </a:lnTo>
                <a:lnTo>
                  <a:pt x="126" y="1744"/>
                </a:lnTo>
                <a:lnTo>
                  <a:pt x="132" y="1750"/>
                </a:lnTo>
                <a:lnTo>
                  <a:pt x="138" y="1754"/>
                </a:lnTo>
                <a:lnTo>
                  <a:pt x="147" y="1758"/>
                </a:lnTo>
                <a:lnTo>
                  <a:pt x="156" y="1761"/>
                </a:lnTo>
                <a:lnTo>
                  <a:pt x="166" y="1763"/>
                </a:lnTo>
                <a:lnTo>
                  <a:pt x="176" y="1764"/>
                </a:lnTo>
                <a:lnTo>
                  <a:pt x="176" y="1764"/>
                </a:lnTo>
                <a:lnTo>
                  <a:pt x="183" y="1763"/>
                </a:lnTo>
                <a:lnTo>
                  <a:pt x="190" y="1762"/>
                </a:lnTo>
                <a:lnTo>
                  <a:pt x="203" y="1759"/>
                </a:lnTo>
                <a:lnTo>
                  <a:pt x="214" y="1755"/>
                </a:lnTo>
                <a:lnTo>
                  <a:pt x="221" y="1753"/>
                </a:lnTo>
                <a:lnTo>
                  <a:pt x="228" y="1753"/>
                </a:lnTo>
                <a:lnTo>
                  <a:pt x="228" y="1753"/>
                </a:lnTo>
                <a:lnTo>
                  <a:pt x="239" y="1754"/>
                </a:lnTo>
                <a:lnTo>
                  <a:pt x="247" y="1755"/>
                </a:lnTo>
                <a:lnTo>
                  <a:pt x="254" y="1759"/>
                </a:lnTo>
                <a:lnTo>
                  <a:pt x="259" y="1763"/>
                </a:lnTo>
                <a:lnTo>
                  <a:pt x="263" y="1768"/>
                </a:lnTo>
                <a:lnTo>
                  <a:pt x="266" y="1773"/>
                </a:lnTo>
                <a:lnTo>
                  <a:pt x="272" y="1785"/>
                </a:lnTo>
                <a:lnTo>
                  <a:pt x="277" y="1797"/>
                </a:lnTo>
                <a:lnTo>
                  <a:pt x="279" y="1802"/>
                </a:lnTo>
                <a:lnTo>
                  <a:pt x="281" y="1807"/>
                </a:lnTo>
                <a:lnTo>
                  <a:pt x="285" y="1812"/>
                </a:lnTo>
                <a:lnTo>
                  <a:pt x="289" y="1815"/>
                </a:lnTo>
                <a:lnTo>
                  <a:pt x="295" y="1819"/>
                </a:lnTo>
                <a:lnTo>
                  <a:pt x="302" y="1820"/>
                </a:lnTo>
                <a:lnTo>
                  <a:pt x="302" y="1820"/>
                </a:lnTo>
                <a:lnTo>
                  <a:pt x="308" y="1817"/>
                </a:lnTo>
                <a:lnTo>
                  <a:pt x="312" y="1816"/>
                </a:lnTo>
                <a:lnTo>
                  <a:pt x="320" y="1812"/>
                </a:lnTo>
                <a:lnTo>
                  <a:pt x="326" y="1806"/>
                </a:lnTo>
                <a:lnTo>
                  <a:pt x="335" y="1800"/>
                </a:lnTo>
                <a:lnTo>
                  <a:pt x="335" y="1800"/>
                </a:lnTo>
                <a:lnTo>
                  <a:pt x="342" y="1807"/>
                </a:lnTo>
                <a:lnTo>
                  <a:pt x="348" y="1814"/>
                </a:lnTo>
                <a:lnTo>
                  <a:pt x="361" y="1828"/>
                </a:lnTo>
                <a:lnTo>
                  <a:pt x="369" y="1835"/>
                </a:lnTo>
                <a:lnTo>
                  <a:pt x="377" y="1840"/>
                </a:lnTo>
                <a:lnTo>
                  <a:pt x="386" y="1844"/>
                </a:lnTo>
                <a:lnTo>
                  <a:pt x="392" y="1844"/>
                </a:lnTo>
                <a:lnTo>
                  <a:pt x="397" y="1845"/>
                </a:lnTo>
                <a:lnTo>
                  <a:pt x="397" y="1845"/>
                </a:lnTo>
                <a:lnTo>
                  <a:pt x="411" y="1844"/>
                </a:lnTo>
                <a:lnTo>
                  <a:pt x="422" y="1842"/>
                </a:lnTo>
                <a:lnTo>
                  <a:pt x="431" y="1837"/>
                </a:lnTo>
                <a:lnTo>
                  <a:pt x="438" y="1832"/>
                </a:lnTo>
                <a:lnTo>
                  <a:pt x="451" y="1822"/>
                </a:lnTo>
                <a:lnTo>
                  <a:pt x="458" y="1816"/>
                </a:lnTo>
                <a:lnTo>
                  <a:pt x="468" y="1812"/>
                </a:lnTo>
                <a:lnTo>
                  <a:pt x="468" y="1812"/>
                </a:lnTo>
                <a:lnTo>
                  <a:pt x="473" y="1811"/>
                </a:lnTo>
                <a:lnTo>
                  <a:pt x="478" y="1811"/>
                </a:lnTo>
                <a:lnTo>
                  <a:pt x="488" y="1812"/>
                </a:lnTo>
                <a:lnTo>
                  <a:pt x="499" y="1813"/>
                </a:lnTo>
                <a:lnTo>
                  <a:pt x="504" y="1813"/>
                </a:lnTo>
                <a:lnTo>
                  <a:pt x="511" y="1812"/>
                </a:lnTo>
                <a:lnTo>
                  <a:pt x="511" y="1812"/>
                </a:lnTo>
                <a:lnTo>
                  <a:pt x="517" y="1811"/>
                </a:lnTo>
                <a:lnTo>
                  <a:pt x="524" y="1807"/>
                </a:lnTo>
                <a:lnTo>
                  <a:pt x="531" y="1802"/>
                </a:lnTo>
                <a:lnTo>
                  <a:pt x="538" y="1797"/>
                </a:lnTo>
                <a:lnTo>
                  <a:pt x="550" y="1785"/>
                </a:lnTo>
                <a:lnTo>
                  <a:pt x="555" y="1782"/>
                </a:lnTo>
                <a:lnTo>
                  <a:pt x="560" y="1779"/>
                </a:lnTo>
                <a:lnTo>
                  <a:pt x="560" y="1779"/>
                </a:lnTo>
                <a:lnTo>
                  <a:pt x="565" y="1775"/>
                </a:lnTo>
                <a:lnTo>
                  <a:pt x="572" y="1771"/>
                </a:lnTo>
                <a:lnTo>
                  <a:pt x="585" y="1767"/>
                </a:lnTo>
                <a:lnTo>
                  <a:pt x="596" y="1763"/>
                </a:lnTo>
                <a:lnTo>
                  <a:pt x="608" y="1762"/>
                </a:lnTo>
                <a:lnTo>
                  <a:pt x="619" y="1760"/>
                </a:lnTo>
                <a:lnTo>
                  <a:pt x="631" y="1756"/>
                </a:lnTo>
                <a:lnTo>
                  <a:pt x="642" y="1751"/>
                </a:lnTo>
                <a:lnTo>
                  <a:pt x="648" y="1747"/>
                </a:lnTo>
                <a:lnTo>
                  <a:pt x="654" y="1741"/>
                </a:lnTo>
                <a:lnTo>
                  <a:pt x="654" y="1741"/>
                </a:lnTo>
                <a:lnTo>
                  <a:pt x="657" y="1739"/>
                </a:lnTo>
                <a:lnTo>
                  <a:pt x="661" y="1736"/>
                </a:lnTo>
                <a:lnTo>
                  <a:pt x="662" y="1733"/>
                </a:lnTo>
                <a:lnTo>
                  <a:pt x="662" y="1730"/>
                </a:lnTo>
                <a:lnTo>
                  <a:pt x="662" y="1721"/>
                </a:lnTo>
                <a:lnTo>
                  <a:pt x="662" y="1709"/>
                </a:lnTo>
                <a:lnTo>
                  <a:pt x="662" y="1709"/>
                </a:lnTo>
                <a:lnTo>
                  <a:pt x="666" y="1709"/>
                </a:lnTo>
                <a:lnTo>
                  <a:pt x="666" y="17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1" name="Freeform 136"/>
          <p:cNvSpPr>
            <a:spLocks/>
          </p:cNvSpPr>
          <p:nvPr/>
        </p:nvSpPr>
        <p:spPr bwMode="auto">
          <a:xfrm>
            <a:off x="7681913" y="1763713"/>
            <a:ext cx="769937" cy="1524000"/>
          </a:xfrm>
          <a:custGeom>
            <a:avLst/>
            <a:gdLst/>
            <a:ahLst/>
            <a:cxnLst>
              <a:cxn ang="0">
                <a:pos x="892" y="1656"/>
              </a:cxn>
              <a:cxn ang="0">
                <a:pos x="897" y="1590"/>
              </a:cxn>
              <a:cxn ang="0">
                <a:pos x="864" y="1476"/>
              </a:cxn>
              <a:cxn ang="0">
                <a:pos x="882" y="1404"/>
              </a:cxn>
              <a:cxn ang="0">
                <a:pos x="835" y="1303"/>
              </a:cxn>
              <a:cxn ang="0">
                <a:pos x="832" y="1247"/>
              </a:cxn>
              <a:cxn ang="0">
                <a:pos x="902" y="1193"/>
              </a:cxn>
              <a:cxn ang="0">
                <a:pos x="938" y="1114"/>
              </a:cxn>
              <a:cxn ang="0">
                <a:pos x="915" y="1049"/>
              </a:cxn>
              <a:cxn ang="0">
                <a:pos x="876" y="1056"/>
              </a:cxn>
              <a:cxn ang="0">
                <a:pos x="866" y="1103"/>
              </a:cxn>
              <a:cxn ang="0">
                <a:pos x="849" y="1139"/>
              </a:cxn>
              <a:cxn ang="0">
                <a:pos x="784" y="1064"/>
              </a:cxn>
              <a:cxn ang="0">
                <a:pos x="651" y="868"/>
              </a:cxn>
              <a:cxn ang="0">
                <a:pos x="640" y="815"/>
              </a:cxn>
              <a:cxn ang="0">
                <a:pos x="697" y="782"/>
              </a:cxn>
              <a:cxn ang="0">
                <a:pos x="666" y="650"/>
              </a:cxn>
              <a:cxn ang="0">
                <a:pos x="691" y="652"/>
              </a:cxn>
              <a:cxn ang="0">
                <a:pos x="743" y="702"/>
              </a:cxn>
              <a:cxn ang="0">
                <a:pos x="736" y="650"/>
              </a:cxn>
              <a:cxn ang="0">
                <a:pos x="696" y="558"/>
              </a:cxn>
              <a:cxn ang="0">
                <a:pos x="732" y="459"/>
              </a:cxn>
              <a:cxn ang="0">
                <a:pos x="817" y="422"/>
              </a:cxn>
              <a:cxn ang="0">
                <a:pos x="861" y="415"/>
              </a:cxn>
              <a:cxn ang="0">
                <a:pos x="751" y="151"/>
              </a:cxn>
              <a:cxn ang="0">
                <a:pos x="666" y="16"/>
              </a:cxn>
              <a:cxn ang="0">
                <a:pos x="622" y="3"/>
              </a:cxn>
              <a:cxn ang="0">
                <a:pos x="603" y="80"/>
              </a:cxn>
              <a:cxn ang="0">
                <a:pos x="574" y="181"/>
              </a:cxn>
              <a:cxn ang="0">
                <a:pos x="544" y="260"/>
              </a:cxn>
              <a:cxn ang="0">
                <a:pos x="445" y="280"/>
              </a:cxn>
              <a:cxn ang="0">
                <a:pos x="374" y="308"/>
              </a:cxn>
              <a:cxn ang="0">
                <a:pos x="343" y="222"/>
              </a:cxn>
              <a:cxn ang="0">
                <a:pos x="303" y="214"/>
              </a:cxn>
              <a:cxn ang="0">
                <a:pos x="210" y="262"/>
              </a:cxn>
              <a:cxn ang="0">
                <a:pos x="114" y="353"/>
              </a:cxn>
              <a:cxn ang="0">
                <a:pos x="54" y="420"/>
              </a:cxn>
              <a:cxn ang="0">
                <a:pos x="21" y="451"/>
              </a:cxn>
              <a:cxn ang="0">
                <a:pos x="1" y="496"/>
              </a:cxn>
              <a:cxn ang="0">
                <a:pos x="13" y="530"/>
              </a:cxn>
              <a:cxn ang="0">
                <a:pos x="67" y="548"/>
              </a:cxn>
              <a:cxn ang="0">
                <a:pos x="77" y="601"/>
              </a:cxn>
              <a:cxn ang="0">
                <a:pos x="184" y="662"/>
              </a:cxn>
              <a:cxn ang="0">
                <a:pos x="207" y="706"/>
              </a:cxn>
              <a:cxn ang="0">
                <a:pos x="278" y="721"/>
              </a:cxn>
              <a:cxn ang="0">
                <a:pos x="304" y="784"/>
              </a:cxn>
              <a:cxn ang="0">
                <a:pos x="331" y="775"/>
              </a:cxn>
              <a:cxn ang="0">
                <a:pos x="352" y="795"/>
              </a:cxn>
              <a:cxn ang="0">
                <a:pos x="388" y="781"/>
              </a:cxn>
              <a:cxn ang="0">
                <a:pos x="350" y="718"/>
              </a:cxn>
              <a:cxn ang="0">
                <a:pos x="285" y="662"/>
              </a:cxn>
              <a:cxn ang="0">
                <a:pos x="346" y="557"/>
              </a:cxn>
              <a:cxn ang="0">
                <a:pos x="354" y="604"/>
              </a:cxn>
              <a:cxn ang="0">
                <a:pos x="372" y="679"/>
              </a:cxn>
              <a:cxn ang="0">
                <a:pos x="491" y="770"/>
              </a:cxn>
              <a:cxn ang="0">
                <a:pos x="519" y="870"/>
              </a:cxn>
              <a:cxn ang="0">
                <a:pos x="543" y="1044"/>
              </a:cxn>
              <a:cxn ang="0">
                <a:pos x="636" y="1300"/>
              </a:cxn>
              <a:cxn ang="0">
                <a:pos x="637" y="1449"/>
              </a:cxn>
              <a:cxn ang="0">
                <a:pos x="677" y="1525"/>
              </a:cxn>
              <a:cxn ang="0">
                <a:pos x="710" y="1605"/>
              </a:cxn>
              <a:cxn ang="0">
                <a:pos x="802" y="1748"/>
              </a:cxn>
            </a:cxnLst>
            <a:rect l="0" t="0" r="r" b="b"/>
            <a:pathLst>
              <a:path w="941" h="1748">
                <a:moveTo>
                  <a:pt x="824" y="1737"/>
                </a:moveTo>
                <a:lnTo>
                  <a:pt x="824" y="1737"/>
                </a:lnTo>
                <a:lnTo>
                  <a:pt x="834" y="1728"/>
                </a:lnTo>
                <a:lnTo>
                  <a:pt x="847" y="1717"/>
                </a:lnTo>
                <a:lnTo>
                  <a:pt x="859" y="1703"/>
                </a:lnTo>
                <a:lnTo>
                  <a:pt x="872" y="1688"/>
                </a:lnTo>
                <a:lnTo>
                  <a:pt x="884" y="1672"/>
                </a:lnTo>
                <a:lnTo>
                  <a:pt x="892" y="1656"/>
                </a:lnTo>
                <a:lnTo>
                  <a:pt x="896" y="1648"/>
                </a:lnTo>
                <a:lnTo>
                  <a:pt x="899" y="1640"/>
                </a:lnTo>
                <a:lnTo>
                  <a:pt x="900" y="1632"/>
                </a:lnTo>
                <a:lnTo>
                  <a:pt x="901" y="1624"/>
                </a:lnTo>
                <a:lnTo>
                  <a:pt x="901" y="1624"/>
                </a:lnTo>
                <a:lnTo>
                  <a:pt x="900" y="1612"/>
                </a:lnTo>
                <a:lnTo>
                  <a:pt x="899" y="1601"/>
                </a:lnTo>
                <a:lnTo>
                  <a:pt x="897" y="1590"/>
                </a:lnTo>
                <a:lnTo>
                  <a:pt x="895" y="1581"/>
                </a:lnTo>
                <a:lnTo>
                  <a:pt x="889" y="1563"/>
                </a:lnTo>
                <a:lnTo>
                  <a:pt x="882" y="1546"/>
                </a:lnTo>
                <a:lnTo>
                  <a:pt x="876" y="1530"/>
                </a:lnTo>
                <a:lnTo>
                  <a:pt x="870" y="1514"/>
                </a:lnTo>
                <a:lnTo>
                  <a:pt x="865" y="1496"/>
                </a:lnTo>
                <a:lnTo>
                  <a:pt x="864" y="1487"/>
                </a:lnTo>
                <a:lnTo>
                  <a:pt x="864" y="1476"/>
                </a:lnTo>
                <a:lnTo>
                  <a:pt x="864" y="1476"/>
                </a:lnTo>
                <a:lnTo>
                  <a:pt x="865" y="1467"/>
                </a:lnTo>
                <a:lnTo>
                  <a:pt x="868" y="1459"/>
                </a:lnTo>
                <a:lnTo>
                  <a:pt x="873" y="1442"/>
                </a:lnTo>
                <a:lnTo>
                  <a:pt x="879" y="1423"/>
                </a:lnTo>
                <a:lnTo>
                  <a:pt x="881" y="1414"/>
                </a:lnTo>
                <a:lnTo>
                  <a:pt x="882" y="1404"/>
                </a:lnTo>
                <a:lnTo>
                  <a:pt x="882" y="1404"/>
                </a:lnTo>
                <a:lnTo>
                  <a:pt x="881" y="1395"/>
                </a:lnTo>
                <a:lnTo>
                  <a:pt x="880" y="1387"/>
                </a:lnTo>
                <a:lnTo>
                  <a:pt x="878" y="1378"/>
                </a:lnTo>
                <a:lnTo>
                  <a:pt x="873" y="1370"/>
                </a:lnTo>
                <a:lnTo>
                  <a:pt x="865" y="1354"/>
                </a:lnTo>
                <a:lnTo>
                  <a:pt x="855" y="1337"/>
                </a:lnTo>
                <a:lnTo>
                  <a:pt x="845" y="1320"/>
                </a:lnTo>
                <a:lnTo>
                  <a:pt x="835" y="1303"/>
                </a:lnTo>
                <a:lnTo>
                  <a:pt x="832" y="1293"/>
                </a:lnTo>
                <a:lnTo>
                  <a:pt x="830" y="1284"/>
                </a:lnTo>
                <a:lnTo>
                  <a:pt x="827" y="1274"/>
                </a:lnTo>
                <a:lnTo>
                  <a:pt x="827" y="1263"/>
                </a:lnTo>
                <a:lnTo>
                  <a:pt x="827" y="1263"/>
                </a:lnTo>
                <a:lnTo>
                  <a:pt x="827" y="1258"/>
                </a:lnTo>
                <a:lnTo>
                  <a:pt x="830" y="1253"/>
                </a:lnTo>
                <a:lnTo>
                  <a:pt x="832" y="1247"/>
                </a:lnTo>
                <a:lnTo>
                  <a:pt x="834" y="1243"/>
                </a:lnTo>
                <a:lnTo>
                  <a:pt x="842" y="1235"/>
                </a:lnTo>
                <a:lnTo>
                  <a:pt x="851" y="1228"/>
                </a:lnTo>
                <a:lnTo>
                  <a:pt x="873" y="1214"/>
                </a:lnTo>
                <a:lnTo>
                  <a:pt x="885" y="1208"/>
                </a:lnTo>
                <a:lnTo>
                  <a:pt x="894" y="1201"/>
                </a:lnTo>
                <a:lnTo>
                  <a:pt x="894" y="1201"/>
                </a:lnTo>
                <a:lnTo>
                  <a:pt x="902" y="1193"/>
                </a:lnTo>
                <a:lnTo>
                  <a:pt x="910" y="1184"/>
                </a:lnTo>
                <a:lnTo>
                  <a:pt x="916" y="1174"/>
                </a:lnTo>
                <a:lnTo>
                  <a:pt x="922" y="1163"/>
                </a:lnTo>
                <a:lnTo>
                  <a:pt x="930" y="1138"/>
                </a:lnTo>
                <a:lnTo>
                  <a:pt x="938" y="1114"/>
                </a:lnTo>
                <a:lnTo>
                  <a:pt x="938" y="1114"/>
                </a:lnTo>
                <a:lnTo>
                  <a:pt x="941" y="1117"/>
                </a:lnTo>
                <a:lnTo>
                  <a:pt x="938" y="1114"/>
                </a:lnTo>
                <a:lnTo>
                  <a:pt x="938" y="1114"/>
                </a:lnTo>
                <a:lnTo>
                  <a:pt x="938" y="1114"/>
                </a:lnTo>
                <a:lnTo>
                  <a:pt x="932" y="1103"/>
                </a:lnTo>
                <a:lnTo>
                  <a:pt x="927" y="1091"/>
                </a:lnTo>
                <a:lnTo>
                  <a:pt x="923" y="1075"/>
                </a:lnTo>
                <a:lnTo>
                  <a:pt x="919" y="1055"/>
                </a:lnTo>
                <a:lnTo>
                  <a:pt x="919" y="1055"/>
                </a:lnTo>
                <a:lnTo>
                  <a:pt x="915" y="1049"/>
                </a:lnTo>
                <a:lnTo>
                  <a:pt x="910" y="1046"/>
                </a:lnTo>
                <a:lnTo>
                  <a:pt x="903" y="1042"/>
                </a:lnTo>
                <a:lnTo>
                  <a:pt x="899" y="1042"/>
                </a:lnTo>
                <a:lnTo>
                  <a:pt x="895" y="1042"/>
                </a:lnTo>
                <a:lnTo>
                  <a:pt x="891" y="1044"/>
                </a:lnTo>
                <a:lnTo>
                  <a:pt x="885" y="1047"/>
                </a:lnTo>
                <a:lnTo>
                  <a:pt x="880" y="1051"/>
                </a:lnTo>
                <a:lnTo>
                  <a:pt x="876" y="1056"/>
                </a:lnTo>
                <a:lnTo>
                  <a:pt x="870" y="1063"/>
                </a:lnTo>
                <a:lnTo>
                  <a:pt x="864" y="1072"/>
                </a:lnTo>
                <a:lnTo>
                  <a:pt x="864" y="1072"/>
                </a:lnTo>
                <a:lnTo>
                  <a:pt x="862" y="1077"/>
                </a:lnTo>
                <a:lnTo>
                  <a:pt x="862" y="1082"/>
                </a:lnTo>
                <a:lnTo>
                  <a:pt x="862" y="1086"/>
                </a:lnTo>
                <a:lnTo>
                  <a:pt x="863" y="1092"/>
                </a:lnTo>
                <a:lnTo>
                  <a:pt x="866" y="1103"/>
                </a:lnTo>
                <a:lnTo>
                  <a:pt x="871" y="1115"/>
                </a:lnTo>
                <a:lnTo>
                  <a:pt x="873" y="1126"/>
                </a:lnTo>
                <a:lnTo>
                  <a:pt x="872" y="1130"/>
                </a:lnTo>
                <a:lnTo>
                  <a:pt x="871" y="1135"/>
                </a:lnTo>
                <a:lnTo>
                  <a:pt x="869" y="1137"/>
                </a:lnTo>
                <a:lnTo>
                  <a:pt x="864" y="1139"/>
                </a:lnTo>
                <a:lnTo>
                  <a:pt x="858" y="1139"/>
                </a:lnTo>
                <a:lnTo>
                  <a:pt x="849" y="1139"/>
                </a:lnTo>
                <a:lnTo>
                  <a:pt x="849" y="1139"/>
                </a:lnTo>
                <a:lnTo>
                  <a:pt x="845" y="1137"/>
                </a:lnTo>
                <a:lnTo>
                  <a:pt x="840" y="1133"/>
                </a:lnTo>
                <a:lnTo>
                  <a:pt x="830" y="1125"/>
                </a:lnTo>
                <a:lnTo>
                  <a:pt x="819" y="1114"/>
                </a:lnTo>
                <a:lnTo>
                  <a:pt x="808" y="1100"/>
                </a:lnTo>
                <a:lnTo>
                  <a:pt x="796" y="1083"/>
                </a:lnTo>
                <a:lnTo>
                  <a:pt x="784" y="1064"/>
                </a:lnTo>
                <a:lnTo>
                  <a:pt x="757" y="1024"/>
                </a:lnTo>
                <a:lnTo>
                  <a:pt x="731" y="980"/>
                </a:lnTo>
                <a:lnTo>
                  <a:pt x="703" y="937"/>
                </a:lnTo>
                <a:lnTo>
                  <a:pt x="690" y="917"/>
                </a:lnTo>
                <a:lnTo>
                  <a:pt x="677" y="899"/>
                </a:lnTo>
                <a:lnTo>
                  <a:pt x="664" y="881"/>
                </a:lnTo>
                <a:lnTo>
                  <a:pt x="651" y="868"/>
                </a:lnTo>
                <a:lnTo>
                  <a:pt x="651" y="868"/>
                </a:lnTo>
                <a:lnTo>
                  <a:pt x="644" y="860"/>
                </a:lnTo>
                <a:lnTo>
                  <a:pt x="640" y="851"/>
                </a:lnTo>
                <a:lnTo>
                  <a:pt x="636" y="845"/>
                </a:lnTo>
                <a:lnTo>
                  <a:pt x="634" y="838"/>
                </a:lnTo>
                <a:lnTo>
                  <a:pt x="634" y="831"/>
                </a:lnTo>
                <a:lnTo>
                  <a:pt x="635" y="825"/>
                </a:lnTo>
                <a:lnTo>
                  <a:pt x="637" y="819"/>
                </a:lnTo>
                <a:lnTo>
                  <a:pt x="640" y="815"/>
                </a:lnTo>
                <a:lnTo>
                  <a:pt x="644" y="810"/>
                </a:lnTo>
                <a:lnTo>
                  <a:pt x="650" y="805"/>
                </a:lnTo>
                <a:lnTo>
                  <a:pt x="656" y="802"/>
                </a:lnTo>
                <a:lnTo>
                  <a:pt x="663" y="799"/>
                </a:lnTo>
                <a:lnTo>
                  <a:pt x="678" y="794"/>
                </a:lnTo>
                <a:lnTo>
                  <a:pt x="696" y="790"/>
                </a:lnTo>
                <a:lnTo>
                  <a:pt x="696" y="790"/>
                </a:lnTo>
                <a:lnTo>
                  <a:pt x="697" y="782"/>
                </a:lnTo>
                <a:lnTo>
                  <a:pt x="698" y="775"/>
                </a:lnTo>
                <a:lnTo>
                  <a:pt x="697" y="769"/>
                </a:lnTo>
                <a:lnTo>
                  <a:pt x="695" y="763"/>
                </a:lnTo>
                <a:lnTo>
                  <a:pt x="690" y="756"/>
                </a:lnTo>
                <a:lnTo>
                  <a:pt x="685" y="750"/>
                </a:lnTo>
                <a:lnTo>
                  <a:pt x="666" y="735"/>
                </a:lnTo>
                <a:lnTo>
                  <a:pt x="666" y="735"/>
                </a:lnTo>
                <a:lnTo>
                  <a:pt x="666" y="650"/>
                </a:lnTo>
                <a:lnTo>
                  <a:pt x="666" y="650"/>
                </a:lnTo>
                <a:lnTo>
                  <a:pt x="666" y="650"/>
                </a:lnTo>
                <a:lnTo>
                  <a:pt x="670" y="645"/>
                </a:lnTo>
                <a:lnTo>
                  <a:pt x="673" y="643"/>
                </a:lnTo>
                <a:lnTo>
                  <a:pt x="677" y="642"/>
                </a:lnTo>
                <a:lnTo>
                  <a:pt x="681" y="644"/>
                </a:lnTo>
                <a:lnTo>
                  <a:pt x="686" y="648"/>
                </a:lnTo>
                <a:lnTo>
                  <a:pt x="691" y="652"/>
                </a:lnTo>
                <a:lnTo>
                  <a:pt x="702" y="664"/>
                </a:lnTo>
                <a:lnTo>
                  <a:pt x="713" y="677"/>
                </a:lnTo>
                <a:lnTo>
                  <a:pt x="724" y="689"/>
                </a:lnTo>
                <a:lnTo>
                  <a:pt x="729" y="694"/>
                </a:lnTo>
                <a:lnTo>
                  <a:pt x="734" y="698"/>
                </a:lnTo>
                <a:lnTo>
                  <a:pt x="739" y="701"/>
                </a:lnTo>
                <a:lnTo>
                  <a:pt x="743" y="702"/>
                </a:lnTo>
                <a:lnTo>
                  <a:pt x="743" y="702"/>
                </a:lnTo>
                <a:lnTo>
                  <a:pt x="750" y="700"/>
                </a:lnTo>
                <a:lnTo>
                  <a:pt x="752" y="697"/>
                </a:lnTo>
                <a:lnTo>
                  <a:pt x="754" y="695"/>
                </a:lnTo>
                <a:lnTo>
                  <a:pt x="755" y="689"/>
                </a:lnTo>
                <a:lnTo>
                  <a:pt x="755" y="683"/>
                </a:lnTo>
                <a:lnTo>
                  <a:pt x="751" y="675"/>
                </a:lnTo>
                <a:lnTo>
                  <a:pt x="748" y="668"/>
                </a:lnTo>
                <a:lnTo>
                  <a:pt x="736" y="650"/>
                </a:lnTo>
                <a:lnTo>
                  <a:pt x="723" y="631"/>
                </a:lnTo>
                <a:lnTo>
                  <a:pt x="709" y="612"/>
                </a:lnTo>
                <a:lnTo>
                  <a:pt x="704" y="602"/>
                </a:lnTo>
                <a:lnTo>
                  <a:pt x="700" y="593"/>
                </a:lnTo>
                <a:lnTo>
                  <a:pt x="696" y="584"/>
                </a:lnTo>
                <a:lnTo>
                  <a:pt x="696" y="576"/>
                </a:lnTo>
                <a:lnTo>
                  <a:pt x="696" y="576"/>
                </a:lnTo>
                <a:lnTo>
                  <a:pt x="696" y="558"/>
                </a:lnTo>
                <a:lnTo>
                  <a:pt x="698" y="541"/>
                </a:lnTo>
                <a:lnTo>
                  <a:pt x="701" y="525"/>
                </a:lnTo>
                <a:lnTo>
                  <a:pt x="704" y="511"/>
                </a:lnTo>
                <a:lnTo>
                  <a:pt x="709" y="498"/>
                </a:lnTo>
                <a:lnTo>
                  <a:pt x="713" y="486"/>
                </a:lnTo>
                <a:lnTo>
                  <a:pt x="719" y="475"/>
                </a:lnTo>
                <a:lnTo>
                  <a:pt x="725" y="467"/>
                </a:lnTo>
                <a:lnTo>
                  <a:pt x="732" y="459"/>
                </a:lnTo>
                <a:lnTo>
                  <a:pt x="739" y="451"/>
                </a:lnTo>
                <a:lnTo>
                  <a:pt x="747" y="445"/>
                </a:lnTo>
                <a:lnTo>
                  <a:pt x="754" y="441"/>
                </a:lnTo>
                <a:lnTo>
                  <a:pt x="762" y="436"/>
                </a:lnTo>
                <a:lnTo>
                  <a:pt x="770" y="433"/>
                </a:lnTo>
                <a:lnTo>
                  <a:pt x="786" y="427"/>
                </a:lnTo>
                <a:lnTo>
                  <a:pt x="802" y="423"/>
                </a:lnTo>
                <a:lnTo>
                  <a:pt x="817" y="422"/>
                </a:lnTo>
                <a:lnTo>
                  <a:pt x="843" y="421"/>
                </a:lnTo>
                <a:lnTo>
                  <a:pt x="853" y="421"/>
                </a:lnTo>
                <a:lnTo>
                  <a:pt x="859" y="421"/>
                </a:lnTo>
                <a:lnTo>
                  <a:pt x="861" y="420"/>
                </a:lnTo>
                <a:lnTo>
                  <a:pt x="862" y="419"/>
                </a:lnTo>
                <a:lnTo>
                  <a:pt x="862" y="416"/>
                </a:lnTo>
                <a:lnTo>
                  <a:pt x="861" y="415"/>
                </a:lnTo>
                <a:lnTo>
                  <a:pt x="861" y="415"/>
                </a:lnTo>
                <a:lnTo>
                  <a:pt x="853" y="404"/>
                </a:lnTo>
                <a:lnTo>
                  <a:pt x="845" y="391"/>
                </a:lnTo>
                <a:lnTo>
                  <a:pt x="836" y="376"/>
                </a:lnTo>
                <a:lnTo>
                  <a:pt x="827" y="359"/>
                </a:lnTo>
                <a:lnTo>
                  <a:pt x="810" y="319"/>
                </a:lnTo>
                <a:lnTo>
                  <a:pt x="790" y="270"/>
                </a:lnTo>
                <a:lnTo>
                  <a:pt x="771" y="214"/>
                </a:lnTo>
                <a:lnTo>
                  <a:pt x="751" y="151"/>
                </a:lnTo>
                <a:lnTo>
                  <a:pt x="731" y="78"/>
                </a:lnTo>
                <a:lnTo>
                  <a:pt x="710" y="0"/>
                </a:lnTo>
                <a:lnTo>
                  <a:pt x="710" y="0"/>
                </a:lnTo>
                <a:lnTo>
                  <a:pt x="701" y="0"/>
                </a:lnTo>
                <a:lnTo>
                  <a:pt x="693" y="2"/>
                </a:lnTo>
                <a:lnTo>
                  <a:pt x="686" y="6"/>
                </a:lnTo>
                <a:lnTo>
                  <a:pt x="679" y="9"/>
                </a:lnTo>
                <a:lnTo>
                  <a:pt x="666" y="16"/>
                </a:lnTo>
                <a:lnTo>
                  <a:pt x="659" y="18"/>
                </a:lnTo>
                <a:lnTo>
                  <a:pt x="651" y="18"/>
                </a:lnTo>
                <a:lnTo>
                  <a:pt x="651" y="18"/>
                </a:lnTo>
                <a:lnTo>
                  <a:pt x="647" y="18"/>
                </a:lnTo>
                <a:lnTo>
                  <a:pt x="642" y="17"/>
                </a:lnTo>
                <a:lnTo>
                  <a:pt x="635" y="14"/>
                </a:lnTo>
                <a:lnTo>
                  <a:pt x="622" y="3"/>
                </a:lnTo>
                <a:lnTo>
                  <a:pt x="622" y="3"/>
                </a:lnTo>
                <a:lnTo>
                  <a:pt x="616" y="13"/>
                </a:lnTo>
                <a:lnTo>
                  <a:pt x="612" y="21"/>
                </a:lnTo>
                <a:lnTo>
                  <a:pt x="610" y="30"/>
                </a:lnTo>
                <a:lnTo>
                  <a:pt x="609" y="39"/>
                </a:lnTo>
                <a:lnTo>
                  <a:pt x="606" y="60"/>
                </a:lnTo>
                <a:lnTo>
                  <a:pt x="605" y="70"/>
                </a:lnTo>
                <a:lnTo>
                  <a:pt x="603" y="80"/>
                </a:lnTo>
                <a:lnTo>
                  <a:pt x="603" y="80"/>
                </a:lnTo>
                <a:lnTo>
                  <a:pt x="598" y="93"/>
                </a:lnTo>
                <a:lnTo>
                  <a:pt x="594" y="105"/>
                </a:lnTo>
                <a:lnTo>
                  <a:pt x="584" y="128"/>
                </a:lnTo>
                <a:lnTo>
                  <a:pt x="580" y="139"/>
                </a:lnTo>
                <a:lnTo>
                  <a:pt x="576" y="152"/>
                </a:lnTo>
                <a:lnTo>
                  <a:pt x="574" y="166"/>
                </a:lnTo>
                <a:lnTo>
                  <a:pt x="574" y="181"/>
                </a:lnTo>
                <a:lnTo>
                  <a:pt x="574" y="181"/>
                </a:lnTo>
                <a:lnTo>
                  <a:pt x="574" y="216"/>
                </a:lnTo>
                <a:lnTo>
                  <a:pt x="574" y="216"/>
                </a:lnTo>
                <a:lnTo>
                  <a:pt x="573" y="228"/>
                </a:lnTo>
                <a:lnTo>
                  <a:pt x="569" y="238"/>
                </a:lnTo>
                <a:lnTo>
                  <a:pt x="565" y="245"/>
                </a:lnTo>
                <a:lnTo>
                  <a:pt x="559" y="252"/>
                </a:lnTo>
                <a:lnTo>
                  <a:pt x="552" y="257"/>
                </a:lnTo>
                <a:lnTo>
                  <a:pt x="544" y="260"/>
                </a:lnTo>
                <a:lnTo>
                  <a:pt x="535" y="262"/>
                </a:lnTo>
                <a:lnTo>
                  <a:pt x="525" y="265"/>
                </a:lnTo>
                <a:lnTo>
                  <a:pt x="504" y="267"/>
                </a:lnTo>
                <a:lnTo>
                  <a:pt x="482" y="269"/>
                </a:lnTo>
                <a:lnTo>
                  <a:pt x="462" y="273"/>
                </a:lnTo>
                <a:lnTo>
                  <a:pt x="453" y="275"/>
                </a:lnTo>
                <a:lnTo>
                  <a:pt x="445" y="280"/>
                </a:lnTo>
                <a:lnTo>
                  <a:pt x="445" y="280"/>
                </a:lnTo>
                <a:lnTo>
                  <a:pt x="421" y="299"/>
                </a:lnTo>
                <a:lnTo>
                  <a:pt x="413" y="304"/>
                </a:lnTo>
                <a:lnTo>
                  <a:pt x="405" y="308"/>
                </a:lnTo>
                <a:lnTo>
                  <a:pt x="397" y="312"/>
                </a:lnTo>
                <a:lnTo>
                  <a:pt x="390" y="313"/>
                </a:lnTo>
                <a:lnTo>
                  <a:pt x="390" y="313"/>
                </a:lnTo>
                <a:lnTo>
                  <a:pt x="382" y="312"/>
                </a:lnTo>
                <a:lnTo>
                  <a:pt x="374" y="308"/>
                </a:lnTo>
                <a:lnTo>
                  <a:pt x="368" y="303"/>
                </a:lnTo>
                <a:lnTo>
                  <a:pt x="364" y="296"/>
                </a:lnTo>
                <a:lnTo>
                  <a:pt x="359" y="288"/>
                </a:lnTo>
                <a:lnTo>
                  <a:pt x="357" y="278"/>
                </a:lnTo>
                <a:lnTo>
                  <a:pt x="352" y="259"/>
                </a:lnTo>
                <a:lnTo>
                  <a:pt x="347" y="239"/>
                </a:lnTo>
                <a:lnTo>
                  <a:pt x="345" y="230"/>
                </a:lnTo>
                <a:lnTo>
                  <a:pt x="343" y="222"/>
                </a:lnTo>
                <a:lnTo>
                  <a:pt x="339" y="215"/>
                </a:lnTo>
                <a:lnTo>
                  <a:pt x="335" y="211"/>
                </a:lnTo>
                <a:lnTo>
                  <a:pt x="330" y="207"/>
                </a:lnTo>
                <a:lnTo>
                  <a:pt x="323" y="206"/>
                </a:lnTo>
                <a:lnTo>
                  <a:pt x="323" y="206"/>
                </a:lnTo>
                <a:lnTo>
                  <a:pt x="315" y="207"/>
                </a:lnTo>
                <a:lnTo>
                  <a:pt x="308" y="209"/>
                </a:lnTo>
                <a:lnTo>
                  <a:pt x="303" y="214"/>
                </a:lnTo>
                <a:lnTo>
                  <a:pt x="298" y="220"/>
                </a:lnTo>
                <a:lnTo>
                  <a:pt x="288" y="230"/>
                </a:lnTo>
                <a:lnTo>
                  <a:pt x="283" y="236"/>
                </a:lnTo>
                <a:lnTo>
                  <a:pt x="276" y="239"/>
                </a:lnTo>
                <a:lnTo>
                  <a:pt x="276" y="239"/>
                </a:lnTo>
                <a:lnTo>
                  <a:pt x="253" y="246"/>
                </a:lnTo>
                <a:lnTo>
                  <a:pt x="231" y="254"/>
                </a:lnTo>
                <a:lnTo>
                  <a:pt x="210" y="262"/>
                </a:lnTo>
                <a:lnTo>
                  <a:pt x="192" y="273"/>
                </a:lnTo>
                <a:lnTo>
                  <a:pt x="175" y="284"/>
                </a:lnTo>
                <a:lnTo>
                  <a:pt x="159" y="299"/>
                </a:lnTo>
                <a:lnTo>
                  <a:pt x="144" y="315"/>
                </a:lnTo>
                <a:lnTo>
                  <a:pt x="129" y="335"/>
                </a:lnTo>
                <a:lnTo>
                  <a:pt x="129" y="335"/>
                </a:lnTo>
                <a:lnTo>
                  <a:pt x="122" y="344"/>
                </a:lnTo>
                <a:lnTo>
                  <a:pt x="114" y="353"/>
                </a:lnTo>
                <a:lnTo>
                  <a:pt x="106" y="361"/>
                </a:lnTo>
                <a:lnTo>
                  <a:pt x="97" y="369"/>
                </a:lnTo>
                <a:lnTo>
                  <a:pt x="77" y="383"/>
                </a:lnTo>
                <a:lnTo>
                  <a:pt x="55" y="400"/>
                </a:lnTo>
                <a:lnTo>
                  <a:pt x="55" y="400"/>
                </a:lnTo>
                <a:lnTo>
                  <a:pt x="54" y="405"/>
                </a:lnTo>
                <a:lnTo>
                  <a:pt x="53" y="410"/>
                </a:lnTo>
                <a:lnTo>
                  <a:pt x="54" y="420"/>
                </a:lnTo>
                <a:lnTo>
                  <a:pt x="54" y="425"/>
                </a:lnTo>
                <a:lnTo>
                  <a:pt x="54" y="430"/>
                </a:lnTo>
                <a:lnTo>
                  <a:pt x="52" y="434"/>
                </a:lnTo>
                <a:lnTo>
                  <a:pt x="48" y="437"/>
                </a:lnTo>
                <a:lnTo>
                  <a:pt x="48" y="437"/>
                </a:lnTo>
                <a:lnTo>
                  <a:pt x="38" y="444"/>
                </a:lnTo>
                <a:lnTo>
                  <a:pt x="29" y="448"/>
                </a:lnTo>
                <a:lnTo>
                  <a:pt x="21" y="451"/>
                </a:lnTo>
                <a:lnTo>
                  <a:pt x="14" y="454"/>
                </a:lnTo>
                <a:lnTo>
                  <a:pt x="11" y="456"/>
                </a:lnTo>
                <a:lnTo>
                  <a:pt x="8" y="459"/>
                </a:lnTo>
                <a:lnTo>
                  <a:pt x="6" y="463"/>
                </a:lnTo>
                <a:lnTo>
                  <a:pt x="5" y="466"/>
                </a:lnTo>
                <a:lnTo>
                  <a:pt x="2" y="479"/>
                </a:lnTo>
                <a:lnTo>
                  <a:pt x="1" y="496"/>
                </a:lnTo>
                <a:lnTo>
                  <a:pt x="1" y="496"/>
                </a:lnTo>
                <a:lnTo>
                  <a:pt x="1" y="505"/>
                </a:lnTo>
                <a:lnTo>
                  <a:pt x="0" y="514"/>
                </a:lnTo>
                <a:lnTo>
                  <a:pt x="0" y="522"/>
                </a:lnTo>
                <a:lnTo>
                  <a:pt x="0" y="526"/>
                </a:lnTo>
                <a:lnTo>
                  <a:pt x="1" y="529"/>
                </a:lnTo>
                <a:lnTo>
                  <a:pt x="1" y="529"/>
                </a:lnTo>
                <a:lnTo>
                  <a:pt x="6" y="530"/>
                </a:lnTo>
                <a:lnTo>
                  <a:pt x="13" y="530"/>
                </a:lnTo>
                <a:lnTo>
                  <a:pt x="26" y="530"/>
                </a:lnTo>
                <a:lnTo>
                  <a:pt x="42" y="530"/>
                </a:lnTo>
                <a:lnTo>
                  <a:pt x="55" y="533"/>
                </a:lnTo>
                <a:lnTo>
                  <a:pt x="55" y="533"/>
                </a:lnTo>
                <a:lnTo>
                  <a:pt x="59" y="534"/>
                </a:lnTo>
                <a:lnTo>
                  <a:pt x="61" y="536"/>
                </a:lnTo>
                <a:lnTo>
                  <a:pt x="64" y="541"/>
                </a:lnTo>
                <a:lnTo>
                  <a:pt x="67" y="548"/>
                </a:lnTo>
                <a:lnTo>
                  <a:pt x="67" y="555"/>
                </a:lnTo>
                <a:lnTo>
                  <a:pt x="64" y="570"/>
                </a:lnTo>
                <a:lnTo>
                  <a:pt x="63" y="584"/>
                </a:lnTo>
                <a:lnTo>
                  <a:pt x="63" y="584"/>
                </a:lnTo>
                <a:lnTo>
                  <a:pt x="64" y="588"/>
                </a:lnTo>
                <a:lnTo>
                  <a:pt x="65" y="591"/>
                </a:lnTo>
                <a:lnTo>
                  <a:pt x="70" y="597"/>
                </a:lnTo>
                <a:lnTo>
                  <a:pt x="77" y="601"/>
                </a:lnTo>
                <a:lnTo>
                  <a:pt x="84" y="603"/>
                </a:lnTo>
                <a:lnTo>
                  <a:pt x="92" y="605"/>
                </a:lnTo>
                <a:lnTo>
                  <a:pt x="101" y="605"/>
                </a:lnTo>
                <a:lnTo>
                  <a:pt x="118" y="606"/>
                </a:lnTo>
                <a:lnTo>
                  <a:pt x="118" y="606"/>
                </a:lnTo>
                <a:lnTo>
                  <a:pt x="184" y="662"/>
                </a:lnTo>
                <a:lnTo>
                  <a:pt x="184" y="662"/>
                </a:lnTo>
                <a:lnTo>
                  <a:pt x="184" y="662"/>
                </a:lnTo>
                <a:lnTo>
                  <a:pt x="185" y="672"/>
                </a:lnTo>
                <a:lnTo>
                  <a:pt x="186" y="680"/>
                </a:lnTo>
                <a:lnTo>
                  <a:pt x="187" y="687"/>
                </a:lnTo>
                <a:lnTo>
                  <a:pt x="190" y="693"/>
                </a:lnTo>
                <a:lnTo>
                  <a:pt x="193" y="697"/>
                </a:lnTo>
                <a:lnTo>
                  <a:pt x="197" y="702"/>
                </a:lnTo>
                <a:lnTo>
                  <a:pt x="201" y="704"/>
                </a:lnTo>
                <a:lnTo>
                  <a:pt x="207" y="706"/>
                </a:lnTo>
                <a:lnTo>
                  <a:pt x="217" y="709"/>
                </a:lnTo>
                <a:lnTo>
                  <a:pt x="231" y="710"/>
                </a:lnTo>
                <a:lnTo>
                  <a:pt x="245" y="711"/>
                </a:lnTo>
                <a:lnTo>
                  <a:pt x="261" y="713"/>
                </a:lnTo>
                <a:lnTo>
                  <a:pt x="261" y="713"/>
                </a:lnTo>
                <a:lnTo>
                  <a:pt x="268" y="715"/>
                </a:lnTo>
                <a:lnTo>
                  <a:pt x="274" y="717"/>
                </a:lnTo>
                <a:lnTo>
                  <a:pt x="278" y="721"/>
                </a:lnTo>
                <a:lnTo>
                  <a:pt x="282" y="726"/>
                </a:lnTo>
                <a:lnTo>
                  <a:pt x="285" y="732"/>
                </a:lnTo>
                <a:lnTo>
                  <a:pt x="288" y="738"/>
                </a:lnTo>
                <a:lnTo>
                  <a:pt x="292" y="751"/>
                </a:lnTo>
                <a:lnTo>
                  <a:pt x="296" y="764"/>
                </a:lnTo>
                <a:lnTo>
                  <a:pt x="299" y="775"/>
                </a:lnTo>
                <a:lnTo>
                  <a:pt x="301" y="780"/>
                </a:lnTo>
                <a:lnTo>
                  <a:pt x="304" y="784"/>
                </a:lnTo>
                <a:lnTo>
                  <a:pt x="306" y="786"/>
                </a:lnTo>
                <a:lnTo>
                  <a:pt x="309" y="787"/>
                </a:lnTo>
                <a:lnTo>
                  <a:pt x="309" y="787"/>
                </a:lnTo>
                <a:lnTo>
                  <a:pt x="314" y="786"/>
                </a:lnTo>
                <a:lnTo>
                  <a:pt x="317" y="785"/>
                </a:lnTo>
                <a:lnTo>
                  <a:pt x="323" y="781"/>
                </a:lnTo>
                <a:lnTo>
                  <a:pt x="328" y="777"/>
                </a:lnTo>
                <a:lnTo>
                  <a:pt x="331" y="775"/>
                </a:lnTo>
                <a:lnTo>
                  <a:pt x="335" y="775"/>
                </a:lnTo>
                <a:lnTo>
                  <a:pt x="335" y="775"/>
                </a:lnTo>
                <a:lnTo>
                  <a:pt x="336" y="779"/>
                </a:lnTo>
                <a:lnTo>
                  <a:pt x="337" y="784"/>
                </a:lnTo>
                <a:lnTo>
                  <a:pt x="341" y="787"/>
                </a:lnTo>
                <a:lnTo>
                  <a:pt x="344" y="790"/>
                </a:lnTo>
                <a:lnTo>
                  <a:pt x="347" y="793"/>
                </a:lnTo>
                <a:lnTo>
                  <a:pt x="352" y="795"/>
                </a:lnTo>
                <a:lnTo>
                  <a:pt x="357" y="796"/>
                </a:lnTo>
                <a:lnTo>
                  <a:pt x="361" y="797"/>
                </a:lnTo>
                <a:lnTo>
                  <a:pt x="361" y="797"/>
                </a:lnTo>
                <a:lnTo>
                  <a:pt x="366" y="796"/>
                </a:lnTo>
                <a:lnTo>
                  <a:pt x="372" y="795"/>
                </a:lnTo>
                <a:lnTo>
                  <a:pt x="376" y="792"/>
                </a:lnTo>
                <a:lnTo>
                  <a:pt x="381" y="789"/>
                </a:lnTo>
                <a:lnTo>
                  <a:pt x="388" y="781"/>
                </a:lnTo>
                <a:lnTo>
                  <a:pt x="393" y="775"/>
                </a:lnTo>
                <a:lnTo>
                  <a:pt x="393" y="775"/>
                </a:lnTo>
                <a:lnTo>
                  <a:pt x="389" y="764"/>
                </a:lnTo>
                <a:lnTo>
                  <a:pt x="383" y="754"/>
                </a:lnTo>
                <a:lnTo>
                  <a:pt x="376" y="743"/>
                </a:lnTo>
                <a:lnTo>
                  <a:pt x="367" y="734"/>
                </a:lnTo>
                <a:lnTo>
                  <a:pt x="359" y="725"/>
                </a:lnTo>
                <a:lnTo>
                  <a:pt x="350" y="718"/>
                </a:lnTo>
                <a:lnTo>
                  <a:pt x="330" y="703"/>
                </a:lnTo>
                <a:lnTo>
                  <a:pt x="313" y="693"/>
                </a:lnTo>
                <a:lnTo>
                  <a:pt x="298" y="685"/>
                </a:lnTo>
                <a:lnTo>
                  <a:pt x="288" y="679"/>
                </a:lnTo>
                <a:lnTo>
                  <a:pt x="284" y="675"/>
                </a:lnTo>
                <a:lnTo>
                  <a:pt x="284" y="675"/>
                </a:lnTo>
                <a:lnTo>
                  <a:pt x="284" y="670"/>
                </a:lnTo>
                <a:lnTo>
                  <a:pt x="285" y="662"/>
                </a:lnTo>
                <a:lnTo>
                  <a:pt x="291" y="643"/>
                </a:lnTo>
                <a:lnTo>
                  <a:pt x="299" y="621"/>
                </a:lnTo>
                <a:lnTo>
                  <a:pt x="309" y="599"/>
                </a:lnTo>
                <a:lnTo>
                  <a:pt x="316" y="589"/>
                </a:lnTo>
                <a:lnTo>
                  <a:pt x="323" y="580"/>
                </a:lnTo>
                <a:lnTo>
                  <a:pt x="330" y="571"/>
                </a:lnTo>
                <a:lnTo>
                  <a:pt x="338" y="564"/>
                </a:lnTo>
                <a:lnTo>
                  <a:pt x="346" y="557"/>
                </a:lnTo>
                <a:lnTo>
                  <a:pt x="354" y="553"/>
                </a:lnTo>
                <a:lnTo>
                  <a:pt x="364" y="551"/>
                </a:lnTo>
                <a:lnTo>
                  <a:pt x="372" y="551"/>
                </a:lnTo>
                <a:lnTo>
                  <a:pt x="372" y="551"/>
                </a:lnTo>
                <a:lnTo>
                  <a:pt x="366" y="566"/>
                </a:lnTo>
                <a:lnTo>
                  <a:pt x="360" y="579"/>
                </a:lnTo>
                <a:lnTo>
                  <a:pt x="357" y="593"/>
                </a:lnTo>
                <a:lnTo>
                  <a:pt x="354" y="604"/>
                </a:lnTo>
                <a:lnTo>
                  <a:pt x="353" y="616"/>
                </a:lnTo>
                <a:lnTo>
                  <a:pt x="353" y="626"/>
                </a:lnTo>
                <a:lnTo>
                  <a:pt x="354" y="636"/>
                </a:lnTo>
                <a:lnTo>
                  <a:pt x="357" y="647"/>
                </a:lnTo>
                <a:lnTo>
                  <a:pt x="359" y="655"/>
                </a:lnTo>
                <a:lnTo>
                  <a:pt x="362" y="664"/>
                </a:lnTo>
                <a:lnTo>
                  <a:pt x="367" y="672"/>
                </a:lnTo>
                <a:lnTo>
                  <a:pt x="372" y="679"/>
                </a:lnTo>
                <a:lnTo>
                  <a:pt x="384" y="693"/>
                </a:lnTo>
                <a:lnTo>
                  <a:pt x="397" y="705"/>
                </a:lnTo>
                <a:lnTo>
                  <a:pt x="412" y="716"/>
                </a:lnTo>
                <a:lnTo>
                  <a:pt x="428" y="726"/>
                </a:lnTo>
                <a:lnTo>
                  <a:pt x="457" y="743"/>
                </a:lnTo>
                <a:lnTo>
                  <a:pt x="471" y="752"/>
                </a:lnTo>
                <a:lnTo>
                  <a:pt x="482" y="761"/>
                </a:lnTo>
                <a:lnTo>
                  <a:pt x="491" y="770"/>
                </a:lnTo>
                <a:lnTo>
                  <a:pt x="495" y="774"/>
                </a:lnTo>
                <a:lnTo>
                  <a:pt x="497" y="779"/>
                </a:lnTo>
                <a:lnTo>
                  <a:pt x="497" y="779"/>
                </a:lnTo>
                <a:lnTo>
                  <a:pt x="505" y="800"/>
                </a:lnTo>
                <a:lnTo>
                  <a:pt x="510" y="818"/>
                </a:lnTo>
                <a:lnTo>
                  <a:pt x="514" y="836"/>
                </a:lnTo>
                <a:lnTo>
                  <a:pt x="517" y="853"/>
                </a:lnTo>
                <a:lnTo>
                  <a:pt x="519" y="870"/>
                </a:lnTo>
                <a:lnTo>
                  <a:pt x="520" y="886"/>
                </a:lnTo>
                <a:lnTo>
                  <a:pt x="521" y="918"/>
                </a:lnTo>
                <a:lnTo>
                  <a:pt x="521" y="935"/>
                </a:lnTo>
                <a:lnTo>
                  <a:pt x="523" y="954"/>
                </a:lnTo>
                <a:lnTo>
                  <a:pt x="526" y="973"/>
                </a:lnTo>
                <a:lnTo>
                  <a:pt x="530" y="995"/>
                </a:lnTo>
                <a:lnTo>
                  <a:pt x="536" y="1018"/>
                </a:lnTo>
                <a:lnTo>
                  <a:pt x="543" y="1044"/>
                </a:lnTo>
                <a:lnTo>
                  <a:pt x="553" y="1071"/>
                </a:lnTo>
                <a:lnTo>
                  <a:pt x="567" y="1102"/>
                </a:lnTo>
                <a:lnTo>
                  <a:pt x="567" y="1102"/>
                </a:lnTo>
                <a:lnTo>
                  <a:pt x="575" y="1121"/>
                </a:lnTo>
                <a:lnTo>
                  <a:pt x="584" y="1143"/>
                </a:lnTo>
                <a:lnTo>
                  <a:pt x="603" y="1192"/>
                </a:lnTo>
                <a:lnTo>
                  <a:pt x="621" y="1246"/>
                </a:lnTo>
                <a:lnTo>
                  <a:pt x="636" y="1300"/>
                </a:lnTo>
                <a:lnTo>
                  <a:pt x="636" y="1300"/>
                </a:lnTo>
                <a:lnTo>
                  <a:pt x="644" y="1329"/>
                </a:lnTo>
                <a:lnTo>
                  <a:pt x="649" y="1354"/>
                </a:lnTo>
                <a:lnTo>
                  <a:pt x="650" y="1376"/>
                </a:lnTo>
                <a:lnTo>
                  <a:pt x="650" y="1396"/>
                </a:lnTo>
                <a:lnTo>
                  <a:pt x="648" y="1412"/>
                </a:lnTo>
                <a:lnTo>
                  <a:pt x="644" y="1426"/>
                </a:lnTo>
                <a:lnTo>
                  <a:pt x="637" y="1449"/>
                </a:lnTo>
                <a:lnTo>
                  <a:pt x="634" y="1458"/>
                </a:lnTo>
                <a:lnTo>
                  <a:pt x="633" y="1467"/>
                </a:lnTo>
                <a:lnTo>
                  <a:pt x="632" y="1475"/>
                </a:lnTo>
                <a:lnTo>
                  <a:pt x="634" y="1483"/>
                </a:lnTo>
                <a:lnTo>
                  <a:pt x="639" y="1492"/>
                </a:lnTo>
                <a:lnTo>
                  <a:pt x="648" y="1502"/>
                </a:lnTo>
                <a:lnTo>
                  <a:pt x="659" y="1512"/>
                </a:lnTo>
                <a:lnTo>
                  <a:pt x="677" y="1525"/>
                </a:lnTo>
                <a:lnTo>
                  <a:pt x="677" y="1525"/>
                </a:lnTo>
                <a:lnTo>
                  <a:pt x="686" y="1533"/>
                </a:lnTo>
                <a:lnTo>
                  <a:pt x="694" y="1541"/>
                </a:lnTo>
                <a:lnTo>
                  <a:pt x="698" y="1550"/>
                </a:lnTo>
                <a:lnTo>
                  <a:pt x="702" y="1559"/>
                </a:lnTo>
                <a:lnTo>
                  <a:pt x="704" y="1569"/>
                </a:lnTo>
                <a:lnTo>
                  <a:pt x="706" y="1580"/>
                </a:lnTo>
                <a:lnTo>
                  <a:pt x="710" y="1605"/>
                </a:lnTo>
                <a:lnTo>
                  <a:pt x="713" y="1619"/>
                </a:lnTo>
                <a:lnTo>
                  <a:pt x="718" y="1634"/>
                </a:lnTo>
                <a:lnTo>
                  <a:pt x="725" y="1649"/>
                </a:lnTo>
                <a:lnTo>
                  <a:pt x="733" y="1666"/>
                </a:lnTo>
                <a:lnTo>
                  <a:pt x="744" y="1685"/>
                </a:lnTo>
                <a:lnTo>
                  <a:pt x="761" y="1704"/>
                </a:lnTo>
                <a:lnTo>
                  <a:pt x="779" y="1726"/>
                </a:lnTo>
                <a:lnTo>
                  <a:pt x="802" y="1748"/>
                </a:lnTo>
                <a:lnTo>
                  <a:pt x="802" y="1748"/>
                </a:lnTo>
                <a:lnTo>
                  <a:pt x="824" y="1737"/>
                </a:lnTo>
                <a:lnTo>
                  <a:pt x="824" y="173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2" name="Freeform 137"/>
          <p:cNvSpPr>
            <a:spLocks/>
          </p:cNvSpPr>
          <p:nvPr/>
        </p:nvSpPr>
        <p:spPr bwMode="auto">
          <a:xfrm>
            <a:off x="7580313" y="5154613"/>
            <a:ext cx="309562" cy="288925"/>
          </a:xfrm>
          <a:custGeom>
            <a:avLst/>
            <a:gdLst/>
            <a:ahLst/>
            <a:cxnLst>
              <a:cxn ang="0">
                <a:pos x="371" y="41"/>
              </a:cxn>
              <a:cxn ang="0">
                <a:pos x="353" y="32"/>
              </a:cxn>
              <a:cxn ang="0">
                <a:pos x="338" y="47"/>
              </a:cxn>
              <a:cxn ang="0">
                <a:pos x="315" y="85"/>
              </a:cxn>
              <a:cxn ang="0">
                <a:pos x="272" y="178"/>
              </a:cxn>
              <a:cxn ang="0">
                <a:pos x="250" y="220"/>
              </a:cxn>
              <a:cxn ang="0">
                <a:pos x="215" y="268"/>
              </a:cxn>
              <a:cxn ang="0">
                <a:pos x="173" y="306"/>
              </a:cxn>
              <a:cxn ang="0">
                <a:pos x="133" y="329"/>
              </a:cxn>
              <a:cxn ang="0">
                <a:pos x="103" y="333"/>
              </a:cxn>
              <a:cxn ang="0">
                <a:pos x="88" y="327"/>
              </a:cxn>
              <a:cxn ang="0">
                <a:pos x="77" y="314"/>
              </a:cxn>
              <a:cxn ang="0">
                <a:pos x="61" y="284"/>
              </a:cxn>
              <a:cxn ang="0">
                <a:pos x="39" y="236"/>
              </a:cxn>
              <a:cxn ang="0">
                <a:pos x="26" y="221"/>
              </a:cxn>
              <a:cxn ang="0">
                <a:pos x="0" y="213"/>
              </a:cxn>
              <a:cxn ang="0">
                <a:pos x="15" y="189"/>
              </a:cxn>
              <a:cxn ang="0">
                <a:pos x="18" y="161"/>
              </a:cxn>
              <a:cxn ang="0">
                <a:pos x="19" y="135"/>
              </a:cxn>
              <a:cxn ang="0">
                <a:pos x="28" y="121"/>
              </a:cxn>
              <a:cxn ang="0">
                <a:pos x="39" y="107"/>
              </a:cxn>
              <a:cxn ang="0">
                <a:pos x="51" y="102"/>
              </a:cxn>
              <a:cxn ang="0">
                <a:pos x="59" y="101"/>
              </a:cxn>
              <a:cxn ang="0">
                <a:pos x="77" y="92"/>
              </a:cxn>
              <a:cxn ang="0">
                <a:pos x="77" y="56"/>
              </a:cxn>
              <a:cxn ang="0">
                <a:pos x="81" y="47"/>
              </a:cxn>
              <a:cxn ang="0">
                <a:pos x="94" y="45"/>
              </a:cxn>
              <a:cxn ang="0">
                <a:pos x="135" y="47"/>
              </a:cxn>
              <a:cxn ang="0">
                <a:pos x="141" y="45"/>
              </a:cxn>
              <a:cxn ang="0">
                <a:pos x="152" y="33"/>
              </a:cxn>
              <a:cxn ang="0">
                <a:pos x="171" y="33"/>
              </a:cxn>
              <a:cxn ang="0">
                <a:pos x="215" y="44"/>
              </a:cxn>
              <a:cxn ang="0">
                <a:pos x="260" y="54"/>
              </a:cxn>
              <a:cxn ang="0">
                <a:pos x="286" y="54"/>
              </a:cxn>
              <a:cxn ang="0">
                <a:pos x="302" y="43"/>
              </a:cxn>
              <a:cxn ang="0">
                <a:pos x="307" y="21"/>
              </a:cxn>
              <a:cxn ang="0">
                <a:pos x="309" y="8"/>
              </a:cxn>
              <a:cxn ang="0">
                <a:pos x="323" y="2"/>
              </a:cxn>
              <a:cxn ang="0">
                <a:pos x="356" y="1"/>
              </a:cxn>
              <a:cxn ang="0">
                <a:pos x="378" y="0"/>
              </a:cxn>
              <a:cxn ang="0">
                <a:pos x="378" y="16"/>
              </a:cxn>
              <a:cxn ang="0">
                <a:pos x="378" y="47"/>
              </a:cxn>
              <a:cxn ang="0">
                <a:pos x="375" y="47"/>
              </a:cxn>
            </a:cxnLst>
            <a:rect l="0" t="0" r="r" b="b"/>
            <a:pathLst>
              <a:path w="378" h="333">
                <a:moveTo>
                  <a:pt x="375" y="47"/>
                </a:moveTo>
                <a:lnTo>
                  <a:pt x="375" y="47"/>
                </a:lnTo>
                <a:lnTo>
                  <a:pt x="371" y="41"/>
                </a:lnTo>
                <a:lnTo>
                  <a:pt x="367" y="37"/>
                </a:lnTo>
                <a:lnTo>
                  <a:pt x="360" y="35"/>
                </a:lnTo>
                <a:lnTo>
                  <a:pt x="353" y="32"/>
                </a:lnTo>
                <a:lnTo>
                  <a:pt x="353" y="32"/>
                </a:lnTo>
                <a:lnTo>
                  <a:pt x="345" y="39"/>
                </a:lnTo>
                <a:lnTo>
                  <a:pt x="338" y="47"/>
                </a:lnTo>
                <a:lnTo>
                  <a:pt x="332" y="55"/>
                </a:lnTo>
                <a:lnTo>
                  <a:pt x="325" y="64"/>
                </a:lnTo>
                <a:lnTo>
                  <a:pt x="315" y="85"/>
                </a:lnTo>
                <a:lnTo>
                  <a:pt x="303" y="107"/>
                </a:lnTo>
                <a:lnTo>
                  <a:pt x="284" y="155"/>
                </a:lnTo>
                <a:lnTo>
                  <a:pt x="272" y="178"/>
                </a:lnTo>
                <a:lnTo>
                  <a:pt x="261" y="201"/>
                </a:lnTo>
                <a:lnTo>
                  <a:pt x="261" y="201"/>
                </a:lnTo>
                <a:lnTo>
                  <a:pt x="250" y="220"/>
                </a:lnTo>
                <a:lnTo>
                  <a:pt x="239" y="236"/>
                </a:lnTo>
                <a:lnTo>
                  <a:pt x="227" y="253"/>
                </a:lnTo>
                <a:lnTo>
                  <a:pt x="215" y="268"/>
                </a:lnTo>
                <a:lnTo>
                  <a:pt x="201" y="282"/>
                </a:lnTo>
                <a:lnTo>
                  <a:pt x="187" y="295"/>
                </a:lnTo>
                <a:lnTo>
                  <a:pt x="173" y="306"/>
                </a:lnTo>
                <a:lnTo>
                  <a:pt x="160" y="315"/>
                </a:lnTo>
                <a:lnTo>
                  <a:pt x="147" y="323"/>
                </a:lnTo>
                <a:lnTo>
                  <a:pt x="133" y="329"/>
                </a:lnTo>
                <a:lnTo>
                  <a:pt x="120" y="333"/>
                </a:lnTo>
                <a:lnTo>
                  <a:pt x="109" y="333"/>
                </a:lnTo>
                <a:lnTo>
                  <a:pt x="103" y="333"/>
                </a:lnTo>
                <a:lnTo>
                  <a:pt x="99" y="331"/>
                </a:lnTo>
                <a:lnTo>
                  <a:pt x="93" y="329"/>
                </a:lnTo>
                <a:lnTo>
                  <a:pt x="88" y="327"/>
                </a:lnTo>
                <a:lnTo>
                  <a:pt x="85" y="323"/>
                </a:lnTo>
                <a:lnTo>
                  <a:pt x="80" y="319"/>
                </a:lnTo>
                <a:lnTo>
                  <a:pt x="77" y="314"/>
                </a:lnTo>
                <a:lnTo>
                  <a:pt x="73" y="308"/>
                </a:lnTo>
                <a:lnTo>
                  <a:pt x="73" y="308"/>
                </a:lnTo>
                <a:lnTo>
                  <a:pt x="61" y="284"/>
                </a:lnTo>
                <a:lnTo>
                  <a:pt x="51" y="264"/>
                </a:lnTo>
                <a:lnTo>
                  <a:pt x="45" y="249"/>
                </a:lnTo>
                <a:lnTo>
                  <a:pt x="39" y="236"/>
                </a:lnTo>
                <a:lnTo>
                  <a:pt x="33" y="227"/>
                </a:lnTo>
                <a:lnTo>
                  <a:pt x="30" y="223"/>
                </a:lnTo>
                <a:lnTo>
                  <a:pt x="26" y="221"/>
                </a:lnTo>
                <a:lnTo>
                  <a:pt x="20" y="219"/>
                </a:lnTo>
                <a:lnTo>
                  <a:pt x="15" y="216"/>
                </a:lnTo>
                <a:lnTo>
                  <a:pt x="0" y="213"/>
                </a:lnTo>
                <a:lnTo>
                  <a:pt x="0" y="213"/>
                </a:lnTo>
                <a:lnTo>
                  <a:pt x="9" y="200"/>
                </a:lnTo>
                <a:lnTo>
                  <a:pt x="15" y="189"/>
                </a:lnTo>
                <a:lnTo>
                  <a:pt x="17" y="176"/>
                </a:lnTo>
                <a:lnTo>
                  <a:pt x="18" y="161"/>
                </a:lnTo>
                <a:lnTo>
                  <a:pt x="18" y="161"/>
                </a:lnTo>
                <a:lnTo>
                  <a:pt x="18" y="143"/>
                </a:lnTo>
                <a:lnTo>
                  <a:pt x="18" y="143"/>
                </a:lnTo>
                <a:lnTo>
                  <a:pt x="19" y="135"/>
                </a:lnTo>
                <a:lnTo>
                  <a:pt x="21" y="129"/>
                </a:lnTo>
                <a:lnTo>
                  <a:pt x="24" y="124"/>
                </a:lnTo>
                <a:lnTo>
                  <a:pt x="28" y="121"/>
                </a:lnTo>
                <a:lnTo>
                  <a:pt x="32" y="117"/>
                </a:lnTo>
                <a:lnTo>
                  <a:pt x="35" y="113"/>
                </a:lnTo>
                <a:lnTo>
                  <a:pt x="39" y="107"/>
                </a:lnTo>
                <a:lnTo>
                  <a:pt x="40" y="99"/>
                </a:lnTo>
                <a:lnTo>
                  <a:pt x="40" y="99"/>
                </a:lnTo>
                <a:lnTo>
                  <a:pt x="51" y="102"/>
                </a:lnTo>
                <a:lnTo>
                  <a:pt x="51" y="102"/>
                </a:lnTo>
                <a:lnTo>
                  <a:pt x="51" y="102"/>
                </a:lnTo>
                <a:lnTo>
                  <a:pt x="59" y="101"/>
                </a:lnTo>
                <a:lnTo>
                  <a:pt x="65" y="99"/>
                </a:lnTo>
                <a:lnTo>
                  <a:pt x="77" y="92"/>
                </a:lnTo>
                <a:lnTo>
                  <a:pt x="77" y="92"/>
                </a:lnTo>
                <a:lnTo>
                  <a:pt x="77" y="62"/>
                </a:lnTo>
                <a:lnTo>
                  <a:pt x="77" y="62"/>
                </a:lnTo>
                <a:lnTo>
                  <a:pt x="77" y="56"/>
                </a:lnTo>
                <a:lnTo>
                  <a:pt x="78" y="53"/>
                </a:lnTo>
                <a:lnTo>
                  <a:pt x="79" y="49"/>
                </a:lnTo>
                <a:lnTo>
                  <a:pt x="81" y="47"/>
                </a:lnTo>
                <a:lnTo>
                  <a:pt x="84" y="46"/>
                </a:lnTo>
                <a:lnTo>
                  <a:pt x="87" y="45"/>
                </a:lnTo>
                <a:lnTo>
                  <a:pt x="94" y="45"/>
                </a:lnTo>
                <a:lnTo>
                  <a:pt x="112" y="48"/>
                </a:lnTo>
                <a:lnTo>
                  <a:pt x="124" y="48"/>
                </a:lnTo>
                <a:lnTo>
                  <a:pt x="135" y="47"/>
                </a:lnTo>
                <a:lnTo>
                  <a:pt x="135" y="47"/>
                </a:lnTo>
                <a:lnTo>
                  <a:pt x="139" y="47"/>
                </a:lnTo>
                <a:lnTo>
                  <a:pt x="141" y="45"/>
                </a:lnTo>
                <a:lnTo>
                  <a:pt x="145" y="40"/>
                </a:lnTo>
                <a:lnTo>
                  <a:pt x="149" y="35"/>
                </a:lnTo>
                <a:lnTo>
                  <a:pt x="152" y="33"/>
                </a:lnTo>
                <a:lnTo>
                  <a:pt x="155" y="32"/>
                </a:lnTo>
                <a:lnTo>
                  <a:pt x="155" y="32"/>
                </a:lnTo>
                <a:lnTo>
                  <a:pt x="171" y="33"/>
                </a:lnTo>
                <a:lnTo>
                  <a:pt x="186" y="36"/>
                </a:lnTo>
                <a:lnTo>
                  <a:pt x="201" y="39"/>
                </a:lnTo>
                <a:lnTo>
                  <a:pt x="215" y="44"/>
                </a:lnTo>
                <a:lnTo>
                  <a:pt x="230" y="47"/>
                </a:lnTo>
                <a:lnTo>
                  <a:pt x="245" y="51"/>
                </a:lnTo>
                <a:lnTo>
                  <a:pt x="260" y="54"/>
                </a:lnTo>
                <a:lnTo>
                  <a:pt x="276" y="54"/>
                </a:lnTo>
                <a:lnTo>
                  <a:pt x="276" y="54"/>
                </a:lnTo>
                <a:lnTo>
                  <a:pt x="286" y="54"/>
                </a:lnTo>
                <a:lnTo>
                  <a:pt x="294" y="52"/>
                </a:lnTo>
                <a:lnTo>
                  <a:pt x="299" y="47"/>
                </a:lnTo>
                <a:lnTo>
                  <a:pt x="302" y="43"/>
                </a:lnTo>
                <a:lnTo>
                  <a:pt x="303" y="36"/>
                </a:lnTo>
                <a:lnTo>
                  <a:pt x="305" y="29"/>
                </a:lnTo>
                <a:lnTo>
                  <a:pt x="307" y="21"/>
                </a:lnTo>
                <a:lnTo>
                  <a:pt x="308" y="12"/>
                </a:lnTo>
                <a:lnTo>
                  <a:pt x="308" y="12"/>
                </a:lnTo>
                <a:lnTo>
                  <a:pt x="309" y="8"/>
                </a:lnTo>
                <a:lnTo>
                  <a:pt x="311" y="7"/>
                </a:lnTo>
                <a:lnTo>
                  <a:pt x="316" y="3"/>
                </a:lnTo>
                <a:lnTo>
                  <a:pt x="323" y="2"/>
                </a:lnTo>
                <a:lnTo>
                  <a:pt x="331" y="1"/>
                </a:lnTo>
                <a:lnTo>
                  <a:pt x="348" y="1"/>
                </a:lnTo>
                <a:lnTo>
                  <a:pt x="356" y="1"/>
                </a:lnTo>
                <a:lnTo>
                  <a:pt x="363" y="0"/>
                </a:lnTo>
                <a:lnTo>
                  <a:pt x="363" y="0"/>
                </a:lnTo>
                <a:lnTo>
                  <a:pt x="378" y="0"/>
                </a:lnTo>
                <a:lnTo>
                  <a:pt x="378" y="0"/>
                </a:lnTo>
                <a:lnTo>
                  <a:pt x="378" y="0"/>
                </a:lnTo>
                <a:lnTo>
                  <a:pt x="378" y="16"/>
                </a:lnTo>
                <a:lnTo>
                  <a:pt x="377" y="28"/>
                </a:lnTo>
                <a:lnTo>
                  <a:pt x="377" y="37"/>
                </a:lnTo>
                <a:lnTo>
                  <a:pt x="378" y="47"/>
                </a:lnTo>
                <a:lnTo>
                  <a:pt x="378" y="47"/>
                </a:lnTo>
                <a:lnTo>
                  <a:pt x="375" y="47"/>
                </a:lnTo>
                <a:lnTo>
                  <a:pt x="375" y="47"/>
                </a:lnTo>
                <a:lnTo>
                  <a:pt x="375" y="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3" name="Freeform 138"/>
          <p:cNvSpPr>
            <a:spLocks/>
          </p:cNvSpPr>
          <p:nvPr/>
        </p:nvSpPr>
        <p:spPr bwMode="auto">
          <a:xfrm>
            <a:off x="4921250" y="4159250"/>
            <a:ext cx="1406525" cy="1758950"/>
          </a:xfrm>
          <a:custGeom>
            <a:avLst/>
            <a:gdLst/>
            <a:ahLst/>
            <a:cxnLst>
              <a:cxn ang="0">
                <a:pos x="1683" y="607"/>
              </a:cxn>
              <a:cxn ang="0">
                <a:pos x="1627" y="507"/>
              </a:cxn>
              <a:cxn ang="0">
                <a:pos x="1533" y="466"/>
              </a:cxn>
              <a:cxn ang="0">
                <a:pos x="1410" y="368"/>
              </a:cxn>
              <a:cxn ang="0">
                <a:pos x="1290" y="507"/>
              </a:cxn>
              <a:cxn ang="0">
                <a:pos x="1210" y="657"/>
              </a:cxn>
              <a:cxn ang="0">
                <a:pos x="1116" y="634"/>
              </a:cxn>
              <a:cxn ang="0">
                <a:pos x="970" y="718"/>
              </a:cxn>
              <a:cxn ang="0">
                <a:pos x="965" y="432"/>
              </a:cxn>
              <a:cxn ang="0">
                <a:pos x="878" y="305"/>
              </a:cxn>
              <a:cxn ang="0">
                <a:pos x="823" y="221"/>
              </a:cxn>
              <a:cxn ang="0">
                <a:pos x="739" y="77"/>
              </a:cxn>
              <a:cxn ang="0">
                <a:pos x="716" y="7"/>
              </a:cxn>
              <a:cxn ang="0">
                <a:pos x="599" y="78"/>
              </a:cxn>
              <a:cxn ang="0">
                <a:pos x="602" y="175"/>
              </a:cxn>
              <a:cxn ang="0">
                <a:pos x="647" y="268"/>
              </a:cxn>
              <a:cxn ang="0">
                <a:pos x="647" y="338"/>
              </a:cxn>
              <a:cxn ang="0">
                <a:pos x="610" y="424"/>
              </a:cxn>
              <a:cxn ang="0">
                <a:pos x="575" y="495"/>
              </a:cxn>
              <a:cxn ang="0">
                <a:pos x="639" y="628"/>
              </a:cxn>
              <a:cxn ang="0">
                <a:pos x="617" y="719"/>
              </a:cxn>
              <a:cxn ang="0">
                <a:pos x="660" y="786"/>
              </a:cxn>
              <a:cxn ang="0">
                <a:pos x="640" y="880"/>
              </a:cxn>
              <a:cxn ang="0">
                <a:pos x="511" y="817"/>
              </a:cxn>
              <a:cxn ang="0">
                <a:pos x="462" y="875"/>
              </a:cxn>
              <a:cxn ang="0">
                <a:pos x="419" y="958"/>
              </a:cxn>
              <a:cxn ang="0">
                <a:pos x="383" y="1007"/>
              </a:cxn>
              <a:cxn ang="0">
                <a:pos x="362" y="1119"/>
              </a:cxn>
              <a:cxn ang="0">
                <a:pos x="284" y="1033"/>
              </a:cxn>
              <a:cxn ang="0">
                <a:pos x="162" y="1095"/>
              </a:cxn>
              <a:cxn ang="0">
                <a:pos x="116" y="1223"/>
              </a:cxn>
              <a:cxn ang="0">
                <a:pos x="120" y="1348"/>
              </a:cxn>
              <a:cxn ang="0">
                <a:pos x="91" y="1461"/>
              </a:cxn>
              <a:cxn ang="0">
                <a:pos x="89" y="1565"/>
              </a:cxn>
              <a:cxn ang="0">
                <a:pos x="0" y="1637"/>
              </a:cxn>
              <a:cxn ang="0">
                <a:pos x="82" y="1727"/>
              </a:cxn>
              <a:cxn ang="0">
                <a:pos x="159" y="1742"/>
              </a:cxn>
              <a:cxn ang="0">
                <a:pos x="308" y="1785"/>
              </a:cxn>
              <a:cxn ang="0">
                <a:pos x="402" y="1737"/>
              </a:cxn>
              <a:cxn ang="0">
                <a:pos x="457" y="1808"/>
              </a:cxn>
              <a:cxn ang="0">
                <a:pos x="606" y="1869"/>
              </a:cxn>
              <a:cxn ang="0">
                <a:pos x="701" y="1920"/>
              </a:cxn>
              <a:cxn ang="0">
                <a:pos x="771" y="1968"/>
              </a:cxn>
              <a:cxn ang="0">
                <a:pos x="808" y="1999"/>
              </a:cxn>
              <a:cxn ang="0">
                <a:pos x="793" y="1949"/>
              </a:cxn>
              <a:cxn ang="0">
                <a:pos x="871" y="1858"/>
              </a:cxn>
              <a:cxn ang="0">
                <a:pos x="999" y="1645"/>
              </a:cxn>
              <a:cxn ang="0">
                <a:pos x="1032" y="1565"/>
              </a:cxn>
              <a:cxn ang="0">
                <a:pos x="1074" y="1322"/>
              </a:cxn>
              <a:cxn ang="0">
                <a:pos x="1072" y="1197"/>
              </a:cxn>
              <a:cxn ang="0">
                <a:pos x="1019" y="1117"/>
              </a:cxn>
              <a:cxn ang="0">
                <a:pos x="1098" y="1042"/>
              </a:cxn>
              <a:cxn ang="0">
                <a:pos x="1199" y="1015"/>
              </a:cxn>
              <a:cxn ang="0">
                <a:pos x="1266" y="983"/>
              </a:cxn>
              <a:cxn ang="0">
                <a:pos x="1340" y="992"/>
              </a:cxn>
              <a:cxn ang="0">
                <a:pos x="1415" y="991"/>
              </a:cxn>
              <a:cxn ang="0">
                <a:pos x="1492" y="880"/>
              </a:cxn>
              <a:cxn ang="0">
                <a:pos x="1575" y="881"/>
              </a:cxn>
              <a:cxn ang="0">
                <a:pos x="1672" y="827"/>
              </a:cxn>
              <a:cxn ang="0">
                <a:pos x="1612" y="748"/>
              </a:cxn>
            </a:cxnLst>
            <a:rect l="0" t="0" r="r" b="b"/>
            <a:pathLst>
              <a:path w="1719" h="2016">
                <a:moveTo>
                  <a:pt x="1598" y="724"/>
                </a:moveTo>
                <a:lnTo>
                  <a:pt x="1598" y="724"/>
                </a:lnTo>
                <a:lnTo>
                  <a:pt x="1598" y="625"/>
                </a:lnTo>
                <a:lnTo>
                  <a:pt x="1598" y="625"/>
                </a:lnTo>
                <a:lnTo>
                  <a:pt x="1599" y="620"/>
                </a:lnTo>
                <a:lnTo>
                  <a:pt x="1602" y="615"/>
                </a:lnTo>
                <a:lnTo>
                  <a:pt x="1605" y="613"/>
                </a:lnTo>
                <a:lnTo>
                  <a:pt x="1610" y="612"/>
                </a:lnTo>
                <a:lnTo>
                  <a:pt x="1618" y="610"/>
                </a:lnTo>
                <a:lnTo>
                  <a:pt x="1624" y="610"/>
                </a:lnTo>
                <a:lnTo>
                  <a:pt x="1624" y="610"/>
                </a:lnTo>
                <a:lnTo>
                  <a:pt x="1667" y="610"/>
                </a:lnTo>
                <a:lnTo>
                  <a:pt x="1667" y="610"/>
                </a:lnTo>
                <a:lnTo>
                  <a:pt x="1676" y="609"/>
                </a:lnTo>
                <a:lnTo>
                  <a:pt x="1683" y="607"/>
                </a:lnTo>
                <a:lnTo>
                  <a:pt x="1690" y="604"/>
                </a:lnTo>
                <a:lnTo>
                  <a:pt x="1696" y="600"/>
                </a:lnTo>
                <a:lnTo>
                  <a:pt x="1708" y="591"/>
                </a:lnTo>
                <a:lnTo>
                  <a:pt x="1719" y="580"/>
                </a:lnTo>
                <a:lnTo>
                  <a:pt x="1704" y="573"/>
                </a:lnTo>
                <a:lnTo>
                  <a:pt x="1704" y="573"/>
                </a:lnTo>
                <a:lnTo>
                  <a:pt x="1696" y="566"/>
                </a:lnTo>
                <a:lnTo>
                  <a:pt x="1686" y="559"/>
                </a:lnTo>
                <a:lnTo>
                  <a:pt x="1663" y="543"/>
                </a:lnTo>
                <a:lnTo>
                  <a:pt x="1651" y="534"/>
                </a:lnTo>
                <a:lnTo>
                  <a:pt x="1641" y="526"/>
                </a:lnTo>
                <a:lnTo>
                  <a:pt x="1633" y="516"/>
                </a:lnTo>
                <a:lnTo>
                  <a:pt x="1629" y="512"/>
                </a:lnTo>
                <a:lnTo>
                  <a:pt x="1627" y="507"/>
                </a:lnTo>
                <a:lnTo>
                  <a:pt x="1627" y="507"/>
                </a:lnTo>
                <a:lnTo>
                  <a:pt x="1624" y="495"/>
                </a:lnTo>
                <a:lnTo>
                  <a:pt x="1621" y="484"/>
                </a:lnTo>
                <a:lnTo>
                  <a:pt x="1617" y="465"/>
                </a:lnTo>
                <a:lnTo>
                  <a:pt x="1613" y="455"/>
                </a:lnTo>
                <a:lnTo>
                  <a:pt x="1609" y="447"/>
                </a:lnTo>
                <a:lnTo>
                  <a:pt x="1603" y="441"/>
                </a:lnTo>
                <a:lnTo>
                  <a:pt x="1594" y="434"/>
                </a:lnTo>
                <a:lnTo>
                  <a:pt x="1558" y="434"/>
                </a:lnTo>
                <a:lnTo>
                  <a:pt x="1558" y="434"/>
                </a:lnTo>
                <a:lnTo>
                  <a:pt x="1555" y="447"/>
                </a:lnTo>
                <a:lnTo>
                  <a:pt x="1552" y="453"/>
                </a:lnTo>
                <a:lnTo>
                  <a:pt x="1549" y="458"/>
                </a:lnTo>
                <a:lnTo>
                  <a:pt x="1545" y="461"/>
                </a:lnTo>
                <a:lnTo>
                  <a:pt x="1540" y="465"/>
                </a:lnTo>
                <a:lnTo>
                  <a:pt x="1533" y="466"/>
                </a:lnTo>
                <a:lnTo>
                  <a:pt x="1525" y="466"/>
                </a:lnTo>
                <a:lnTo>
                  <a:pt x="1525" y="466"/>
                </a:lnTo>
                <a:lnTo>
                  <a:pt x="1512" y="465"/>
                </a:lnTo>
                <a:lnTo>
                  <a:pt x="1503" y="462"/>
                </a:lnTo>
                <a:lnTo>
                  <a:pt x="1494" y="457"/>
                </a:lnTo>
                <a:lnTo>
                  <a:pt x="1487" y="451"/>
                </a:lnTo>
                <a:lnTo>
                  <a:pt x="1480" y="443"/>
                </a:lnTo>
                <a:lnTo>
                  <a:pt x="1474" y="435"/>
                </a:lnTo>
                <a:lnTo>
                  <a:pt x="1465" y="416"/>
                </a:lnTo>
                <a:lnTo>
                  <a:pt x="1453" y="399"/>
                </a:lnTo>
                <a:lnTo>
                  <a:pt x="1447" y="390"/>
                </a:lnTo>
                <a:lnTo>
                  <a:pt x="1441" y="383"/>
                </a:lnTo>
                <a:lnTo>
                  <a:pt x="1431" y="376"/>
                </a:lnTo>
                <a:lnTo>
                  <a:pt x="1422" y="371"/>
                </a:lnTo>
                <a:lnTo>
                  <a:pt x="1410" y="368"/>
                </a:lnTo>
                <a:lnTo>
                  <a:pt x="1396" y="368"/>
                </a:lnTo>
                <a:lnTo>
                  <a:pt x="1396" y="368"/>
                </a:lnTo>
                <a:lnTo>
                  <a:pt x="1375" y="368"/>
                </a:lnTo>
                <a:lnTo>
                  <a:pt x="1358" y="370"/>
                </a:lnTo>
                <a:lnTo>
                  <a:pt x="1344" y="374"/>
                </a:lnTo>
                <a:lnTo>
                  <a:pt x="1332" y="378"/>
                </a:lnTo>
                <a:lnTo>
                  <a:pt x="1323" y="384"/>
                </a:lnTo>
                <a:lnTo>
                  <a:pt x="1316" y="391"/>
                </a:lnTo>
                <a:lnTo>
                  <a:pt x="1311" y="399"/>
                </a:lnTo>
                <a:lnTo>
                  <a:pt x="1306" y="409"/>
                </a:lnTo>
                <a:lnTo>
                  <a:pt x="1303" y="420"/>
                </a:lnTo>
                <a:lnTo>
                  <a:pt x="1300" y="431"/>
                </a:lnTo>
                <a:lnTo>
                  <a:pt x="1297" y="459"/>
                </a:lnTo>
                <a:lnTo>
                  <a:pt x="1293" y="490"/>
                </a:lnTo>
                <a:lnTo>
                  <a:pt x="1290" y="507"/>
                </a:lnTo>
                <a:lnTo>
                  <a:pt x="1286" y="525"/>
                </a:lnTo>
                <a:lnTo>
                  <a:pt x="1286" y="525"/>
                </a:lnTo>
                <a:lnTo>
                  <a:pt x="1283" y="535"/>
                </a:lnTo>
                <a:lnTo>
                  <a:pt x="1279" y="544"/>
                </a:lnTo>
                <a:lnTo>
                  <a:pt x="1270" y="561"/>
                </a:lnTo>
                <a:lnTo>
                  <a:pt x="1259" y="577"/>
                </a:lnTo>
                <a:lnTo>
                  <a:pt x="1248" y="592"/>
                </a:lnTo>
                <a:lnTo>
                  <a:pt x="1237" y="607"/>
                </a:lnTo>
                <a:lnTo>
                  <a:pt x="1228" y="622"/>
                </a:lnTo>
                <a:lnTo>
                  <a:pt x="1223" y="630"/>
                </a:lnTo>
                <a:lnTo>
                  <a:pt x="1221" y="640"/>
                </a:lnTo>
                <a:lnTo>
                  <a:pt x="1217" y="648"/>
                </a:lnTo>
                <a:lnTo>
                  <a:pt x="1216" y="657"/>
                </a:lnTo>
                <a:lnTo>
                  <a:pt x="1216" y="657"/>
                </a:lnTo>
                <a:lnTo>
                  <a:pt x="1210" y="657"/>
                </a:lnTo>
                <a:lnTo>
                  <a:pt x="1205" y="656"/>
                </a:lnTo>
                <a:lnTo>
                  <a:pt x="1200" y="653"/>
                </a:lnTo>
                <a:lnTo>
                  <a:pt x="1195" y="651"/>
                </a:lnTo>
                <a:lnTo>
                  <a:pt x="1187" y="644"/>
                </a:lnTo>
                <a:lnTo>
                  <a:pt x="1181" y="637"/>
                </a:lnTo>
                <a:lnTo>
                  <a:pt x="1175" y="630"/>
                </a:lnTo>
                <a:lnTo>
                  <a:pt x="1169" y="623"/>
                </a:lnTo>
                <a:lnTo>
                  <a:pt x="1163" y="619"/>
                </a:lnTo>
                <a:lnTo>
                  <a:pt x="1160" y="618"/>
                </a:lnTo>
                <a:lnTo>
                  <a:pt x="1158" y="618"/>
                </a:lnTo>
                <a:lnTo>
                  <a:pt x="1158" y="618"/>
                </a:lnTo>
                <a:lnTo>
                  <a:pt x="1146" y="619"/>
                </a:lnTo>
                <a:lnTo>
                  <a:pt x="1136" y="622"/>
                </a:lnTo>
                <a:lnTo>
                  <a:pt x="1125" y="627"/>
                </a:lnTo>
                <a:lnTo>
                  <a:pt x="1116" y="634"/>
                </a:lnTo>
                <a:lnTo>
                  <a:pt x="1108" y="642"/>
                </a:lnTo>
                <a:lnTo>
                  <a:pt x="1099" y="651"/>
                </a:lnTo>
                <a:lnTo>
                  <a:pt x="1082" y="671"/>
                </a:lnTo>
                <a:lnTo>
                  <a:pt x="1064" y="690"/>
                </a:lnTo>
                <a:lnTo>
                  <a:pt x="1054" y="699"/>
                </a:lnTo>
                <a:lnTo>
                  <a:pt x="1045" y="707"/>
                </a:lnTo>
                <a:lnTo>
                  <a:pt x="1033" y="714"/>
                </a:lnTo>
                <a:lnTo>
                  <a:pt x="1022" y="719"/>
                </a:lnTo>
                <a:lnTo>
                  <a:pt x="1009" y="722"/>
                </a:lnTo>
                <a:lnTo>
                  <a:pt x="995" y="724"/>
                </a:lnTo>
                <a:lnTo>
                  <a:pt x="995" y="724"/>
                </a:lnTo>
                <a:lnTo>
                  <a:pt x="987" y="724"/>
                </a:lnTo>
                <a:lnTo>
                  <a:pt x="980" y="722"/>
                </a:lnTo>
                <a:lnTo>
                  <a:pt x="975" y="720"/>
                </a:lnTo>
                <a:lnTo>
                  <a:pt x="970" y="718"/>
                </a:lnTo>
                <a:lnTo>
                  <a:pt x="965" y="716"/>
                </a:lnTo>
                <a:lnTo>
                  <a:pt x="962" y="712"/>
                </a:lnTo>
                <a:lnTo>
                  <a:pt x="960" y="709"/>
                </a:lnTo>
                <a:lnTo>
                  <a:pt x="957" y="704"/>
                </a:lnTo>
                <a:lnTo>
                  <a:pt x="954" y="695"/>
                </a:lnTo>
                <a:lnTo>
                  <a:pt x="952" y="686"/>
                </a:lnTo>
                <a:lnTo>
                  <a:pt x="952" y="665"/>
                </a:lnTo>
                <a:lnTo>
                  <a:pt x="952" y="665"/>
                </a:lnTo>
                <a:lnTo>
                  <a:pt x="952" y="492"/>
                </a:lnTo>
                <a:lnTo>
                  <a:pt x="952" y="492"/>
                </a:lnTo>
                <a:lnTo>
                  <a:pt x="952" y="481"/>
                </a:lnTo>
                <a:lnTo>
                  <a:pt x="954" y="469"/>
                </a:lnTo>
                <a:lnTo>
                  <a:pt x="956" y="460"/>
                </a:lnTo>
                <a:lnTo>
                  <a:pt x="960" y="451"/>
                </a:lnTo>
                <a:lnTo>
                  <a:pt x="965" y="432"/>
                </a:lnTo>
                <a:lnTo>
                  <a:pt x="968" y="422"/>
                </a:lnTo>
                <a:lnTo>
                  <a:pt x="970" y="412"/>
                </a:lnTo>
                <a:lnTo>
                  <a:pt x="970" y="412"/>
                </a:lnTo>
                <a:lnTo>
                  <a:pt x="950" y="401"/>
                </a:lnTo>
                <a:lnTo>
                  <a:pt x="932" y="391"/>
                </a:lnTo>
                <a:lnTo>
                  <a:pt x="917" y="380"/>
                </a:lnTo>
                <a:lnTo>
                  <a:pt x="903" y="368"/>
                </a:lnTo>
                <a:lnTo>
                  <a:pt x="897" y="361"/>
                </a:lnTo>
                <a:lnTo>
                  <a:pt x="893" y="354"/>
                </a:lnTo>
                <a:lnTo>
                  <a:pt x="888" y="347"/>
                </a:lnTo>
                <a:lnTo>
                  <a:pt x="885" y="339"/>
                </a:lnTo>
                <a:lnTo>
                  <a:pt x="881" y="331"/>
                </a:lnTo>
                <a:lnTo>
                  <a:pt x="879" y="323"/>
                </a:lnTo>
                <a:lnTo>
                  <a:pt x="878" y="314"/>
                </a:lnTo>
                <a:lnTo>
                  <a:pt x="878" y="305"/>
                </a:lnTo>
                <a:lnTo>
                  <a:pt x="878" y="305"/>
                </a:lnTo>
                <a:lnTo>
                  <a:pt x="878" y="264"/>
                </a:lnTo>
                <a:lnTo>
                  <a:pt x="878" y="264"/>
                </a:lnTo>
                <a:lnTo>
                  <a:pt x="877" y="259"/>
                </a:lnTo>
                <a:lnTo>
                  <a:pt x="876" y="254"/>
                </a:lnTo>
                <a:lnTo>
                  <a:pt x="873" y="250"/>
                </a:lnTo>
                <a:lnTo>
                  <a:pt x="871" y="246"/>
                </a:lnTo>
                <a:lnTo>
                  <a:pt x="868" y="244"/>
                </a:lnTo>
                <a:lnTo>
                  <a:pt x="863" y="241"/>
                </a:lnTo>
                <a:lnTo>
                  <a:pt x="855" y="237"/>
                </a:lnTo>
                <a:lnTo>
                  <a:pt x="835" y="230"/>
                </a:lnTo>
                <a:lnTo>
                  <a:pt x="828" y="226"/>
                </a:lnTo>
                <a:lnTo>
                  <a:pt x="825" y="223"/>
                </a:lnTo>
                <a:lnTo>
                  <a:pt x="823" y="221"/>
                </a:lnTo>
                <a:lnTo>
                  <a:pt x="823" y="221"/>
                </a:lnTo>
                <a:lnTo>
                  <a:pt x="817" y="208"/>
                </a:lnTo>
                <a:lnTo>
                  <a:pt x="813" y="197"/>
                </a:lnTo>
                <a:lnTo>
                  <a:pt x="811" y="186"/>
                </a:lnTo>
                <a:lnTo>
                  <a:pt x="810" y="175"/>
                </a:lnTo>
                <a:lnTo>
                  <a:pt x="809" y="164"/>
                </a:lnTo>
                <a:lnTo>
                  <a:pt x="807" y="154"/>
                </a:lnTo>
                <a:lnTo>
                  <a:pt x="803" y="144"/>
                </a:lnTo>
                <a:lnTo>
                  <a:pt x="797" y="132"/>
                </a:lnTo>
                <a:lnTo>
                  <a:pt x="797" y="132"/>
                </a:lnTo>
                <a:lnTo>
                  <a:pt x="792" y="118"/>
                </a:lnTo>
                <a:lnTo>
                  <a:pt x="784" y="107"/>
                </a:lnTo>
                <a:lnTo>
                  <a:pt x="775" y="96"/>
                </a:lnTo>
                <a:lnTo>
                  <a:pt x="765" y="88"/>
                </a:lnTo>
                <a:lnTo>
                  <a:pt x="752" y="82"/>
                </a:lnTo>
                <a:lnTo>
                  <a:pt x="739" y="77"/>
                </a:lnTo>
                <a:lnTo>
                  <a:pt x="723" y="73"/>
                </a:lnTo>
                <a:lnTo>
                  <a:pt x="705" y="70"/>
                </a:lnTo>
                <a:lnTo>
                  <a:pt x="705" y="70"/>
                </a:lnTo>
                <a:lnTo>
                  <a:pt x="706" y="63"/>
                </a:lnTo>
                <a:lnTo>
                  <a:pt x="710" y="58"/>
                </a:lnTo>
                <a:lnTo>
                  <a:pt x="716" y="49"/>
                </a:lnTo>
                <a:lnTo>
                  <a:pt x="719" y="45"/>
                </a:lnTo>
                <a:lnTo>
                  <a:pt x="721" y="39"/>
                </a:lnTo>
                <a:lnTo>
                  <a:pt x="723" y="33"/>
                </a:lnTo>
                <a:lnTo>
                  <a:pt x="724" y="26"/>
                </a:lnTo>
                <a:lnTo>
                  <a:pt x="724" y="26"/>
                </a:lnTo>
                <a:lnTo>
                  <a:pt x="724" y="16"/>
                </a:lnTo>
                <a:lnTo>
                  <a:pt x="724" y="12"/>
                </a:lnTo>
                <a:lnTo>
                  <a:pt x="723" y="10"/>
                </a:lnTo>
                <a:lnTo>
                  <a:pt x="716" y="7"/>
                </a:lnTo>
                <a:lnTo>
                  <a:pt x="690" y="0"/>
                </a:lnTo>
                <a:lnTo>
                  <a:pt x="690" y="0"/>
                </a:lnTo>
                <a:lnTo>
                  <a:pt x="688" y="9"/>
                </a:lnTo>
                <a:lnTo>
                  <a:pt x="686" y="16"/>
                </a:lnTo>
                <a:lnTo>
                  <a:pt x="680" y="23"/>
                </a:lnTo>
                <a:lnTo>
                  <a:pt x="674" y="27"/>
                </a:lnTo>
                <a:lnTo>
                  <a:pt x="667" y="32"/>
                </a:lnTo>
                <a:lnTo>
                  <a:pt x="659" y="35"/>
                </a:lnTo>
                <a:lnTo>
                  <a:pt x="643" y="42"/>
                </a:lnTo>
                <a:lnTo>
                  <a:pt x="627" y="49"/>
                </a:lnTo>
                <a:lnTo>
                  <a:pt x="619" y="54"/>
                </a:lnTo>
                <a:lnTo>
                  <a:pt x="612" y="58"/>
                </a:lnTo>
                <a:lnTo>
                  <a:pt x="606" y="64"/>
                </a:lnTo>
                <a:lnTo>
                  <a:pt x="602" y="71"/>
                </a:lnTo>
                <a:lnTo>
                  <a:pt x="599" y="78"/>
                </a:lnTo>
                <a:lnTo>
                  <a:pt x="598" y="88"/>
                </a:lnTo>
                <a:lnTo>
                  <a:pt x="598" y="88"/>
                </a:lnTo>
                <a:lnTo>
                  <a:pt x="599" y="99"/>
                </a:lnTo>
                <a:lnTo>
                  <a:pt x="602" y="108"/>
                </a:lnTo>
                <a:lnTo>
                  <a:pt x="605" y="115"/>
                </a:lnTo>
                <a:lnTo>
                  <a:pt x="610" y="121"/>
                </a:lnTo>
                <a:lnTo>
                  <a:pt x="618" y="131"/>
                </a:lnTo>
                <a:lnTo>
                  <a:pt x="620" y="137"/>
                </a:lnTo>
                <a:lnTo>
                  <a:pt x="621" y="144"/>
                </a:lnTo>
                <a:lnTo>
                  <a:pt x="621" y="144"/>
                </a:lnTo>
                <a:lnTo>
                  <a:pt x="620" y="148"/>
                </a:lnTo>
                <a:lnTo>
                  <a:pt x="618" y="154"/>
                </a:lnTo>
                <a:lnTo>
                  <a:pt x="610" y="163"/>
                </a:lnTo>
                <a:lnTo>
                  <a:pt x="605" y="169"/>
                </a:lnTo>
                <a:lnTo>
                  <a:pt x="602" y="175"/>
                </a:lnTo>
                <a:lnTo>
                  <a:pt x="599" y="182"/>
                </a:lnTo>
                <a:lnTo>
                  <a:pt x="598" y="191"/>
                </a:lnTo>
                <a:lnTo>
                  <a:pt x="598" y="191"/>
                </a:lnTo>
                <a:lnTo>
                  <a:pt x="599" y="198"/>
                </a:lnTo>
                <a:lnTo>
                  <a:pt x="601" y="205"/>
                </a:lnTo>
                <a:lnTo>
                  <a:pt x="603" y="210"/>
                </a:lnTo>
                <a:lnTo>
                  <a:pt x="606" y="215"/>
                </a:lnTo>
                <a:lnTo>
                  <a:pt x="613" y="224"/>
                </a:lnTo>
                <a:lnTo>
                  <a:pt x="622" y="231"/>
                </a:lnTo>
                <a:lnTo>
                  <a:pt x="631" y="238"/>
                </a:lnTo>
                <a:lnTo>
                  <a:pt x="639" y="246"/>
                </a:lnTo>
                <a:lnTo>
                  <a:pt x="642" y="251"/>
                </a:lnTo>
                <a:lnTo>
                  <a:pt x="644" y="256"/>
                </a:lnTo>
                <a:lnTo>
                  <a:pt x="645" y="262"/>
                </a:lnTo>
                <a:lnTo>
                  <a:pt x="647" y="268"/>
                </a:lnTo>
                <a:lnTo>
                  <a:pt x="647" y="268"/>
                </a:lnTo>
                <a:lnTo>
                  <a:pt x="645" y="274"/>
                </a:lnTo>
                <a:lnTo>
                  <a:pt x="644" y="278"/>
                </a:lnTo>
                <a:lnTo>
                  <a:pt x="639" y="287"/>
                </a:lnTo>
                <a:lnTo>
                  <a:pt x="634" y="297"/>
                </a:lnTo>
                <a:lnTo>
                  <a:pt x="632" y="300"/>
                </a:lnTo>
                <a:lnTo>
                  <a:pt x="632" y="305"/>
                </a:lnTo>
                <a:lnTo>
                  <a:pt x="632" y="305"/>
                </a:lnTo>
                <a:lnTo>
                  <a:pt x="632" y="310"/>
                </a:lnTo>
                <a:lnTo>
                  <a:pt x="634" y="316"/>
                </a:lnTo>
                <a:lnTo>
                  <a:pt x="636" y="321"/>
                </a:lnTo>
                <a:lnTo>
                  <a:pt x="639" y="324"/>
                </a:lnTo>
                <a:lnTo>
                  <a:pt x="644" y="331"/>
                </a:lnTo>
                <a:lnTo>
                  <a:pt x="645" y="335"/>
                </a:lnTo>
                <a:lnTo>
                  <a:pt x="647" y="338"/>
                </a:lnTo>
                <a:lnTo>
                  <a:pt x="647" y="338"/>
                </a:lnTo>
                <a:lnTo>
                  <a:pt x="645" y="348"/>
                </a:lnTo>
                <a:lnTo>
                  <a:pt x="642" y="358"/>
                </a:lnTo>
                <a:lnTo>
                  <a:pt x="639" y="365"/>
                </a:lnTo>
                <a:lnTo>
                  <a:pt x="634" y="373"/>
                </a:lnTo>
                <a:lnTo>
                  <a:pt x="629" y="380"/>
                </a:lnTo>
                <a:lnTo>
                  <a:pt x="625" y="386"/>
                </a:lnTo>
                <a:lnTo>
                  <a:pt x="622" y="394"/>
                </a:lnTo>
                <a:lnTo>
                  <a:pt x="621" y="404"/>
                </a:lnTo>
                <a:lnTo>
                  <a:pt x="621" y="404"/>
                </a:lnTo>
                <a:lnTo>
                  <a:pt x="620" y="409"/>
                </a:lnTo>
                <a:lnTo>
                  <a:pt x="619" y="413"/>
                </a:lnTo>
                <a:lnTo>
                  <a:pt x="617" y="416"/>
                </a:lnTo>
                <a:lnTo>
                  <a:pt x="614" y="420"/>
                </a:lnTo>
                <a:lnTo>
                  <a:pt x="610" y="424"/>
                </a:lnTo>
                <a:lnTo>
                  <a:pt x="606" y="430"/>
                </a:lnTo>
                <a:lnTo>
                  <a:pt x="606" y="430"/>
                </a:lnTo>
                <a:lnTo>
                  <a:pt x="598" y="435"/>
                </a:lnTo>
                <a:lnTo>
                  <a:pt x="593" y="441"/>
                </a:lnTo>
                <a:lnTo>
                  <a:pt x="583" y="451"/>
                </a:lnTo>
                <a:lnTo>
                  <a:pt x="575" y="461"/>
                </a:lnTo>
                <a:lnTo>
                  <a:pt x="570" y="466"/>
                </a:lnTo>
                <a:lnTo>
                  <a:pt x="563" y="470"/>
                </a:lnTo>
                <a:lnTo>
                  <a:pt x="563" y="470"/>
                </a:lnTo>
                <a:lnTo>
                  <a:pt x="565" y="477"/>
                </a:lnTo>
                <a:lnTo>
                  <a:pt x="568" y="482"/>
                </a:lnTo>
                <a:lnTo>
                  <a:pt x="572" y="484"/>
                </a:lnTo>
                <a:lnTo>
                  <a:pt x="576" y="485"/>
                </a:lnTo>
                <a:lnTo>
                  <a:pt x="576" y="485"/>
                </a:lnTo>
                <a:lnTo>
                  <a:pt x="575" y="495"/>
                </a:lnTo>
                <a:lnTo>
                  <a:pt x="573" y="503"/>
                </a:lnTo>
                <a:lnTo>
                  <a:pt x="566" y="515"/>
                </a:lnTo>
                <a:lnTo>
                  <a:pt x="564" y="522"/>
                </a:lnTo>
                <a:lnTo>
                  <a:pt x="561" y="529"/>
                </a:lnTo>
                <a:lnTo>
                  <a:pt x="559" y="538"/>
                </a:lnTo>
                <a:lnTo>
                  <a:pt x="558" y="551"/>
                </a:lnTo>
                <a:lnTo>
                  <a:pt x="558" y="551"/>
                </a:lnTo>
                <a:lnTo>
                  <a:pt x="559" y="574"/>
                </a:lnTo>
                <a:lnTo>
                  <a:pt x="561" y="597"/>
                </a:lnTo>
                <a:lnTo>
                  <a:pt x="564" y="606"/>
                </a:lnTo>
                <a:lnTo>
                  <a:pt x="566" y="615"/>
                </a:lnTo>
                <a:lnTo>
                  <a:pt x="570" y="622"/>
                </a:lnTo>
                <a:lnTo>
                  <a:pt x="573" y="628"/>
                </a:lnTo>
                <a:lnTo>
                  <a:pt x="639" y="628"/>
                </a:lnTo>
                <a:lnTo>
                  <a:pt x="639" y="628"/>
                </a:lnTo>
                <a:lnTo>
                  <a:pt x="643" y="636"/>
                </a:lnTo>
                <a:lnTo>
                  <a:pt x="648" y="645"/>
                </a:lnTo>
                <a:lnTo>
                  <a:pt x="652" y="656"/>
                </a:lnTo>
                <a:lnTo>
                  <a:pt x="654" y="661"/>
                </a:lnTo>
                <a:lnTo>
                  <a:pt x="654" y="668"/>
                </a:lnTo>
                <a:lnTo>
                  <a:pt x="654" y="668"/>
                </a:lnTo>
                <a:lnTo>
                  <a:pt x="654" y="674"/>
                </a:lnTo>
                <a:lnTo>
                  <a:pt x="652" y="679"/>
                </a:lnTo>
                <a:lnTo>
                  <a:pt x="650" y="682"/>
                </a:lnTo>
                <a:lnTo>
                  <a:pt x="648" y="687"/>
                </a:lnTo>
                <a:lnTo>
                  <a:pt x="641" y="694"/>
                </a:lnTo>
                <a:lnTo>
                  <a:pt x="634" y="701"/>
                </a:lnTo>
                <a:lnTo>
                  <a:pt x="626" y="706"/>
                </a:lnTo>
                <a:lnTo>
                  <a:pt x="619" y="714"/>
                </a:lnTo>
                <a:lnTo>
                  <a:pt x="617" y="719"/>
                </a:lnTo>
                <a:lnTo>
                  <a:pt x="614" y="724"/>
                </a:lnTo>
                <a:lnTo>
                  <a:pt x="613" y="728"/>
                </a:lnTo>
                <a:lnTo>
                  <a:pt x="613" y="734"/>
                </a:lnTo>
                <a:lnTo>
                  <a:pt x="613" y="734"/>
                </a:lnTo>
                <a:lnTo>
                  <a:pt x="613" y="737"/>
                </a:lnTo>
                <a:lnTo>
                  <a:pt x="614" y="740"/>
                </a:lnTo>
                <a:lnTo>
                  <a:pt x="620" y="745"/>
                </a:lnTo>
                <a:lnTo>
                  <a:pt x="626" y="751"/>
                </a:lnTo>
                <a:lnTo>
                  <a:pt x="634" y="757"/>
                </a:lnTo>
                <a:lnTo>
                  <a:pt x="643" y="764"/>
                </a:lnTo>
                <a:lnTo>
                  <a:pt x="650" y="771"/>
                </a:lnTo>
                <a:lnTo>
                  <a:pt x="657" y="778"/>
                </a:lnTo>
                <a:lnTo>
                  <a:pt x="659" y="782"/>
                </a:lnTo>
                <a:lnTo>
                  <a:pt x="660" y="786"/>
                </a:lnTo>
                <a:lnTo>
                  <a:pt x="660" y="786"/>
                </a:lnTo>
                <a:lnTo>
                  <a:pt x="660" y="804"/>
                </a:lnTo>
                <a:lnTo>
                  <a:pt x="660" y="804"/>
                </a:lnTo>
                <a:lnTo>
                  <a:pt x="660" y="809"/>
                </a:lnTo>
                <a:lnTo>
                  <a:pt x="658" y="812"/>
                </a:lnTo>
                <a:lnTo>
                  <a:pt x="654" y="819"/>
                </a:lnTo>
                <a:lnTo>
                  <a:pt x="649" y="827"/>
                </a:lnTo>
                <a:lnTo>
                  <a:pt x="647" y="832"/>
                </a:lnTo>
                <a:lnTo>
                  <a:pt x="647" y="838"/>
                </a:lnTo>
                <a:lnTo>
                  <a:pt x="647" y="838"/>
                </a:lnTo>
                <a:lnTo>
                  <a:pt x="647" y="863"/>
                </a:lnTo>
                <a:lnTo>
                  <a:pt x="647" y="863"/>
                </a:lnTo>
                <a:lnTo>
                  <a:pt x="645" y="867"/>
                </a:lnTo>
                <a:lnTo>
                  <a:pt x="644" y="872"/>
                </a:lnTo>
                <a:lnTo>
                  <a:pt x="642" y="877"/>
                </a:lnTo>
                <a:lnTo>
                  <a:pt x="640" y="880"/>
                </a:lnTo>
                <a:lnTo>
                  <a:pt x="635" y="884"/>
                </a:lnTo>
                <a:lnTo>
                  <a:pt x="629" y="887"/>
                </a:lnTo>
                <a:lnTo>
                  <a:pt x="622" y="888"/>
                </a:lnTo>
                <a:lnTo>
                  <a:pt x="613" y="889"/>
                </a:lnTo>
                <a:lnTo>
                  <a:pt x="613" y="889"/>
                </a:lnTo>
                <a:lnTo>
                  <a:pt x="605" y="887"/>
                </a:lnTo>
                <a:lnTo>
                  <a:pt x="594" y="882"/>
                </a:lnTo>
                <a:lnTo>
                  <a:pt x="564" y="867"/>
                </a:lnTo>
                <a:lnTo>
                  <a:pt x="525" y="844"/>
                </a:lnTo>
                <a:lnTo>
                  <a:pt x="525" y="844"/>
                </a:lnTo>
                <a:lnTo>
                  <a:pt x="521" y="835"/>
                </a:lnTo>
                <a:lnTo>
                  <a:pt x="518" y="826"/>
                </a:lnTo>
                <a:lnTo>
                  <a:pt x="515" y="821"/>
                </a:lnTo>
                <a:lnTo>
                  <a:pt x="513" y="818"/>
                </a:lnTo>
                <a:lnTo>
                  <a:pt x="511" y="817"/>
                </a:lnTo>
                <a:lnTo>
                  <a:pt x="506" y="816"/>
                </a:lnTo>
                <a:lnTo>
                  <a:pt x="506" y="816"/>
                </a:lnTo>
                <a:lnTo>
                  <a:pt x="498" y="816"/>
                </a:lnTo>
                <a:lnTo>
                  <a:pt x="490" y="818"/>
                </a:lnTo>
                <a:lnTo>
                  <a:pt x="482" y="821"/>
                </a:lnTo>
                <a:lnTo>
                  <a:pt x="475" y="826"/>
                </a:lnTo>
                <a:lnTo>
                  <a:pt x="468" y="832"/>
                </a:lnTo>
                <a:lnTo>
                  <a:pt x="464" y="839"/>
                </a:lnTo>
                <a:lnTo>
                  <a:pt x="460" y="847"/>
                </a:lnTo>
                <a:lnTo>
                  <a:pt x="459" y="856"/>
                </a:lnTo>
                <a:lnTo>
                  <a:pt x="459" y="856"/>
                </a:lnTo>
                <a:lnTo>
                  <a:pt x="459" y="871"/>
                </a:lnTo>
                <a:lnTo>
                  <a:pt x="459" y="871"/>
                </a:lnTo>
                <a:lnTo>
                  <a:pt x="461" y="873"/>
                </a:lnTo>
                <a:lnTo>
                  <a:pt x="462" y="875"/>
                </a:lnTo>
                <a:lnTo>
                  <a:pt x="468" y="878"/>
                </a:lnTo>
                <a:lnTo>
                  <a:pt x="472" y="882"/>
                </a:lnTo>
                <a:lnTo>
                  <a:pt x="473" y="885"/>
                </a:lnTo>
                <a:lnTo>
                  <a:pt x="474" y="889"/>
                </a:lnTo>
                <a:lnTo>
                  <a:pt x="474" y="889"/>
                </a:lnTo>
                <a:lnTo>
                  <a:pt x="474" y="894"/>
                </a:lnTo>
                <a:lnTo>
                  <a:pt x="472" y="899"/>
                </a:lnTo>
                <a:lnTo>
                  <a:pt x="468" y="908"/>
                </a:lnTo>
                <a:lnTo>
                  <a:pt x="461" y="917"/>
                </a:lnTo>
                <a:lnTo>
                  <a:pt x="453" y="925"/>
                </a:lnTo>
                <a:lnTo>
                  <a:pt x="436" y="940"/>
                </a:lnTo>
                <a:lnTo>
                  <a:pt x="428" y="948"/>
                </a:lnTo>
                <a:lnTo>
                  <a:pt x="422" y="955"/>
                </a:lnTo>
                <a:lnTo>
                  <a:pt x="422" y="955"/>
                </a:lnTo>
                <a:lnTo>
                  <a:pt x="419" y="958"/>
                </a:lnTo>
                <a:lnTo>
                  <a:pt x="416" y="963"/>
                </a:lnTo>
                <a:lnTo>
                  <a:pt x="414" y="970"/>
                </a:lnTo>
                <a:lnTo>
                  <a:pt x="413" y="979"/>
                </a:lnTo>
                <a:lnTo>
                  <a:pt x="412" y="988"/>
                </a:lnTo>
                <a:lnTo>
                  <a:pt x="412" y="988"/>
                </a:lnTo>
                <a:lnTo>
                  <a:pt x="410" y="992"/>
                </a:lnTo>
                <a:lnTo>
                  <a:pt x="407" y="993"/>
                </a:lnTo>
                <a:lnTo>
                  <a:pt x="405" y="994"/>
                </a:lnTo>
                <a:lnTo>
                  <a:pt x="402" y="994"/>
                </a:lnTo>
                <a:lnTo>
                  <a:pt x="396" y="994"/>
                </a:lnTo>
                <a:lnTo>
                  <a:pt x="392" y="994"/>
                </a:lnTo>
                <a:lnTo>
                  <a:pt x="389" y="995"/>
                </a:lnTo>
                <a:lnTo>
                  <a:pt x="389" y="995"/>
                </a:lnTo>
                <a:lnTo>
                  <a:pt x="387" y="999"/>
                </a:lnTo>
                <a:lnTo>
                  <a:pt x="383" y="1007"/>
                </a:lnTo>
                <a:lnTo>
                  <a:pt x="377" y="1027"/>
                </a:lnTo>
                <a:lnTo>
                  <a:pt x="373" y="1050"/>
                </a:lnTo>
                <a:lnTo>
                  <a:pt x="370" y="1065"/>
                </a:lnTo>
                <a:lnTo>
                  <a:pt x="370" y="1065"/>
                </a:lnTo>
                <a:lnTo>
                  <a:pt x="372" y="1075"/>
                </a:lnTo>
                <a:lnTo>
                  <a:pt x="373" y="1083"/>
                </a:lnTo>
                <a:lnTo>
                  <a:pt x="376" y="1101"/>
                </a:lnTo>
                <a:lnTo>
                  <a:pt x="377" y="1109"/>
                </a:lnTo>
                <a:lnTo>
                  <a:pt x="377" y="1115"/>
                </a:lnTo>
                <a:lnTo>
                  <a:pt x="376" y="1117"/>
                </a:lnTo>
                <a:lnTo>
                  <a:pt x="375" y="1119"/>
                </a:lnTo>
                <a:lnTo>
                  <a:pt x="374" y="1121"/>
                </a:lnTo>
                <a:lnTo>
                  <a:pt x="370" y="1121"/>
                </a:lnTo>
                <a:lnTo>
                  <a:pt x="370" y="1121"/>
                </a:lnTo>
                <a:lnTo>
                  <a:pt x="362" y="1119"/>
                </a:lnTo>
                <a:lnTo>
                  <a:pt x="354" y="1117"/>
                </a:lnTo>
                <a:lnTo>
                  <a:pt x="349" y="1113"/>
                </a:lnTo>
                <a:lnTo>
                  <a:pt x="343" y="1107"/>
                </a:lnTo>
                <a:lnTo>
                  <a:pt x="339" y="1100"/>
                </a:lnTo>
                <a:lnTo>
                  <a:pt x="335" y="1093"/>
                </a:lnTo>
                <a:lnTo>
                  <a:pt x="329" y="1077"/>
                </a:lnTo>
                <a:lnTo>
                  <a:pt x="323" y="1061"/>
                </a:lnTo>
                <a:lnTo>
                  <a:pt x="320" y="1053"/>
                </a:lnTo>
                <a:lnTo>
                  <a:pt x="315" y="1046"/>
                </a:lnTo>
                <a:lnTo>
                  <a:pt x="311" y="1041"/>
                </a:lnTo>
                <a:lnTo>
                  <a:pt x="305" y="1037"/>
                </a:lnTo>
                <a:lnTo>
                  <a:pt x="298" y="1033"/>
                </a:lnTo>
                <a:lnTo>
                  <a:pt x="290" y="1032"/>
                </a:lnTo>
                <a:lnTo>
                  <a:pt x="290" y="1032"/>
                </a:lnTo>
                <a:lnTo>
                  <a:pt x="284" y="1033"/>
                </a:lnTo>
                <a:lnTo>
                  <a:pt x="280" y="1035"/>
                </a:lnTo>
                <a:lnTo>
                  <a:pt x="275" y="1038"/>
                </a:lnTo>
                <a:lnTo>
                  <a:pt x="271" y="1042"/>
                </a:lnTo>
                <a:lnTo>
                  <a:pt x="263" y="1053"/>
                </a:lnTo>
                <a:lnTo>
                  <a:pt x="255" y="1064"/>
                </a:lnTo>
                <a:lnTo>
                  <a:pt x="246" y="1075"/>
                </a:lnTo>
                <a:lnTo>
                  <a:pt x="242" y="1080"/>
                </a:lnTo>
                <a:lnTo>
                  <a:pt x="236" y="1085"/>
                </a:lnTo>
                <a:lnTo>
                  <a:pt x="230" y="1090"/>
                </a:lnTo>
                <a:lnTo>
                  <a:pt x="224" y="1092"/>
                </a:lnTo>
                <a:lnTo>
                  <a:pt x="217" y="1094"/>
                </a:lnTo>
                <a:lnTo>
                  <a:pt x="209" y="1095"/>
                </a:lnTo>
                <a:lnTo>
                  <a:pt x="209" y="1095"/>
                </a:lnTo>
                <a:lnTo>
                  <a:pt x="162" y="1095"/>
                </a:lnTo>
                <a:lnTo>
                  <a:pt x="162" y="1095"/>
                </a:lnTo>
                <a:lnTo>
                  <a:pt x="155" y="1095"/>
                </a:lnTo>
                <a:lnTo>
                  <a:pt x="150" y="1098"/>
                </a:lnTo>
                <a:lnTo>
                  <a:pt x="145" y="1100"/>
                </a:lnTo>
                <a:lnTo>
                  <a:pt x="139" y="1104"/>
                </a:lnTo>
                <a:lnTo>
                  <a:pt x="135" y="1109"/>
                </a:lnTo>
                <a:lnTo>
                  <a:pt x="131" y="1115"/>
                </a:lnTo>
                <a:lnTo>
                  <a:pt x="123" y="1129"/>
                </a:lnTo>
                <a:lnTo>
                  <a:pt x="117" y="1145"/>
                </a:lnTo>
                <a:lnTo>
                  <a:pt x="114" y="1163"/>
                </a:lnTo>
                <a:lnTo>
                  <a:pt x="110" y="1182"/>
                </a:lnTo>
                <a:lnTo>
                  <a:pt x="110" y="1201"/>
                </a:lnTo>
                <a:lnTo>
                  <a:pt x="110" y="1201"/>
                </a:lnTo>
                <a:lnTo>
                  <a:pt x="110" y="1207"/>
                </a:lnTo>
                <a:lnTo>
                  <a:pt x="112" y="1213"/>
                </a:lnTo>
                <a:lnTo>
                  <a:pt x="116" y="1223"/>
                </a:lnTo>
                <a:lnTo>
                  <a:pt x="123" y="1232"/>
                </a:lnTo>
                <a:lnTo>
                  <a:pt x="130" y="1241"/>
                </a:lnTo>
                <a:lnTo>
                  <a:pt x="138" y="1252"/>
                </a:lnTo>
                <a:lnTo>
                  <a:pt x="144" y="1262"/>
                </a:lnTo>
                <a:lnTo>
                  <a:pt x="147" y="1267"/>
                </a:lnTo>
                <a:lnTo>
                  <a:pt x="148" y="1272"/>
                </a:lnTo>
                <a:lnTo>
                  <a:pt x="150" y="1279"/>
                </a:lnTo>
                <a:lnTo>
                  <a:pt x="151" y="1286"/>
                </a:lnTo>
                <a:lnTo>
                  <a:pt x="151" y="1286"/>
                </a:lnTo>
                <a:lnTo>
                  <a:pt x="150" y="1297"/>
                </a:lnTo>
                <a:lnTo>
                  <a:pt x="146" y="1308"/>
                </a:lnTo>
                <a:lnTo>
                  <a:pt x="141" y="1320"/>
                </a:lnTo>
                <a:lnTo>
                  <a:pt x="136" y="1331"/>
                </a:lnTo>
                <a:lnTo>
                  <a:pt x="129" y="1340"/>
                </a:lnTo>
                <a:lnTo>
                  <a:pt x="120" y="1348"/>
                </a:lnTo>
                <a:lnTo>
                  <a:pt x="110" y="1355"/>
                </a:lnTo>
                <a:lnTo>
                  <a:pt x="99" y="1360"/>
                </a:lnTo>
                <a:lnTo>
                  <a:pt x="99" y="1360"/>
                </a:lnTo>
                <a:lnTo>
                  <a:pt x="98" y="1368"/>
                </a:lnTo>
                <a:lnTo>
                  <a:pt x="94" y="1376"/>
                </a:lnTo>
                <a:lnTo>
                  <a:pt x="86" y="1393"/>
                </a:lnTo>
                <a:lnTo>
                  <a:pt x="79" y="1407"/>
                </a:lnTo>
                <a:lnTo>
                  <a:pt x="78" y="1413"/>
                </a:lnTo>
                <a:lnTo>
                  <a:pt x="77" y="1419"/>
                </a:lnTo>
                <a:lnTo>
                  <a:pt x="77" y="1419"/>
                </a:lnTo>
                <a:lnTo>
                  <a:pt x="77" y="1424"/>
                </a:lnTo>
                <a:lnTo>
                  <a:pt x="79" y="1431"/>
                </a:lnTo>
                <a:lnTo>
                  <a:pt x="84" y="1443"/>
                </a:lnTo>
                <a:lnTo>
                  <a:pt x="90" y="1454"/>
                </a:lnTo>
                <a:lnTo>
                  <a:pt x="91" y="1461"/>
                </a:lnTo>
                <a:lnTo>
                  <a:pt x="92" y="1469"/>
                </a:lnTo>
                <a:lnTo>
                  <a:pt x="92" y="1469"/>
                </a:lnTo>
                <a:lnTo>
                  <a:pt x="91" y="1478"/>
                </a:lnTo>
                <a:lnTo>
                  <a:pt x="90" y="1487"/>
                </a:lnTo>
                <a:lnTo>
                  <a:pt x="84" y="1500"/>
                </a:lnTo>
                <a:lnTo>
                  <a:pt x="79" y="1512"/>
                </a:lnTo>
                <a:lnTo>
                  <a:pt x="77" y="1518"/>
                </a:lnTo>
                <a:lnTo>
                  <a:pt x="77" y="1524"/>
                </a:lnTo>
                <a:lnTo>
                  <a:pt x="77" y="1524"/>
                </a:lnTo>
                <a:lnTo>
                  <a:pt x="77" y="1530"/>
                </a:lnTo>
                <a:lnTo>
                  <a:pt x="78" y="1535"/>
                </a:lnTo>
                <a:lnTo>
                  <a:pt x="83" y="1545"/>
                </a:lnTo>
                <a:lnTo>
                  <a:pt x="86" y="1554"/>
                </a:lnTo>
                <a:lnTo>
                  <a:pt x="87" y="1560"/>
                </a:lnTo>
                <a:lnTo>
                  <a:pt x="89" y="1565"/>
                </a:lnTo>
                <a:lnTo>
                  <a:pt x="89" y="1565"/>
                </a:lnTo>
                <a:lnTo>
                  <a:pt x="87" y="1576"/>
                </a:lnTo>
                <a:lnTo>
                  <a:pt x="85" y="1584"/>
                </a:lnTo>
                <a:lnTo>
                  <a:pt x="82" y="1590"/>
                </a:lnTo>
                <a:lnTo>
                  <a:pt x="77" y="1594"/>
                </a:lnTo>
                <a:lnTo>
                  <a:pt x="71" y="1596"/>
                </a:lnTo>
                <a:lnTo>
                  <a:pt x="63" y="1598"/>
                </a:lnTo>
                <a:lnTo>
                  <a:pt x="44" y="1598"/>
                </a:lnTo>
                <a:lnTo>
                  <a:pt x="44" y="1598"/>
                </a:lnTo>
                <a:lnTo>
                  <a:pt x="40" y="1599"/>
                </a:lnTo>
                <a:lnTo>
                  <a:pt x="34" y="1604"/>
                </a:lnTo>
                <a:lnTo>
                  <a:pt x="19" y="1615"/>
                </a:lnTo>
                <a:lnTo>
                  <a:pt x="6" y="1628"/>
                </a:lnTo>
                <a:lnTo>
                  <a:pt x="1" y="1634"/>
                </a:lnTo>
                <a:lnTo>
                  <a:pt x="0" y="1637"/>
                </a:lnTo>
                <a:lnTo>
                  <a:pt x="0" y="1637"/>
                </a:lnTo>
                <a:lnTo>
                  <a:pt x="1" y="1641"/>
                </a:lnTo>
                <a:lnTo>
                  <a:pt x="2" y="1644"/>
                </a:lnTo>
                <a:lnTo>
                  <a:pt x="5" y="1648"/>
                </a:lnTo>
                <a:lnTo>
                  <a:pt x="8" y="1650"/>
                </a:lnTo>
                <a:lnTo>
                  <a:pt x="14" y="1653"/>
                </a:lnTo>
                <a:lnTo>
                  <a:pt x="18" y="1656"/>
                </a:lnTo>
                <a:lnTo>
                  <a:pt x="18" y="1656"/>
                </a:lnTo>
                <a:lnTo>
                  <a:pt x="26" y="1664"/>
                </a:lnTo>
                <a:lnTo>
                  <a:pt x="36" y="1674"/>
                </a:lnTo>
                <a:lnTo>
                  <a:pt x="54" y="1698"/>
                </a:lnTo>
                <a:lnTo>
                  <a:pt x="63" y="1710"/>
                </a:lnTo>
                <a:lnTo>
                  <a:pt x="72" y="1720"/>
                </a:lnTo>
                <a:lnTo>
                  <a:pt x="77" y="1725"/>
                </a:lnTo>
                <a:lnTo>
                  <a:pt x="82" y="1727"/>
                </a:lnTo>
                <a:lnTo>
                  <a:pt x="86" y="1729"/>
                </a:lnTo>
                <a:lnTo>
                  <a:pt x="92" y="1729"/>
                </a:lnTo>
                <a:lnTo>
                  <a:pt x="92" y="1729"/>
                </a:lnTo>
                <a:lnTo>
                  <a:pt x="95" y="1729"/>
                </a:lnTo>
                <a:lnTo>
                  <a:pt x="99" y="1728"/>
                </a:lnTo>
                <a:lnTo>
                  <a:pt x="106" y="1724"/>
                </a:lnTo>
                <a:lnTo>
                  <a:pt x="114" y="1720"/>
                </a:lnTo>
                <a:lnTo>
                  <a:pt x="117" y="1719"/>
                </a:lnTo>
                <a:lnTo>
                  <a:pt x="121" y="1719"/>
                </a:lnTo>
                <a:lnTo>
                  <a:pt x="121" y="1719"/>
                </a:lnTo>
                <a:lnTo>
                  <a:pt x="132" y="1719"/>
                </a:lnTo>
                <a:lnTo>
                  <a:pt x="140" y="1722"/>
                </a:lnTo>
                <a:lnTo>
                  <a:pt x="146" y="1726"/>
                </a:lnTo>
                <a:lnTo>
                  <a:pt x="151" y="1730"/>
                </a:lnTo>
                <a:lnTo>
                  <a:pt x="159" y="1742"/>
                </a:lnTo>
                <a:lnTo>
                  <a:pt x="162" y="1747"/>
                </a:lnTo>
                <a:lnTo>
                  <a:pt x="169" y="1751"/>
                </a:lnTo>
                <a:lnTo>
                  <a:pt x="169" y="1751"/>
                </a:lnTo>
                <a:lnTo>
                  <a:pt x="192" y="1766"/>
                </a:lnTo>
                <a:lnTo>
                  <a:pt x="216" y="1780"/>
                </a:lnTo>
                <a:lnTo>
                  <a:pt x="228" y="1787"/>
                </a:lnTo>
                <a:lnTo>
                  <a:pt x="242" y="1791"/>
                </a:lnTo>
                <a:lnTo>
                  <a:pt x="255" y="1795"/>
                </a:lnTo>
                <a:lnTo>
                  <a:pt x="271" y="1796"/>
                </a:lnTo>
                <a:lnTo>
                  <a:pt x="271" y="1796"/>
                </a:lnTo>
                <a:lnTo>
                  <a:pt x="283" y="1795"/>
                </a:lnTo>
                <a:lnTo>
                  <a:pt x="291" y="1791"/>
                </a:lnTo>
                <a:lnTo>
                  <a:pt x="299" y="1788"/>
                </a:lnTo>
                <a:lnTo>
                  <a:pt x="308" y="1785"/>
                </a:lnTo>
                <a:lnTo>
                  <a:pt x="308" y="1785"/>
                </a:lnTo>
                <a:lnTo>
                  <a:pt x="312" y="1789"/>
                </a:lnTo>
                <a:lnTo>
                  <a:pt x="315" y="1794"/>
                </a:lnTo>
                <a:lnTo>
                  <a:pt x="321" y="1797"/>
                </a:lnTo>
                <a:lnTo>
                  <a:pt x="326" y="1800"/>
                </a:lnTo>
                <a:lnTo>
                  <a:pt x="337" y="1802"/>
                </a:lnTo>
                <a:lnTo>
                  <a:pt x="349" y="1803"/>
                </a:lnTo>
                <a:lnTo>
                  <a:pt x="349" y="1803"/>
                </a:lnTo>
                <a:lnTo>
                  <a:pt x="355" y="1793"/>
                </a:lnTo>
                <a:lnTo>
                  <a:pt x="361" y="1782"/>
                </a:lnTo>
                <a:lnTo>
                  <a:pt x="373" y="1760"/>
                </a:lnTo>
                <a:lnTo>
                  <a:pt x="380" y="1751"/>
                </a:lnTo>
                <a:lnTo>
                  <a:pt x="387" y="1743"/>
                </a:lnTo>
                <a:lnTo>
                  <a:pt x="391" y="1741"/>
                </a:lnTo>
                <a:lnTo>
                  <a:pt x="396" y="1739"/>
                </a:lnTo>
                <a:lnTo>
                  <a:pt x="402" y="1737"/>
                </a:lnTo>
                <a:lnTo>
                  <a:pt x="407" y="1736"/>
                </a:lnTo>
                <a:lnTo>
                  <a:pt x="407" y="1736"/>
                </a:lnTo>
                <a:lnTo>
                  <a:pt x="412" y="1737"/>
                </a:lnTo>
                <a:lnTo>
                  <a:pt x="416" y="1739"/>
                </a:lnTo>
                <a:lnTo>
                  <a:pt x="420" y="1741"/>
                </a:lnTo>
                <a:lnTo>
                  <a:pt x="423" y="1744"/>
                </a:lnTo>
                <a:lnTo>
                  <a:pt x="427" y="1751"/>
                </a:lnTo>
                <a:lnTo>
                  <a:pt x="429" y="1760"/>
                </a:lnTo>
                <a:lnTo>
                  <a:pt x="434" y="1780"/>
                </a:lnTo>
                <a:lnTo>
                  <a:pt x="436" y="1789"/>
                </a:lnTo>
                <a:lnTo>
                  <a:pt x="438" y="1793"/>
                </a:lnTo>
                <a:lnTo>
                  <a:pt x="441" y="1796"/>
                </a:lnTo>
                <a:lnTo>
                  <a:pt x="441" y="1796"/>
                </a:lnTo>
                <a:lnTo>
                  <a:pt x="449" y="1803"/>
                </a:lnTo>
                <a:lnTo>
                  <a:pt x="457" y="1808"/>
                </a:lnTo>
                <a:lnTo>
                  <a:pt x="466" y="1812"/>
                </a:lnTo>
                <a:lnTo>
                  <a:pt x="475" y="1814"/>
                </a:lnTo>
                <a:lnTo>
                  <a:pt x="496" y="1819"/>
                </a:lnTo>
                <a:lnTo>
                  <a:pt x="507" y="1821"/>
                </a:lnTo>
                <a:lnTo>
                  <a:pt x="518" y="1825"/>
                </a:lnTo>
                <a:lnTo>
                  <a:pt x="518" y="1825"/>
                </a:lnTo>
                <a:lnTo>
                  <a:pt x="532" y="1831"/>
                </a:lnTo>
                <a:lnTo>
                  <a:pt x="543" y="1837"/>
                </a:lnTo>
                <a:lnTo>
                  <a:pt x="563" y="1852"/>
                </a:lnTo>
                <a:lnTo>
                  <a:pt x="571" y="1859"/>
                </a:lnTo>
                <a:lnTo>
                  <a:pt x="581" y="1864"/>
                </a:lnTo>
                <a:lnTo>
                  <a:pt x="593" y="1867"/>
                </a:lnTo>
                <a:lnTo>
                  <a:pt x="599" y="1869"/>
                </a:lnTo>
                <a:lnTo>
                  <a:pt x="606" y="1869"/>
                </a:lnTo>
                <a:lnTo>
                  <a:pt x="606" y="1869"/>
                </a:lnTo>
                <a:lnTo>
                  <a:pt x="612" y="1870"/>
                </a:lnTo>
                <a:lnTo>
                  <a:pt x="618" y="1872"/>
                </a:lnTo>
                <a:lnTo>
                  <a:pt x="621" y="1872"/>
                </a:lnTo>
                <a:lnTo>
                  <a:pt x="626" y="1872"/>
                </a:lnTo>
                <a:lnTo>
                  <a:pt x="631" y="1871"/>
                </a:lnTo>
                <a:lnTo>
                  <a:pt x="635" y="1869"/>
                </a:lnTo>
                <a:lnTo>
                  <a:pt x="635" y="1869"/>
                </a:lnTo>
                <a:lnTo>
                  <a:pt x="640" y="1874"/>
                </a:lnTo>
                <a:lnTo>
                  <a:pt x="643" y="1880"/>
                </a:lnTo>
                <a:lnTo>
                  <a:pt x="652" y="1888"/>
                </a:lnTo>
                <a:lnTo>
                  <a:pt x="662" y="1895"/>
                </a:lnTo>
                <a:lnTo>
                  <a:pt x="672" y="1900"/>
                </a:lnTo>
                <a:lnTo>
                  <a:pt x="682" y="1905"/>
                </a:lnTo>
                <a:lnTo>
                  <a:pt x="693" y="1912"/>
                </a:lnTo>
                <a:lnTo>
                  <a:pt x="701" y="1920"/>
                </a:lnTo>
                <a:lnTo>
                  <a:pt x="705" y="1926"/>
                </a:lnTo>
                <a:lnTo>
                  <a:pt x="709" y="1932"/>
                </a:lnTo>
                <a:lnTo>
                  <a:pt x="709" y="1932"/>
                </a:lnTo>
                <a:lnTo>
                  <a:pt x="713" y="1943"/>
                </a:lnTo>
                <a:lnTo>
                  <a:pt x="718" y="1955"/>
                </a:lnTo>
                <a:lnTo>
                  <a:pt x="721" y="1961"/>
                </a:lnTo>
                <a:lnTo>
                  <a:pt x="725" y="1965"/>
                </a:lnTo>
                <a:lnTo>
                  <a:pt x="731" y="1968"/>
                </a:lnTo>
                <a:lnTo>
                  <a:pt x="739" y="1969"/>
                </a:lnTo>
                <a:lnTo>
                  <a:pt x="739" y="1969"/>
                </a:lnTo>
                <a:lnTo>
                  <a:pt x="747" y="1968"/>
                </a:lnTo>
                <a:lnTo>
                  <a:pt x="755" y="1968"/>
                </a:lnTo>
                <a:lnTo>
                  <a:pt x="761" y="1966"/>
                </a:lnTo>
                <a:lnTo>
                  <a:pt x="766" y="1966"/>
                </a:lnTo>
                <a:lnTo>
                  <a:pt x="771" y="1968"/>
                </a:lnTo>
                <a:lnTo>
                  <a:pt x="775" y="1971"/>
                </a:lnTo>
                <a:lnTo>
                  <a:pt x="781" y="1978"/>
                </a:lnTo>
                <a:lnTo>
                  <a:pt x="786" y="1987"/>
                </a:lnTo>
                <a:lnTo>
                  <a:pt x="786" y="1987"/>
                </a:lnTo>
                <a:lnTo>
                  <a:pt x="789" y="1992"/>
                </a:lnTo>
                <a:lnTo>
                  <a:pt x="790" y="1997"/>
                </a:lnTo>
                <a:lnTo>
                  <a:pt x="789" y="2005"/>
                </a:lnTo>
                <a:lnTo>
                  <a:pt x="789" y="2009"/>
                </a:lnTo>
                <a:lnTo>
                  <a:pt x="790" y="2012"/>
                </a:lnTo>
                <a:lnTo>
                  <a:pt x="794" y="2015"/>
                </a:lnTo>
                <a:lnTo>
                  <a:pt x="801" y="2016"/>
                </a:lnTo>
                <a:lnTo>
                  <a:pt x="801" y="2016"/>
                </a:lnTo>
                <a:lnTo>
                  <a:pt x="802" y="2011"/>
                </a:lnTo>
                <a:lnTo>
                  <a:pt x="803" y="2007"/>
                </a:lnTo>
                <a:lnTo>
                  <a:pt x="808" y="1999"/>
                </a:lnTo>
                <a:lnTo>
                  <a:pt x="813" y="1993"/>
                </a:lnTo>
                <a:lnTo>
                  <a:pt x="820" y="1988"/>
                </a:lnTo>
                <a:lnTo>
                  <a:pt x="836" y="1981"/>
                </a:lnTo>
                <a:lnTo>
                  <a:pt x="845" y="1977"/>
                </a:lnTo>
                <a:lnTo>
                  <a:pt x="851" y="1972"/>
                </a:lnTo>
                <a:lnTo>
                  <a:pt x="851" y="1972"/>
                </a:lnTo>
                <a:lnTo>
                  <a:pt x="851" y="1965"/>
                </a:lnTo>
                <a:lnTo>
                  <a:pt x="850" y="1958"/>
                </a:lnTo>
                <a:lnTo>
                  <a:pt x="847" y="1947"/>
                </a:lnTo>
                <a:lnTo>
                  <a:pt x="847" y="1947"/>
                </a:lnTo>
                <a:lnTo>
                  <a:pt x="831" y="1949"/>
                </a:lnTo>
                <a:lnTo>
                  <a:pt x="816" y="1950"/>
                </a:lnTo>
                <a:lnTo>
                  <a:pt x="816" y="1950"/>
                </a:lnTo>
                <a:lnTo>
                  <a:pt x="801" y="1950"/>
                </a:lnTo>
                <a:lnTo>
                  <a:pt x="793" y="1949"/>
                </a:lnTo>
                <a:lnTo>
                  <a:pt x="785" y="1948"/>
                </a:lnTo>
                <a:lnTo>
                  <a:pt x="778" y="1946"/>
                </a:lnTo>
                <a:lnTo>
                  <a:pt x="773" y="1942"/>
                </a:lnTo>
                <a:lnTo>
                  <a:pt x="769" y="1938"/>
                </a:lnTo>
                <a:lnTo>
                  <a:pt x="769" y="1934"/>
                </a:lnTo>
                <a:lnTo>
                  <a:pt x="767" y="1932"/>
                </a:lnTo>
                <a:lnTo>
                  <a:pt x="767" y="1932"/>
                </a:lnTo>
                <a:lnTo>
                  <a:pt x="769" y="1928"/>
                </a:lnTo>
                <a:lnTo>
                  <a:pt x="772" y="1924"/>
                </a:lnTo>
                <a:lnTo>
                  <a:pt x="782" y="1915"/>
                </a:lnTo>
                <a:lnTo>
                  <a:pt x="797" y="1903"/>
                </a:lnTo>
                <a:lnTo>
                  <a:pt x="815" y="1892"/>
                </a:lnTo>
                <a:lnTo>
                  <a:pt x="850" y="1871"/>
                </a:lnTo>
                <a:lnTo>
                  <a:pt x="871" y="1858"/>
                </a:lnTo>
                <a:lnTo>
                  <a:pt x="871" y="1858"/>
                </a:lnTo>
                <a:lnTo>
                  <a:pt x="884" y="1846"/>
                </a:lnTo>
                <a:lnTo>
                  <a:pt x="894" y="1832"/>
                </a:lnTo>
                <a:lnTo>
                  <a:pt x="903" y="1818"/>
                </a:lnTo>
                <a:lnTo>
                  <a:pt x="912" y="1804"/>
                </a:lnTo>
                <a:lnTo>
                  <a:pt x="929" y="1774"/>
                </a:lnTo>
                <a:lnTo>
                  <a:pt x="938" y="1759"/>
                </a:lnTo>
                <a:lnTo>
                  <a:pt x="948" y="1744"/>
                </a:lnTo>
                <a:lnTo>
                  <a:pt x="948" y="1744"/>
                </a:lnTo>
                <a:lnTo>
                  <a:pt x="956" y="1732"/>
                </a:lnTo>
                <a:lnTo>
                  <a:pt x="963" y="1720"/>
                </a:lnTo>
                <a:lnTo>
                  <a:pt x="970" y="1709"/>
                </a:lnTo>
                <a:lnTo>
                  <a:pt x="975" y="1697"/>
                </a:lnTo>
                <a:lnTo>
                  <a:pt x="985" y="1673"/>
                </a:lnTo>
                <a:lnTo>
                  <a:pt x="992" y="1659"/>
                </a:lnTo>
                <a:lnTo>
                  <a:pt x="999" y="1645"/>
                </a:lnTo>
                <a:lnTo>
                  <a:pt x="999" y="1645"/>
                </a:lnTo>
                <a:lnTo>
                  <a:pt x="1002" y="1640"/>
                </a:lnTo>
                <a:lnTo>
                  <a:pt x="1006" y="1635"/>
                </a:lnTo>
                <a:lnTo>
                  <a:pt x="1014" y="1628"/>
                </a:lnTo>
                <a:lnTo>
                  <a:pt x="1021" y="1621"/>
                </a:lnTo>
                <a:lnTo>
                  <a:pt x="1023" y="1618"/>
                </a:lnTo>
                <a:lnTo>
                  <a:pt x="1025" y="1613"/>
                </a:lnTo>
                <a:lnTo>
                  <a:pt x="1025" y="1613"/>
                </a:lnTo>
                <a:lnTo>
                  <a:pt x="1026" y="1606"/>
                </a:lnTo>
                <a:lnTo>
                  <a:pt x="1027" y="1600"/>
                </a:lnTo>
                <a:lnTo>
                  <a:pt x="1027" y="1589"/>
                </a:lnTo>
                <a:lnTo>
                  <a:pt x="1027" y="1583"/>
                </a:lnTo>
                <a:lnTo>
                  <a:pt x="1027" y="1577"/>
                </a:lnTo>
                <a:lnTo>
                  <a:pt x="1030" y="1572"/>
                </a:lnTo>
                <a:lnTo>
                  <a:pt x="1032" y="1565"/>
                </a:lnTo>
                <a:lnTo>
                  <a:pt x="1032" y="1565"/>
                </a:lnTo>
                <a:lnTo>
                  <a:pt x="1046" y="1548"/>
                </a:lnTo>
                <a:lnTo>
                  <a:pt x="1059" y="1531"/>
                </a:lnTo>
                <a:lnTo>
                  <a:pt x="1070" y="1513"/>
                </a:lnTo>
                <a:lnTo>
                  <a:pt x="1084" y="1492"/>
                </a:lnTo>
                <a:lnTo>
                  <a:pt x="1084" y="1399"/>
                </a:lnTo>
                <a:lnTo>
                  <a:pt x="1084" y="1399"/>
                </a:lnTo>
                <a:lnTo>
                  <a:pt x="1087" y="1391"/>
                </a:lnTo>
                <a:lnTo>
                  <a:pt x="1092" y="1378"/>
                </a:lnTo>
                <a:lnTo>
                  <a:pt x="1092" y="1378"/>
                </a:lnTo>
                <a:lnTo>
                  <a:pt x="1087" y="1353"/>
                </a:lnTo>
                <a:lnTo>
                  <a:pt x="1085" y="1339"/>
                </a:lnTo>
                <a:lnTo>
                  <a:pt x="1080" y="1325"/>
                </a:lnTo>
                <a:lnTo>
                  <a:pt x="1080" y="1325"/>
                </a:lnTo>
                <a:lnTo>
                  <a:pt x="1074" y="1322"/>
                </a:lnTo>
                <a:lnTo>
                  <a:pt x="1067" y="1316"/>
                </a:lnTo>
                <a:lnTo>
                  <a:pt x="1061" y="1308"/>
                </a:lnTo>
                <a:lnTo>
                  <a:pt x="1056" y="1300"/>
                </a:lnTo>
                <a:lnTo>
                  <a:pt x="1052" y="1291"/>
                </a:lnTo>
                <a:lnTo>
                  <a:pt x="1049" y="1281"/>
                </a:lnTo>
                <a:lnTo>
                  <a:pt x="1047" y="1270"/>
                </a:lnTo>
                <a:lnTo>
                  <a:pt x="1046" y="1260"/>
                </a:lnTo>
                <a:lnTo>
                  <a:pt x="1046" y="1260"/>
                </a:lnTo>
                <a:lnTo>
                  <a:pt x="1047" y="1248"/>
                </a:lnTo>
                <a:lnTo>
                  <a:pt x="1048" y="1238"/>
                </a:lnTo>
                <a:lnTo>
                  <a:pt x="1052" y="1228"/>
                </a:lnTo>
                <a:lnTo>
                  <a:pt x="1055" y="1220"/>
                </a:lnTo>
                <a:lnTo>
                  <a:pt x="1060" y="1211"/>
                </a:lnTo>
                <a:lnTo>
                  <a:pt x="1065" y="1203"/>
                </a:lnTo>
                <a:lnTo>
                  <a:pt x="1072" y="1197"/>
                </a:lnTo>
                <a:lnTo>
                  <a:pt x="1080" y="1190"/>
                </a:lnTo>
                <a:lnTo>
                  <a:pt x="1080" y="1190"/>
                </a:lnTo>
                <a:lnTo>
                  <a:pt x="1074" y="1185"/>
                </a:lnTo>
                <a:lnTo>
                  <a:pt x="1064" y="1180"/>
                </a:lnTo>
                <a:lnTo>
                  <a:pt x="1054" y="1175"/>
                </a:lnTo>
                <a:lnTo>
                  <a:pt x="1044" y="1168"/>
                </a:lnTo>
                <a:lnTo>
                  <a:pt x="1033" y="1160"/>
                </a:lnTo>
                <a:lnTo>
                  <a:pt x="1025" y="1152"/>
                </a:lnTo>
                <a:lnTo>
                  <a:pt x="1022" y="1147"/>
                </a:lnTo>
                <a:lnTo>
                  <a:pt x="1019" y="1141"/>
                </a:lnTo>
                <a:lnTo>
                  <a:pt x="1018" y="1137"/>
                </a:lnTo>
                <a:lnTo>
                  <a:pt x="1018" y="1131"/>
                </a:lnTo>
                <a:lnTo>
                  <a:pt x="1018" y="1131"/>
                </a:lnTo>
                <a:lnTo>
                  <a:pt x="1018" y="1124"/>
                </a:lnTo>
                <a:lnTo>
                  <a:pt x="1019" y="1117"/>
                </a:lnTo>
                <a:lnTo>
                  <a:pt x="1023" y="1111"/>
                </a:lnTo>
                <a:lnTo>
                  <a:pt x="1026" y="1107"/>
                </a:lnTo>
                <a:lnTo>
                  <a:pt x="1030" y="1102"/>
                </a:lnTo>
                <a:lnTo>
                  <a:pt x="1036" y="1099"/>
                </a:lnTo>
                <a:lnTo>
                  <a:pt x="1046" y="1094"/>
                </a:lnTo>
                <a:lnTo>
                  <a:pt x="1070" y="1085"/>
                </a:lnTo>
                <a:lnTo>
                  <a:pt x="1082" y="1079"/>
                </a:lnTo>
                <a:lnTo>
                  <a:pt x="1086" y="1076"/>
                </a:lnTo>
                <a:lnTo>
                  <a:pt x="1091" y="1072"/>
                </a:lnTo>
                <a:lnTo>
                  <a:pt x="1091" y="1072"/>
                </a:lnTo>
                <a:lnTo>
                  <a:pt x="1094" y="1067"/>
                </a:lnTo>
                <a:lnTo>
                  <a:pt x="1097" y="1061"/>
                </a:lnTo>
                <a:lnTo>
                  <a:pt x="1097" y="1055"/>
                </a:lnTo>
                <a:lnTo>
                  <a:pt x="1098" y="1048"/>
                </a:lnTo>
                <a:lnTo>
                  <a:pt x="1098" y="1042"/>
                </a:lnTo>
                <a:lnTo>
                  <a:pt x="1099" y="1037"/>
                </a:lnTo>
                <a:lnTo>
                  <a:pt x="1102" y="1031"/>
                </a:lnTo>
                <a:lnTo>
                  <a:pt x="1109" y="1025"/>
                </a:lnTo>
                <a:lnTo>
                  <a:pt x="1109" y="1025"/>
                </a:lnTo>
                <a:lnTo>
                  <a:pt x="1113" y="1023"/>
                </a:lnTo>
                <a:lnTo>
                  <a:pt x="1116" y="1022"/>
                </a:lnTo>
                <a:lnTo>
                  <a:pt x="1125" y="1020"/>
                </a:lnTo>
                <a:lnTo>
                  <a:pt x="1135" y="1020"/>
                </a:lnTo>
                <a:lnTo>
                  <a:pt x="1146" y="1020"/>
                </a:lnTo>
                <a:lnTo>
                  <a:pt x="1159" y="1022"/>
                </a:lnTo>
                <a:lnTo>
                  <a:pt x="1171" y="1022"/>
                </a:lnTo>
                <a:lnTo>
                  <a:pt x="1185" y="1020"/>
                </a:lnTo>
                <a:lnTo>
                  <a:pt x="1198" y="1018"/>
                </a:lnTo>
                <a:lnTo>
                  <a:pt x="1198" y="1018"/>
                </a:lnTo>
                <a:lnTo>
                  <a:pt x="1199" y="1015"/>
                </a:lnTo>
                <a:lnTo>
                  <a:pt x="1199" y="1008"/>
                </a:lnTo>
                <a:lnTo>
                  <a:pt x="1201" y="992"/>
                </a:lnTo>
                <a:lnTo>
                  <a:pt x="1202" y="983"/>
                </a:lnTo>
                <a:lnTo>
                  <a:pt x="1205" y="973"/>
                </a:lnTo>
                <a:lnTo>
                  <a:pt x="1208" y="966"/>
                </a:lnTo>
                <a:lnTo>
                  <a:pt x="1209" y="964"/>
                </a:lnTo>
                <a:lnTo>
                  <a:pt x="1213" y="963"/>
                </a:lnTo>
                <a:lnTo>
                  <a:pt x="1213" y="963"/>
                </a:lnTo>
                <a:lnTo>
                  <a:pt x="1219" y="966"/>
                </a:lnTo>
                <a:lnTo>
                  <a:pt x="1228" y="973"/>
                </a:lnTo>
                <a:lnTo>
                  <a:pt x="1239" y="981"/>
                </a:lnTo>
                <a:lnTo>
                  <a:pt x="1244" y="984"/>
                </a:lnTo>
                <a:lnTo>
                  <a:pt x="1248" y="984"/>
                </a:lnTo>
                <a:lnTo>
                  <a:pt x="1248" y="984"/>
                </a:lnTo>
                <a:lnTo>
                  <a:pt x="1266" y="983"/>
                </a:lnTo>
                <a:lnTo>
                  <a:pt x="1273" y="981"/>
                </a:lnTo>
                <a:lnTo>
                  <a:pt x="1281" y="979"/>
                </a:lnTo>
                <a:lnTo>
                  <a:pt x="1288" y="976"/>
                </a:lnTo>
                <a:lnTo>
                  <a:pt x="1293" y="972"/>
                </a:lnTo>
                <a:lnTo>
                  <a:pt x="1299" y="968"/>
                </a:lnTo>
                <a:lnTo>
                  <a:pt x="1304" y="963"/>
                </a:lnTo>
                <a:lnTo>
                  <a:pt x="1304" y="963"/>
                </a:lnTo>
                <a:lnTo>
                  <a:pt x="1308" y="965"/>
                </a:lnTo>
                <a:lnTo>
                  <a:pt x="1311" y="970"/>
                </a:lnTo>
                <a:lnTo>
                  <a:pt x="1317" y="980"/>
                </a:lnTo>
                <a:lnTo>
                  <a:pt x="1321" y="985"/>
                </a:lnTo>
                <a:lnTo>
                  <a:pt x="1326" y="988"/>
                </a:lnTo>
                <a:lnTo>
                  <a:pt x="1332" y="991"/>
                </a:lnTo>
                <a:lnTo>
                  <a:pt x="1340" y="992"/>
                </a:lnTo>
                <a:lnTo>
                  <a:pt x="1340" y="992"/>
                </a:lnTo>
                <a:lnTo>
                  <a:pt x="1346" y="992"/>
                </a:lnTo>
                <a:lnTo>
                  <a:pt x="1351" y="991"/>
                </a:lnTo>
                <a:lnTo>
                  <a:pt x="1359" y="986"/>
                </a:lnTo>
                <a:lnTo>
                  <a:pt x="1368" y="983"/>
                </a:lnTo>
                <a:lnTo>
                  <a:pt x="1373" y="981"/>
                </a:lnTo>
                <a:lnTo>
                  <a:pt x="1377" y="980"/>
                </a:lnTo>
                <a:lnTo>
                  <a:pt x="1377" y="980"/>
                </a:lnTo>
                <a:lnTo>
                  <a:pt x="1382" y="983"/>
                </a:lnTo>
                <a:lnTo>
                  <a:pt x="1389" y="986"/>
                </a:lnTo>
                <a:lnTo>
                  <a:pt x="1398" y="991"/>
                </a:lnTo>
                <a:lnTo>
                  <a:pt x="1403" y="992"/>
                </a:lnTo>
                <a:lnTo>
                  <a:pt x="1407" y="992"/>
                </a:lnTo>
                <a:lnTo>
                  <a:pt x="1407" y="992"/>
                </a:lnTo>
                <a:lnTo>
                  <a:pt x="1412" y="992"/>
                </a:lnTo>
                <a:lnTo>
                  <a:pt x="1415" y="991"/>
                </a:lnTo>
                <a:lnTo>
                  <a:pt x="1419" y="988"/>
                </a:lnTo>
                <a:lnTo>
                  <a:pt x="1421" y="987"/>
                </a:lnTo>
                <a:lnTo>
                  <a:pt x="1426" y="981"/>
                </a:lnTo>
                <a:lnTo>
                  <a:pt x="1428" y="974"/>
                </a:lnTo>
                <a:lnTo>
                  <a:pt x="1433" y="962"/>
                </a:lnTo>
                <a:lnTo>
                  <a:pt x="1434" y="957"/>
                </a:lnTo>
                <a:lnTo>
                  <a:pt x="1436" y="955"/>
                </a:lnTo>
                <a:lnTo>
                  <a:pt x="1436" y="955"/>
                </a:lnTo>
                <a:lnTo>
                  <a:pt x="1446" y="949"/>
                </a:lnTo>
                <a:lnTo>
                  <a:pt x="1456" y="942"/>
                </a:lnTo>
                <a:lnTo>
                  <a:pt x="1464" y="934"/>
                </a:lnTo>
                <a:lnTo>
                  <a:pt x="1469" y="925"/>
                </a:lnTo>
                <a:lnTo>
                  <a:pt x="1476" y="913"/>
                </a:lnTo>
                <a:lnTo>
                  <a:pt x="1481" y="903"/>
                </a:lnTo>
                <a:lnTo>
                  <a:pt x="1492" y="880"/>
                </a:lnTo>
                <a:lnTo>
                  <a:pt x="1497" y="869"/>
                </a:lnTo>
                <a:lnTo>
                  <a:pt x="1503" y="858"/>
                </a:lnTo>
                <a:lnTo>
                  <a:pt x="1510" y="849"/>
                </a:lnTo>
                <a:lnTo>
                  <a:pt x="1518" y="841"/>
                </a:lnTo>
                <a:lnTo>
                  <a:pt x="1526" y="834"/>
                </a:lnTo>
                <a:lnTo>
                  <a:pt x="1536" y="829"/>
                </a:lnTo>
                <a:lnTo>
                  <a:pt x="1548" y="827"/>
                </a:lnTo>
                <a:lnTo>
                  <a:pt x="1561" y="827"/>
                </a:lnTo>
                <a:lnTo>
                  <a:pt x="1561" y="844"/>
                </a:lnTo>
                <a:lnTo>
                  <a:pt x="1550" y="871"/>
                </a:lnTo>
                <a:lnTo>
                  <a:pt x="1550" y="871"/>
                </a:lnTo>
                <a:lnTo>
                  <a:pt x="1556" y="871"/>
                </a:lnTo>
                <a:lnTo>
                  <a:pt x="1561" y="873"/>
                </a:lnTo>
                <a:lnTo>
                  <a:pt x="1571" y="878"/>
                </a:lnTo>
                <a:lnTo>
                  <a:pt x="1575" y="881"/>
                </a:lnTo>
                <a:lnTo>
                  <a:pt x="1581" y="884"/>
                </a:lnTo>
                <a:lnTo>
                  <a:pt x="1587" y="885"/>
                </a:lnTo>
                <a:lnTo>
                  <a:pt x="1594" y="886"/>
                </a:lnTo>
                <a:lnTo>
                  <a:pt x="1594" y="886"/>
                </a:lnTo>
                <a:lnTo>
                  <a:pt x="1602" y="885"/>
                </a:lnTo>
                <a:lnTo>
                  <a:pt x="1607" y="884"/>
                </a:lnTo>
                <a:lnTo>
                  <a:pt x="1614" y="880"/>
                </a:lnTo>
                <a:lnTo>
                  <a:pt x="1619" y="878"/>
                </a:lnTo>
                <a:lnTo>
                  <a:pt x="1629" y="869"/>
                </a:lnTo>
                <a:lnTo>
                  <a:pt x="1639" y="858"/>
                </a:lnTo>
                <a:lnTo>
                  <a:pt x="1647" y="848"/>
                </a:lnTo>
                <a:lnTo>
                  <a:pt x="1655" y="839"/>
                </a:lnTo>
                <a:lnTo>
                  <a:pt x="1663" y="832"/>
                </a:lnTo>
                <a:lnTo>
                  <a:pt x="1667" y="828"/>
                </a:lnTo>
                <a:lnTo>
                  <a:pt x="1672" y="827"/>
                </a:lnTo>
                <a:lnTo>
                  <a:pt x="1672" y="827"/>
                </a:lnTo>
                <a:lnTo>
                  <a:pt x="1665" y="806"/>
                </a:lnTo>
                <a:lnTo>
                  <a:pt x="1662" y="797"/>
                </a:lnTo>
                <a:lnTo>
                  <a:pt x="1660" y="789"/>
                </a:lnTo>
                <a:lnTo>
                  <a:pt x="1660" y="789"/>
                </a:lnTo>
                <a:lnTo>
                  <a:pt x="1660" y="785"/>
                </a:lnTo>
                <a:lnTo>
                  <a:pt x="1662" y="781"/>
                </a:lnTo>
                <a:lnTo>
                  <a:pt x="1665" y="775"/>
                </a:lnTo>
                <a:lnTo>
                  <a:pt x="1668" y="771"/>
                </a:lnTo>
                <a:lnTo>
                  <a:pt x="1672" y="764"/>
                </a:lnTo>
                <a:lnTo>
                  <a:pt x="1672" y="764"/>
                </a:lnTo>
                <a:lnTo>
                  <a:pt x="1645" y="758"/>
                </a:lnTo>
                <a:lnTo>
                  <a:pt x="1634" y="756"/>
                </a:lnTo>
                <a:lnTo>
                  <a:pt x="1622" y="752"/>
                </a:lnTo>
                <a:lnTo>
                  <a:pt x="1612" y="748"/>
                </a:lnTo>
                <a:lnTo>
                  <a:pt x="1609" y="744"/>
                </a:lnTo>
                <a:lnTo>
                  <a:pt x="1605" y="741"/>
                </a:lnTo>
                <a:lnTo>
                  <a:pt x="1602" y="737"/>
                </a:lnTo>
                <a:lnTo>
                  <a:pt x="1599" y="734"/>
                </a:lnTo>
                <a:lnTo>
                  <a:pt x="1598" y="729"/>
                </a:lnTo>
                <a:lnTo>
                  <a:pt x="1598" y="724"/>
                </a:lnTo>
                <a:lnTo>
                  <a:pt x="1598" y="72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ct val="260000"/>
              </a:spcAft>
              <a:defRPr/>
            </a:pPr>
            <a:endParaRPr lang="ru-RU" sz="1600" b="1" dirty="0">
              <a:ln w="3175" cmpd="sng">
                <a:solidFill>
                  <a:srgbClr val="FFFFFF"/>
                </a:solidFill>
                <a:prstDash val="solid"/>
                <a:miter lim="800000"/>
              </a:ln>
              <a:solidFill>
                <a:srgbClr val="C00000"/>
              </a:solidFill>
            </a:endParaRPr>
          </a:p>
        </p:txBody>
      </p:sp>
      <p:sp>
        <p:nvSpPr>
          <p:cNvPr id="144" name="Freeform 139"/>
          <p:cNvSpPr>
            <a:spLocks/>
          </p:cNvSpPr>
          <p:nvPr/>
        </p:nvSpPr>
        <p:spPr bwMode="auto">
          <a:xfrm>
            <a:off x="1146175" y="12800013"/>
            <a:ext cx="509588" cy="493712"/>
          </a:xfrm>
          <a:custGeom>
            <a:avLst/>
            <a:gdLst/>
            <a:ahLst/>
            <a:cxnLst>
              <a:cxn ang="0">
                <a:pos x="573" y="324"/>
              </a:cxn>
              <a:cxn ang="0">
                <a:pos x="519" y="268"/>
              </a:cxn>
              <a:cxn ang="0">
                <a:pos x="510" y="307"/>
              </a:cxn>
              <a:cxn ang="0">
                <a:pos x="475" y="305"/>
              </a:cxn>
              <a:cxn ang="0">
                <a:pos x="418" y="282"/>
              </a:cxn>
              <a:cxn ang="0">
                <a:pos x="401" y="293"/>
              </a:cxn>
              <a:cxn ang="0">
                <a:pos x="366" y="307"/>
              </a:cxn>
              <a:cxn ang="0">
                <a:pos x="328" y="308"/>
              </a:cxn>
              <a:cxn ang="0">
                <a:pos x="258" y="268"/>
              </a:cxn>
              <a:cxn ang="0">
                <a:pos x="266" y="229"/>
              </a:cxn>
              <a:cxn ang="0">
                <a:pos x="320" y="141"/>
              </a:cxn>
              <a:cxn ang="0">
                <a:pos x="327" y="101"/>
              </a:cxn>
              <a:cxn ang="0">
                <a:pos x="332" y="68"/>
              </a:cxn>
              <a:cxn ang="0">
                <a:pos x="320" y="15"/>
              </a:cxn>
              <a:cxn ang="0">
                <a:pos x="219" y="4"/>
              </a:cxn>
              <a:cxn ang="0">
                <a:pos x="185" y="62"/>
              </a:cxn>
              <a:cxn ang="0">
                <a:pos x="180" y="104"/>
              </a:cxn>
              <a:cxn ang="0">
                <a:pos x="194" y="139"/>
              </a:cxn>
              <a:cxn ang="0">
                <a:pos x="218" y="185"/>
              </a:cxn>
              <a:cxn ang="0">
                <a:pos x="205" y="221"/>
              </a:cxn>
              <a:cxn ang="0">
                <a:pos x="190" y="218"/>
              </a:cxn>
              <a:cxn ang="0">
                <a:pos x="170" y="144"/>
              </a:cxn>
              <a:cxn ang="0">
                <a:pos x="112" y="124"/>
              </a:cxn>
              <a:cxn ang="0">
                <a:pos x="88" y="109"/>
              </a:cxn>
              <a:cxn ang="0">
                <a:pos x="67" y="110"/>
              </a:cxn>
              <a:cxn ang="0">
                <a:pos x="49" y="122"/>
              </a:cxn>
              <a:cxn ang="0">
                <a:pos x="11" y="157"/>
              </a:cxn>
              <a:cxn ang="0">
                <a:pos x="0" y="187"/>
              </a:cxn>
              <a:cxn ang="0">
                <a:pos x="19" y="232"/>
              </a:cxn>
              <a:cxn ang="0">
                <a:pos x="26" y="269"/>
              </a:cxn>
              <a:cxn ang="0">
                <a:pos x="15" y="316"/>
              </a:cxn>
              <a:cxn ang="0">
                <a:pos x="22" y="353"/>
              </a:cxn>
              <a:cxn ang="0">
                <a:pos x="40" y="353"/>
              </a:cxn>
              <a:cxn ang="0">
                <a:pos x="63" y="335"/>
              </a:cxn>
              <a:cxn ang="0">
                <a:pos x="78" y="343"/>
              </a:cxn>
              <a:cxn ang="0">
                <a:pos x="93" y="355"/>
              </a:cxn>
              <a:cxn ang="0">
                <a:pos x="151" y="356"/>
              </a:cxn>
              <a:cxn ang="0">
                <a:pos x="172" y="370"/>
              </a:cxn>
              <a:cxn ang="0">
                <a:pos x="192" y="375"/>
              </a:cxn>
              <a:cxn ang="0">
                <a:pos x="214" y="364"/>
              </a:cxn>
              <a:cxn ang="0">
                <a:pos x="240" y="375"/>
              </a:cxn>
              <a:cxn ang="0">
                <a:pos x="252" y="417"/>
              </a:cxn>
              <a:cxn ang="0">
                <a:pos x="273" y="434"/>
              </a:cxn>
              <a:cxn ang="0">
                <a:pos x="284" y="430"/>
              </a:cxn>
              <a:cxn ang="0">
                <a:pos x="298" y="436"/>
              </a:cxn>
              <a:cxn ang="0">
                <a:pos x="315" y="480"/>
              </a:cxn>
              <a:cxn ang="0">
                <a:pos x="329" y="529"/>
              </a:cxn>
              <a:cxn ang="0">
                <a:pos x="352" y="555"/>
              </a:cxn>
              <a:cxn ang="0">
                <a:pos x="412" y="566"/>
              </a:cxn>
              <a:cxn ang="0">
                <a:pos x="462" y="542"/>
              </a:cxn>
              <a:cxn ang="0">
                <a:pos x="472" y="515"/>
              </a:cxn>
              <a:cxn ang="0">
                <a:pos x="474" y="474"/>
              </a:cxn>
              <a:cxn ang="0">
                <a:pos x="546" y="422"/>
              </a:cxn>
              <a:cxn ang="0">
                <a:pos x="625" y="382"/>
              </a:cxn>
            </a:cxnLst>
            <a:rect l="0" t="0" r="r" b="b"/>
            <a:pathLst>
              <a:path w="625" h="566">
                <a:moveTo>
                  <a:pt x="625" y="382"/>
                </a:moveTo>
                <a:lnTo>
                  <a:pt x="625" y="382"/>
                </a:lnTo>
                <a:lnTo>
                  <a:pt x="611" y="370"/>
                </a:lnTo>
                <a:lnTo>
                  <a:pt x="599" y="355"/>
                </a:lnTo>
                <a:lnTo>
                  <a:pt x="573" y="324"/>
                </a:lnTo>
                <a:lnTo>
                  <a:pt x="561" y="308"/>
                </a:lnTo>
                <a:lnTo>
                  <a:pt x="547" y="293"/>
                </a:lnTo>
                <a:lnTo>
                  <a:pt x="533" y="279"/>
                </a:lnTo>
                <a:lnTo>
                  <a:pt x="526" y="274"/>
                </a:lnTo>
                <a:lnTo>
                  <a:pt x="519" y="268"/>
                </a:lnTo>
                <a:lnTo>
                  <a:pt x="519" y="268"/>
                </a:lnTo>
                <a:lnTo>
                  <a:pt x="517" y="280"/>
                </a:lnTo>
                <a:lnTo>
                  <a:pt x="515" y="294"/>
                </a:lnTo>
                <a:lnTo>
                  <a:pt x="512" y="305"/>
                </a:lnTo>
                <a:lnTo>
                  <a:pt x="510" y="307"/>
                </a:lnTo>
                <a:lnTo>
                  <a:pt x="508" y="308"/>
                </a:lnTo>
                <a:lnTo>
                  <a:pt x="508" y="308"/>
                </a:lnTo>
                <a:lnTo>
                  <a:pt x="498" y="308"/>
                </a:lnTo>
                <a:lnTo>
                  <a:pt x="487" y="307"/>
                </a:lnTo>
                <a:lnTo>
                  <a:pt x="475" y="305"/>
                </a:lnTo>
                <a:lnTo>
                  <a:pt x="464" y="302"/>
                </a:lnTo>
                <a:lnTo>
                  <a:pt x="451" y="298"/>
                </a:lnTo>
                <a:lnTo>
                  <a:pt x="440" y="293"/>
                </a:lnTo>
                <a:lnTo>
                  <a:pt x="428" y="289"/>
                </a:lnTo>
                <a:lnTo>
                  <a:pt x="418" y="282"/>
                </a:lnTo>
                <a:lnTo>
                  <a:pt x="418" y="282"/>
                </a:lnTo>
                <a:lnTo>
                  <a:pt x="413" y="286"/>
                </a:lnTo>
                <a:lnTo>
                  <a:pt x="409" y="291"/>
                </a:lnTo>
                <a:lnTo>
                  <a:pt x="409" y="291"/>
                </a:lnTo>
                <a:lnTo>
                  <a:pt x="401" y="293"/>
                </a:lnTo>
                <a:lnTo>
                  <a:pt x="393" y="295"/>
                </a:lnTo>
                <a:lnTo>
                  <a:pt x="380" y="297"/>
                </a:lnTo>
                <a:lnTo>
                  <a:pt x="374" y="298"/>
                </a:lnTo>
                <a:lnTo>
                  <a:pt x="370" y="301"/>
                </a:lnTo>
                <a:lnTo>
                  <a:pt x="366" y="307"/>
                </a:lnTo>
                <a:lnTo>
                  <a:pt x="365" y="316"/>
                </a:lnTo>
                <a:lnTo>
                  <a:pt x="342" y="316"/>
                </a:lnTo>
                <a:lnTo>
                  <a:pt x="342" y="316"/>
                </a:lnTo>
                <a:lnTo>
                  <a:pt x="337" y="314"/>
                </a:lnTo>
                <a:lnTo>
                  <a:pt x="328" y="308"/>
                </a:lnTo>
                <a:lnTo>
                  <a:pt x="299" y="293"/>
                </a:lnTo>
                <a:lnTo>
                  <a:pt x="271" y="278"/>
                </a:lnTo>
                <a:lnTo>
                  <a:pt x="261" y="272"/>
                </a:lnTo>
                <a:lnTo>
                  <a:pt x="259" y="270"/>
                </a:lnTo>
                <a:lnTo>
                  <a:pt x="258" y="268"/>
                </a:lnTo>
                <a:lnTo>
                  <a:pt x="258" y="268"/>
                </a:lnTo>
                <a:lnTo>
                  <a:pt x="259" y="257"/>
                </a:lnTo>
                <a:lnTo>
                  <a:pt x="260" y="247"/>
                </a:lnTo>
                <a:lnTo>
                  <a:pt x="263" y="238"/>
                </a:lnTo>
                <a:lnTo>
                  <a:pt x="266" y="229"/>
                </a:lnTo>
                <a:lnTo>
                  <a:pt x="274" y="213"/>
                </a:lnTo>
                <a:lnTo>
                  <a:pt x="284" y="196"/>
                </a:lnTo>
                <a:lnTo>
                  <a:pt x="306" y="165"/>
                </a:lnTo>
                <a:lnTo>
                  <a:pt x="315" y="149"/>
                </a:lnTo>
                <a:lnTo>
                  <a:pt x="320" y="141"/>
                </a:lnTo>
                <a:lnTo>
                  <a:pt x="324" y="132"/>
                </a:lnTo>
                <a:lnTo>
                  <a:pt x="324" y="132"/>
                </a:lnTo>
                <a:lnTo>
                  <a:pt x="326" y="125"/>
                </a:lnTo>
                <a:lnTo>
                  <a:pt x="327" y="117"/>
                </a:lnTo>
                <a:lnTo>
                  <a:pt x="327" y="101"/>
                </a:lnTo>
                <a:lnTo>
                  <a:pt x="327" y="93"/>
                </a:lnTo>
                <a:lnTo>
                  <a:pt x="327" y="84"/>
                </a:lnTo>
                <a:lnTo>
                  <a:pt x="328" y="76"/>
                </a:lnTo>
                <a:lnTo>
                  <a:pt x="332" y="68"/>
                </a:lnTo>
                <a:lnTo>
                  <a:pt x="332" y="68"/>
                </a:lnTo>
                <a:lnTo>
                  <a:pt x="328" y="55"/>
                </a:lnTo>
                <a:lnTo>
                  <a:pt x="326" y="41"/>
                </a:lnTo>
                <a:lnTo>
                  <a:pt x="325" y="28"/>
                </a:lnTo>
                <a:lnTo>
                  <a:pt x="324" y="15"/>
                </a:lnTo>
                <a:lnTo>
                  <a:pt x="320" y="15"/>
                </a:lnTo>
                <a:lnTo>
                  <a:pt x="320" y="15"/>
                </a:lnTo>
                <a:lnTo>
                  <a:pt x="289" y="13"/>
                </a:lnTo>
                <a:lnTo>
                  <a:pt x="259" y="11"/>
                </a:lnTo>
                <a:lnTo>
                  <a:pt x="231" y="7"/>
                </a:lnTo>
                <a:lnTo>
                  <a:pt x="219" y="4"/>
                </a:lnTo>
                <a:lnTo>
                  <a:pt x="206" y="0"/>
                </a:lnTo>
                <a:lnTo>
                  <a:pt x="206" y="0"/>
                </a:lnTo>
                <a:lnTo>
                  <a:pt x="198" y="25"/>
                </a:lnTo>
                <a:lnTo>
                  <a:pt x="189" y="49"/>
                </a:lnTo>
                <a:lnTo>
                  <a:pt x="185" y="62"/>
                </a:lnTo>
                <a:lnTo>
                  <a:pt x="183" y="73"/>
                </a:lnTo>
                <a:lnTo>
                  <a:pt x="181" y="85"/>
                </a:lnTo>
                <a:lnTo>
                  <a:pt x="181" y="96"/>
                </a:lnTo>
                <a:lnTo>
                  <a:pt x="181" y="96"/>
                </a:lnTo>
                <a:lnTo>
                  <a:pt x="180" y="104"/>
                </a:lnTo>
                <a:lnTo>
                  <a:pt x="180" y="112"/>
                </a:lnTo>
                <a:lnTo>
                  <a:pt x="182" y="119"/>
                </a:lnTo>
                <a:lnTo>
                  <a:pt x="184" y="126"/>
                </a:lnTo>
                <a:lnTo>
                  <a:pt x="189" y="132"/>
                </a:lnTo>
                <a:lnTo>
                  <a:pt x="194" y="139"/>
                </a:lnTo>
                <a:lnTo>
                  <a:pt x="203" y="150"/>
                </a:lnTo>
                <a:lnTo>
                  <a:pt x="211" y="163"/>
                </a:lnTo>
                <a:lnTo>
                  <a:pt x="214" y="170"/>
                </a:lnTo>
                <a:lnTo>
                  <a:pt x="217" y="177"/>
                </a:lnTo>
                <a:lnTo>
                  <a:pt x="218" y="185"/>
                </a:lnTo>
                <a:lnTo>
                  <a:pt x="217" y="193"/>
                </a:lnTo>
                <a:lnTo>
                  <a:pt x="214" y="203"/>
                </a:lnTo>
                <a:lnTo>
                  <a:pt x="210" y="214"/>
                </a:lnTo>
                <a:lnTo>
                  <a:pt x="210" y="214"/>
                </a:lnTo>
                <a:lnTo>
                  <a:pt x="205" y="221"/>
                </a:lnTo>
                <a:lnTo>
                  <a:pt x="202" y="225"/>
                </a:lnTo>
                <a:lnTo>
                  <a:pt x="198" y="226"/>
                </a:lnTo>
                <a:lnTo>
                  <a:pt x="195" y="225"/>
                </a:lnTo>
                <a:lnTo>
                  <a:pt x="192" y="223"/>
                </a:lnTo>
                <a:lnTo>
                  <a:pt x="190" y="218"/>
                </a:lnTo>
                <a:lnTo>
                  <a:pt x="187" y="205"/>
                </a:lnTo>
                <a:lnTo>
                  <a:pt x="179" y="170"/>
                </a:lnTo>
                <a:lnTo>
                  <a:pt x="175" y="155"/>
                </a:lnTo>
                <a:lnTo>
                  <a:pt x="173" y="148"/>
                </a:lnTo>
                <a:lnTo>
                  <a:pt x="170" y="144"/>
                </a:lnTo>
                <a:lnTo>
                  <a:pt x="170" y="144"/>
                </a:lnTo>
                <a:lnTo>
                  <a:pt x="147" y="134"/>
                </a:lnTo>
                <a:lnTo>
                  <a:pt x="130" y="130"/>
                </a:lnTo>
                <a:lnTo>
                  <a:pt x="116" y="126"/>
                </a:lnTo>
                <a:lnTo>
                  <a:pt x="112" y="124"/>
                </a:lnTo>
                <a:lnTo>
                  <a:pt x="107" y="122"/>
                </a:lnTo>
                <a:lnTo>
                  <a:pt x="107" y="122"/>
                </a:lnTo>
                <a:lnTo>
                  <a:pt x="100" y="116"/>
                </a:lnTo>
                <a:lnTo>
                  <a:pt x="93" y="111"/>
                </a:lnTo>
                <a:lnTo>
                  <a:pt x="88" y="109"/>
                </a:lnTo>
                <a:lnTo>
                  <a:pt x="83" y="107"/>
                </a:lnTo>
                <a:lnTo>
                  <a:pt x="78" y="107"/>
                </a:lnTo>
                <a:lnTo>
                  <a:pt x="74" y="107"/>
                </a:lnTo>
                <a:lnTo>
                  <a:pt x="70" y="109"/>
                </a:lnTo>
                <a:lnTo>
                  <a:pt x="67" y="110"/>
                </a:lnTo>
                <a:lnTo>
                  <a:pt x="61" y="115"/>
                </a:lnTo>
                <a:lnTo>
                  <a:pt x="57" y="119"/>
                </a:lnTo>
                <a:lnTo>
                  <a:pt x="52" y="122"/>
                </a:lnTo>
                <a:lnTo>
                  <a:pt x="51" y="123"/>
                </a:lnTo>
                <a:lnTo>
                  <a:pt x="49" y="122"/>
                </a:lnTo>
                <a:lnTo>
                  <a:pt x="49" y="155"/>
                </a:lnTo>
                <a:lnTo>
                  <a:pt x="49" y="155"/>
                </a:lnTo>
                <a:lnTo>
                  <a:pt x="26" y="155"/>
                </a:lnTo>
                <a:lnTo>
                  <a:pt x="17" y="155"/>
                </a:lnTo>
                <a:lnTo>
                  <a:pt x="11" y="157"/>
                </a:lnTo>
                <a:lnTo>
                  <a:pt x="6" y="161"/>
                </a:lnTo>
                <a:lnTo>
                  <a:pt x="2" y="167"/>
                </a:lnTo>
                <a:lnTo>
                  <a:pt x="1" y="176"/>
                </a:lnTo>
                <a:lnTo>
                  <a:pt x="0" y="187"/>
                </a:lnTo>
                <a:lnTo>
                  <a:pt x="0" y="187"/>
                </a:lnTo>
                <a:lnTo>
                  <a:pt x="1" y="201"/>
                </a:lnTo>
                <a:lnTo>
                  <a:pt x="5" y="211"/>
                </a:lnTo>
                <a:lnTo>
                  <a:pt x="9" y="218"/>
                </a:lnTo>
                <a:lnTo>
                  <a:pt x="14" y="225"/>
                </a:lnTo>
                <a:lnTo>
                  <a:pt x="19" y="232"/>
                </a:lnTo>
                <a:lnTo>
                  <a:pt x="22" y="239"/>
                </a:lnTo>
                <a:lnTo>
                  <a:pt x="26" y="249"/>
                </a:lnTo>
                <a:lnTo>
                  <a:pt x="27" y="261"/>
                </a:lnTo>
                <a:lnTo>
                  <a:pt x="27" y="261"/>
                </a:lnTo>
                <a:lnTo>
                  <a:pt x="26" y="269"/>
                </a:lnTo>
                <a:lnTo>
                  <a:pt x="24" y="276"/>
                </a:lnTo>
                <a:lnTo>
                  <a:pt x="21" y="289"/>
                </a:lnTo>
                <a:lnTo>
                  <a:pt x="17" y="301"/>
                </a:lnTo>
                <a:lnTo>
                  <a:pt x="16" y="308"/>
                </a:lnTo>
                <a:lnTo>
                  <a:pt x="15" y="316"/>
                </a:lnTo>
                <a:lnTo>
                  <a:pt x="15" y="316"/>
                </a:lnTo>
                <a:lnTo>
                  <a:pt x="15" y="330"/>
                </a:lnTo>
                <a:lnTo>
                  <a:pt x="17" y="343"/>
                </a:lnTo>
                <a:lnTo>
                  <a:pt x="19" y="348"/>
                </a:lnTo>
                <a:lnTo>
                  <a:pt x="22" y="353"/>
                </a:lnTo>
                <a:lnTo>
                  <a:pt x="26" y="355"/>
                </a:lnTo>
                <a:lnTo>
                  <a:pt x="30" y="356"/>
                </a:lnTo>
                <a:lnTo>
                  <a:pt x="30" y="356"/>
                </a:lnTo>
                <a:lnTo>
                  <a:pt x="35" y="355"/>
                </a:lnTo>
                <a:lnTo>
                  <a:pt x="40" y="353"/>
                </a:lnTo>
                <a:lnTo>
                  <a:pt x="44" y="350"/>
                </a:lnTo>
                <a:lnTo>
                  <a:pt x="49" y="345"/>
                </a:lnTo>
                <a:lnTo>
                  <a:pt x="55" y="338"/>
                </a:lnTo>
                <a:lnTo>
                  <a:pt x="59" y="336"/>
                </a:lnTo>
                <a:lnTo>
                  <a:pt x="63" y="335"/>
                </a:lnTo>
                <a:lnTo>
                  <a:pt x="63" y="335"/>
                </a:lnTo>
                <a:lnTo>
                  <a:pt x="69" y="336"/>
                </a:lnTo>
                <a:lnTo>
                  <a:pt x="74" y="337"/>
                </a:lnTo>
                <a:lnTo>
                  <a:pt x="76" y="339"/>
                </a:lnTo>
                <a:lnTo>
                  <a:pt x="78" y="343"/>
                </a:lnTo>
                <a:lnTo>
                  <a:pt x="81" y="348"/>
                </a:lnTo>
                <a:lnTo>
                  <a:pt x="83" y="351"/>
                </a:lnTo>
                <a:lnTo>
                  <a:pt x="85" y="353"/>
                </a:lnTo>
                <a:lnTo>
                  <a:pt x="85" y="353"/>
                </a:lnTo>
                <a:lnTo>
                  <a:pt x="93" y="355"/>
                </a:lnTo>
                <a:lnTo>
                  <a:pt x="101" y="355"/>
                </a:lnTo>
                <a:lnTo>
                  <a:pt x="119" y="355"/>
                </a:lnTo>
                <a:lnTo>
                  <a:pt x="135" y="354"/>
                </a:lnTo>
                <a:lnTo>
                  <a:pt x="143" y="354"/>
                </a:lnTo>
                <a:lnTo>
                  <a:pt x="151" y="356"/>
                </a:lnTo>
                <a:lnTo>
                  <a:pt x="151" y="356"/>
                </a:lnTo>
                <a:lnTo>
                  <a:pt x="156" y="359"/>
                </a:lnTo>
                <a:lnTo>
                  <a:pt x="159" y="361"/>
                </a:lnTo>
                <a:lnTo>
                  <a:pt x="167" y="367"/>
                </a:lnTo>
                <a:lnTo>
                  <a:pt x="172" y="370"/>
                </a:lnTo>
                <a:lnTo>
                  <a:pt x="176" y="373"/>
                </a:lnTo>
                <a:lnTo>
                  <a:pt x="182" y="375"/>
                </a:lnTo>
                <a:lnTo>
                  <a:pt x="188" y="375"/>
                </a:lnTo>
                <a:lnTo>
                  <a:pt x="188" y="375"/>
                </a:lnTo>
                <a:lnTo>
                  <a:pt x="192" y="375"/>
                </a:lnTo>
                <a:lnTo>
                  <a:pt x="196" y="374"/>
                </a:lnTo>
                <a:lnTo>
                  <a:pt x="203" y="369"/>
                </a:lnTo>
                <a:lnTo>
                  <a:pt x="208" y="366"/>
                </a:lnTo>
                <a:lnTo>
                  <a:pt x="211" y="364"/>
                </a:lnTo>
                <a:lnTo>
                  <a:pt x="214" y="364"/>
                </a:lnTo>
                <a:lnTo>
                  <a:pt x="214" y="364"/>
                </a:lnTo>
                <a:lnTo>
                  <a:pt x="222" y="364"/>
                </a:lnTo>
                <a:lnTo>
                  <a:pt x="229" y="367"/>
                </a:lnTo>
                <a:lnTo>
                  <a:pt x="235" y="370"/>
                </a:lnTo>
                <a:lnTo>
                  <a:pt x="240" y="375"/>
                </a:lnTo>
                <a:lnTo>
                  <a:pt x="242" y="381"/>
                </a:lnTo>
                <a:lnTo>
                  <a:pt x="244" y="386"/>
                </a:lnTo>
                <a:lnTo>
                  <a:pt x="248" y="399"/>
                </a:lnTo>
                <a:lnTo>
                  <a:pt x="250" y="412"/>
                </a:lnTo>
                <a:lnTo>
                  <a:pt x="252" y="417"/>
                </a:lnTo>
                <a:lnTo>
                  <a:pt x="253" y="423"/>
                </a:lnTo>
                <a:lnTo>
                  <a:pt x="257" y="428"/>
                </a:lnTo>
                <a:lnTo>
                  <a:pt x="261" y="431"/>
                </a:lnTo>
                <a:lnTo>
                  <a:pt x="266" y="434"/>
                </a:lnTo>
                <a:lnTo>
                  <a:pt x="273" y="434"/>
                </a:lnTo>
                <a:lnTo>
                  <a:pt x="273" y="434"/>
                </a:lnTo>
                <a:lnTo>
                  <a:pt x="278" y="434"/>
                </a:lnTo>
                <a:lnTo>
                  <a:pt x="281" y="432"/>
                </a:lnTo>
                <a:lnTo>
                  <a:pt x="283" y="431"/>
                </a:lnTo>
                <a:lnTo>
                  <a:pt x="284" y="430"/>
                </a:lnTo>
                <a:lnTo>
                  <a:pt x="286" y="431"/>
                </a:lnTo>
                <a:lnTo>
                  <a:pt x="291" y="434"/>
                </a:lnTo>
                <a:lnTo>
                  <a:pt x="291" y="434"/>
                </a:lnTo>
                <a:lnTo>
                  <a:pt x="295" y="435"/>
                </a:lnTo>
                <a:lnTo>
                  <a:pt x="298" y="436"/>
                </a:lnTo>
                <a:lnTo>
                  <a:pt x="302" y="438"/>
                </a:lnTo>
                <a:lnTo>
                  <a:pt x="304" y="440"/>
                </a:lnTo>
                <a:lnTo>
                  <a:pt x="307" y="448"/>
                </a:lnTo>
                <a:lnTo>
                  <a:pt x="311" y="458"/>
                </a:lnTo>
                <a:lnTo>
                  <a:pt x="315" y="480"/>
                </a:lnTo>
                <a:lnTo>
                  <a:pt x="320" y="504"/>
                </a:lnTo>
                <a:lnTo>
                  <a:pt x="320" y="504"/>
                </a:lnTo>
                <a:lnTo>
                  <a:pt x="322" y="513"/>
                </a:lnTo>
                <a:lnTo>
                  <a:pt x="326" y="522"/>
                </a:lnTo>
                <a:lnTo>
                  <a:pt x="329" y="529"/>
                </a:lnTo>
                <a:lnTo>
                  <a:pt x="333" y="536"/>
                </a:lnTo>
                <a:lnTo>
                  <a:pt x="337" y="543"/>
                </a:lnTo>
                <a:lnTo>
                  <a:pt x="342" y="547"/>
                </a:lnTo>
                <a:lnTo>
                  <a:pt x="348" y="552"/>
                </a:lnTo>
                <a:lnTo>
                  <a:pt x="352" y="555"/>
                </a:lnTo>
                <a:lnTo>
                  <a:pt x="359" y="559"/>
                </a:lnTo>
                <a:lnTo>
                  <a:pt x="365" y="561"/>
                </a:lnTo>
                <a:lnTo>
                  <a:pt x="380" y="565"/>
                </a:lnTo>
                <a:lnTo>
                  <a:pt x="395" y="566"/>
                </a:lnTo>
                <a:lnTo>
                  <a:pt x="412" y="566"/>
                </a:lnTo>
                <a:lnTo>
                  <a:pt x="412" y="566"/>
                </a:lnTo>
                <a:lnTo>
                  <a:pt x="417" y="565"/>
                </a:lnTo>
                <a:lnTo>
                  <a:pt x="424" y="562"/>
                </a:lnTo>
                <a:lnTo>
                  <a:pt x="443" y="552"/>
                </a:lnTo>
                <a:lnTo>
                  <a:pt x="462" y="542"/>
                </a:lnTo>
                <a:lnTo>
                  <a:pt x="467" y="536"/>
                </a:lnTo>
                <a:lnTo>
                  <a:pt x="471" y="532"/>
                </a:lnTo>
                <a:lnTo>
                  <a:pt x="471" y="532"/>
                </a:lnTo>
                <a:lnTo>
                  <a:pt x="472" y="523"/>
                </a:lnTo>
                <a:lnTo>
                  <a:pt x="472" y="515"/>
                </a:lnTo>
                <a:lnTo>
                  <a:pt x="469" y="501"/>
                </a:lnTo>
                <a:lnTo>
                  <a:pt x="467" y="494"/>
                </a:lnTo>
                <a:lnTo>
                  <a:pt x="467" y="488"/>
                </a:lnTo>
                <a:lnTo>
                  <a:pt x="470" y="481"/>
                </a:lnTo>
                <a:lnTo>
                  <a:pt x="474" y="474"/>
                </a:lnTo>
                <a:lnTo>
                  <a:pt x="474" y="474"/>
                </a:lnTo>
                <a:lnTo>
                  <a:pt x="489" y="461"/>
                </a:lnTo>
                <a:lnTo>
                  <a:pt x="505" y="448"/>
                </a:lnTo>
                <a:lnTo>
                  <a:pt x="525" y="435"/>
                </a:lnTo>
                <a:lnTo>
                  <a:pt x="546" y="422"/>
                </a:lnTo>
                <a:lnTo>
                  <a:pt x="566" y="410"/>
                </a:lnTo>
                <a:lnTo>
                  <a:pt x="587" y="399"/>
                </a:lnTo>
                <a:lnTo>
                  <a:pt x="608" y="390"/>
                </a:lnTo>
                <a:lnTo>
                  <a:pt x="625" y="382"/>
                </a:lnTo>
                <a:lnTo>
                  <a:pt x="625" y="38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5" name="Freeform 140"/>
          <p:cNvSpPr>
            <a:spLocks/>
          </p:cNvSpPr>
          <p:nvPr/>
        </p:nvSpPr>
        <p:spPr bwMode="auto">
          <a:xfrm>
            <a:off x="1409700" y="2627313"/>
            <a:ext cx="622300" cy="838200"/>
          </a:xfrm>
          <a:custGeom>
            <a:avLst/>
            <a:gdLst/>
            <a:ahLst/>
            <a:cxnLst>
              <a:cxn ang="0">
                <a:pos x="697" y="156"/>
              </a:cxn>
              <a:cxn ang="0">
                <a:pos x="691" y="106"/>
              </a:cxn>
              <a:cxn ang="0">
                <a:pos x="643" y="35"/>
              </a:cxn>
              <a:cxn ang="0">
                <a:pos x="561" y="64"/>
              </a:cxn>
              <a:cxn ang="0">
                <a:pos x="507" y="110"/>
              </a:cxn>
              <a:cxn ang="0">
                <a:pos x="468" y="114"/>
              </a:cxn>
              <a:cxn ang="0">
                <a:pos x="434" y="159"/>
              </a:cxn>
              <a:cxn ang="0">
                <a:pos x="414" y="217"/>
              </a:cxn>
              <a:cxn ang="0">
                <a:pos x="375" y="239"/>
              </a:cxn>
              <a:cxn ang="0">
                <a:pos x="360" y="310"/>
              </a:cxn>
              <a:cxn ang="0">
                <a:pos x="294" y="324"/>
              </a:cxn>
              <a:cxn ang="0">
                <a:pos x="294" y="438"/>
              </a:cxn>
              <a:cxn ang="0">
                <a:pos x="271" y="492"/>
              </a:cxn>
              <a:cxn ang="0">
                <a:pos x="136" y="514"/>
              </a:cxn>
              <a:cxn ang="0">
                <a:pos x="4" y="562"/>
              </a:cxn>
              <a:cxn ang="0">
                <a:pos x="50" y="565"/>
              </a:cxn>
              <a:cxn ang="0">
                <a:pos x="70" y="580"/>
              </a:cxn>
              <a:cxn ang="0">
                <a:pos x="89" y="570"/>
              </a:cxn>
              <a:cxn ang="0">
                <a:pos x="122" y="588"/>
              </a:cxn>
              <a:cxn ang="0">
                <a:pos x="110" y="636"/>
              </a:cxn>
              <a:cxn ang="0">
                <a:pos x="122" y="709"/>
              </a:cxn>
              <a:cxn ang="0">
                <a:pos x="104" y="773"/>
              </a:cxn>
              <a:cxn ang="0">
                <a:pos x="140" y="809"/>
              </a:cxn>
              <a:cxn ang="0">
                <a:pos x="188" y="812"/>
              </a:cxn>
              <a:cxn ang="0">
                <a:pos x="231" y="808"/>
              </a:cxn>
              <a:cxn ang="0">
                <a:pos x="292" y="865"/>
              </a:cxn>
              <a:cxn ang="0">
                <a:pos x="286" y="768"/>
              </a:cxn>
              <a:cxn ang="0">
                <a:pos x="298" y="751"/>
              </a:cxn>
              <a:cxn ang="0">
                <a:pos x="324" y="692"/>
              </a:cxn>
              <a:cxn ang="0">
                <a:pos x="340" y="686"/>
              </a:cxn>
              <a:cxn ang="0">
                <a:pos x="337" y="721"/>
              </a:cxn>
              <a:cxn ang="0">
                <a:pos x="368" y="687"/>
              </a:cxn>
              <a:cxn ang="0">
                <a:pos x="355" y="749"/>
              </a:cxn>
              <a:cxn ang="0">
                <a:pos x="377" y="759"/>
              </a:cxn>
              <a:cxn ang="0">
                <a:pos x="403" y="751"/>
              </a:cxn>
              <a:cxn ang="0">
                <a:pos x="403" y="705"/>
              </a:cxn>
              <a:cxn ang="0">
                <a:pos x="400" y="665"/>
              </a:cxn>
              <a:cxn ang="0">
                <a:pos x="424" y="661"/>
              </a:cxn>
              <a:cxn ang="0">
                <a:pos x="445" y="717"/>
              </a:cxn>
              <a:cxn ang="0">
                <a:pos x="417" y="763"/>
              </a:cxn>
              <a:cxn ang="0">
                <a:pos x="378" y="821"/>
              </a:cxn>
              <a:cxn ang="0">
                <a:pos x="361" y="843"/>
              </a:cxn>
              <a:cxn ang="0">
                <a:pos x="344" y="901"/>
              </a:cxn>
              <a:cxn ang="0">
                <a:pos x="413" y="917"/>
              </a:cxn>
              <a:cxn ang="0">
                <a:pos x="462" y="939"/>
              </a:cxn>
              <a:cxn ang="0">
                <a:pos x="506" y="850"/>
              </a:cxn>
              <a:cxn ang="0">
                <a:pos x="532" y="815"/>
              </a:cxn>
              <a:cxn ang="0">
                <a:pos x="514" y="794"/>
              </a:cxn>
              <a:cxn ang="0">
                <a:pos x="517" y="741"/>
              </a:cxn>
              <a:cxn ang="0">
                <a:pos x="554" y="648"/>
              </a:cxn>
              <a:cxn ang="0">
                <a:pos x="592" y="654"/>
              </a:cxn>
              <a:cxn ang="0">
                <a:pos x="626" y="621"/>
              </a:cxn>
              <a:cxn ang="0">
                <a:pos x="628" y="488"/>
              </a:cxn>
              <a:cxn ang="0">
                <a:pos x="698" y="367"/>
              </a:cxn>
              <a:cxn ang="0">
                <a:pos x="758" y="300"/>
              </a:cxn>
            </a:cxnLst>
            <a:rect l="0" t="0" r="r" b="b"/>
            <a:pathLst>
              <a:path w="761" h="962">
                <a:moveTo>
                  <a:pt x="757" y="165"/>
                </a:moveTo>
                <a:lnTo>
                  <a:pt x="757" y="165"/>
                </a:lnTo>
                <a:lnTo>
                  <a:pt x="733" y="165"/>
                </a:lnTo>
                <a:lnTo>
                  <a:pt x="721" y="164"/>
                </a:lnTo>
                <a:lnTo>
                  <a:pt x="712" y="163"/>
                </a:lnTo>
                <a:lnTo>
                  <a:pt x="703" y="160"/>
                </a:lnTo>
                <a:lnTo>
                  <a:pt x="697" y="156"/>
                </a:lnTo>
                <a:lnTo>
                  <a:pt x="695" y="153"/>
                </a:lnTo>
                <a:lnTo>
                  <a:pt x="692" y="151"/>
                </a:lnTo>
                <a:lnTo>
                  <a:pt x="691" y="148"/>
                </a:lnTo>
                <a:lnTo>
                  <a:pt x="691" y="143"/>
                </a:lnTo>
                <a:lnTo>
                  <a:pt x="691" y="143"/>
                </a:lnTo>
                <a:lnTo>
                  <a:pt x="691" y="106"/>
                </a:lnTo>
                <a:lnTo>
                  <a:pt x="691" y="106"/>
                </a:lnTo>
                <a:lnTo>
                  <a:pt x="690" y="97"/>
                </a:lnTo>
                <a:lnTo>
                  <a:pt x="686" y="88"/>
                </a:lnTo>
                <a:lnTo>
                  <a:pt x="682" y="79"/>
                </a:lnTo>
                <a:lnTo>
                  <a:pt x="676" y="69"/>
                </a:lnTo>
                <a:lnTo>
                  <a:pt x="669" y="60"/>
                </a:lnTo>
                <a:lnTo>
                  <a:pt x="661" y="52"/>
                </a:lnTo>
                <a:lnTo>
                  <a:pt x="643" y="35"/>
                </a:lnTo>
                <a:lnTo>
                  <a:pt x="626" y="21"/>
                </a:lnTo>
                <a:lnTo>
                  <a:pt x="611" y="10"/>
                </a:lnTo>
                <a:lnTo>
                  <a:pt x="596" y="0"/>
                </a:lnTo>
                <a:lnTo>
                  <a:pt x="596" y="0"/>
                </a:lnTo>
                <a:lnTo>
                  <a:pt x="584" y="22"/>
                </a:lnTo>
                <a:lnTo>
                  <a:pt x="573" y="44"/>
                </a:lnTo>
                <a:lnTo>
                  <a:pt x="561" y="64"/>
                </a:lnTo>
                <a:lnTo>
                  <a:pt x="555" y="73"/>
                </a:lnTo>
                <a:lnTo>
                  <a:pt x="548" y="81"/>
                </a:lnTo>
                <a:lnTo>
                  <a:pt x="542" y="89"/>
                </a:lnTo>
                <a:lnTo>
                  <a:pt x="533" y="96"/>
                </a:lnTo>
                <a:lnTo>
                  <a:pt x="525" y="102"/>
                </a:lnTo>
                <a:lnTo>
                  <a:pt x="516" y="106"/>
                </a:lnTo>
                <a:lnTo>
                  <a:pt x="507" y="110"/>
                </a:lnTo>
                <a:lnTo>
                  <a:pt x="497" y="111"/>
                </a:lnTo>
                <a:lnTo>
                  <a:pt x="486" y="112"/>
                </a:lnTo>
                <a:lnTo>
                  <a:pt x="474" y="111"/>
                </a:lnTo>
                <a:lnTo>
                  <a:pt x="474" y="111"/>
                </a:lnTo>
                <a:lnTo>
                  <a:pt x="471" y="111"/>
                </a:lnTo>
                <a:lnTo>
                  <a:pt x="469" y="112"/>
                </a:lnTo>
                <a:lnTo>
                  <a:pt x="468" y="114"/>
                </a:lnTo>
                <a:lnTo>
                  <a:pt x="466" y="117"/>
                </a:lnTo>
                <a:lnTo>
                  <a:pt x="459" y="135"/>
                </a:lnTo>
                <a:lnTo>
                  <a:pt x="454" y="144"/>
                </a:lnTo>
                <a:lnTo>
                  <a:pt x="449" y="149"/>
                </a:lnTo>
                <a:lnTo>
                  <a:pt x="446" y="153"/>
                </a:lnTo>
                <a:lnTo>
                  <a:pt x="440" y="157"/>
                </a:lnTo>
                <a:lnTo>
                  <a:pt x="434" y="159"/>
                </a:lnTo>
                <a:lnTo>
                  <a:pt x="428" y="161"/>
                </a:lnTo>
                <a:lnTo>
                  <a:pt x="418" y="161"/>
                </a:lnTo>
                <a:lnTo>
                  <a:pt x="418" y="161"/>
                </a:lnTo>
                <a:lnTo>
                  <a:pt x="420" y="186"/>
                </a:lnTo>
                <a:lnTo>
                  <a:pt x="417" y="203"/>
                </a:lnTo>
                <a:lnTo>
                  <a:pt x="416" y="211"/>
                </a:lnTo>
                <a:lnTo>
                  <a:pt x="414" y="217"/>
                </a:lnTo>
                <a:lnTo>
                  <a:pt x="411" y="222"/>
                </a:lnTo>
                <a:lnTo>
                  <a:pt x="409" y="227"/>
                </a:lnTo>
                <a:lnTo>
                  <a:pt x="406" y="231"/>
                </a:lnTo>
                <a:lnTo>
                  <a:pt x="402" y="233"/>
                </a:lnTo>
                <a:lnTo>
                  <a:pt x="394" y="236"/>
                </a:lnTo>
                <a:lnTo>
                  <a:pt x="385" y="239"/>
                </a:lnTo>
                <a:lnTo>
                  <a:pt x="375" y="239"/>
                </a:lnTo>
                <a:lnTo>
                  <a:pt x="375" y="239"/>
                </a:lnTo>
                <a:lnTo>
                  <a:pt x="374" y="267"/>
                </a:lnTo>
                <a:lnTo>
                  <a:pt x="372" y="279"/>
                </a:lnTo>
                <a:lnTo>
                  <a:pt x="370" y="289"/>
                </a:lnTo>
                <a:lnTo>
                  <a:pt x="367" y="297"/>
                </a:lnTo>
                <a:lnTo>
                  <a:pt x="363" y="304"/>
                </a:lnTo>
                <a:lnTo>
                  <a:pt x="360" y="310"/>
                </a:lnTo>
                <a:lnTo>
                  <a:pt x="355" y="315"/>
                </a:lnTo>
                <a:lnTo>
                  <a:pt x="349" y="318"/>
                </a:lnTo>
                <a:lnTo>
                  <a:pt x="344" y="320"/>
                </a:lnTo>
                <a:lnTo>
                  <a:pt x="337" y="321"/>
                </a:lnTo>
                <a:lnTo>
                  <a:pt x="330" y="323"/>
                </a:lnTo>
                <a:lnTo>
                  <a:pt x="314" y="324"/>
                </a:lnTo>
                <a:lnTo>
                  <a:pt x="294" y="324"/>
                </a:lnTo>
                <a:lnTo>
                  <a:pt x="294" y="324"/>
                </a:lnTo>
                <a:lnTo>
                  <a:pt x="296" y="348"/>
                </a:lnTo>
                <a:lnTo>
                  <a:pt x="298" y="370"/>
                </a:lnTo>
                <a:lnTo>
                  <a:pt x="298" y="390"/>
                </a:lnTo>
                <a:lnTo>
                  <a:pt x="298" y="408"/>
                </a:lnTo>
                <a:lnTo>
                  <a:pt x="296" y="424"/>
                </a:lnTo>
                <a:lnTo>
                  <a:pt x="294" y="438"/>
                </a:lnTo>
                <a:lnTo>
                  <a:pt x="292" y="450"/>
                </a:lnTo>
                <a:lnTo>
                  <a:pt x="288" y="461"/>
                </a:lnTo>
                <a:lnTo>
                  <a:pt x="285" y="470"/>
                </a:lnTo>
                <a:lnTo>
                  <a:pt x="281" y="478"/>
                </a:lnTo>
                <a:lnTo>
                  <a:pt x="278" y="484"/>
                </a:lnTo>
                <a:lnTo>
                  <a:pt x="275" y="488"/>
                </a:lnTo>
                <a:lnTo>
                  <a:pt x="271" y="492"/>
                </a:lnTo>
                <a:lnTo>
                  <a:pt x="268" y="494"/>
                </a:lnTo>
                <a:lnTo>
                  <a:pt x="264" y="496"/>
                </a:lnTo>
                <a:lnTo>
                  <a:pt x="261" y="496"/>
                </a:lnTo>
                <a:lnTo>
                  <a:pt x="261" y="496"/>
                </a:lnTo>
                <a:lnTo>
                  <a:pt x="238" y="500"/>
                </a:lnTo>
                <a:lnTo>
                  <a:pt x="176" y="509"/>
                </a:lnTo>
                <a:lnTo>
                  <a:pt x="136" y="514"/>
                </a:lnTo>
                <a:lnTo>
                  <a:pt x="92" y="518"/>
                </a:lnTo>
                <a:lnTo>
                  <a:pt x="46" y="520"/>
                </a:lnTo>
                <a:lnTo>
                  <a:pt x="0" y="522"/>
                </a:lnTo>
                <a:lnTo>
                  <a:pt x="0" y="522"/>
                </a:lnTo>
                <a:lnTo>
                  <a:pt x="1" y="535"/>
                </a:lnTo>
                <a:lnTo>
                  <a:pt x="2" y="548"/>
                </a:lnTo>
                <a:lnTo>
                  <a:pt x="4" y="562"/>
                </a:lnTo>
                <a:lnTo>
                  <a:pt x="8" y="575"/>
                </a:lnTo>
                <a:lnTo>
                  <a:pt x="8" y="575"/>
                </a:lnTo>
                <a:lnTo>
                  <a:pt x="8" y="573"/>
                </a:lnTo>
                <a:lnTo>
                  <a:pt x="8" y="573"/>
                </a:lnTo>
                <a:lnTo>
                  <a:pt x="27" y="571"/>
                </a:lnTo>
                <a:lnTo>
                  <a:pt x="43" y="568"/>
                </a:lnTo>
                <a:lnTo>
                  <a:pt x="50" y="565"/>
                </a:lnTo>
                <a:lnTo>
                  <a:pt x="56" y="562"/>
                </a:lnTo>
                <a:lnTo>
                  <a:pt x="56" y="562"/>
                </a:lnTo>
                <a:lnTo>
                  <a:pt x="58" y="569"/>
                </a:lnTo>
                <a:lnTo>
                  <a:pt x="62" y="575"/>
                </a:lnTo>
                <a:lnTo>
                  <a:pt x="64" y="577"/>
                </a:lnTo>
                <a:lnTo>
                  <a:pt x="66" y="579"/>
                </a:lnTo>
                <a:lnTo>
                  <a:pt x="70" y="580"/>
                </a:lnTo>
                <a:lnTo>
                  <a:pt x="73" y="580"/>
                </a:lnTo>
                <a:lnTo>
                  <a:pt x="73" y="580"/>
                </a:lnTo>
                <a:lnTo>
                  <a:pt x="77" y="580"/>
                </a:lnTo>
                <a:lnTo>
                  <a:pt x="79" y="579"/>
                </a:lnTo>
                <a:lnTo>
                  <a:pt x="82" y="576"/>
                </a:lnTo>
                <a:lnTo>
                  <a:pt x="87" y="571"/>
                </a:lnTo>
                <a:lnTo>
                  <a:pt x="89" y="570"/>
                </a:lnTo>
                <a:lnTo>
                  <a:pt x="92" y="570"/>
                </a:lnTo>
                <a:lnTo>
                  <a:pt x="92" y="570"/>
                </a:lnTo>
                <a:lnTo>
                  <a:pt x="122" y="570"/>
                </a:lnTo>
                <a:lnTo>
                  <a:pt x="122" y="570"/>
                </a:lnTo>
                <a:lnTo>
                  <a:pt x="119" y="576"/>
                </a:lnTo>
                <a:lnTo>
                  <a:pt x="120" y="580"/>
                </a:lnTo>
                <a:lnTo>
                  <a:pt x="122" y="588"/>
                </a:lnTo>
                <a:lnTo>
                  <a:pt x="122" y="588"/>
                </a:lnTo>
                <a:lnTo>
                  <a:pt x="120" y="594"/>
                </a:lnTo>
                <a:lnTo>
                  <a:pt x="119" y="601"/>
                </a:lnTo>
                <a:lnTo>
                  <a:pt x="116" y="611"/>
                </a:lnTo>
                <a:lnTo>
                  <a:pt x="111" y="623"/>
                </a:lnTo>
                <a:lnTo>
                  <a:pt x="110" y="629"/>
                </a:lnTo>
                <a:lnTo>
                  <a:pt x="110" y="636"/>
                </a:lnTo>
                <a:lnTo>
                  <a:pt x="110" y="636"/>
                </a:lnTo>
                <a:lnTo>
                  <a:pt x="110" y="645"/>
                </a:lnTo>
                <a:lnTo>
                  <a:pt x="111" y="654"/>
                </a:lnTo>
                <a:lnTo>
                  <a:pt x="116" y="672"/>
                </a:lnTo>
                <a:lnTo>
                  <a:pt x="119" y="691"/>
                </a:lnTo>
                <a:lnTo>
                  <a:pt x="120" y="700"/>
                </a:lnTo>
                <a:lnTo>
                  <a:pt x="122" y="709"/>
                </a:lnTo>
                <a:lnTo>
                  <a:pt x="122" y="709"/>
                </a:lnTo>
                <a:lnTo>
                  <a:pt x="120" y="720"/>
                </a:lnTo>
                <a:lnTo>
                  <a:pt x="119" y="731"/>
                </a:lnTo>
                <a:lnTo>
                  <a:pt x="117" y="741"/>
                </a:lnTo>
                <a:lnTo>
                  <a:pt x="113" y="753"/>
                </a:lnTo>
                <a:lnTo>
                  <a:pt x="109" y="763"/>
                </a:lnTo>
                <a:lnTo>
                  <a:pt x="104" y="773"/>
                </a:lnTo>
                <a:lnTo>
                  <a:pt x="100" y="782"/>
                </a:lnTo>
                <a:lnTo>
                  <a:pt x="94" y="789"/>
                </a:lnTo>
                <a:lnTo>
                  <a:pt x="94" y="789"/>
                </a:lnTo>
                <a:lnTo>
                  <a:pt x="104" y="796"/>
                </a:lnTo>
                <a:lnTo>
                  <a:pt x="116" y="800"/>
                </a:lnTo>
                <a:lnTo>
                  <a:pt x="127" y="805"/>
                </a:lnTo>
                <a:lnTo>
                  <a:pt x="140" y="809"/>
                </a:lnTo>
                <a:lnTo>
                  <a:pt x="151" y="812"/>
                </a:lnTo>
                <a:lnTo>
                  <a:pt x="163" y="814"/>
                </a:lnTo>
                <a:lnTo>
                  <a:pt x="174" y="815"/>
                </a:lnTo>
                <a:lnTo>
                  <a:pt x="184" y="815"/>
                </a:lnTo>
                <a:lnTo>
                  <a:pt x="184" y="815"/>
                </a:lnTo>
                <a:lnTo>
                  <a:pt x="186" y="814"/>
                </a:lnTo>
                <a:lnTo>
                  <a:pt x="188" y="812"/>
                </a:lnTo>
                <a:lnTo>
                  <a:pt x="191" y="801"/>
                </a:lnTo>
                <a:lnTo>
                  <a:pt x="193" y="787"/>
                </a:lnTo>
                <a:lnTo>
                  <a:pt x="195" y="775"/>
                </a:lnTo>
                <a:lnTo>
                  <a:pt x="195" y="775"/>
                </a:lnTo>
                <a:lnTo>
                  <a:pt x="208" y="784"/>
                </a:lnTo>
                <a:lnTo>
                  <a:pt x="219" y="796"/>
                </a:lnTo>
                <a:lnTo>
                  <a:pt x="231" y="808"/>
                </a:lnTo>
                <a:lnTo>
                  <a:pt x="242" y="822"/>
                </a:lnTo>
                <a:lnTo>
                  <a:pt x="264" y="850"/>
                </a:lnTo>
                <a:lnTo>
                  <a:pt x="276" y="863"/>
                </a:lnTo>
                <a:lnTo>
                  <a:pt x="286" y="876"/>
                </a:lnTo>
                <a:lnTo>
                  <a:pt x="286" y="876"/>
                </a:lnTo>
                <a:lnTo>
                  <a:pt x="290" y="870"/>
                </a:lnTo>
                <a:lnTo>
                  <a:pt x="292" y="865"/>
                </a:lnTo>
                <a:lnTo>
                  <a:pt x="293" y="857"/>
                </a:lnTo>
                <a:lnTo>
                  <a:pt x="294" y="848"/>
                </a:lnTo>
                <a:lnTo>
                  <a:pt x="294" y="848"/>
                </a:lnTo>
                <a:lnTo>
                  <a:pt x="293" y="827"/>
                </a:lnTo>
                <a:lnTo>
                  <a:pt x="291" y="808"/>
                </a:lnTo>
                <a:lnTo>
                  <a:pt x="287" y="790"/>
                </a:lnTo>
                <a:lnTo>
                  <a:pt x="286" y="768"/>
                </a:lnTo>
                <a:lnTo>
                  <a:pt x="286" y="768"/>
                </a:lnTo>
                <a:lnTo>
                  <a:pt x="287" y="762"/>
                </a:lnTo>
                <a:lnTo>
                  <a:pt x="288" y="756"/>
                </a:lnTo>
                <a:lnTo>
                  <a:pt x="294" y="746"/>
                </a:lnTo>
                <a:lnTo>
                  <a:pt x="294" y="746"/>
                </a:lnTo>
                <a:lnTo>
                  <a:pt x="295" y="748"/>
                </a:lnTo>
                <a:lnTo>
                  <a:pt x="298" y="751"/>
                </a:lnTo>
                <a:lnTo>
                  <a:pt x="302" y="753"/>
                </a:lnTo>
                <a:lnTo>
                  <a:pt x="308" y="753"/>
                </a:lnTo>
                <a:lnTo>
                  <a:pt x="316" y="753"/>
                </a:lnTo>
                <a:lnTo>
                  <a:pt x="316" y="753"/>
                </a:lnTo>
                <a:lnTo>
                  <a:pt x="317" y="731"/>
                </a:lnTo>
                <a:lnTo>
                  <a:pt x="321" y="705"/>
                </a:lnTo>
                <a:lnTo>
                  <a:pt x="324" y="692"/>
                </a:lnTo>
                <a:lnTo>
                  <a:pt x="327" y="680"/>
                </a:lnTo>
                <a:lnTo>
                  <a:pt x="331" y="670"/>
                </a:lnTo>
                <a:lnTo>
                  <a:pt x="334" y="662"/>
                </a:lnTo>
                <a:lnTo>
                  <a:pt x="334" y="662"/>
                </a:lnTo>
                <a:lnTo>
                  <a:pt x="339" y="676"/>
                </a:lnTo>
                <a:lnTo>
                  <a:pt x="340" y="682"/>
                </a:lnTo>
                <a:lnTo>
                  <a:pt x="340" y="686"/>
                </a:lnTo>
                <a:lnTo>
                  <a:pt x="340" y="690"/>
                </a:lnTo>
                <a:lnTo>
                  <a:pt x="338" y="694"/>
                </a:lnTo>
                <a:lnTo>
                  <a:pt x="336" y="698"/>
                </a:lnTo>
                <a:lnTo>
                  <a:pt x="331" y="702"/>
                </a:lnTo>
                <a:lnTo>
                  <a:pt x="331" y="724"/>
                </a:lnTo>
                <a:lnTo>
                  <a:pt x="331" y="724"/>
                </a:lnTo>
                <a:lnTo>
                  <a:pt x="337" y="721"/>
                </a:lnTo>
                <a:lnTo>
                  <a:pt x="341" y="716"/>
                </a:lnTo>
                <a:lnTo>
                  <a:pt x="345" y="712"/>
                </a:lnTo>
                <a:lnTo>
                  <a:pt x="348" y="706"/>
                </a:lnTo>
                <a:lnTo>
                  <a:pt x="350" y="700"/>
                </a:lnTo>
                <a:lnTo>
                  <a:pt x="355" y="695"/>
                </a:lnTo>
                <a:lnTo>
                  <a:pt x="361" y="691"/>
                </a:lnTo>
                <a:lnTo>
                  <a:pt x="368" y="687"/>
                </a:lnTo>
                <a:lnTo>
                  <a:pt x="368" y="702"/>
                </a:lnTo>
                <a:lnTo>
                  <a:pt x="368" y="702"/>
                </a:lnTo>
                <a:lnTo>
                  <a:pt x="359" y="720"/>
                </a:lnTo>
                <a:lnTo>
                  <a:pt x="353" y="732"/>
                </a:lnTo>
                <a:lnTo>
                  <a:pt x="349" y="746"/>
                </a:lnTo>
                <a:lnTo>
                  <a:pt x="349" y="746"/>
                </a:lnTo>
                <a:lnTo>
                  <a:pt x="355" y="749"/>
                </a:lnTo>
                <a:lnTo>
                  <a:pt x="357" y="751"/>
                </a:lnTo>
                <a:lnTo>
                  <a:pt x="363" y="748"/>
                </a:lnTo>
                <a:lnTo>
                  <a:pt x="375" y="746"/>
                </a:lnTo>
                <a:lnTo>
                  <a:pt x="375" y="746"/>
                </a:lnTo>
                <a:lnTo>
                  <a:pt x="375" y="753"/>
                </a:lnTo>
                <a:lnTo>
                  <a:pt x="376" y="758"/>
                </a:lnTo>
                <a:lnTo>
                  <a:pt x="377" y="759"/>
                </a:lnTo>
                <a:lnTo>
                  <a:pt x="379" y="760"/>
                </a:lnTo>
                <a:lnTo>
                  <a:pt x="386" y="760"/>
                </a:lnTo>
                <a:lnTo>
                  <a:pt x="386" y="760"/>
                </a:lnTo>
                <a:lnTo>
                  <a:pt x="392" y="760"/>
                </a:lnTo>
                <a:lnTo>
                  <a:pt x="397" y="758"/>
                </a:lnTo>
                <a:lnTo>
                  <a:pt x="401" y="754"/>
                </a:lnTo>
                <a:lnTo>
                  <a:pt x="403" y="751"/>
                </a:lnTo>
                <a:lnTo>
                  <a:pt x="406" y="745"/>
                </a:lnTo>
                <a:lnTo>
                  <a:pt x="407" y="739"/>
                </a:lnTo>
                <a:lnTo>
                  <a:pt x="408" y="724"/>
                </a:lnTo>
                <a:lnTo>
                  <a:pt x="408" y="724"/>
                </a:lnTo>
                <a:lnTo>
                  <a:pt x="408" y="716"/>
                </a:lnTo>
                <a:lnTo>
                  <a:pt x="406" y="710"/>
                </a:lnTo>
                <a:lnTo>
                  <a:pt x="403" y="705"/>
                </a:lnTo>
                <a:lnTo>
                  <a:pt x="401" y="700"/>
                </a:lnTo>
                <a:lnTo>
                  <a:pt x="395" y="691"/>
                </a:lnTo>
                <a:lnTo>
                  <a:pt x="394" y="687"/>
                </a:lnTo>
                <a:lnTo>
                  <a:pt x="393" y="684"/>
                </a:lnTo>
                <a:lnTo>
                  <a:pt x="393" y="684"/>
                </a:lnTo>
                <a:lnTo>
                  <a:pt x="395" y="676"/>
                </a:lnTo>
                <a:lnTo>
                  <a:pt x="400" y="665"/>
                </a:lnTo>
                <a:lnTo>
                  <a:pt x="406" y="657"/>
                </a:lnTo>
                <a:lnTo>
                  <a:pt x="409" y="655"/>
                </a:lnTo>
                <a:lnTo>
                  <a:pt x="411" y="654"/>
                </a:lnTo>
                <a:lnTo>
                  <a:pt x="411" y="654"/>
                </a:lnTo>
                <a:lnTo>
                  <a:pt x="415" y="654"/>
                </a:lnTo>
                <a:lnTo>
                  <a:pt x="418" y="656"/>
                </a:lnTo>
                <a:lnTo>
                  <a:pt x="424" y="661"/>
                </a:lnTo>
                <a:lnTo>
                  <a:pt x="430" y="669"/>
                </a:lnTo>
                <a:lnTo>
                  <a:pt x="434" y="678"/>
                </a:lnTo>
                <a:lnTo>
                  <a:pt x="439" y="689"/>
                </a:lnTo>
                <a:lnTo>
                  <a:pt x="443" y="699"/>
                </a:lnTo>
                <a:lnTo>
                  <a:pt x="444" y="709"/>
                </a:lnTo>
                <a:lnTo>
                  <a:pt x="445" y="717"/>
                </a:lnTo>
                <a:lnTo>
                  <a:pt x="445" y="717"/>
                </a:lnTo>
                <a:lnTo>
                  <a:pt x="444" y="724"/>
                </a:lnTo>
                <a:lnTo>
                  <a:pt x="443" y="731"/>
                </a:lnTo>
                <a:lnTo>
                  <a:pt x="440" y="738"/>
                </a:lnTo>
                <a:lnTo>
                  <a:pt x="437" y="744"/>
                </a:lnTo>
                <a:lnTo>
                  <a:pt x="432" y="749"/>
                </a:lnTo>
                <a:lnTo>
                  <a:pt x="428" y="754"/>
                </a:lnTo>
                <a:lnTo>
                  <a:pt x="417" y="763"/>
                </a:lnTo>
                <a:lnTo>
                  <a:pt x="407" y="771"/>
                </a:lnTo>
                <a:lnTo>
                  <a:pt x="397" y="781"/>
                </a:lnTo>
                <a:lnTo>
                  <a:pt x="388" y="790"/>
                </a:lnTo>
                <a:lnTo>
                  <a:pt x="385" y="796"/>
                </a:lnTo>
                <a:lnTo>
                  <a:pt x="383" y="801"/>
                </a:lnTo>
                <a:lnTo>
                  <a:pt x="383" y="801"/>
                </a:lnTo>
                <a:lnTo>
                  <a:pt x="378" y="821"/>
                </a:lnTo>
                <a:lnTo>
                  <a:pt x="372" y="835"/>
                </a:lnTo>
                <a:lnTo>
                  <a:pt x="370" y="839"/>
                </a:lnTo>
                <a:lnTo>
                  <a:pt x="369" y="842"/>
                </a:lnTo>
                <a:lnTo>
                  <a:pt x="368" y="842"/>
                </a:lnTo>
                <a:lnTo>
                  <a:pt x="368" y="842"/>
                </a:lnTo>
                <a:lnTo>
                  <a:pt x="364" y="842"/>
                </a:lnTo>
                <a:lnTo>
                  <a:pt x="361" y="843"/>
                </a:lnTo>
                <a:lnTo>
                  <a:pt x="359" y="845"/>
                </a:lnTo>
                <a:lnTo>
                  <a:pt x="356" y="847"/>
                </a:lnTo>
                <a:lnTo>
                  <a:pt x="353" y="853"/>
                </a:lnTo>
                <a:lnTo>
                  <a:pt x="350" y="861"/>
                </a:lnTo>
                <a:lnTo>
                  <a:pt x="347" y="881"/>
                </a:lnTo>
                <a:lnTo>
                  <a:pt x="344" y="901"/>
                </a:lnTo>
                <a:lnTo>
                  <a:pt x="344" y="901"/>
                </a:lnTo>
                <a:lnTo>
                  <a:pt x="374" y="901"/>
                </a:lnTo>
                <a:lnTo>
                  <a:pt x="388" y="903"/>
                </a:lnTo>
                <a:lnTo>
                  <a:pt x="397" y="905"/>
                </a:lnTo>
                <a:lnTo>
                  <a:pt x="403" y="907"/>
                </a:lnTo>
                <a:lnTo>
                  <a:pt x="403" y="907"/>
                </a:lnTo>
                <a:lnTo>
                  <a:pt x="408" y="912"/>
                </a:lnTo>
                <a:lnTo>
                  <a:pt x="413" y="917"/>
                </a:lnTo>
                <a:lnTo>
                  <a:pt x="421" y="934"/>
                </a:lnTo>
                <a:lnTo>
                  <a:pt x="431" y="949"/>
                </a:lnTo>
                <a:lnTo>
                  <a:pt x="436" y="955"/>
                </a:lnTo>
                <a:lnTo>
                  <a:pt x="441" y="959"/>
                </a:lnTo>
                <a:lnTo>
                  <a:pt x="445" y="962"/>
                </a:lnTo>
                <a:lnTo>
                  <a:pt x="445" y="962"/>
                </a:lnTo>
                <a:lnTo>
                  <a:pt x="462" y="939"/>
                </a:lnTo>
                <a:lnTo>
                  <a:pt x="479" y="915"/>
                </a:lnTo>
                <a:lnTo>
                  <a:pt x="487" y="903"/>
                </a:lnTo>
                <a:lnTo>
                  <a:pt x="494" y="889"/>
                </a:lnTo>
                <a:lnTo>
                  <a:pt x="500" y="873"/>
                </a:lnTo>
                <a:lnTo>
                  <a:pt x="504" y="857"/>
                </a:lnTo>
                <a:lnTo>
                  <a:pt x="504" y="857"/>
                </a:lnTo>
                <a:lnTo>
                  <a:pt x="506" y="850"/>
                </a:lnTo>
                <a:lnTo>
                  <a:pt x="509" y="844"/>
                </a:lnTo>
                <a:lnTo>
                  <a:pt x="514" y="840"/>
                </a:lnTo>
                <a:lnTo>
                  <a:pt x="520" y="837"/>
                </a:lnTo>
                <a:lnTo>
                  <a:pt x="524" y="833"/>
                </a:lnTo>
                <a:lnTo>
                  <a:pt x="529" y="830"/>
                </a:lnTo>
                <a:lnTo>
                  <a:pt x="531" y="824"/>
                </a:lnTo>
                <a:lnTo>
                  <a:pt x="532" y="815"/>
                </a:lnTo>
                <a:lnTo>
                  <a:pt x="532" y="815"/>
                </a:lnTo>
                <a:lnTo>
                  <a:pt x="532" y="809"/>
                </a:lnTo>
                <a:lnTo>
                  <a:pt x="529" y="806"/>
                </a:lnTo>
                <a:lnTo>
                  <a:pt x="525" y="802"/>
                </a:lnTo>
                <a:lnTo>
                  <a:pt x="522" y="800"/>
                </a:lnTo>
                <a:lnTo>
                  <a:pt x="517" y="798"/>
                </a:lnTo>
                <a:lnTo>
                  <a:pt x="514" y="794"/>
                </a:lnTo>
                <a:lnTo>
                  <a:pt x="512" y="790"/>
                </a:lnTo>
                <a:lnTo>
                  <a:pt x="510" y="783"/>
                </a:lnTo>
                <a:lnTo>
                  <a:pt x="510" y="783"/>
                </a:lnTo>
                <a:lnTo>
                  <a:pt x="510" y="771"/>
                </a:lnTo>
                <a:lnTo>
                  <a:pt x="513" y="760"/>
                </a:lnTo>
                <a:lnTo>
                  <a:pt x="514" y="751"/>
                </a:lnTo>
                <a:lnTo>
                  <a:pt x="517" y="741"/>
                </a:lnTo>
                <a:lnTo>
                  <a:pt x="524" y="725"/>
                </a:lnTo>
                <a:lnTo>
                  <a:pt x="532" y="710"/>
                </a:lnTo>
                <a:lnTo>
                  <a:pt x="540" y="695"/>
                </a:lnTo>
                <a:lnTo>
                  <a:pt x="547" y="679"/>
                </a:lnTo>
                <a:lnTo>
                  <a:pt x="551" y="670"/>
                </a:lnTo>
                <a:lnTo>
                  <a:pt x="553" y="660"/>
                </a:lnTo>
                <a:lnTo>
                  <a:pt x="554" y="648"/>
                </a:lnTo>
                <a:lnTo>
                  <a:pt x="554" y="636"/>
                </a:lnTo>
                <a:lnTo>
                  <a:pt x="574" y="636"/>
                </a:lnTo>
                <a:lnTo>
                  <a:pt x="574" y="636"/>
                </a:lnTo>
                <a:lnTo>
                  <a:pt x="583" y="646"/>
                </a:lnTo>
                <a:lnTo>
                  <a:pt x="588" y="652"/>
                </a:lnTo>
                <a:lnTo>
                  <a:pt x="592" y="654"/>
                </a:lnTo>
                <a:lnTo>
                  <a:pt x="592" y="654"/>
                </a:lnTo>
                <a:lnTo>
                  <a:pt x="597" y="654"/>
                </a:lnTo>
                <a:lnTo>
                  <a:pt x="602" y="652"/>
                </a:lnTo>
                <a:lnTo>
                  <a:pt x="612" y="648"/>
                </a:lnTo>
                <a:lnTo>
                  <a:pt x="620" y="641"/>
                </a:lnTo>
                <a:lnTo>
                  <a:pt x="628" y="636"/>
                </a:lnTo>
                <a:lnTo>
                  <a:pt x="628" y="636"/>
                </a:lnTo>
                <a:lnTo>
                  <a:pt x="626" y="621"/>
                </a:lnTo>
                <a:lnTo>
                  <a:pt x="626" y="603"/>
                </a:lnTo>
                <a:lnTo>
                  <a:pt x="626" y="571"/>
                </a:lnTo>
                <a:lnTo>
                  <a:pt x="627" y="541"/>
                </a:lnTo>
                <a:lnTo>
                  <a:pt x="628" y="518"/>
                </a:lnTo>
                <a:lnTo>
                  <a:pt x="628" y="518"/>
                </a:lnTo>
                <a:lnTo>
                  <a:pt x="627" y="502"/>
                </a:lnTo>
                <a:lnTo>
                  <a:pt x="628" y="488"/>
                </a:lnTo>
                <a:lnTo>
                  <a:pt x="630" y="474"/>
                </a:lnTo>
                <a:lnTo>
                  <a:pt x="636" y="461"/>
                </a:lnTo>
                <a:lnTo>
                  <a:pt x="644" y="445"/>
                </a:lnTo>
                <a:lnTo>
                  <a:pt x="653" y="425"/>
                </a:lnTo>
                <a:lnTo>
                  <a:pt x="680" y="374"/>
                </a:lnTo>
                <a:lnTo>
                  <a:pt x="680" y="374"/>
                </a:lnTo>
                <a:lnTo>
                  <a:pt x="698" y="367"/>
                </a:lnTo>
                <a:lnTo>
                  <a:pt x="713" y="359"/>
                </a:lnTo>
                <a:lnTo>
                  <a:pt x="726" y="350"/>
                </a:lnTo>
                <a:lnTo>
                  <a:pt x="736" y="342"/>
                </a:lnTo>
                <a:lnTo>
                  <a:pt x="744" y="332"/>
                </a:lnTo>
                <a:lnTo>
                  <a:pt x="750" y="321"/>
                </a:lnTo>
                <a:lnTo>
                  <a:pt x="754" y="311"/>
                </a:lnTo>
                <a:lnTo>
                  <a:pt x="758" y="300"/>
                </a:lnTo>
                <a:lnTo>
                  <a:pt x="760" y="287"/>
                </a:lnTo>
                <a:lnTo>
                  <a:pt x="761" y="273"/>
                </a:lnTo>
                <a:lnTo>
                  <a:pt x="760" y="242"/>
                </a:lnTo>
                <a:lnTo>
                  <a:pt x="759" y="206"/>
                </a:lnTo>
                <a:lnTo>
                  <a:pt x="757" y="165"/>
                </a:lnTo>
                <a:lnTo>
                  <a:pt x="757" y="16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6" name="Скругленный прямоугольник 145"/>
          <p:cNvSpPr/>
          <p:nvPr/>
        </p:nvSpPr>
        <p:spPr>
          <a:xfrm>
            <a:off x="1619672" y="3573016"/>
            <a:ext cx="1151294" cy="442674"/>
          </a:xfrm>
          <a:prstGeom prst="roundRect">
            <a:avLst/>
          </a:prstGeom>
          <a:ln w="3175">
            <a:noFill/>
          </a:ln>
        </p:spPr>
        <p:txBody>
          <a:bodyPr wrap="none">
            <a:spAutoFit/>
          </a:bodyPr>
          <a:lstStyle/>
          <a:p>
            <a:pPr>
              <a:spcAft>
                <a:spcPct val="260000"/>
              </a:spcAft>
              <a:defRPr/>
            </a:pPr>
            <a:r>
              <a:rPr lang="ru-RU" sz="2000" b="1" dirty="0">
                <a:ln w="3175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C00000"/>
                </a:solidFill>
              </a:rPr>
              <a:t>Москва</a:t>
            </a:r>
          </a:p>
        </p:txBody>
      </p:sp>
      <p:sp>
        <p:nvSpPr>
          <p:cNvPr id="147" name="Солнце 146"/>
          <p:cNvSpPr/>
          <p:nvPr/>
        </p:nvSpPr>
        <p:spPr>
          <a:xfrm>
            <a:off x="1259632" y="3761656"/>
            <a:ext cx="216000" cy="216000"/>
          </a:xfrm>
          <a:prstGeom prst="sun">
            <a:avLst/>
          </a:prstGeom>
          <a:solidFill>
            <a:srgbClr val="FFC000"/>
          </a:solidFill>
          <a:ln w="9525">
            <a:noFill/>
          </a:ln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  <a:scene3d>
            <a:camera prst="orthographicFront"/>
            <a:lightRig rig="flat" dir="t">
              <a:rot lat="0" lon="0" rev="18900000"/>
            </a:lightRig>
          </a:scene3d>
          <a:sp3d>
            <a:bevelT w="57150" h="381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2" name="Freeform 80"/>
          <p:cNvSpPr>
            <a:spLocks/>
          </p:cNvSpPr>
          <p:nvPr/>
        </p:nvSpPr>
        <p:spPr bwMode="auto">
          <a:xfrm>
            <a:off x="995363" y="4289425"/>
            <a:ext cx="236537" cy="247650"/>
          </a:xfrm>
          <a:custGeom>
            <a:avLst/>
            <a:gdLst/>
            <a:ahLst/>
            <a:cxnLst>
              <a:cxn ang="0">
                <a:pos x="116" y="9"/>
              </a:cxn>
              <a:cxn ang="0">
                <a:pos x="131" y="33"/>
              </a:cxn>
              <a:cxn ang="0">
                <a:pos x="148" y="44"/>
              </a:cxn>
              <a:cxn ang="0">
                <a:pos x="173" y="44"/>
              </a:cxn>
              <a:cxn ang="0">
                <a:pos x="174" y="31"/>
              </a:cxn>
              <a:cxn ang="0">
                <a:pos x="181" y="17"/>
              </a:cxn>
              <a:cxn ang="0">
                <a:pos x="192" y="10"/>
              </a:cxn>
              <a:cxn ang="0">
                <a:pos x="235" y="7"/>
              </a:cxn>
              <a:cxn ang="0">
                <a:pos x="228" y="29"/>
              </a:cxn>
              <a:cxn ang="0">
                <a:pos x="228" y="42"/>
              </a:cxn>
              <a:cxn ang="0">
                <a:pos x="234" y="53"/>
              </a:cxn>
              <a:cxn ang="0">
                <a:pos x="245" y="59"/>
              </a:cxn>
              <a:cxn ang="0">
                <a:pos x="275" y="59"/>
              </a:cxn>
              <a:cxn ang="0">
                <a:pos x="281" y="60"/>
              </a:cxn>
              <a:cxn ang="0">
                <a:pos x="288" y="69"/>
              </a:cxn>
              <a:cxn ang="0">
                <a:pos x="289" y="101"/>
              </a:cxn>
              <a:cxn ang="0">
                <a:pos x="268" y="124"/>
              </a:cxn>
              <a:cxn ang="0">
                <a:pos x="233" y="153"/>
              </a:cxn>
              <a:cxn ang="0">
                <a:pos x="219" y="174"/>
              </a:cxn>
              <a:cxn ang="0">
                <a:pos x="217" y="183"/>
              </a:cxn>
              <a:cxn ang="0">
                <a:pos x="217" y="256"/>
              </a:cxn>
              <a:cxn ang="0">
                <a:pos x="209" y="275"/>
              </a:cxn>
              <a:cxn ang="0">
                <a:pos x="183" y="283"/>
              </a:cxn>
              <a:cxn ang="0">
                <a:pos x="162" y="279"/>
              </a:cxn>
              <a:cxn ang="0">
                <a:pos x="133" y="260"/>
              </a:cxn>
              <a:cxn ang="0">
                <a:pos x="114" y="235"/>
              </a:cxn>
              <a:cxn ang="0">
                <a:pos x="112" y="220"/>
              </a:cxn>
              <a:cxn ang="0">
                <a:pos x="112" y="199"/>
              </a:cxn>
              <a:cxn ang="0">
                <a:pos x="99" y="191"/>
              </a:cxn>
              <a:cxn ang="0">
                <a:pos x="77" y="170"/>
              </a:cxn>
              <a:cxn ang="0">
                <a:pos x="62" y="157"/>
              </a:cxn>
              <a:cxn ang="0">
                <a:pos x="40" y="153"/>
              </a:cxn>
              <a:cxn ang="0">
                <a:pos x="16" y="150"/>
              </a:cxn>
              <a:cxn ang="0">
                <a:pos x="7" y="143"/>
              </a:cxn>
              <a:cxn ang="0">
                <a:pos x="0" y="127"/>
              </a:cxn>
              <a:cxn ang="0">
                <a:pos x="1" y="112"/>
              </a:cxn>
              <a:cxn ang="0">
                <a:pos x="9" y="100"/>
              </a:cxn>
              <a:cxn ang="0">
                <a:pos x="30" y="97"/>
              </a:cxn>
              <a:cxn ang="0">
                <a:pos x="51" y="92"/>
              </a:cxn>
              <a:cxn ang="0">
                <a:pos x="61" y="81"/>
              </a:cxn>
              <a:cxn ang="0">
                <a:pos x="66" y="60"/>
              </a:cxn>
              <a:cxn ang="0">
                <a:pos x="80" y="30"/>
              </a:cxn>
              <a:cxn ang="0">
                <a:pos x="106" y="0"/>
              </a:cxn>
              <a:cxn ang="0">
                <a:pos x="114" y="4"/>
              </a:cxn>
            </a:cxnLst>
            <a:rect l="0" t="0" r="r" b="b"/>
            <a:pathLst>
              <a:path w="290" h="283">
                <a:moveTo>
                  <a:pt x="114" y="4"/>
                </a:moveTo>
                <a:lnTo>
                  <a:pt x="114" y="4"/>
                </a:lnTo>
                <a:lnTo>
                  <a:pt x="116" y="9"/>
                </a:lnTo>
                <a:lnTo>
                  <a:pt x="119" y="15"/>
                </a:lnTo>
                <a:lnTo>
                  <a:pt x="127" y="28"/>
                </a:lnTo>
                <a:lnTo>
                  <a:pt x="131" y="33"/>
                </a:lnTo>
                <a:lnTo>
                  <a:pt x="136" y="38"/>
                </a:lnTo>
                <a:lnTo>
                  <a:pt x="142" y="42"/>
                </a:lnTo>
                <a:lnTo>
                  <a:pt x="148" y="44"/>
                </a:lnTo>
                <a:lnTo>
                  <a:pt x="148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37"/>
                </a:lnTo>
                <a:lnTo>
                  <a:pt x="174" y="31"/>
                </a:lnTo>
                <a:lnTo>
                  <a:pt x="176" y="25"/>
                </a:lnTo>
                <a:lnTo>
                  <a:pt x="179" y="21"/>
                </a:lnTo>
                <a:lnTo>
                  <a:pt x="181" y="17"/>
                </a:lnTo>
                <a:lnTo>
                  <a:pt x="184" y="14"/>
                </a:lnTo>
                <a:lnTo>
                  <a:pt x="189" y="12"/>
                </a:lnTo>
                <a:lnTo>
                  <a:pt x="192" y="10"/>
                </a:lnTo>
                <a:lnTo>
                  <a:pt x="203" y="8"/>
                </a:lnTo>
                <a:lnTo>
                  <a:pt x="213" y="7"/>
                </a:lnTo>
                <a:lnTo>
                  <a:pt x="235" y="7"/>
                </a:lnTo>
                <a:lnTo>
                  <a:pt x="235" y="7"/>
                </a:lnTo>
                <a:lnTo>
                  <a:pt x="230" y="22"/>
                </a:lnTo>
                <a:lnTo>
                  <a:pt x="228" y="29"/>
                </a:lnTo>
                <a:lnTo>
                  <a:pt x="228" y="37"/>
                </a:lnTo>
                <a:lnTo>
                  <a:pt x="228" y="37"/>
                </a:lnTo>
                <a:lnTo>
                  <a:pt x="228" y="42"/>
                </a:lnTo>
                <a:lnTo>
                  <a:pt x="229" y="46"/>
                </a:lnTo>
                <a:lnTo>
                  <a:pt x="232" y="50"/>
                </a:lnTo>
                <a:lnTo>
                  <a:pt x="234" y="53"/>
                </a:lnTo>
                <a:lnTo>
                  <a:pt x="236" y="55"/>
                </a:lnTo>
                <a:lnTo>
                  <a:pt x="241" y="58"/>
                </a:lnTo>
                <a:lnTo>
                  <a:pt x="245" y="59"/>
                </a:lnTo>
                <a:lnTo>
                  <a:pt x="250" y="59"/>
                </a:lnTo>
                <a:lnTo>
                  <a:pt x="250" y="59"/>
                </a:lnTo>
                <a:lnTo>
                  <a:pt x="275" y="59"/>
                </a:lnTo>
                <a:lnTo>
                  <a:pt x="275" y="59"/>
                </a:lnTo>
                <a:lnTo>
                  <a:pt x="279" y="59"/>
                </a:lnTo>
                <a:lnTo>
                  <a:pt x="281" y="60"/>
                </a:lnTo>
                <a:lnTo>
                  <a:pt x="283" y="61"/>
                </a:lnTo>
                <a:lnTo>
                  <a:pt x="286" y="63"/>
                </a:lnTo>
                <a:lnTo>
                  <a:pt x="288" y="69"/>
                </a:lnTo>
                <a:lnTo>
                  <a:pt x="289" y="76"/>
                </a:lnTo>
                <a:lnTo>
                  <a:pt x="289" y="92"/>
                </a:lnTo>
                <a:lnTo>
                  <a:pt x="289" y="101"/>
                </a:lnTo>
                <a:lnTo>
                  <a:pt x="290" y="109"/>
                </a:lnTo>
                <a:lnTo>
                  <a:pt x="290" y="109"/>
                </a:lnTo>
                <a:lnTo>
                  <a:pt x="268" y="124"/>
                </a:lnTo>
                <a:lnTo>
                  <a:pt x="256" y="132"/>
                </a:lnTo>
                <a:lnTo>
                  <a:pt x="244" y="143"/>
                </a:lnTo>
                <a:lnTo>
                  <a:pt x="233" y="153"/>
                </a:lnTo>
                <a:lnTo>
                  <a:pt x="225" y="163"/>
                </a:lnTo>
                <a:lnTo>
                  <a:pt x="221" y="168"/>
                </a:lnTo>
                <a:lnTo>
                  <a:pt x="219" y="174"/>
                </a:lnTo>
                <a:lnTo>
                  <a:pt x="217" y="178"/>
                </a:lnTo>
                <a:lnTo>
                  <a:pt x="217" y="183"/>
                </a:lnTo>
                <a:lnTo>
                  <a:pt x="217" y="183"/>
                </a:lnTo>
                <a:lnTo>
                  <a:pt x="217" y="235"/>
                </a:lnTo>
                <a:lnTo>
                  <a:pt x="217" y="235"/>
                </a:lnTo>
                <a:lnTo>
                  <a:pt x="217" y="256"/>
                </a:lnTo>
                <a:lnTo>
                  <a:pt x="214" y="264"/>
                </a:lnTo>
                <a:lnTo>
                  <a:pt x="212" y="271"/>
                </a:lnTo>
                <a:lnTo>
                  <a:pt x="209" y="275"/>
                </a:lnTo>
                <a:lnTo>
                  <a:pt x="203" y="280"/>
                </a:lnTo>
                <a:lnTo>
                  <a:pt x="195" y="282"/>
                </a:lnTo>
                <a:lnTo>
                  <a:pt x="183" y="283"/>
                </a:lnTo>
                <a:lnTo>
                  <a:pt x="183" y="283"/>
                </a:lnTo>
                <a:lnTo>
                  <a:pt x="174" y="282"/>
                </a:lnTo>
                <a:lnTo>
                  <a:pt x="162" y="279"/>
                </a:lnTo>
                <a:lnTo>
                  <a:pt x="152" y="274"/>
                </a:lnTo>
                <a:lnTo>
                  <a:pt x="142" y="267"/>
                </a:lnTo>
                <a:lnTo>
                  <a:pt x="133" y="260"/>
                </a:lnTo>
                <a:lnTo>
                  <a:pt x="125" y="252"/>
                </a:lnTo>
                <a:lnTo>
                  <a:pt x="119" y="243"/>
                </a:lnTo>
                <a:lnTo>
                  <a:pt x="114" y="235"/>
                </a:lnTo>
                <a:lnTo>
                  <a:pt x="114" y="235"/>
                </a:lnTo>
                <a:lnTo>
                  <a:pt x="113" y="227"/>
                </a:lnTo>
                <a:lnTo>
                  <a:pt x="112" y="220"/>
                </a:lnTo>
                <a:lnTo>
                  <a:pt x="113" y="208"/>
                </a:lnTo>
                <a:lnTo>
                  <a:pt x="113" y="204"/>
                </a:lnTo>
                <a:lnTo>
                  <a:pt x="112" y="199"/>
                </a:lnTo>
                <a:lnTo>
                  <a:pt x="107" y="195"/>
                </a:lnTo>
                <a:lnTo>
                  <a:pt x="99" y="191"/>
                </a:lnTo>
                <a:lnTo>
                  <a:pt x="99" y="191"/>
                </a:lnTo>
                <a:lnTo>
                  <a:pt x="93" y="188"/>
                </a:lnTo>
                <a:lnTo>
                  <a:pt x="88" y="183"/>
                </a:lnTo>
                <a:lnTo>
                  <a:pt x="77" y="170"/>
                </a:lnTo>
                <a:lnTo>
                  <a:pt x="73" y="165"/>
                </a:lnTo>
                <a:lnTo>
                  <a:pt x="67" y="160"/>
                </a:lnTo>
                <a:lnTo>
                  <a:pt x="62" y="157"/>
                </a:lnTo>
                <a:lnTo>
                  <a:pt x="55" y="154"/>
                </a:lnTo>
                <a:lnTo>
                  <a:pt x="55" y="154"/>
                </a:lnTo>
                <a:lnTo>
                  <a:pt x="40" y="153"/>
                </a:lnTo>
                <a:lnTo>
                  <a:pt x="27" y="152"/>
                </a:lnTo>
                <a:lnTo>
                  <a:pt x="22" y="152"/>
                </a:lnTo>
                <a:lnTo>
                  <a:pt x="16" y="150"/>
                </a:lnTo>
                <a:lnTo>
                  <a:pt x="12" y="147"/>
                </a:lnTo>
                <a:lnTo>
                  <a:pt x="7" y="143"/>
                </a:lnTo>
                <a:lnTo>
                  <a:pt x="7" y="143"/>
                </a:lnTo>
                <a:lnTo>
                  <a:pt x="4" y="137"/>
                </a:lnTo>
                <a:lnTo>
                  <a:pt x="1" y="131"/>
                </a:lnTo>
                <a:lnTo>
                  <a:pt x="0" y="127"/>
                </a:lnTo>
                <a:lnTo>
                  <a:pt x="0" y="117"/>
                </a:lnTo>
                <a:lnTo>
                  <a:pt x="0" y="117"/>
                </a:lnTo>
                <a:lnTo>
                  <a:pt x="1" y="112"/>
                </a:lnTo>
                <a:lnTo>
                  <a:pt x="3" y="107"/>
                </a:lnTo>
                <a:lnTo>
                  <a:pt x="6" y="104"/>
                </a:lnTo>
                <a:lnTo>
                  <a:pt x="9" y="100"/>
                </a:lnTo>
                <a:lnTo>
                  <a:pt x="14" y="99"/>
                </a:lnTo>
                <a:lnTo>
                  <a:pt x="19" y="98"/>
                </a:lnTo>
                <a:lnTo>
                  <a:pt x="30" y="97"/>
                </a:lnTo>
                <a:lnTo>
                  <a:pt x="42" y="96"/>
                </a:lnTo>
                <a:lnTo>
                  <a:pt x="46" y="94"/>
                </a:lnTo>
                <a:lnTo>
                  <a:pt x="51" y="92"/>
                </a:lnTo>
                <a:lnTo>
                  <a:pt x="55" y="90"/>
                </a:lnTo>
                <a:lnTo>
                  <a:pt x="59" y="85"/>
                </a:lnTo>
                <a:lnTo>
                  <a:pt x="61" y="81"/>
                </a:lnTo>
                <a:lnTo>
                  <a:pt x="62" y="74"/>
                </a:lnTo>
                <a:lnTo>
                  <a:pt x="62" y="74"/>
                </a:lnTo>
                <a:lnTo>
                  <a:pt x="66" y="60"/>
                </a:lnTo>
                <a:lnTo>
                  <a:pt x="69" y="48"/>
                </a:lnTo>
                <a:lnTo>
                  <a:pt x="74" y="39"/>
                </a:lnTo>
                <a:lnTo>
                  <a:pt x="80" y="30"/>
                </a:lnTo>
                <a:lnTo>
                  <a:pt x="85" y="22"/>
                </a:lnTo>
                <a:lnTo>
                  <a:pt x="91" y="14"/>
                </a:lnTo>
                <a:lnTo>
                  <a:pt x="106" y="0"/>
                </a:lnTo>
                <a:lnTo>
                  <a:pt x="106" y="0"/>
                </a:lnTo>
                <a:lnTo>
                  <a:pt x="114" y="4"/>
                </a:lnTo>
                <a:lnTo>
                  <a:pt x="114" y="4"/>
                </a:lnTo>
                <a:close/>
              </a:path>
            </a:pathLst>
          </a:custGeom>
          <a:solidFill>
            <a:srgbClr val="FFC0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3" name="Freeform 117"/>
          <p:cNvSpPr>
            <a:spLocks/>
          </p:cNvSpPr>
          <p:nvPr/>
        </p:nvSpPr>
        <p:spPr bwMode="auto">
          <a:xfrm>
            <a:off x="1716088" y="4476750"/>
            <a:ext cx="485775" cy="442913"/>
          </a:xfrm>
          <a:custGeom>
            <a:avLst/>
            <a:gdLst/>
            <a:ahLst/>
            <a:cxnLst>
              <a:cxn ang="0">
                <a:pos x="347" y="19"/>
              </a:cxn>
              <a:cxn ang="0">
                <a:pos x="331" y="5"/>
              </a:cxn>
              <a:cxn ang="0">
                <a:pos x="311" y="14"/>
              </a:cxn>
              <a:cxn ang="0">
                <a:pos x="292" y="7"/>
              </a:cxn>
              <a:cxn ang="0">
                <a:pos x="265" y="2"/>
              </a:cxn>
              <a:cxn ang="0">
                <a:pos x="237" y="19"/>
              </a:cxn>
              <a:cxn ang="0">
                <a:pos x="203" y="20"/>
              </a:cxn>
              <a:cxn ang="0">
                <a:pos x="169" y="27"/>
              </a:cxn>
              <a:cxn ang="0">
                <a:pos x="109" y="67"/>
              </a:cxn>
              <a:cxn ang="0">
                <a:pos x="107" y="103"/>
              </a:cxn>
              <a:cxn ang="0">
                <a:pos x="94" y="120"/>
              </a:cxn>
              <a:cxn ang="0">
                <a:pos x="68" y="125"/>
              </a:cxn>
              <a:cxn ang="0">
                <a:pos x="40" y="103"/>
              </a:cxn>
              <a:cxn ang="0">
                <a:pos x="9" y="120"/>
              </a:cxn>
              <a:cxn ang="0">
                <a:pos x="18" y="147"/>
              </a:cxn>
              <a:cxn ang="0">
                <a:pos x="48" y="152"/>
              </a:cxn>
              <a:cxn ang="0">
                <a:pos x="85" y="155"/>
              </a:cxn>
              <a:cxn ang="0">
                <a:pos x="104" y="195"/>
              </a:cxn>
              <a:cxn ang="0">
                <a:pos x="120" y="203"/>
              </a:cxn>
              <a:cxn ang="0">
                <a:pos x="172" y="200"/>
              </a:cxn>
              <a:cxn ang="0">
                <a:pos x="179" y="228"/>
              </a:cxn>
              <a:cxn ang="0">
                <a:pos x="198" y="282"/>
              </a:cxn>
              <a:cxn ang="0">
                <a:pos x="237" y="326"/>
              </a:cxn>
              <a:cxn ang="0">
                <a:pos x="271" y="333"/>
              </a:cxn>
              <a:cxn ang="0">
                <a:pos x="290" y="318"/>
              </a:cxn>
              <a:cxn ang="0">
                <a:pos x="332" y="365"/>
              </a:cxn>
              <a:cxn ang="0">
                <a:pos x="367" y="412"/>
              </a:cxn>
              <a:cxn ang="0">
                <a:pos x="398" y="432"/>
              </a:cxn>
              <a:cxn ang="0">
                <a:pos x="393" y="450"/>
              </a:cxn>
              <a:cxn ang="0">
                <a:pos x="386" y="473"/>
              </a:cxn>
              <a:cxn ang="0">
                <a:pos x="407" y="501"/>
              </a:cxn>
              <a:cxn ang="0">
                <a:pos x="422" y="476"/>
              </a:cxn>
              <a:cxn ang="0">
                <a:pos x="442" y="449"/>
              </a:cxn>
              <a:cxn ang="0">
                <a:pos x="488" y="407"/>
              </a:cxn>
              <a:cxn ang="0">
                <a:pos x="492" y="380"/>
              </a:cxn>
              <a:cxn ang="0">
                <a:pos x="477" y="346"/>
              </a:cxn>
              <a:cxn ang="0">
                <a:pos x="549" y="339"/>
              </a:cxn>
              <a:cxn ang="0">
                <a:pos x="591" y="319"/>
              </a:cxn>
              <a:cxn ang="0">
                <a:pos x="591" y="295"/>
              </a:cxn>
              <a:cxn ang="0">
                <a:pos x="573" y="264"/>
              </a:cxn>
              <a:cxn ang="0">
                <a:pos x="555" y="258"/>
              </a:cxn>
              <a:cxn ang="0">
                <a:pos x="547" y="240"/>
              </a:cxn>
              <a:cxn ang="0">
                <a:pos x="577" y="223"/>
              </a:cxn>
              <a:cxn ang="0">
                <a:pos x="547" y="210"/>
              </a:cxn>
              <a:cxn ang="0">
                <a:pos x="558" y="185"/>
              </a:cxn>
              <a:cxn ang="0">
                <a:pos x="544" y="155"/>
              </a:cxn>
              <a:cxn ang="0">
                <a:pos x="522" y="170"/>
              </a:cxn>
              <a:cxn ang="0">
                <a:pos x="529" y="191"/>
              </a:cxn>
              <a:cxn ang="0">
                <a:pos x="499" y="196"/>
              </a:cxn>
              <a:cxn ang="0">
                <a:pos x="462" y="191"/>
              </a:cxn>
              <a:cxn ang="0">
                <a:pos x="428" y="174"/>
              </a:cxn>
              <a:cxn ang="0">
                <a:pos x="423" y="156"/>
              </a:cxn>
              <a:cxn ang="0">
                <a:pos x="424" y="145"/>
              </a:cxn>
              <a:cxn ang="0">
                <a:pos x="389" y="95"/>
              </a:cxn>
              <a:cxn ang="0">
                <a:pos x="367" y="29"/>
              </a:cxn>
            </a:cxnLst>
            <a:rect l="0" t="0" r="r" b="b"/>
            <a:pathLst>
              <a:path w="595" h="508">
                <a:moveTo>
                  <a:pt x="367" y="22"/>
                </a:moveTo>
                <a:lnTo>
                  <a:pt x="353" y="22"/>
                </a:lnTo>
                <a:lnTo>
                  <a:pt x="353" y="22"/>
                </a:lnTo>
                <a:lnTo>
                  <a:pt x="353" y="22"/>
                </a:lnTo>
                <a:lnTo>
                  <a:pt x="347" y="19"/>
                </a:lnTo>
                <a:lnTo>
                  <a:pt x="341" y="12"/>
                </a:lnTo>
                <a:lnTo>
                  <a:pt x="336" y="7"/>
                </a:lnTo>
                <a:lnTo>
                  <a:pt x="333" y="5"/>
                </a:lnTo>
                <a:lnTo>
                  <a:pt x="331" y="5"/>
                </a:lnTo>
                <a:lnTo>
                  <a:pt x="331" y="5"/>
                </a:lnTo>
                <a:lnTo>
                  <a:pt x="326" y="5"/>
                </a:lnTo>
                <a:lnTo>
                  <a:pt x="324" y="6"/>
                </a:lnTo>
                <a:lnTo>
                  <a:pt x="320" y="10"/>
                </a:lnTo>
                <a:lnTo>
                  <a:pt x="315" y="13"/>
                </a:lnTo>
                <a:lnTo>
                  <a:pt x="311" y="14"/>
                </a:lnTo>
                <a:lnTo>
                  <a:pt x="308" y="15"/>
                </a:lnTo>
                <a:lnTo>
                  <a:pt x="308" y="15"/>
                </a:lnTo>
                <a:lnTo>
                  <a:pt x="305" y="14"/>
                </a:lnTo>
                <a:lnTo>
                  <a:pt x="300" y="13"/>
                </a:lnTo>
                <a:lnTo>
                  <a:pt x="292" y="7"/>
                </a:lnTo>
                <a:lnTo>
                  <a:pt x="283" y="3"/>
                </a:lnTo>
                <a:lnTo>
                  <a:pt x="277" y="0"/>
                </a:lnTo>
                <a:lnTo>
                  <a:pt x="272" y="0"/>
                </a:lnTo>
                <a:lnTo>
                  <a:pt x="272" y="0"/>
                </a:lnTo>
                <a:lnTo>
                  <a:pt x="265" y="2"/>
                </a:lnTo>
                <a:lnTo>
                  <a:pt x="259" y="4"/>
                </a:lnTo>
                <a:lnTo>
                  <a:pt x="253" y="7"/>
                </a:lnTo>
                <a:lnTo>
                  <a:pt x="248" y="12"/>
                </a:lnTo>
                <a:lnTo>
                  <a:pt x="242" y="15"/>
                </a:lnTo>
                <a:lnTo>
                  <a:pt x="237" y="19"/>
                </a:lnTo>
                <a:lnTo>
                  <a:pt x="230" y="21"/>
                </a:lnTo>
                <a:lnTo>
                  <a:pt x="224" y="22"/>
                </a:lnTo>
                <a:lnTo>
                  <a:pt x="224" y="22"/>
                </a:lnTo>
                <a:lnTo>
                  <a:pt x="211" y="22"/>
                </a:lnTo>
                <a:lnTo>
                  <a:pt x="203" y="20"/>
                </a:lnTo>
                <a:lnTo>
                  <a:pt x="196" y="18"/>
                </a:lnTo>
                <a:lnTo>
                  <a:pt x="191" y="15"/>
                </a:lnTo>
                <a:lnTo>
                  <a:pt x="191" y="15"/>
                </a:lnTo>
                <a:lnTo>
                  <a:pt x="180" y="21"/>
                </a:lnTo>
                <a:lnTo>
                  <a:pt x="169" y="27"/>
                </a:lnTo>
                <a:lnTo>
                  <a:pt x="140" y="41"/>
                </a:lnTo>
                <a:lnTo>
                  <a:pt x="127" y="49"/>
                </a:lnTo>
                <a:lnTo>
                  <a:pt x="117" y="58"/>
                </a:lnTo>
                <a:lnTo>
                  <a:pt x="112" y="63"/>
                </a:lnTo>
                <a:lnTo>
                  <a:pt x="109" y="67"/>
                </a:lnTo>
                <a:lnTo>
                  <a:pt x="108" y="73"/>
                </a:lnTo>
                <a:lnTo>
                  <a:pt x="107" y="78"/>
                </a:lnTo>
                <a:lnTo>
                  <a:pt x="107" y="78"/>
                </a:lnTo>
                <a:lnTo>
                  <a:pt x="107" y="103"/>
                </a:lnTo>
                <a:lnTo>
                  <a:pt x="107" y="103"/>
                </a:lnTo>
                <a:lnTo>
                  <a:pt x="107" y="106"/>
                </a:lnTo>
                <a:lnTo>
                  <a:pt x="104" y="110"/>
                </a:lnTo>
                <a:lnTo>
                  <a:pt x="102" y="113"/>
                </a:lnTo>
                <a:lnTo>
                  <a:pt x="99" y="118"/>
                </a:lnTo>
                <a:lnTo>
                  <a:pt x="94" y="120"/>
                </a:lnTo>
                <a:lnTo>
                  <a:pt x="88" y="124"/>
                </a:lnTo>
                <a:lnTo>
                  <a:pt x="81" y="125"/>
                </a:lnTo>
                <a:lnTo>
                  <a:pt x="73" y="126"/>
                </a:lnTo>
                <a:lnTo>
                  <a:pt x="73" y="126"/>
                </a:lnTo>
                <a:lnTo>
                  <a:pt x="68" y="125"/>
                </a:lnTo>
                <a:lnTo>
                  <a:pt x="63" y="122"/>
                </a:lnTo>
                <a:lnTo>
                  <a:pt x="58" y="120"/>
                </a:lnTo>
                <a:lnTo>
                  <a:pt x="54" y="116"/>
                </a:lnTo>
                <a:lnTo>
                  <a:pt x="47" y="109"/>
                </a:lnTo>
                <a:lnTo>
                  <a:pt x="40" y="103"/>
                </a:lnTo>
                <a:lnTo>
                  <a:pt x="40" y="103"/>
                </a:lnTo>
                <a:lnTo>
                  <a:pt x="34" y="107"/>
                </a:lnTo>
                <a:lnTo>
                  <a:pt x="30" y="110"/>
                </a:lnTo>
                <a:lnTo>
                  <a:pt x="18" y="114"/>
                </a:lnTo>
                <a:lnTo>
                  <a:pt x="9" y="120"/>
                </a:lnTo>
                <a:lnTo>
                  <a:pt x="4" y="125"/>
                </a:lnTo>
                <a:lnTo>
                  <a:pt x="0" y="129"/>
                </a:lnTo>
                <a:lnTo>
                  <a:pt x="0" y="129"/>
                </a:lnTo>
                <a:lnTo>
                  <a:pt x="13" y="142"/>
                </a:lnTo>
                <a:lnTo>
                  <a:pt x="18" y="147"/>
                </a:lnTo>
                <a:lnTo>
                  <a:pt x="22" y="148"/>
                </a:lnTo>
                <a:lnTo>
                  <a:pt x="22" y="148"/>
                </a:lnTo>
                <a:lnTo>
                  <a:pt x="32" y="150"/>
                </a:lnTo>
                <a:lnTo>
                  <a:pt x="40" y="152"/>
                </a:lnTo>
                <a:lnTo>
                  <a:pt x="48" y="152"/>
                </a:lnTo>
                <a:lnTo>
                  <a:pt x="56" y="152"/>
                </a:lnTo>
                <a:lnTo>
                  <a:pt x="71" y="152"/>
                </a:lnTo>
                <a:lnTo>
                  <a:pt x="78" y="152"/>
                </a:lnTo>
                <a:lnTo>
                  <a:pt x="85" y="155"/>
                </a:lnTo>
                <a:lnTo>
                  <a:pt x="85" y="155"/>
                </a:lnTo>
                <a:lnTo>
                  <a:pt x="89" y="160"/>
                </a:lnTo>
                <a:lnTo>
                  <a:pt x="92" y="166"/>
                </a:lnTo>
                <a:lnTo>
                  <a:pt x="97" y="181"/>
                </a:lnTo>
                <a:lnTo>
                  <a:pt x="101" y="189"/>
                </a:lnTo>
                <a:lnTo>
                  <a:pt x="104" y="195"/>
                </a:lnTo>
                <a:lnTo>
                  <a:pt x="108" y="198"/>
                </a:lnTo>
                <a:lnTo>
                  <a:pt x="111" y="200"/>
                </a:lnTo>
                <a:lnTo>
                  <a:pt x="116" y="202"/>
                </a:lnTo>
                <a:lnTo>
                  <a:pt x="120" y="203"/>
                </a:lnTo>
                <a:lnTo>
                  <a:pt x="120" y="203"/>
                </a:lnTo>
                <a:lnTo>
                  <a:pt x="133" y="202"/>
                </a:lnTo>
                <a:lnTo>
                  <a:pt x="146" y="201"/>
                </a:lnTo>
                <a:lnTo>
                  <a:pt x="164" y="200"/>
                </a:lnTo>
                <a:lnTo>
                  <a:pt x="164" y="200"/>
                </a:lnTo>
                <a:lnTo>
                  <a:pt x="172" y="200"/>
                </a:lnTo>
                <a:lnTo>
                  <a:pt x="176" y="202"/>
                </a:lnTo>
                <a:lnTo>
                  <a:pt x="178" y="205"/>
                </a:lnTo>
                <a:lnTo>
                  <a:pt x="179" y="211"/>
                </a:lnTo>
                <a:lnTo>
                  <a:pt x="179" y="223"/>
                </a:lnTo>
                <a:lnTo>
                  <a:pt x="179" y="228"/>
                </a:lnTo>
                <a:lnTo>
                  <a:pt x="179" y="235"/>
                </a:lnTo>
                <a:lnTo>
                  <a:pt x="179" y="235"/>
                </a:lnTo>
                <a:lnTo>
                  <a:pt x="184" y="250"/>
                </a:lnTo>
                <a:lnTo>
                  <a:pt x="190" y="266"/>
                </a:lnTo>
                <a:lnTo>
                  <a:pt x="198" y="282"/>
                </a:lnTo>
                <a:lnTo>
                  <a:pt x="207" y="297"/>
                </a:lnTo>
                <a:lnTo>
                  <a:pt x="218" y="311"/>
                </a:lnTo>
                <a:lnTo>
                  <a:pt x="224" y="317"/>
                </a:lnTo>
                <a:lnTo>
                  <a:pt x="231" y="321"/>
                </a:lnTo>
                <a:lnTo>
                  <a:pt x="237" y="326"/>
                </a:lnTo>
                <a:lnTo>
                  <a:pt x="244" y="328"/>
                </a:lnTo>
                <a:lnTo>
                  <a:pt x="251" y="331"/>
                </a:lnTo>
                <a:lnTo>
                  <a:pt x="257" y="332"/>
                </a:lnTo>
                <a:lnTo>
                  <a:pt x="257" y="332"/>
                </a:lnTo>
                <a:lnTo>
                  <a:pt x="271" y="333"/>
                </a:lnTo>
                <a:lnTo>
                  <a:pt x="286" y="335"/>
                </a:lnTo>
                <a:lnTo>
                  <a:pt x="286" y="335"/>
                </a:lnTo>
                <a:lnTo>
                  <a:pt x="287" y="325"/>
                </a:lnTo>
                <a:lnTo>
                  <a:pt x="288" y="321"/>
                </a:lnTo>
                <a:lnTo>
                  <a:pt x="290" y="318"/>
                </a:lnTo>
                <a:lnTo>
                  <a:pt x="293" y="315"/>
                </a:lnTo>
                <a:lnTo>
                  <a:pt x="295" y="312"/>
                </a:lnTo>
                <a:lnTo>
                  <a:pt x="305" y="309"/>
                </a:lnTo>
                <a:lnTo>
                  <a:pt x="305" y="309"/>
                </a:lnTo>
                <a:lnTo>
                  <a:pt x="332" y="365"/>
                </a:lnTo>
                <a:lnTo>
                  <a:pt x="346" y="391"/>
                </a:lnTo>
                <a:lnTo>
                  <a:pt x="353" y="402"/>
                </a:lnTo>
                <a:lnTo>
                  <a:pt x="360" y="412"/>
                </a:lnTo>
                <a:lnTo>
                  <a:pt x="360" y="412"/>
                </a:lnTo>
                <a:lnTo>
                  <a:pt x="367" y="412"/>
                </a:lnTo>
                <a:lnTo>
                  <a:pt x="372" y="415"/>
                </a:lnTo>
                <a:lnTo>
                  <a:pt x="377" y="418"/>
                </a:lnTo>
                <a:lnTo>
                  <a:pt x="382" y="422"/>
                </a:lnTo>
                <a:lnTo>
                  <a:pt x="392" y="428"/>
                </a:lnTo>
                <a:lnTo>
                  <a:pt x="398" y="432"/>
                </a:lnTo>
                <a:lnTo>
                  <a:pt x="405" y="434"/>
                </a:lnTo>
                <a:lnTo>
                  <a:pt x="405" y="434"/>
                </a:lnTo>
                <a:lnTo>
                  <a:pt x="402" y="439"/>
                </a:lnTo>
                <a:lnTo>
                  <a:pt x="399" y="443"/>
                </a:lnTo>
                <a:lnTo>
                  <a:pt x="393" y="450"/>
                </a:lnTo>
                <a:lnTo>
                  <a:pt x="387" y="458"/>
                </a:lnTo>
                <a:lnTo>
                  <a:pt x="386" y="462"/>
                </a:lnTo>
                <a:lnTo>
                  <a:pt x="385" y="468"/>
                </a:lnTo>
                <a:lnTo>
                  <a:pt x="385" y="468"/>
                </a:lnTo>
                <a:lnTo>
                  <a:pt x="386" y="473"/>
                </a:lnTo>
                <a:lnTo>
                  <a:pt x="389" y="480"/>
                </a:lnTo>
                <a:lnTo>
                  <a:pt x="392" y="486"/>
                </a:lnTo>
                <a:lnTo>
                  <a:pt x="397" y="492"/>
                </a:lnTo>
                <a:lnTo>
                  <a:pt x="401" y="496"/>
                </a:lnTo>
                <a:lnTo>
                  <a:pt x="407" y="501"/>
                </a:lnTo>
                <a:lnTo>
                  <a:pt x="419" y="508"/>
                </a:lnTo>
                <a:lnTo>
                  <a:pt x="419" y="508"/>
                </a:lnTo>
                <a:lnTo>
                  <a:pt x="419" y="496"/>
                </a:lnTo>
                <a:lnTo>
                  <a:pt x="420" y="486"/>
                </a:lnTo>
                <a:lnTo>
                  <a:pt x="422" y="476"/>
                </a:lnTo>
                <a:lnTo>
                  <a:pt x="425" y="468"/>
                </a:lnTo>
                <a:lnTo>
                  <a:pt x="425" y="468"/>
                </a:lnTo>
                <a:lnTo>
                  <a:pt x="429" y="463"/>
                </a:lnTo>
                <a:lnTo>
                  <a:pt x="432" y="458"/>
                </a:lnTo>
                <a:lnTo>
                  <a:pt x="442" y="449"/>
                </a:lnTo>
                <a:lnTo>
                  <a:pt x="463" y="432"/>
                </a:lnTo>
                <a:lnTo>
                  <a:pt x="474" y="423"/>
                </a:lnTo>
                <a:lnTo>
                  <a:pt x="479" y="418"/>
                </a:lnTo>
                <a:lnTo>
                  <a:pt x="484" y="412"/>
                </a:lnTo>
                <a:lnTo>
                  <a:pt x="488" y="407"/>
                </a:lnTo>
                <a:lnTo>
                  <a:pt x="490" y="400"/>
                </a:lnTo>
                <a:lnTo>
                  <a:pt x="492" y="393"/>
                </a:lnTo>
                <a:lnTo>
                  <a:pt x="492" y="386"/>
                </a:lnTo>
                <a:lnTo>
                  <a:pt x="492" y="386"/>
                </a:lnTo>
                <a:lnTo>
                  <a:pt x="492" y="380"/>
                </a:lnTo>
                <a:lnTo>
                  <a:pt x="490" y="374"/>
                </a:lnTo>
                <a:lnTo>
                  <a:pt x="485" y="365"/>
                </a:lnTo>
                <a:lnTo>
                  <a:pt x="479" y="356"/>
                </a:lnTo>
                <a:lnTo>
                  <a:pt x="478" y="351"/>
                </a:lnTo>
                <a:lnTo>
                  <a:pt x="477" y="346"/>
                </a:lnTo>
                <a:lnTo>
                  <a:pt x="477" y="346"/>
                </a:lnTo>
                <a:lnTo>
                  <a:pt x="492" y="346"/>
                </a:lnTo>
                <a:lnTo>
                  <a:pt x="509" y="344"/>
                </a:lnTo>
                <a:lnTo>
                  <a:pt x="529" y="342"/>
                </a:lnTo>
                <a:lnTo>
                  <a:pt x="549" y="339"/>
                </a:lnTo>
                <a:lnTo>
                  <a:pt x="566" y="334"/>
                </a:lnTo>
                <a:lnTo>
                  <a:pt x="574" y="331"/>
                </a:lnTo>
                <a:lnTo>
                  <a:pt x="581" y="327"/>
                </a:lnTo>
                <a:lnTo>
                  <a:pt x="587" y="324"/>
                </a:lnTo>
                <a:lnTo>
                  <a:pt x="591" y="319"/>
                </a:lnTo>
                <a:lnTo>
                  <a:pt x="593" y="315"/>
                </a:lnTo>
                <a:lnTo>
                  <a:pt x="595" y="309"/>
                </a:lnTo>
                <a:lnTo>
                  <a:pt x="595" y="309"/>
                </a:lnTo>
                <a:lnTo>
                  <a:pt x="593" y="302"/>
                </a:lnTo>
                <a:lnTo>
                  <a:pt x="591" y="295"/>
                </a:lnTo>
                <a:lnTo>
                  <a:pt x="587" y="290"/>
                </a:lnTo>
                <a:lnTo>
                  <a:pt x="582" y="285"/>
                </a:lnTo>
                <a:lnTo>
                  <a:pt x="578" y="279"/>
                </a:lnTo>
                <a:lnTo>
                  <a:pt x="575" y="272"/>
                </a:lnTo>
                <a:lnTo>
                  <a:pt x="573" y="264"/>
                </a:lnTo>
                <a:lnTo>
                  <a:pt x="573" y="255"/>
                </a:lnTo>
                <a:lnTo>
                  <a:pt x="573" y="255"/>
                </a:lnTo>
                <a:lnTo>
                  <a:pt x="566" y="257"/>
                </a:lnTo>
                <a:lnTo>
                  <a:pt x="561" y="258"/>
                </a:lnTo>
                <a:lnTo>
                  <a:pt x="555" y="258"/>
                </a:lnTo>
                <a:lnTo>
                  <a:pt x="547" y="255"/>
                </a:lnTo>
                <a:lnTo>
                  <a:pt x="547" y="255"/>
                </a:lnTo>
                <a:lnTo>
                  <a:pt x="547" y="240"/>
                </a:lnTo>
                <a:lnTo>
                  <a:pt x="547" y="240"/>
                </a:lnTo>
                <a:lnTo>
                  <a:pt x="547" y="240"/>
                </a:lnTo>
                <a:lnTo>
                  <a:pt x="559" y="236"/>
                </a:lnTo>
                <a:lnTo>
                  <a:pt x="563" y="233"/>
                </a:lnTo>
                <a:lnTo>
                  <a:pt x="569" y="231"/>
                </a:lnTo>
                <a:lnTo>
                  <a:pt x="574" y="226"/>
                </a:lnTo>
                <a:lnTo>
                  <a:pt x="577" y="223"/>
                </a:lnTo>
                <a:lnTo>
                  <a:pt x="580" y="217"/>
                </a:lnTo>
                <a:lnTo>
                  <a:pt x="580" y="210"/>
                </a:lnTo>
                <a:lnTo>
                  <a:pt x="580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05"/>
                </a:lnTo>
                <a:lnTo>
                  <a:pt x="549" y="201"/>
                </a:lnTo>
                <a:lnTo>
                  <a:pt x="552" y="193"/>
                </a:lnTo>
                <a:lnTo>
                  <a:pt x="558" y="185"/>
                </a:lnTo>
                <a:lnTo>
                  <a:pt x="565" y="176"/>
                </a:lnTo>
                <a:lnTo>
                  <a:pt x="565" y="176"/>
                </a:lnTo>
                <a:lnTo>
                  <a:pt x="565" y="155"/>
                </a:lnTo>
                <a:lnTo>
                  <a:pt x="544" y="155"/>
                </a:lnTo>
                <a:lnTo>
                  <a:pt x="544" y="155"/>
                </a:lnTo>
                <a:lnTo>
                  <a:pt x="544" y="155"/>
                </a:lnTo>
                <a:lnTo>
                  <a:pt x="530" y="160"/>
                </a:lnTo>
                <a:lnTo>
                  <a:pt x="524" y="165"/>
                </a:lnTo>
                <a:lnTo>
                  <a:pt x="522" y="167"/>
                </a:lnTo>
                <a:lnTo>
                  <a:pt x="522" y="170"/>
                </a:lnTo>
                <a:lnTo>
                  <a:pt x="522" y="170"/>
                </a:lnTo>
                <a:lnTo>
                  <a:pt x="522" y="176"/>
                </a:lnTo>
                <a:lnTo>
                  <a:pt x="524" y="181"/>
                </a:lnTo>
                <a:lnTo>
                  <a:pt x="527" y="186"/>
                </a:lnTo>
                <a:lnTo>
                  <a:pt x="529" y="191"/>
                </a:lnTo>
                <a:lnTo>
                  <a:pt x="529" y="191"/>
                </a:lnTo>
                <a:lnTo>
                  <a:pt x="522" y="195"/>
                </a:lnTo>
                <a:lnTo>
                  <a:pt x="514" y="196"/>
                </a:lnTo>
                <a:lnTo>
                  <a:pt x="507" y="196"/>
                </a:lnTo>
                <a:lnTo>
                  <a:pt x="499" y="196"/>
                </a:lnTo>
                <a:lnTo>
                  <a:pt x="484" y="193"/>
                </a:lnTo>
                <a:lnTo>
                  <a:pt x="477" y="191"/>
                </a:lnTo>
                <a:lnTo>
                  <a:pt x="470" y="191"/>
                </a:lnTo>
                <a:lnTo>
                  <a:pt x="470" y="191"/>
                </a:lnTo>
                <a:lnTo>
                  <a:pt x="462" y="191"/>
                </a:lnTo>
                <a:lnTo>
                  <a:pt x="455" y="190"/>
                </a:lnTo>
                <a:lnTo>
                  <a:pt x="447" y="188"/>
                </a:lnTo>
                <a:lnTo>
                  <a:pt x="439" y="185"/>
                </a:lnTo>
                <a:lnTo>
                  <a:pt x="432" y="180"/>
                </a:lnTo>
                <a:lnTo>
                  <a:pt x="428" y="174"/>
                </a:lnTo>
                <a:lnTo>
                  <a:pt x="423" y="167"/>
                </a:lnTo>
                <a:lnTo>
                  <a:pt x="423" y="163"/>
                </a:lnTo>
                <a:lnTo>
                  <a:pt x="422" y="158"/>
                </a:lnTo>
                <a:lnTo>
                  <a:pt x="422" y="158"/>
                </a:lnTo>
                <a:lnTo>
                  <a:pt x="423" y="156"/>
                </a:lnTo>
                <a:lnTo>
                  <a:pt x="425" y="153"/>
                </a:lnTo>
                <a:lnTo>
                  <a:pt x="428" y="150"/>
                </a:lnTo>
                <a:lnTo>
                  <a:pt x="429" y="148"/>
                </a:lnTo>
                <a:lnTo>
                  <a:pt x="429" y="148"/>
                </a:lnTo>
                <a:lnTo>
                  <a:pt x="424" y="145"/>
                </a:lnTo>
                <a:lnTo>
                  <a:pt x="420" y="141"/>
                </a:lnTo>
                <a:lnTo>
                  <a:pt x="414" y="136"/>
                </a:lnTo>
                <a:lnTo>
                  <a:pt x="409" y="129"/>
                </a:lnTo>
                <a:lnTo>
                  <a:pt x="399" y="113"/>
                </a:lnTo>
                <a:lnTo>
                  <a:pt x="389" y="95"/>
                </a:lnTo>
                <a:lnTo>
                  <a:pt x="381" y="75"/>
                </a:lnTo>
                <a:lnTo>
                  <a:pt x="374" y="57"/>
                </a:lnTo>
                <a:lnTo>
                  <a:pt x="369" y="41"/>
                </a:lnTo>
                <a:lnTo>
                  <a:pt x="367" y="29"/>
                </a:lnTo>
                <a:lnTo>
                  <a:pt x="367" y="29"/>
                </a:lnTo>
                <a:lnTo>
                  <a:pt x="367" y="22"/>
                </a:lnTo>
                <a:lnTo>
                  <a:pt x="367" y="22"/>
                </a:lnTo>
                <a:close/>
              </a:path>
            </a:pathLst>
          </a:custGeom>
          <a:solidFill>
            <a:srgbClr val="FFC0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0" name="Солнце 149"/>
          <p:cNvSpPr/>
          <p:nvPr/>
        </p:nvSpPr>
        <p:spPr>
          <a:xfrm>
            <a:off x="1259632" y="3789040"/>
            <a:ext cx="216000" cy="216000"/>
          </a:xfrm>
          <a:prstGeom prst="sun">
            <a:avLst/>
          </a:prstGeom>
          <a:solidFill>
            <a:srgbClr val="FFC000"/>
          </a:solidFill>
          <a:ln w="9525">
            <a:noFill/>
          </a:ln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  <a:scene3d>
            <a:camera prst="orthographicFront"/>
            <a:lightRig rig="flat" dir="t">
              <a:rot lat="0" lon="0" rev="18900000"/>
            </a:lightRig>
          </a:scene3d>
          <a:sp3d>
            <a:bevelT w="57150" h="381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5" name="Солнце 154"/>
          <p:cNvSpPr/>
          <p:nvPr/>
        </p:nvSpPr>
        <p:spPr>
          <a:xfrm>
            <a:off x="1475656" y="3501008"/>
            <a:ext cx="216000" cy="216000"/>
          </a:xfrm>
          <a:prstGeom prst="sun">
            <a:avLst/>
          </a:prstGeom>
          <a:solidFill>
            <a:srgbClr val="FFC000"/>
          </a:solidFill>
          <a:ln w="9525">
            <a:noFill/>
          </a:ln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  <a:scene3d>
            <a:camera prst="orthographicFront"/>
            <a:lightRig rig="flat" dir="t">
              <a:rot lat="0" lon="0" rev="18900000"/>
            </a:lightRig>
          </a:scene3d>
          <a:sp3d>
            <a:bevelT w="57150" h="381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>
              <a:alpha val="66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г</a:t>
            </a:r>
            <a:r>
              <a:rPr lang="ru-RU" sz="3200" dirty="0">
                <a:solidFill>
                  <a:schemeClr val="tx1"/>
                </a:solidFill>
              </a:rPr>
              <a:t>. </a:t>
            </a:r>
            <a:r>
              <a:rPr lang="ru-RU" sz="3200" dirty="0" smtClean="0">
                <a:solidFill>
                  <a:schemeClr val="tx1"/>
                </a:solidFill>
              </a:rPr>
              <a:t>Москва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г</a:t>
            </a:r>
            <a:r>
              <a:rPr lang="ru-RU" sz="3200" dirty="0">
                <a:solidFill>
                  <a:schemeClr val="tx1"/>
                </a:solidFill>
              </a:rPr>
              <a:t>. Санкт-Петербург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Кемеровская </a:t>
            </a:r>
            <a:r>
              <a:rPr lang="ru-RU" sz="3200" dirty="0">
                <a:solidFill>
                  <a:schemeClr val="tx1"/>
                </a:solidFill>
              </a:rPr>
              <a:t>область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Краснодарский </a:t>
            </a:r>
            <a:r>
              <a:rPr lang="ru-RU" sz="3200" dirty="0">
                <a:solidFill>
                  <a:schemeClr val="tx1"/>
                </a:solidFill>
              </a:rPr>
              <a:t>край  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Липецкая область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Республика </a:t>
            </a:r>
            <a:r>
              <a:rPr lang="ru-RU" sz="3200" dirty="0">
                <a:solidFill>
                  <a:schemeClr val="tx1"/>
                </a:solidFill>
              </a:rPr>
              <a:t>Татарстан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Свердловская </a:t>
            </a:r>
            <a:r>
              <a:rPr lang="ru-RU" sz="3200" dirty="0">
                <a:solidFill>
                  <a:schemeClr val="tx1"/>
                </a:solidFill>
              </a:rPr>
              <a:t>область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Ставропольский </a:t>
            </a:r>
            <a:r>
              <a:rPr lang="ru-RU" sz="3200" dirty="0">
                <a:solidFill>
                  <a:schemeClr val="tx1"/>
                </a:solidFill>
              </a:rPr>
              <a:t>край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Тюменская </a:t>
            </a:r>
            <a:r>
              <a:rPr lang="ru-RU" sz="3200" dirty="0">
                <a:solidFill>
                  <a:schemeClr val="tx1"/>
                </a:solidFill>
              </a:rPr>
              <a:t>область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Хабаровский </a:t>
            </a:r>
            <a:r>
              <a:rPr lang="ru-RU" sz="3200" dirty="0">
                <a:solidFill>
                  <a:schemeClr val="tx1"/>
                </a:solidFill>
              </a:rPr>
              <a:t>край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Республика </a:t>
            </a:r>
            <a:r>
              <a:rPr lang="ru-RU" sz="3200" dirty="0">
                <a:solidFill>
                  <a:schemeClr val="tx1"/>
                </a:solidFill>
              </a:rPr>
              <a:t>Карелия</a:t>
            </a:r>
          </a:p>
          <a:p>
            <a:pPr algn="ctr"/>
            <a:r>
              <a:rPr lang="ru-RU" sz="3200" dirty="0" smtClean="0">
                <a:solidFill>
                  <a:schemeClr val="tx1"/>
                </a:solidFill>
              </a:rPr>
              <a:t>Ульяновская </a:t>
            </a:r>
            <a:r>
              <a:rPr lang="ru-RU" sz="3200" dirty="0">
                <a:solidFill>
                  <a:schemeClr val="tx1"/>
                </a:solidFill>
              </a:rPr>
              <a:t>область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0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4"/>
          <p:cNvSpPr>
            <a:spLocks/>
          </p:cNvSpPr>
          <p:nvPr/>
        </p:nvSpPr>
        <p:spPr bwMode="auto">
          <a:xfrm>
            <a:off x="7559675" y="4305300"/>
            <a:ext cx="53975" cy="71438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0" y="55"/>
              </a:cxn>
              <a:cxn ang="0">
                <a:pos x="0" y="55"/>
              </a:cxn>
              <a:cxn ang="0">
                <a:pos x="0" y="55"/>
              </a:cxn>
              <a:cxn ang="0">
                <a:pos x="3" y="56"/>
              </a:cxn>
              <a:cxn ang="0">
                <a:pos x="4" y="59"/>
              </a:cxn>
              <a:cxn ang="0">
                <a:pos x="5" y="66"/>
              </a:cxn>
              <a:cxn ang="0">
                <a:pos x="3" y="73"/>
              </a:cxn>
              <a:cxn ang="0">
                <a:pos x="0" y="80"/>
              </a:cxn>
              <a:cxn ang="0">
                <a:pos x="0" y="80"/>
              </a:cxn>
              <a:cxn ang="0">
                <a:pos x="66" y="80"/>
              </a:cxn>
              <a:cxn ang="0">
                <a:pos x="41" y="0"/>
              </a:cxn>
              <a:cxn ang="0">
                <a:pos x="41" y="0"/>
              </a:cxn>
            </a:cxnLst>
            <a:rect l="0" t="0" r="r" b="b"/>
            <a:pathLst>
              <a:path w="66" h="80">
                <a:moveTo>
                  <a:pt x="41" y="0"/>
                </a:moveTo>
                <a:lnTo>
                  <a:pt x="0" y="55"/>
                </a:lnTo>
                <a:lnTo>
                  <a:pt x="0" y="55"/>
                </a:lnTo>
                <a:lnTo>
                  <a:pt x="0" y="55"/>
                </a:lnTo>
                <a:lnTo>
                  <a:pt x="3" y="56"/>
                </a:lnTo>
                <a:lnTo>
                  <a:pt x="4" y="59"/>
                </a:lnTo>
                <a:lnTo>
                  <a:pt x="5" y="66"/>
                </a:lnTo>
                <a:lnTo>
                  <a:pt x="3" y="73"/>
                </a:lnTo>
                <a:lnTo>
                  <a:pt x="0" y="80"/>
                </a:lnTo>
                <a:lnTo>
                  <a:pt x="0" y="80"/>
                </a:lnTo>
                <a:lnTo>
                  <a:pt x="66" y="80"/>
                </a:lnTo>
                <a:lnTo>
                  <a:pt x="41" y="0"/>
                </a:lnTo>
                <a:lnTo>
                  <a:pt x="41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7512050" y="4352925"/>
            <a:ext cx="19050" cy="34925"/>
          </a:xfrm>
          <a:custGeom>
            <a:avLst/>
            <a:gdLst/>
            <a:ahLst/>
            <a:cxnLst>
              <a:cxn ang="0">
                <a:pos x="0" y="35"/>
              </a:cxn>
              <a:cxn ang="0">
                <a:pos x="0" y="35"/>
              </a:cxn>
              <a:cxn ang="0">
                <a:pos x="8" y="34"/>
              </a:cxn>
              <a:cxn ang="0">
                <a:pos x="15" y="35"/>
              </a:cxn>
              <a:cxn ang="0">
                <a:pos x="21" y="38"/>
              </a:cxn>
              <a:cxn ang="0">
                <a:pos x="25" y="40"/>
              </a:cxn>
              <a:cxn ang="0">
                <a:pos x="25" y="40"/>
              </a:cxn>
              <a:cxn ang="0">
                <a:pos x="25" y="0"/>
              </a:cxn>
              <a:cxn ang="0">
                <a:pos x="25" y="0"/>
              </a:cxn>
              <a:cxn ang="0">
                <a:pos x="25" y="0"/>
              </a:cxn>
              <a:cxn ang="0">
                <a:pos x="18" y="8"/>
              </a:cxn>
              <a:cxn ang="0">
                <a:pos x="11" y="16"/>
              </a:cxn>
              <a:cxn ang="0">
                <a:pos x="5" y="25"/>
              </a:cxn>
              <a:cxn ang="0">
                <a:pos x="0" y="35"/>
              </a:cxn>
              <a:cxn ang="0">
                <a:pos x="0" y="35"/>
              </a:cxn>
              <a:cxn ang="0">
                <a:pos x="0" y="35"/>
              </a:cxn>
            </a:cxnLst>
            <a:rect l="0" t="0" r="r" b="b"/>
            <a:pathLst>
              <a:path w="25" h="40">
                <a:moveTo>
                  <a:pt x="0" y="35"/>
                </a:moveTo>
                <a:lnTo>
                  <a:pt x="0" y="35"/>
                </a:lnTo>
                <a:lnTo>
                  <a:pt x="8" y="34"/>
                </a:lnTo>
                <a:lnTo>
                  <a:pt x="15" y="35"/>
                </a:lnTo>
                <a:lnTo>
                  <a:pt x="21" y="38"/>
                </a:lnTo>
                <a:lnTo>
                  <a:pt x="25" y="40"/>
                </a:lnTo>
                <a:lnTo>
                  <a:pt x="25" y="40"/>
                </a:lnTo>
                <a:lnTo>
                  <a:pt x="25" y="0"/>
                </a:lnTo>
                <a:lnTo>
                  <a:pt x="25" y="0"/>
                </a:lnTo>
                <a:lnTo>
                  <a:pt x="25" y="0"/>
                </a:lnTo>
                <a:lnTo>
                  <a:pt x="18" y="8"/>
                </a:lnTo>
                <a:lnTo>
                  <a:pt x="11" y="16"/>
                </a:lnTo>
                <a:lnTo>
                  <a:pt x="5" y="25"/>
                </a:lnTo>
                <a:lnTo>
                  <a:pt x="0" y="35"/>
                </a:lnTo>
                <a:lnTo>
                  <a:pt x="0" y="35"/>
                </a:lnTo>
                <a:lnTo>
                  <a:pt x="0" y="3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4518025" y="1858963"/>
            <a:ext cx="33338" cy="26987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22" y="0"/>
              </a:cxn>
              <a:cxn ang="0">
                <a:pos x="14" y="0"/>
              </a:cxn>
              <a:cxn ang="0">
                <a:pos x="7" y="1"/>
              </a:cxn>
              <a:cxn ang="0">
                <a:pos x="5" y="2"/>
              </a:cxn>
              <a:cxn ang="0">
                <a:pos x="3" y="5"/>
              </a:cxn>
              <a:cxn ang="0">
                <a:pos x="2" y="7"/>
              </a:cxn>
              <a:cxn ang="0">
                <a:pos x="0" y="10"/>
              </a:cxn>
              <a:cxn ang="0">
                <a:pos x="0" y="10"/>
              </a:cxn>
              <a:cxn ang="0">
                <a:pos x="2" y="15"/>
              </a:cxn>
              <a:cxn ang="0">
                <a:pos x="3" y="20"/>
              </a:cxn>
              <a:cxn ang="0">
                <a:pos x="4" y="24"/>
              </a:cxn>
              <a:cxn ang="0">
                <a:pos x="6" y="28"/>
              </a:cxn>
              <a:cxn ang="0">
                <a:pos x="10" y="30"/>
              </a:cxn>
              <a:cxn ang="0">
                <a:pos x="13" y="31"/>
              </a:cxn>
              <a:cxn ang="0">
                <a:pos x="18" y="32"/>
              </a:cxn>
              <a:cxn ang="0">
                <a:pos x="22" y="32"/>
              </a:cxn>
              <a:cxn ang="0">
                <a:pos x="22" y="32"/>
              </a:cxn>
              <a:cxn ang="0">
                <a:pos x="26" y="32"/>
              </a:cxn>
              <a:cxn ang="0">
                <a:pos x="29" y="31"/>
              </a:cxn>
              <a:cxn ang="0">
                <a:pos x="33" y="26"/>
              </a:cxn>
              <a:cxn ang="0">
                <a:pos x="36" y="22"/>
              </a:cxn>
              <a:cxn ang="0">
                <a:pos x="38" y="20"/>
              </a:cxn>
              <a:cxn ang="0">
                <a:pos x="41" y="18"/>
              </a:cxn>
              <a:cxn ang="0">
                <a:pos x="41" y="18"/>
              </a:cxn>
              <a:cxn ang="0">
                <a:pos x="29" y="6"/>
              </a:cxn>
              <a:cxn ang="0">
                <a:pos x="22" y="0"/>
              </a:cxn>
              <a:cxn ang="0">
                <a:pos x="22" y="0"/>
              </a:cxn>
              <a:cxn ang="0">
                <a:pos x="22" y="0"/>
              </a:cxn>
            </a:cxnLst>
            <a:rect l="0" t="0" r="r" b="b"/>
            <a:pathLst>
              <a:path w="41" h="32">
                <a:moveTo>
                  <a:pt x="22" y="0"/>
                </a:moveTo>
                <a:lnTo>
                  <a:pt x="22" y="0"/>
                </a:lnTo>
                <a:lnTo>
                  <a:pt x="14" y="0"/>
                </a:lnTo>
                <a:lnTo>
                  <a:pt x="7" y="1"/>
                </a:lnTo>
                <a:lnTo>
                  <a:pt x="5" y="2"/>
                </a:lnTo>
                <a:lnTo>
                  <a:pt x="3" y="5"/>
                </a:lnTo>
                <a:lnTo>
                  <a:pt x="2" y="7"/>
                </a:lnTo>
                <a:lnTo>
                  <a:pt x="0" y="10"/>
                </a:lnTo>
                <a:lnTo>
                  <a:pt x="0" y="10"/>
                </a:lnTo>
                <a:lnTo>
                  <a:pt x="2" y="15"/>
                </a:lnTo>
                <a:lnTo>
                  <a:pt x="3" y="20"/>
                </a:lnTo>
                <a:lnTo>
                  <a:pt x="4" y="24"/>
                </a:lnTo>
                <a:lnTo>
                  <a:pt x="6" y="28"/>
                </a:lnTo>
                <a:lnTo>
                  <a:pt x="10" y="30"/>
                </a:lnTo>
                <a:lnTo>
                  <a:pt x="13" y="31"/>
                </a:lnTo>
                <a:lnTo>
                  <a:pt x="18" y="32"/>
                </a:lnTo>
                <a:lnTo>
                  <a:pt x="22" y="32"/>
                </a:lnTo>
                <a:lnTo>
                  <a:pt x="22" y="32"/>
                </a:lnTo>
                <a:lnTo>
                  <a:pt x="26" y="32"/>
                </a:lnTo>
                <a:lnTo>
                  <a:pt x="29" y="31"/>
                </a:lnTo>
                <a:lnTo>
                  <a:pt x="33" y="26"/>
                </a:lnTo>
                <a:lnTo>
                  <a:pt x="36" y="22"/>
                </a:lnTo>
                <a:lnTo>
                  <a:pt x="38" y="20"/>
                </a:lnTo>
                <a:lnTo>
                  <a:pt x="41" y="18"/>
                </a:lnTo>
                <a:lnTo>
                  <a:pt x="41" y="18"/>
                </a:lnTo>
                <a:lnTo>
                  <a:pt x="29" y="6"/>
                </a:lnTo>
                <a:lnTo>
                  <a:pt x="22" y="0"/>
                </a:lnTo>
                <a:lnTo>
                  <a:pt x="22" y="0"/>
                </a:lnTo>
                <a:lnTo>
                  <a:pt x="22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4548188" y="2038350"/>
            <a:ext cx="60325" cy="58738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5" y="0"/>
              </a:cxn>
              <a:cxn ang="0">
                <a:pos x="12" y="1"/>
              </a:cxn>
              <a:cxn ang="0">
                <a:pos x="8" y="3"/>
              </a:cxn>
              <a:cxn ang="0">
                <a:pos x="5" y="6"/>
              </a:cxn>
              <a:cxn ang="0">
                <a:pos x="4" y="7"/>
              </a:cxn>
              <a:cxn ang="0">
                <a:pos x="1" y="7"/>
              </a:cxn>
              <a:cxn ang="0">
                <a:pos x="1" y="7"/>
              </a:cxn>
              <a:cxn ang="0">
                <a:pos x="0" y="14"/>
              </a:cxn>
              <a:cxn ang="0">
                <a:pos x="0" y="19"/>
              </a:cxn>
              <a:cxn ang="0">
                <a:pos x="1" y="24"/>
              </a:cxn>
              <a:cxn ang="0">
                <a:pos x="1" y="29"/>
              </a:cxn>
              <a:cxn ang="0">
                <a:pos x="1" y="29"/>
              </a:cxn>
              <a:cxn ang="0">
                <a:pos x="1" y="33"/>
              </a:cxn>
              <a:cxn ang="0">
                <a:pos x="4" y="38"/>
              </a:cxn>
              <a:cxn ang="0">
                <a:pos x="6" y="41"/>
              </a:cxn>
              <a:cxn ang="0">
                <a:pos x="9" y="46"/>
              </a:cxn>
              <a:cxn ang="0">
                <a:pos x="14" y="49"/>
              </a:cxn>
              <a:cxn ang="0">
                <a:pos x="20" y="52"/>
              </a:cxn>
              <a:cxn ang="0">
                <a:pos x="27" y="54"/>
              </a:cxn>
              <a:cxn ang="0">
                <a:pos x="35" y="54"/>
              </a:cxn>
              <a:cxn ang="0">
                <a:pos x="35" y="54"/>
              </a:cxn>
              <a:cxn ang="0">
                <a:pos x="35" y="59"/>
              </a:cxn>
              <a:cxn ang="0">
                <a:pos x="36" y="61"/>
              </a:cxn>
              <a:cxn ang="0">
                <a:pos x="37" y="63"/>
              </a:cxn>
              <a:cxn ang="0">
                <a:pos x="39" y="66"/>
              </a:cxn>
              <a:cxn ang="0">
                <a:pos x="44" y="68"/>
              </a:cxn>
              <a:cxn ang="0">
                <a:pos x="48" y="69"/>
              </a:cxn>
              <a:cxn ang="0">
                <a:pos x="48" y="69"/>
              </a:cxn>
              <a:cxn ang="0">
                <a:pos x="52" y="68"/>
              </a:cxn>
              <a:cxn ang="0">
                <a:pos x="56" y="63"/>
              </a:cxn>
              <a:cxn ang="0">
                <a:pos x="65" y="51"/>
              </a:cxn>
              <a:cxn ang="0">
                <a:pos x="75" y="32"/>
              </a:cxn>
              <a:cxn ang="0">
                <a:pos x="75" y="32"/>
              </a:cxn>
              <a:cxn ang="0">
                <a:pos x="74" y="29"/>
              </a:cxn>
              <a:cxn ang="0">
                <a:pos x="73" y="24"/>
              </a:cxn>
              <a:cxn ang="0">
                <a:pos x="71" y="21"/>
              </a:cxn>
              <a:cxn ang="0">
                <a:pos x="68" y="18"/>
              </a:cxn>
              <a:cxn ang="0">
                <a:pos x="61" y="13"/>
              </a:cxn>
              <a:cxn ang="0">
                <a:pos x="53" y="8"/>
              </a:cxn>
              <a:cxn ang="0">
                <a:pos x="44" y="5"/>
              </a:cxn>
              <a:cxn ang="0">
                <a:pos x="35" y="1"/>
              </a:cxn>
              <a:cxn ang="0">
                <a:pos x="27" y="0"/>
              </a:cxn>
              <a:cxn ang="0">
                <a:pos x="20" y="0"/>
              </a:cxn>
              <a:cxn ang="0">
                <a:pos x="20" y="0"/>
              </a:cxn>
              <a:cxn ang="0">
                <a:pos x="20" y="0"/>
              </a:cxn>
            </a:cxnLst>
            <a:rect l="0" t="0" r="r" b="b"/>
            <a:pathLst>
              <a:path w="75" h="69">
                <a:moveTo>
                  <a:pt x="20" y="0"/>
                </a:moveTo>
                <a:lnTo>
                  <a:pt x="20" y="0"/>
                </a:lnTo>
                <a:lnTo>
                  <a:pt x="15" y="0"/>
                </a:lnTo>
                <a:lnTo>
                  <a:pt x="12" y="1"/>
                </a:lnTo>
                <a:lnTo>
                  <a:pt x="8" y="3"/>
                </a:lnTo>
                <a:lnTo>
                  <a:pt x="5" y="6"/>
                </a:lnTo>
                <a:lnTo>
                  <a:pt x="4" y="7"/>
                </a:lnTo>
                <a:lnTo>
                  <a:pt x="1" y="7"/>
                </a:lnTo>
                <a:lnTo>
                  <a:pt x="1" y="7"/>
                </a:lnTo>
                <a:lnTo>
                  <a:pt x="0" y="14"/>
                </a:lnTo>
                <a:lnTo>
                  <a:pt x="0" y="19"/>
                </a:lnTo>
                <a:lnTo>
                  <a:pt x="1" y="24"/>
                </a:lnTo>
                <a:lnTo>
                  <a:pt x="1" y="29"/>
                </a:lnTo>
                <a:lnTo>
                  <a:pt x="1" y="29"/>
                </a:lnTo>
                <a:lnTo>
                  <a:pt x="1" y="33"/>
                </a:lnTo>
                <a:lnTo>
                  <a:pt x="4" y="38"/>
                </a:lnTo>
                <a:lnTo>
                  <a:pt x="6" y="41"/>
                </a:lnTo>
                <a:lnTo>
                  <a:pt x="9" y="46"/>
                </a:lnTo>
                <a:lnTo>
                  <a:pt x="14" y="49"/>
                </a:lnTo>
                <a:lnTo>
                  <a:pt x="20" y="52"/>
                </a:lnTo>
                <a:lnTo>
                  <a:pt x="27" y="54"/>
                </a:lnTo>
                <a:lnTo>
                  <a:pt x="35" y="54"/>
                </a:lnTo>
                <a:lnTo>
                  <a:pt x="35" y="54"/>
                </a:lnTo>
                <a:lnTo>
                  <a:pt x="35" y="59"/>
                </a:lnTo>
                <a:lnTo>
                  <a:pt x="36" y="61"/>
                </a:lnTo>
                <a:lnTo>
                  <a:pt x="37" y="63"/>
                </a:lnTo>
                <a:lnTo>
                  <a:pt x="39" y="66"/>
                </a:lnTo>
                <a:lnTo>
                  <a:pt x="44" y="68"/>
                </a:lnTo>
                <a:lnTo>
                  <a:pt x="48" y="69"/>
                </a:lnTo>
                <a:lnTo>
                  <a:pt x="48" y="69"/>
                </a:lnTo>
                <a:lnTo>
                  <a:pt x="52" y="68"/>
                </a:lnTo>
                <a:lnTo>
                  <a:pt x="56" y="63"/>
                </a:lnTo>
                <a:lnTo>
                  <a:pt x="65" y="51"/>
                </a:lnTo>
                <a:lnTo>
                  <a:pt x="75" y="32"/>
                </a:lnTo>
                <a:lnTo>
                  <a:pt x="75" y="32"/>
                </a:lnTo>
                <a:lnTo>
                  <a:pt x="74" y="29"/>
                </a:lnTo>
                <a:lnTo>
                  <a:pt x="73" y="24"/>
                </a:lnTo>
                <a:lnTo>
                  <a:pt x="71" y="21"/>
                </a:lnTo>
                <a:lnTo>
                  <a:pt x="68" y="18"/>
                </a:lnTo>
                <a:lnTo>
                  <a:pt x="61" y="13"/>
                </a:lnTo>
                <a:lnTo>
                  <a:pt x="53" y="8"/>
                </a:lnTo>
                <a:lnTo>
                  <a:pt x="44" y="5"/>
                </a:lnTo>
                <a:lnTo>
                  <a:pt x="35" y="1"/>
                </a:lnTo>
                <a:lnTo>
                  <a:pt x="27" y="0"/>
                </a:lnTo>
                <a:lnTo>
                  <a:pt x="20" y="0"/>
                </a:lnTo>
                <a:lnTo>
                  <a:pt x="20" y="0"/>
                </a:lnTo>
                <a:lnTo>
                  <a:pt x="2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4551363" y="1847850"/>
            <a:ext cx="144462" cy="195263"/>
          </a:xfrm>
          <a:custGeom>
            <a:avLst/>
            <a:gdLst/>
            <a:ahLst/>
            <a:cxnLst>
              <a:cxn ang="0">
                <a:pos x="147" y="56"/>
              </a:cxn>
              <a:cxn ang="0">
                <a:pos x="141" y="53"/>
              </a:cxn>
              <a:cxn ang="0">
                <a:pos x="132" y="38"/>
              </a:cxn>
              <a:cxn ang="0">
                <a:pos x="124" y="18"/>
              </a:cxn>
              <a:cxn ang="0">
                <a:pos x="116" y="6"/>
              </a:cxn>
              <a:cxn ang="0">
                <a:pos x="110" y="2"/>
              </a:cxn>
              <a:cxn ang="0">
                <a:pos x="107" y="0"/>
              </a:cxn>
              <a:cxn ang="0">
                <a:pos x="100" y="3"/>
              </a:cxn>
              <a:cxn ang="0">
                <a:pos x="98" y="6"/>
              </a:cxn>
              <a:cxn ang="0">
                <a:pos x="95" y="15"/>
              </a:cxn>
              <a:cxn ang="0">
                <a:pos x="70" y="37"/>
              </a:cxn>
              <a:cxn ang="0">
                <a:pos x="65" y="37"/>
              </a:cxn>
              <a:cxn ang="0">
                <a:pos x="51" y="44"/>
              </a:cxn>
              <a:cxn ang="0">
                <a:pos x="39" y="53"/>
              </a:cxn>
              <a:cxn ang="0">
                <a:pos x="31" y="65"/>
              </a:cxn>
              <a:cxn ang="0">
                <a:pos x="30" y="71"/>
              </a:cxn>
              <a:cxn ang="0">
                <a:pos x="32" y="80"/>
              </a:cxn>
              <a:cxn ang="0">
                <a:pos x="39" y="86"/>
              </a:cxn>
              <a:cxn ang="0">
                <a:pos x="47" y="94"/>
              </a:cxn>
              <a:cxn ang="0">
                <a:pos x="48" y="96"/>
              </a:cxn>
              <a:cxn ang="0">
                <a:pos x="46" y="111"/>
              </a:cxn>
              <a:cxn ang="0">
                <a:pos x="39" y="125"/>
              </a:cxn>
              <a:cxn ang="0">
                <a:pos x="27" y="136"/>
              </a:cxn>
              <a:cxn ang="0">
                <a:pos x="15" y="140"/>
              </a:cxn>
              <a:cxn ang="0">
                <a:pos x="15" y="155"/>
              </a:cxn>
              <a:cxn ang="0">
                <a:pos x="4" y="160"/>
              </a:cxn>
              <a:cxn ang="0">
                <a:pos x="0" y="166"/>
              </a:cxn>
              <a:cxn ang="0">
                <a:pos x="1" y="171"/>
              </a:cxn>
              <a:cxn ang="0">
                <a:pos x="8" y="178"/>
              </a:cxn>
              <a:cxn ang="0">
                <a:pos x="22" y="182"/>
              </a:cxn>
              <a:cxn ang="0">
                <a:pos x="30" y="185"/>
              </a:cxn>
              <a:cxn ang="0">
                <a:pos x="38" y="195"/>
              </a:cxn>
              <a:cxn ang="0">
                <a:pos x="48" y="214"/>
              </a:cxn>
              <a:cxn ang="0">
                <a:pos x="58" y="224"/>
              </a:cxn>
              <a:cxn ang="0">
                <a:pos x="66" y="225"/>
              </a:cxn>
              <a:cxn ang="0">
                <a:pos x="76" y="224"/>
              </a:cxn>
              <a:cxn ang="0">
                <a:pos x="91" y="216"/>
              </a:cxn>
              <a:cxn ang="0">
                <a:pos x="108" y="200"/>
              </a:cxn>
              <a:cxn ang="0">
                <a:pos x="122" y="191"/>
              </a:cxn>
              <a:cxn ang="0">
                <a:pos x="137" y="189"/>
              </a:cxn>
              <a:cxn ang="0">
                <a:pos x="154" y="183"/>
              </a:cxn>
              <a:cxn ang="0">
                <a:pos x="170" y="175"/>
              </a:cxn>
              <a:cxn ang="0">
                <a:pos x="175" y="170"/>
              </a:cxn>
              <a:cxn ang="0">
                <a:pos x="176" y="163"/>
              </a:cxn>
              <a:cxn ang="0">
                <a:pos x="175" y="157"/>
              </a:cxn>
              <a:cxn ang="0">
                <a:pos x="163" y="145"/>
              </a:cxn>
              <a:cxn ang="0">
                <a:pos x="155" y="137"/>
              </a:cxn>
              <a:cxn ang="0">
                <a:pos x="150" y="125"/>
              </a:cxn>
              <a:cxn ang="0">
                <a:pos x="152" y="120"/>
              </a:cxn>
              <a:cxn ang="0">
                <a:pos x="163" y="107"/>
              </a:cxn>
              <a:cxn ang="0">
                <a:pos x="172" y="98"/>
              </a:cxn>
              <a:cxn ang="0">
                <a:pos x="176" y="86"/>
              </a:cxn>
              <a:cxn ang="0">
                <a:pos x="176" y="79"/>
              </a:cxn>
              <a:cxn ang="0">
                <a:pos x="171" y="67"/>
              </a:cxn>
              <a:cxn ang="0">
                <a:pos x="162" y="60"/>
              </a:cxn>
              <a:cxn ang="0">
                <a:pos x="153" y="57"/>
              </a:cxn>
              <a:cxn ang="0">
                <a:pos x="147" y="56"/>
              </a:cxn>
            </a:cxnLst>
            <a:rect l="0" t="0" r="r" b="b"/>
            <a:pathLst>
              <a:path w="176" h="225">
                <a:moveTo>
                  <a:pt x="147" y="56"/>
                </a:moveTo>
                <a:lnTo>
                  <a:pt x="147" y="56"/>
                </a:lnTo>
                <a:lnTo>
                  <a:pt x="144" y="56"/>
                </a:lnTo>
                <a:lnTo>
                  <a:pt x="141" y="53"/>
                </a:lnTo>
                <a:lnTo>
                  <a:pt x="137" y="48"/>
                </a:lnTo>
                <a:lnTo>
                  <a:pt x="132" y="38"/>
                </a:lnTo>
                <a:lnTo>
                  <a:pt x="129" y="28"/>
                </a:lnTo>
                <a:lnTo>
                  <a:pt x="124" y="18"/>
                </a:lnTo>
                <a:lnTo>
                  <a:pt x="118" y="10"/>
                </a:lnTo>
                <a:lnTo>
                  <a:pt x="116" y="6"/>
                </a:lnTo>
                <a:lnTo>
                  <a:pt x="114" y="3"/>
                </a:lnTo>
                <a:lnTo>
                  <a:pt x="110" y="2"/>
                </a:lnTo>
                <a:lnTo>
                  <a:pt x="107" y="0"/>
                </a:lnTo>
                <a:lnTo>
                  <a:pt x="107" y="0"/>
                </a:lnTo>
                <a:lnTo>
                  <a:pt x="103" y="2"/>
                </a:lnTo>
                <a:lnTo>
                  <a:pt x="100" y="3"/>
                </a:lnTo>
                <a:lnTo>
                  <a:pt x="99" y="4"/>
                </a:lnTo>
                <a:lnTo>
                  <a:pt x="98" y="6"/>
                </a:lnTo>
                <a:lnTo>
                  <a:pt x="96" y="12"/>
                </a:lnTo>
                <a:lnTo>
                  <a:pt x="95" y="15"/>
                </a:lnTo>
                <a:lnTo>
                  <a:pt x="95" y="15"/>
                </a:lnTo>
                <a:lnTo>
                  <a:pt x="70" y="37"/>
                </a:lnTo>
                <a:lnTo>
                  <a:pt x="70" y="37"/>
                </a:lnTo>
                <a:lnTo>
                  <a:pt x="65" y="37"/>
                </a:lnTo>
                <a:lnTo>
                  <a:pt x="58" y="41"/>
                </a:lnTo>
                <a:lnTo>
                  <a:pt x="51" y="44"/>
                </a:lnTo>
                <a:lnTo>
                  <a:pt x="46" y="49"/>
                </a:lnTo>
                <a:lnTo>
                  <a:pt x="39" y="53"/>
                </a:lnTo>
                <a:lnTo>
                  <a:pt x="34" y="59"/>
                </a:lnTo>
                <a:lnTo>
                  <a:pt x="31" y="65"/>
                </a:lnTo>
                <a:lnTo>
                  <a:pt x="30" y="71"/>
                </a:lnTo>
                <a:lnTo>
                  <a:pt x="30" y="71"/>
                </a:lnTo>
                <a:lnTo>
                  <a:pt x="30" y="75"/>
                </a:lnTo>
                <a:lnTo>
                  <a:pt x="32" y="80"/>
                </a:lnTo>
                <a:lnTo>
                  <a:pt x="35" y="83"/>
                </a:lnTo>
                <a:lnTo>
                  <a:pt x="39" y="86"/>
                </a:lnTo>
                <a:lnTo>
                  <a:pt x="45" y="91"/>
                </a:lnTo>
                <a:lnTo>
                  <a:pt x="47" y="94"/>
                </a:lnTo>
                <a:lnTo>
                  <a:pt x="48" y="96"/>
                </a:lnTo>
                <a:lnTo>
                  <a:pt x="48" y="96"/>
                </a:lnTo>
                <a:lnTo>
                  <a:pt x="47" y="103"/>
                </a:lnTo>
                <a:lnTo>
                  <a:pt x="46" y="111"/>
                </a:lnTo>
                <a:lnTo>
                  <a:pt x="42" y="118"/>
                </a:lnTo>
                <a:lnTo>
                  <a:pt x="39" y="125"/>
                </a:lnTo>
                <a:lnTo>
                  <a:pt x="33" y="130"/>
                </a:lnTo>
                <a:lnTo>
                  <a:pt x="27" y="136"/>
                </a:lnTo>
                <a:lnTo>
                  <a:pt x="22" y="139"/>
                </a:lnTo>
                <a:lnTo>
                  <a:pt x="15" y="140"/>
                </a:lnTo>
                <a:lnTo>
                  <a:pt x="15" y="140"/>
                </a:lnTo>
                <a:lnTo>
                  <a:pt x="15" y="155"/>
                </a:lnTo>
                <a:lnTo>
                  <a:pt x="15" y="155"/>
                </a:lnTo>
                <a:lnTo>
                  <a:pt x="4" y="160"/>
                </a:lnTo>
                <a:lnTo>
                  <a:pt x="1" y="163"/>
                </a:lnTo>
                <a:lnTo>
                  <a:pt x="0" y="166"/>
                </a:lnTo>
                <a:lnTo>
                  <a:pt x="0" y="166"/>
                </a:lnTo>
                <a:lnTo>
                  <a:pt x="1" y="171"/>
                </a:lnTo>
                <a:lnTo>
                  <a:pt x="3" y="174"/>
                </a:lnTo>
                <a:lnTo>
                  <a:pt x="8" y="178"/>
                </a:lnTo>
                <a:lnTo>
                  <a:pt x="12" y="179"/>
                </a:lnTo>
                <a:lnTo>
                  <a:pt x="22" y="182"/>
                </a:lnTo>
                <a:lnTo>
                  <a:pt x="30" y="185"/>
                </a:lnTo>
                <a:lnTo>
                  <a:pt x="30" y="185"/>
                </a:lnTo>
                <a:lnTo>
                  <a:pt x="34" y="189"/>
                </a:lnTo>
                <a:lnTo>
                  <a:pt x="38" y="195"/>
                </a:lnTo>
                <a:lnTo>
                  <a:pt x="45" y="209"/>
                </a:lnTo>
                <a:lnTo>
                  <a:pt x="48" y="214"/>
                </a:lnTo>
                <a:lnTo>
                  <a:pt x="53" y="220"/>
                </a:lnTo>
                <a:lnTo>
                  <a:pt x="58" y="224"/>
                </a:lnTo>
                <a:lnTo>
                  <a:pt x="62" y="225"/>
                </a:lnTo>
                <a:lnTo>
                  <a:pt x="66" y="225"/>
                </a:lnTo>
                <a:lnTo>
                  <a:pt x="66" y="225"/>
                </a:lnTo>
                <a:lnTo>
                  <a:pt x="76" y="224"/>
                </a:lnTo>
                <a:lnTo>
                  <a:pt x="84" y="220"/>
                </a:lnTo>
                <a:lnTo>
                  <a:pt x="91" y="216"/>
                </a:lnTo>
                <a:lnTo>
                  <a:pt x="96" y="211"/>
                </a:lnTo>
                <a:lnTo>
                  <a:pt x="108" y="200"/>
                </a:lnTo>
                <a:lnTo>
                  <a:pt x="114" y="195"/>
                </a:lnTo>
                <a:lnTo>
                  <a:pt x="122" y="191"/>
                </a:lnTo>
                <a:lnTo>
                  <a:pt x="122" y="191"/>
                </a:lnTo>
                <a:lnTo>
                  <a:pt x="137" y="189"/>
                </a:lnTo>
                <a:lnTo>
                  <a:pt x="146" y="187"/>
                </a:lnTo>
                <a:lnTo>
                  <a:pt x="154" y="183"/>
                </a:lnTo>
                <a:lnTo>
                  <a:pt x="163" y="180"/>
                </a:lnTo>
                <a:lnTo>
                  <a:pt x="170" y="175"/>
                </a:lnTo>
                <a:lnTo>
                  <a:pt x="172" y="173"/>
                </a:lnTo>
                <a:lnTo>
                  <a:pt x="175" y="170"/>
                </a:lnTo>
                <a:lnTo>
                  <a:pt x="176" y="166"/>
                </a:lnTo>
                <a:lnTo>
                  <a:pt x="176" y="163"/>
                </a:lnTo>
                <a:lnTo>
                  <a:pt x="176" y="163"/>
                </a:lnTo>
                <a:lnTo>
                  <a:pt x="175" y="157"/>
                </a:lnTo>
                <a:lnTo>
                  <a:pt x="172" y="153"/>
                </a:lnTo>
                <a:lnTo>
                  <a:pt x="163" y="145"/>
                </a:lnTo>
                <a:lnTo>
                  <a:pt x="158" y="141"/>
                </a:lnTo>
                <a:lnTo>
                  <a:pt x="155" y="137"/>
                </a:lnTo>
                <a:lnTo>
                  <a:pt x="152" y="132"/>
                </a:lnTo>
                <a:lnTo>
                  <a:pt x="150" y="125"/>
                </a:lnTo>
                <a:lnTo>
                  <a:pt x="150" y="125"/>
                </a:lnTo>
                <a:lnTo>
                  <a:pt x="152" y="120"/>
                </a:lnTo>
                <a:lnTo>
                  <a:pt x="155" y="116"/>
                </a:lnTo>
                <a:lnTo>
                  <a:pt x="163" y="107"/>
                </a:lnTo>
                <a:lnTo>
                  <a:pt x="168" y="104"/>
                </a:lnTo>
                <a:lnTo>
                  <a:pt x="172" y="98"/>
                </a:lnTo>
                <a:lnTo>
                  <a:pt x="175" y="92"/>
                </a:lnTo>
                <a:lnTo>
                  <a:pt x="176" y="86"/>
                </a:lnTo>
                <a:lnTo>
                  <a:pt x="176" y="86"/>
                </a:lnTo>
                <a:lnTo>
                  <a:pt x="176" y="79"/>
                </a:lnTo>
                <a:lnTo>
                  <a:pt x="173" y="73"/>
                </a:lnTo>
                <a:lnTo>
                  <a:pt x="171" y="67"/>
                </a:lnTo>
                <a:lnTo>
                  <a:pt x="167" y="64"/>
                </a:lnTo>
                <a:lnTo>
                  <a:pt x="162" y="60"/>
                </a:lnTo>
                <a:lnTo>
                  <a:pt x="157" y="58"/>
                </a:lnTo>
                <a:lnTo>
                  <a:pt x="153" y="57"/>
                </a:lnTo>
                <a:lnTo>
                  <a:pt x="147" y="56"/>
                </a:lnTo>
                <a:lnTo>
                  <a:pt x="147" y="56"/>
                </a:lnTo>
                <a:lnTo>
                  <a:pt x="147" y="5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600575" y="2017713"/>
            <a:ext cx="168275" cy="198437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77" y="14"/>
              </a:cxn>
              <a:cxn ang="0">
                <a:pos x="52" y="25"/>
              </a:cxn>
              <a:cxn ang="0">
                <a:pos x="40" y="34"/>
              </a:cxn>
              <a:cxn ang="0">
                <a:pos x="37" y="37"/>
              </a:cxn>
              <a:cxn ang="0">
                <a:pos x="35" y="59"/>
              </a:cxn>
              <a:cxn ang="0">
                <a:pos x="30" y="74"/>
              </a:cxn>
              <a:cxn ang="0">
                <a:pos x="28" y="78"/>
              </a:cxn>
              <a:cxn ang="0">
                <a:pos x="14" y="91"/>
              </a:cxn>
              <a:cxn ang="0">
                <a:pos x="2" y="102"/>
              </a:cxn>
              <a:cxn ang="0">
                <a:pos x="0" y="107"/>
              </a:cxn>
              <a:cxn ang="0">
                <a:pos x="3" y="113"/>
              </a:cxn>
              <a:cxn ang="0">
                <a:pos x="12" y="122"/>
              </a:cxn>
              <a:cxn ang="0">
                <a:pos x="26" y="129"/>
              </a:cxn>
              <a:cxn ang="0">
                <a:pos x="36" y="140"/>
              </a:cxn>
              <a:cxn ang="0">
                <a:pos x="37" y="147"/>
              </a:cxn>
              <a:cxn ang="0">
                <a:pos x="38" y="155"/>
              </a:cxn>
              <a:cxn ang="0">
                <a:pos x="42" y="169"/>
              </a:cxn>
              <a:cxn ang="0">
                <a:pos x="50" y="181"/>
              </a:cxn>
              <a:cxn ang="0">
                <a:pos x="60" y="187"/>
              </a:cxn>
              <a:cxn ang="0">
                <a:pos x="67" y="187"/>
              </a:cxn>
              <a:cxn ang="0">
                <a:pos x="80" y="190"/>
              </a:cxn>
              <a:cxn ang="0">
                <a:pos x="103" y="200"/>
              </a:cxn>
              <a:cxn ang="0">
                <a:pos x="124" y="215"/>
              </a:cxn>
              <a:cxn ang="0">
                <a:pos x="142" y="224"/>
              </a:cxn>
              <a:cxn ang="0">
                <a:pos x="155" y="228"/>
              </a:cxn>
              <a:cxn ang="0">
                <a:pos x="163" y="228"/>
              </a:cxn>
              <a:cxn ang="0">
                <a:pos x="180" y="225"/>
              </a:cxn>
              <a:cxn ang="0">
                <a:pos x="194" y="220"/>
              </a:cxn>
              <a:cxn ang="0">
                <a:pos x="203" y="208"/>
              </a:cxn>
              <a:cxn ang="0">
                <a:pos x="206" y="191"/>
              </a:cxn>
              <a:cxn ang="0">
                <a:pos x="205" y="184"/>
              </a:cxn>
              <a:cxn ang="0">
                <a:pos x="201" y="173"/>
              </a:cxn>
              <a:cxn ang="0">
                <a:pos x="191" y="159"/>
              </a:cxn>
              <a:cxn ang="0">
                <a:pos x="188" y="147"/>
              </a:cxn>
              <a:cxn ang="0">
                <a:pos x="189" y="143"/>
              </a:cxn>
              <a:cxn ang="0">
                <a:pos x="195" y="129"/>
              </a:cxn>
              <a:cxn ang="0">
                <a:pos x="195" y="55"/>
              </a:cxn>
              <a:cxn ang="0">
                <a:pos x="195" y="47"/>
              </a:cxn>
              <a:cxn ang="0">
                <a:pos x="190" y="32"/>
              </a:cxn>
              <a:cxn ang="0">
                <a:pos x="183" y="19"/>
              </a:cxn>
              <a:cxn ang="0">
                <a:pos x="173" y="13"/>
              </a:cxn>
              <a:cxn ang="0">
                <a:pos x="166" y="11"/>
              </a:cxn>
              <a:cxn ang="0">
                <a:pos x="160" y="14"/>
              </a:cxn>
              <a:cxn ang="0">
                <a:pos x="158" y="18"/>
              </a:cxn>
              <a:cxn ang="0">
                <a:pos x="159" y="30"/>
              </a:cxn>
              <a:cxn ang="0">
                <a:pos x="152" y="44"/>
              </a:cxn>
              <a:cxn ang="0">
                <a:pos x="137" y="67"/>
              </a:cxn>
              <a:cxn ang="0">
                <a:pos x="129" y="74"/>
              </a:cxn>
              <a:cxn ang="0">
                <a:pos x="125" y="64"/>
              </a:cxn>
              <a:cxn ang="0">
                <a:pos x="121" y="55"/>
              </a:cxn>
              <a:cxn ang="0">
                <a:pos x="122" y="51"/>
              </a:cxn>
              <a:cxn ang="0">
                <a:pos x="129" y="36"/>
              </a:cxn>
              <a:cxn ang="0">
                <a:pos x="136" y="21"/>
              </a:cxn>
              <a:cxn ang="0">
                <a:pos x="136" y="15"/>
              </a:cxn>
              <a:cxn ang="0">
                <a:pos x="135" y="5"/>
              </a:cxn>
              <a:cxn ang="0">
                <a:pos x="132" y="1"/>
              </a:cxn>
              <a:cxn ang="0">
                <a:pos x="125" y="0"/>
              </a:cxn>
              <a:cxn ang="0">
                <a:pos x="114" y="0"/>
              </a:cxn>
            </a:cxnLst>
            <a:rect l="0" t="0" r="r" b="b"/>
            <a:pathLst>
              <a:path w="206" h="228">
                <a:moveTo>
                  <a:pt x="114" y="0"/>
                </a:moveTo>
                <a:lnTo>
                  <a:pt x="114" y="0"/>
                </a:lnTo>
                <a:lnTo>
                  <a:pt x="102" y="3"/>
                </a:lnTo>
                <a:lnTo>
                  <a:pt x="77" y="14"/>
                </a:lnTo>
                <a:lnTo>
                  <a:pt x="64" y="19"/>
                </a:lnTo>
                <a:lnTo>
                  <a:pt x="52" y="25"/>
                </a:lnTo>
                <a:lnTo>
                  <a:pt x="43" y="31"/>
                </a:lnTo>
                <a:lnTo>
                  <a:pt x="40" y="34"/>
                </a:lnTo>
                <a:lnTo>
                  <a:pt x="37" y="37"/>
                </a:lnTo>
                <a:lnTo>
                  <a:pt x="37" y="37"/>
                </a:lnTo>
                <a:lnTo>
                  <a:pt x="36" y="49"/>
                </a:lnTo>
                <a:lnTo>
                  <a:pt x="35" y="59"/>
                </a:lnTo>
                <a:lnTo>
                  <a:pt x="34" y="65"/>
                </a:lnTo>
                <a:lnTo>
                  <a:pt x="30" y="74"/>
                </a:lnTo>
                <a:lnTo>
                  <a:pt x="30" y="74"/>
                </a:lnTo>
                <a:lnTo>
                  <a:pt x="28" y="78"/>
                </a:lnTo>
                <a:lnTo>
                  <a:pt x="23" y="82"/>
                </a:lnTo>
                <a:lnTo>
                  <a:pt x="14" y="91"/>
                </a:lnTo>
                <a:lnTo>
                  <a:pt x="5" y="99"/>
                </a:lnTo>
                <a:lnTo>
                  <a:pt x="2" y="102"/>
                </a:lnTo>
                <a:lnTo>
                  <a:pt x="0" y="107"/>
                </a:lnTo>
                <a:lnTo>
                  <a:pt x="0" y="107"/>
                </a:lnTo>
                <a:lnTo>
                  <a:pt x="0" y="110"/>
                </a:lnTo>
                <a:lnTo>
                  <a:pt x="3" y="113"/>
                </a:lnTo>
                <a:lnTo>
                  <a:pt x="6" y="117"/>
                </a:lnTo>
                <a:lnTo>
                  <a:pt x="12" y="122"/>
                </a:lnTo>
                <a:lnTo>
                  <a:pt x="19" y="125"/>
                </a:lnTo>
                <a:lnTo>
                  <a:pt x="26" y="129"/>
                </a:lnTo>
                <a:lnTo>
                  <a:pt x="31" y="133"/>
                </a:lnTo>
                <a:lnTo>
                  <a:pt x="36" y="140"/>
                </a:lnTo>
                <a:lnTo>
                  <a:pt x="37" y="144"/>
                </a:lnTo>
                <a:lnTo>
                  <a:pt x="37" y="147"/>
                </a:lnTo>
                <a:lnTo>
                  <a:pt x="37" y="147"/>
                </a:lnTo>
                <a:lnTo>
                  <a:pt x="38" y="155"/>
                </a:lnTo>
                <a:lnTo>
                  <a:pt x="40" y="162"/>
                </a:lnTo>
                <a:lnTo>
                  <a:pt x="42" y="169"/>
                </a:lnTo>
                <a:lnTo>
                  <a:pt x="45" y="176"/>
                </a:lnTo>
                <a:lnTo>
                  <a:pt x="50" y="181"/>
                </a:lnTo>
                <a:lnTo>
                  <a:pt x="54" y="184"/>
                </a:lnTo>
                <a:lnTo>
                  <a:pt x="60" y="187"/>
                </a:lnTo>
                <a:lnTo>
                  <a:pt x="67" y="187"/>
                </a:lnTo>
                <a:lnTo>
                  <a:pt x="67" y="187"/>
                </a:lnTo>
                <a:lnTo>
                  <a:pt x="74" y="189"/>
                </a:lnTo>
                <a:lnTo>
                  <a:pt x="80" y="190"/>
                </a:lnTo>
                <a:lnTo>
                  <a:pt x="91" y="194"/>
                </a:lnTo>
                <a:lnTo>
                  <a:pt x="103" y="200"/>
                </a:lnTo>
                <a:lnTo>
                  <a:pt x="113" y="208"/>
                </a:lnTo>
                <a:lnTo>
                  <a:pt x="124" y="215"/>
                </a:lnTo>
                <a:lnTo>
                  <a:pt x="135" y="222"/>
                </a:lnTo>
                <a:lnTo>
                  <a:pt x="142" y="224"/>
                </a:lnTo>
                <a:lnTo>
                  <a:pt x="148" y="225"/>
                </a:lnTo>
                <a:lnTo>
                  <a:pt x="155" y="228"/>
                </a:lnTo>
                <a:lnTo>
                  <a:pt x="163" y="228"/>
                </a:lnTo>
                <a:lnTo>
                  <a:pt x="163" y="228"/>
                </a:lnTo>
                <a:lnTo>
                  <a:pt x="172" y="228"/>
                </a:lnTo>
                <a:lnTo>
                  <a:pt x="180" y="225"/>
                </a:lnTo>
                <a:lnTo>
                  <a:pt x="188" y="223"/>
                </a:lnTo>
                <a:lnTo>
                  <a:pt x="194" y="220"/>
                </a:lnTo>
                <a:lnTo>
                  <a:pt x="199" y="214"/>
                </a:lnTo>
                <a:lnTo>
                  <a:pt x="203" y="208"/>
                </a:lnTo>
                <a:lnTo>
                  <a:pt x="205" y="200"/>
                </a:lnTo>
                <a:lnTo>
                  <a:pt x="206" y="191"/>
                </a:lnTo>
                <a:lnTo>
                  <a:pt x="206" y="191"/>
                </a:lnTo>
                <a:lnTo>
                  <a:pt x="205" y="184"/>
                </a:lnTo>
                <a:lnTo>
                  <a:pt x="204" y="177"/>
                </a:lnTo>
                <a:lnTo>
                  <a:pt x="201" y="173"/>
                </a:lnTo>
                <a:lnTo>
                  <a:pt x="197" y="168"/>
                </a:lnTo>
                <a:lnTo>
                  <a:pt x="191" y="159"/>
                </a:lnTo>
                <a:lnTo>
                  <a:pt x="189" y="153"/>
                </a:lnTo>
                <a:lnTo>
                  <a:pt x="188" y="147"/>
                </a:lnTo>
                <a:lnTo>
                  <a:pt x="188" y="147"/>
                </a:lnTo>
                <a:lnTo>
                  <a:pt x="189" y="143"/>
                </a:lnTo>
                <a:lnTo>
                  <a:pt x="191" y="137"/>
                </a:lnTo>
                <a:lnTo>
                  <a:pt x="195" y="129"/>
                </a:lnTo>
                <a:lnTo>
                  <a:pt x="195" y="129"/>
                </a:lnTo>
                <a:lnTo>
                  <a:pt x="195" y="55"/>
                </a:lnTo>
                <a:lnTo>
                  <a:pt x="195" y="55"/>
                </a:lnTo>
                <a:lnTo>
                  <a:pt x="195" y="47"/>
                </a:lnTo>
                <a:lnTo>
                  <a:pt x="194" y="39"/>
                </a:lnTo>
                <a:lnTo>
                  <a:pt x="190" y="32"/>
                </a:lnTo>
                <a:lnTo>
                  <a:pt x="188" y="25"/>
                </a:lnTo>
                <a:lnTo>
                  <a:pt x="183" y="19"/>
                </a:lnTo>
                <a:lnTo>
                  <a:pt x="179" y="15"/>
                </a:lnTo>
                <a:lnTo>
                  <a:pt x="173" y="13"/>
                </a:lnTo>
                <a:lnTo>
                  <a:pt x="166" y="11"/>
                </a:lnTo>
                <a:lnTo>
                  <a:pt x="166" y="11"/>
                </a:lnTo>
                <a:lnTo>
                  <a:pt x="163" y="11"/>
                </a:lnTo>
                <a:lnTo>
                  <a:pt x="160" y="14"/>
                </a:lnTo>
                <a:lnTo>
                  <a:pt x="159" y="15"/>
                </a:lnTo>
                <a:lnTo>
                  <a:pt x="158" y="18"/>
                </a:lnTo>
                <a:lnTo>
                  <a:pt x="158" y="24"/>
                </a:lnTo>
                <a:lnTo>
                  <a:pt x="159" y="30"/>
                </a:lnTo>
                <a:lnTo>
                  <a:pt x="159" y="30"/>
                </a:lnTo>
                <a:lnTo>
                  <a:pt x="152" y="44"/>
                </a:lnTo>
                <a:lnTo>
                  <a:pt x="145" y="56"/>
                </a:lnTo>
                <a:lnTo>
                  <a:pt x="137" y="67"/>
                </a:lnTo>
                <a:lnTo>
                  <a:pt x="134" y="70"/>
                </a:lnTo>
                <a:lnTo>
                  <a:pt x="129" y="74"/>
                </a:lnTo>
                <a:lnTo>
                  <a:pt x="129" y="74"/>
                </a:lnTo>
                <a:lnTo>
                  <a:pt x="125" y="64"/>
                </a:lnTo>
                <a:lnTo>
                  <a:pt x="122" y="60"/>
                </a:lnTo>
                <a:lnTo>
                  <a:pt x="121" y="55"/>
                </a:lnTo>
                <a:lnTo>
                  <a:pt x="121" y="55"/>
                </a:lnTo>
                <a:lnTo>
                  <a:pt x="122" y="51"/>
                </a:lnTo>
                <a:lnTo>
                  <a:pt x="124" y="45"/>
                </a:lnTo>
                <a:lnTo>
                  <a:pt x="129" y="36"/>
                </a:lnTo>
                <a:lnTo>
                  <a:pt x="134" y="25"/>
                </a:lnTo>
                <a:lnTo>
                  <a:pt x="136" y="21"/>
                </a:lnTo>
                <a:lnTo>
                  <a:pt x="136" y="15"/>
                </a:lnTo>
                <a:lnTo>
                  <a:pt x="136" y="15"/>
                </a:lnTo>
                <a:lnTo>
                  <a:pt x="136" y="9"/>
                </a:lnTo>
                <a:lnTo>
                  <a:pt x="135" y="5"/>
                </a:lnTo>
                <a:lnTo>
                  <a:pt x="134" y="2"/>
                </a:lnTo>
                <a:lnTo>
                  <a:pt x="132" y="1"/>
                </a:lnTo>
                <a:lnTo>
                  <a:pt x="128" y="0"/>
                </a:lnTo>
                <a:lnTo>
                  <a:pt x="125" y="0"/>
                </a:lnTo>
                <a:lnTo>
                  <a:pt x="114" y="0"/>
                </a:lnTo>
                <a:lnTo>
                  <a:pt x="114" y="0"/>
                </a:lnTo>
                <a:lnTo>
                  <a:pt x="114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5" name="Freeform 10"/>
          <p:cNvSpPr>
            <a:spLocks/>
          </p:cNvSpPr>
          <p:nvPr/>
        </p:nvSpPr>
        <p:spPr bwMode="auto">
          <a:xfrm>
            <a:off x="4776788" y="2111375"/>
            <a:ext cx="144462" cy="225425"/>
          </a:xfrm>
          <a:custGeom>
            <a:avLst/>
            <a:gdLst/>
            <a:ahLst/>
            <a:cxnLst>
              <a:cxn ang="0">
                <a:pos x="80" y="25"/>
              </a:cxn>
              <a:cxn ang="0">
                <a:pos x="80" y="14"/>
              </a:cxn>
              <a:cxn ang="0">
                <a:pos x="76" y="5"/>
              </a:cxn>
              <a:cxn ang="0">
                <a:pos x="65" y="0"/>
              </a:cxn>
              <a:cxn ang="0">
                <a:pos x="63" y="1"/>
              </a:cxn>
              <a:cxn ang="0">
                <a:pos x="50" y="15"/>
              </a:cxn>
              <a:cxn ang="0">
                <a:pos x="36" y="37"/>
              </a:cxn>
              <a:cxn ang="0">
                <a:pos x="36" y="74"/>
              </a:cxn>
              <a:cxn ang="0">
                <a:pos x="36" y="74"/>
              </a:cxn>
              <a:cxn ang="0">
                <a:pos x="22" y="145"/>
              </a:cxn>
              <a:cxn ang="0">
                <a:pos x="14" y="164"/>
              </a:cxn>
              <a:cxn ang="0">
                <a:pos x="14" y="198"/>
              </a:cxn>
              <a:cxn ang="0">
                <a:pos x="14" y="198"/>
              </a:cxn>
              <a:cxn ang="0">
                <a:pos x="9" y="207"/>
              </a:cxn>
              <a:cxn ang="0">
                <a:pos x="1" y="232"/>
              </a:cxn>
              <a:cxn ang="0">
                <a:pos x="0" y="243"/>
              </a:cxn>
              <a:cxn ang="0">
                <a:pos x="1" y="250"/>
              </a:cxn>
              <a:cxn ang="0">
                <a:pos x="9" y="257"/>
              </a:cxn>
              <a:cxn ang="0">
                <a:pos x="14" y="258"/>
              </a:cxn>
              <a:cxn ang="0">
                <a:pos x="24" y="254"/>
              </a:cxn>
              <a:cxn ang="0">
                <a:pos x="32" y="248"/>
              </a:cxn>
              <a:cxn ang="0">
                <a:pos x="44" y="235"/>
              </a:cxn>
              <a:cxn ang="0">
                <a:pos x="59" y="222"/>
              </a:cxn>
              <a:cxn ang="0">
                <a:pos x="76" y="213"/>
              </a:cxn>
              <a:cxn ang="0">
                <a:pos x="114" y="198"/>
              </a:cxn>
              <a:cxn ang="0">
                <a:pos x="125" y="193"/>
              </a:cxn>
              <a:cxn ang="0">
                <a:pos x="146" y="181"/>
              </a:cxn>
              <a:cxn ang="0">
                <a:pos x="164" y="162"/>
              </a:cxn>
              <a:cxn ang="0">
                <a:pos x="172" y="146"/>
              </a:cxn>
              <a:cxn ang="0">
                <a:pos x="176" y="132"/>
              </a:cxn>
              <a:cxn ang="0">
                <a:pos x="176" y="125"/>
              </a:cxn>
              <a:cxn ang="0">
                <a:pos x="174" y="114"/>
              </a:cxn>
              <a:cxn ang="0">
                <a:pos x="161" y="89"/>
              </a:cxn>
              <a:cxn ang="0">
                <a:pos x="141" y="66"/>
              </a:cxn>
              <a:cxn ang="0">
                <a:pos x="122" y="49"/>
              </a:cxn>
              <a:cxn ang="0">
                <a:pos x="114" y="47"/>
              </a:cxn>
              <a:cxn ang="0">
                <a:pos x="105" y="48"/>
              </a:cxn>
              <a:cxn ang="0">
                <a:pos x="92" y="55"/>
              </a:cxn>
              <a:cxn ang="0">
                <a:pos x="84" y="68"/>
              </a:cxn>
              <a:cxn ang="0">
                <a:pos x="80" y="83"/>
              </a:cxn>
              <a:cxn ang="0">
                <a:pos x="80" y="91"/>
              </a:cxn>
              <a:cxn ang="0">
                <a:pos x="70" y="70"/>
              </a:cxn>
              <a:cxn ang="0">
                <a:pos x="80" y="25"/>
              </a:cxn>
              <a:cxn ang="0">
                <a:pos x="80" y="25"/>
              </a:cxn>
            </a:cxnLst>
            <a:rect l="0" t="0" r="r" b="b"/>
            <a:pathLst>
              <a:path w="176" h="258">
                <a:moveTo>
                  <a:pt x="80" y="25"/>
                </a:moveTo>
                <a:lnTo>
                  <a:pt x="80" y="25"/>
                </a:lnTo>
                <a:lnTo>
                  <a:pt x="80" y="14"/>
                </a:lnTo>
                <a:lnTo>
                  <a:pt x="80" y="14"/>
                </a:lnTo>
                <a:lnTo>
                  <a:pt x="79" y="9"/>
                </a:lnTo>
                <a:lnTo>
                  <a:pt x="76" y="5"/>
                </a:lnTo>
                <a:lnTo>
                  <a:pt x="71" y="1"/>
                </a:lnTo>
                <a:lnTo>
                  <a:pt x="65" y="0"/>
                </a:lnTo>
                <a:lnTo>
                  <a:pt x="65" y="0"/>
                </a:lnTo>
                <a:lnTo>
                  <a:pt x="63" y="1"/>
                </a:lnTo>
                <a:lnTo>
                  <a:pt x="60" y="5"/>
                </a:lnTo>
                <a:lnTo>
                  <a:pt x="50" y="15"/>
                </a:lnTo>
                <a:lnTo>
                  <a:pt x="41" y="28"/>
                </a:lnTo>
                <a:lnTo>
                  <a:pt x="36" y="37"/>
                </a:lnTo>
                <a:lnTo>
                  <a:pt x="36" y="37"/>
                </a:lnTo>
                <a:lnTo>
                  <a:pt x="36" y="74"/>
                </a:lnTo>
                <a:lnTo>
                  <a:pt x="36" y="74"/>
                </a:lnTo>
                <a:lnTo>
                  <a:pt x="36" y="74"/>
                </a:lnTo>
                <a:lnTo>
                  <a:pt x="26" y="123"/>
                </a:lnTo>
                <a:lnTo>
                  <a:pt x="22" y="145"/>
                </a:lnTo>
                <a:lnTo>
                  <a:pt x="18" y="155"/>
                </a:lnTo>
                <a:lnTo>
                  <a:pt x="14" y="164"/>
                </a:lnTo>
                <a:lnTo>
                  <a:pt x="14" y="164"/>
                </a:lnTo>
                <a:lnTo>
                  <a:pt x="14" y="198"/>
                </a:lnTo>
                <a:lnTo>
                  <a:pt x="14" y="198"/>
                </a:lnTo>
                <a:lnTo>
                  <a:pt x="14" y="198"/>
                </a:lnTo>
                <a:lnTo>
                  <a:pt x="11" y="201"/>
                </a:lnTo>
                <a:lnTo>
                  <a:pt x="9" y="207"/>
                </a:lnTo>
                <a:lnTo>
                  <a:pt x="4" y="219"/>
                </a:lnTo>
                <a:lnTo>
                  <a:pt x="1" y="232"/>
                </a:lnTo>
                <a:lnTo>
                  <a:pt x="0" y="243"/>
                </a:lnTo>
                <a:lnTo>
                  <a:pt x="0" y="243"/>
                </a:lnTo>
                <a:lnTo>
                  <a:pt x="0" y="246"/>
                </a:lnTo>
                <a:lnTo>
                  <a:pt x="1" y="250"/>
                </a:lnTo>
                <a:lnTo>
                  <a:pt x="4" y="254"/>
                </a:lnTo>
                <a:lnTo>
                  <a:pt x="9" y="257"/>
                </a:lnTo>
                <a:lnTo>
                  <a:pt x="14" y="258"/>
                </a:lnTo>
                <a:lnTo>
                  <a:pt x="14" y="258"/>
                </a:lnTo>
                <a:lnTo>
                  <a:pt x="19" y="257"/>
                </a:lnTo>
                <a:lnTo>
                  <a:pt x="24" y="254"/>
                </a:lnTo>
                <a:lnTo>
                  <a:pt x="27" y="252"/>
                </a:lnTo>
                <a:lnTo>
                  <a:pt x="32" y="248"/>
                </a:lnTo>
                <a:lnTo>
                  <a:pt x="44" y="235"/>
                </a:lnTo>
                <a:lnTo>
                  <a:pt x="44" y="235"/>
                </a:lnTo>
                <a:lnTo>
                  <a:pt x="50" y="228"/>
                </a:lnTo>
                <a:lnTo>
                  <a:pt x="59" y="222"/>
                </a:lnTo>
                <a:lnTo>
                  <a:pt x="67" y="217"/>
                </a:lnTo>
                <a:lnTo>
                  <a:pt x="76" y="213"/>
                </a:lnTo>
                <a:lnTo>
                  <a:pt x="94" y="205"/>
                </a:lnTo>
                <a:lnTo>
                  <a:pt x="114" y="198"/>
                </a:lnTo>
                <a:lnTo>
                  <a:pt x="114" y="198"/>
                </a:lnTo>
                <a:lnTo>
                  <a:pt x="125" y="193"/>
                </a:lnTo>
                <a:lnTo>
                  <a:pt x="136" y="187"/>
                </a:lnTo>
                <a:lnTo>
                  <a:pt x="146" y="181"/>
                </a:lnTo>
                <a:lnTo>
                  <a:pt x="156" y="173"/>
                </a:lnTo>
                <a:lnTo>
                  <a:pt x="164" y="162"/>
                </a:lnTo>
                <a:lnTo>
                  <a:pt x="170" y="152"/>
                </a:lnTo>
                <a:lnTo>
                  <a:pt x="172" y="146"/>
                </a:lnTo>
                <a:lnTo>
                  <a:pt x="175" y="139"/>
                </a:lnTo>
                <a:lnTo>
                  <a:pt x="176" y="132"/>
                </a:lnTo>
                <a:lnTo>
                  <a:pt x="176" y="125"/>
                </a:lnTo>
                <a:lnTo>
                  <a:pt x="176" y="125"/>
                </a:lnTo>
                <a:lnTo>
                  <a:pt x="176" y="120"/>
                </a:lnTo>
                <a:lnTo>
                  <a:pt x="174" y="114"/>
                </a:lnTo>
                <a:lnTo>
                  <a:pt x="169" y="102"/>
                </a:lnTo>
                <a:lnTo>
                  <a:pt x="161" y="89"/>
                </a:lnTo>
                <a:lnTo>
                  <a:pt x="152" y="76"/>
                </a:lnTo>
                <a:lnTo>
                  <a:pt x="141" y="66"/>
                </a:lnTo>
                <a:lnTo>
                  <a:pt x="131" y="55"/>
                </a:lnTo>
                <a:lnTo>
                  <a:pt x="122" y="49"/>
                </a:lnTo>
                <a:lnTo>
                  <a:pt x="117" y="48"/>
                </a:lnTo>
                <a:lnTo>
                  <a:pt x="114" y="47"/>
                </a:lnTo>
                <a:lnTo>
                  <a:pt x="114" y="47"/>
                </a:lnTo>
                <a:lnTo>
                  <a:pt x="105" y="48"/>
                </a:lnTo>
                <a:lnTo>
                  <a:pt x="98" y="51"/>
                </a:lnTo>
                <a:lnTo>
                  <a:pt x="92" y="55"/>
                </a:lnTo>
                <a:lnTo>
                  <a:pt x="87" y="61"/>
                </a:lnTo>
                <a:lnTo>
                  <a:pt x="84" y="68"/>
                </a:lnTo>
                <a:lnTo>
                  <a:pt x="82" y="75"/>
                </a:lnTo>
                <a:lnTo>
                  <a:pt x="80" y="83"/>
                </a:lnTo>
                <a:lnTo>
                  <a:pt x="80" y="91"/>
                </a:lnTo>
                <a:lnTo>
                  <a:pt x="80" y="91"/>
                </a:lnTo>
                <a:lnTo>
                  <a:pt x="70" y="91"/>
                </a:lnTo>
                <a:lnTo>
                  <a:pt x="70" y="70"/>
                </a:lnTo>
                <a:lnTo>
                  <a:pt x="70" y="70"/>
                </a:lnTo>
                <a:lnTo>
                  <a:pt x="80" y="25"/>
                </a:lnTo>
                <a:lnTo>
                  <a:pt x="80" y="25"/>
                </a:lnTo>
                <a:lnTo>
                  <a:pt x="80" y="2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Freeform 11"/>
          <p:cNvSpPr>
            <a:spLocks/>
          </p:cNvSpPr>
          <p:nvPr/>
        </p:nvSpPr>
        <p:spPr bwMode="auto">
          <a:xfrm>
            <a:off x="355600" y="4908550"/>
            <a:ext cx="369888" cy="503238"/>
          </a:xfrm>
          <a:custGeom>
            <a:avLst/>
            <a:gdLst/>
            <a:ahLst/>
            <a:cxnLst>
              <a:cxn ang="0">
                <a:pos x="434" y="346"/>
              </a:cxn>
              <a:cxn ang="0">
                <a:pos x="422" y="351"/>
              </a:cxn>
              <a:cxn ang="0">
                <a:pos x="406" y="342"/>
              </a:cxn>
              <a:cxn ang="0">
                <a:pos x="393" y="333"/>
              </a:cxn>
              <a:cxn ang="0">
                <a:pos x="368" y="380"/>
              </a:cxn>
              <a:cxn ang="0">
                <a:pos x="365" y="396"/>
              </a:cxn>
              <a:cxn ang="0">
                <a:pos x="376" y="404"/>
              </a:cxn>
              <a:cxn ang="0">
                <a:pos x="382" y="414"/>
              </a:cxn>
              <a:cxn ang="0">
                <a:pos x="363" y="490"/>
              </a:cxn>
              <a:cxn ang="0">
                <a:pos x="344" y="511"/>
              </a:cxn>
              <a:cxn ang="0">
                <a:pos x="342" y="535"/>
              </a:cxn>
              <a:cxn ang="0">
                <a:pos x="332" y="551"/>
              </a:cxn>
              <a:cxn ang="0">
                <a:pos x="310" y="566"/>
              </a:cxn>
              <a:cxn ang="0">
                <a:pos x="287" y="567"/>
              </a:cxn>
              <a:cxn ang="0">
                <a:pos x="270" y="556"/>
              </a:cxn>
              <a:cxn ang="0">
                <a:pos x="259" y="534"/>
              </a:cxn>
              <a:cxn ang="0">
                <a:pos x="238" y="527"/>
              </a:cxn>
              <a:cxn ang="0">
                <a:pos x="205" y="536"/>
              </a:cxn>
              <a:cxn ang="0">
                <a:pos x="172" y="564"/>
              </a:cxn>
              <a:cxn ang="0">
                <a:pos x="169" y="579"/>
              </a:cxn>
              <a:cxn ang="0">
                <a:pos x="145" y="557"/>
              </a:cxn>
              <a:cxn ang="0">
                <a:pos x="114" y="529"/>
              </a:cxn>
              <a:cxn ang="0">
                <a:pos x="102" y="535"/>
              </a:cxn>
              <a:cxn ang="0">
                <a:pos x="88" y="488"/>
              </a:cxn>
              <a:cxn ang="0">
                <a:pos x="80" y="395"/>
              </a:cxn>
              <a:cxn ang="0">
                <a:pos x="70" y="344"/>
              </a:cxn>
              <a:cxn ang="0">
                <a:pos x="48" y="317"/>
              </a:cxn>
              <a:cxn ang="0">
                <a:pos x="43" y="297"/>
              </a:cxn>
              <a:cxn ang="0">
                <a:pos x="52" y="281"/>
              </a:cxn>
              <a:cxn ang="0">
                <a:pos x="40" y="243"/>
              </a:cxn>
              <a:cxn ang="0">
                <a:pos x="18" y="183"/>
              </a:cxn>
              <a:cxn ang="0">
                <a:pos x="17" y="138"/>
              </a:cxn>
              <a:cxn ang="0">
                <a:pos x="6" y="94"/>
              </a:cxn>
              <a:cxn ang="0">
                <a:pos x="32" y="65"/>
              </a:cxn>
              <a:cxn ang="0">
                <a:pos x="83" y="132"/>
              </a:cxn>
              <a:cxn ang="0">
                <a:pos x="103" y="139"/>
              </a:cxn>
              <a:cxn ang="0">
                <a:pos x="121" y="130"/>
              </a:cxn>
              <a:cxn ang="0">
                <a:pos x="139" y="102"/>
              </a:cxn>
              <a:cxn ang="0">
                <a:pos x="163" y="89"/>
              </a:cxn>
              <a:cxn ang="0">
                <a:pos x="214" y="105"/>
              </a:cxn>
              <a:cxn ang="0">
                <a:pos x="246" y="114"/>
              </a:cxn>
              <a:cxn ang="0">
                <a:pos x="251" y="92"/>
              </a:cxn>
              <a:cxn ang="0">
                <a:pos x="234" y="58"/>
              </a:cxn>
              <a:cxn ang="0">
                <a:pos x="222" y="35"/>
              </a:cxn>
              <a:cxn ang="0">
                <a:pos x="232" y="5"/>
              </a:cxn>
              <a:cxn ang="0">
                <a:pos x="244" y="1"/>
              </a:cxn>
              <a:cxn ang="0">
                <a:pos x="261" y="17"/>
              </a:cxn>
              <a:cxn ang="0">
                <a:pos x="306" y="40"/>
              </a:cxn>
              <a:cxn ang="0">
                <a:pos x="342" y="51"/>
              </a:cxn>
              <a:cxn ang="0">
                <a:pos x="342" y="102"/>
              </a:cxn>
              <a:cxn ang="0">
                <a:pos x="386" y="107"/>
              </a:cxn>
              <a:cxn ang="0">
                <a:pos x="427" y="129"/>
              </a:cxn>
              <a:cxn ang="0">
                <a:pos x="437" y="150"/>
              </a:cxn>
              <a:cxn ang="0">
                <a:pos x="429" y="170"/>
              </a:cxn>
              <a:cxn ang="0">
                <a:pos x="413" y="200"/>
              </a:cxn>
              <a:cxn ang="0">
                <a:pos x="413" y="223"/>
              </a:cxn>
              <a:cxn ang="0">
                <a:pos x="431" y="247"/>
              </a:cxn>
              <a:cxn ang="0">
                <a:pos x="451" y="274"/>
              </a:cxn>
              <a:cxn ang="0">
                <a:pos x="449" y="304"/>
              </a:cxn>
              <a:cxn ang="0">
                <a:pos x="437" y="336"/>
              </a:cxn>
            </a:cxnLst>
            <a:rect l="0" t="0" r="r" b="b"/>
            <a:pathLst>
              <a:path w="452" h="579">
                <a:moveTo>
                  <a:pt x="437" y="336"/>
                </a:moveTo>
                <a:lnTo>
                  <a:pt x="437" y="336"/>
                </a:lnTo>
                <a:lnTo>
                  <a:pt x="436" y="342"/>
                </a:lnTo>
                <a:lnTo>
                  <a:pt x="434" y="346"/>
                </a:lnTo>
                <a:lnTo>
                  <a:pt x="429" y="350"/>
                </a:lnTo>
                <a:lnTo>
                  <a:pt x="427" y="351"/>
                </a:lnTo>
                <a:lnTo>
                  <a:pt x="422" y="351"/>
                </a:lnTo>
                <a:lnTo>
                  <a:pt x="422" y="351"/>
                </a:lnTo>
                <a:lnTo>
                  <a:pt x="417" y="350"/>
                </a:lnTo>
                <a:lnTo>
                  <a:pt x="413" y="349"/>
                </a:lnTo>
                <a:lnTo>
                  <a:pt x="409" y="345"/>
                </a:lnTo>
                <a:lnTo>
                  <a:pt x="406" y="342"/>
                </a:lnTo>
                <a:lnTo>
                  <a:pt x="400" y="336"/>
                </a:lnTo>
                <a:lnTo>
                  <a:pt x="397" y="334"/>
                </a:lnTo>
                <a:lnTo>
                  <a:pt x="393" y="333"/>
                </a:lnTo>
                <a:lnTo>
                  <a:pt x="393" y="333"/>
                </a:lnTo>
                <a:lnTo>
                  <a:pt x="391" y="335"/>
                </a:lnTo>
                <a:lnTo>
                  <a:pt x="386" y="341"/>
                </a:lnTo>
                <a:lnTo>
                  <a:pt x="377" y="360"/>
                </a:lnTo>
                <a:lnTo>
                  <a:pt x="368" y="380"/>
                </a:lnTo>
                <a:lnTo>
                  <a:pt x="365" y="387"/>
                </a:lnTo>
                <a:lnTo>
                  <a:pt x="363" y="391"/>
                </a:lnTo>
                <a:lnTo>
                  <a:pt x="363" y="391"/>
                </a:lnTo>
                <a:lnTo>
                  <a:pt x="365" y="396"/>
                </a:lnTo>
                <a:lnTo>
                  <a:pt x="367" y="399"/>
                </a:lnTo>
                <a:lnTo>
                  <a:pt x="369" y="402"/>
                </a:lnTo>
                <a:lnTo>
                  <a:pt x="373" y="403"/>
                </a:lnTo>
                <a:lnTo>
                  <a:pt x="376" y="404"/>
                </a:lnTo>
                <a:lnTo>
                  <a:pt x="379" y="406"/>
                </a:lnTo>
                <a:lnTo>
                  <a:pt x="381" y="410"/>
                </a:lnTo>
                <a:lnTo>
                  <a:pt x="382" y="414"/>
                </a:lnTo>
                <a:lnTo>
                  <a:pt x="382" y="414"/>
                </a:lnTo>
                <a:lnTo>
                  <a:pt x="382" y="483"/>
                </a:lnTo>
                <a:lnTo>
                  <a:pt x="382" y="483"/>
                </a:lnTo>
                <a:lnTo>
                  <a:pt x="371" y="487"/>
                </a:lnTo>
                <a:lnTo>
                  <a:pt x="363" y="490"/>
                </a:lnTo>
                <a:lnTo>
                  <a:pt x="356" y="494"/>
                </a:lnTo>
                <a:lnTo>
                  <a:pt x="351" y="499"/>
                </a:lnTo>
                <a:lnTo>
                  <a:pt x="346" y="504"/>
                </a:lnTo>
                <a:lnTo>
                  <a:pt x="344" y="511"/>
                </a:lnTo>
                <a:lnTo>
                  <a:pt x="342" y="519"/>
                </a:lnTo>
                <a:lnTo>
                  <a:pt x="342" y="527"/>
                </a:lnTo>
                <a:lnTo>
                  <a:pt x="342" y="527"/>
                </a:lnTo>
                <a:lnTo>
                  <a:pt x="342" y="535"/>
                </a:lnTo>
                <a:lnTo>
                  <a:pt x="342" y="535"/>
                </a:lnTo>
                <a:lnTo>
                  <a:pt x="342" y="535"/>
                </a:lnTo>
                <a:lnTo>
                  <a:pt x="337" y="544"/>
                </a:lnTo>
                <a:lnTo>
                  <a:pt x="332" y="551"/>
                </a:lnTo>
                <a:lnTo>
                  <a:pt x="328" y="557"/>
                </a:lnTo>
                <a:lnTo>
                  <a:pt x="323" y="562"/>
                </a:lnTo>
                <a:lnTo>
                  <a:pt x="317" y="565"/>
                </a:lnTo>
                <a:lnTo>
                  <a:pt x="310" y="566"/>
                </a:lnTo>
                <a:lnTo>
                  <a:pt x="302" y="567"/>
                </a:lnTo>
                <a:lnTo>
                  <a:pt x="293" y="569"/>
                </a:lnTo>
                <a:lnTo>
                  <a:pt x="293" y="569"/>
                </a:lnTo>
                <a:lnTo>
                  <a:pt x="287" y="567"/>
                </a:lnTo>
                <a:lnTo>
                  <a:pt x="283" y="566"/>
                </a:lnTo>
                <a:lnTo>
                  <a:pt x="278" y="564"/>
                </a:lnTo>
                <a:lnTo>
                  <a:pt x="275" y="562"/>
                </a:lnTo>
                <a:lnTo>
                  <a:pt x="270" y="556"/>
                </a:lnTo>
                <a:lnTo>
                  <a:pt x="268" y="548"/>
                </a:lnTo>
                <a:lnTo>
                  <a:pt x="264" y="541"/>
                </a:lnTo>
                <a:lnTo>
                  <a:pt x="262" y="537"/>
                </a:lnTo>
                <a:lnTo>
                  <a:pt x="259" y="534"/>
                </a:lnTo>
                <a:lnTo>
                  <a:pt x="255" y="532"/>
                </a:lnTo>
                <a:lnTo>
                  <a:pt x="251" y="529"/>
                </a:lnTo>
                <a:lnTo>
                  <a:pt x="245" y="528"/>
                </a:lnTo>
                <a:lnTo>
                  <a:pt x="238" y="527"/>
                </a:lnTo>
                <a:lnTo>
                  <a:pt x="238" y="527"/>
                </a:lnTo>
                <a:lnTo>
                  <a:pt x="228" y="528"/>
                </a:lnTo>
                <a:lnTo>
                  <a:pt x="216" y="532"/>
                </a:lnTo>
                <a:lnTo>
                  <a:pt x="205" y="536"/>
                </a:lnTo>
                <a:lnTo>
                  <a:pt x="193" y="542"/>
                </a:lnTo>
                <a:lnTo>
                  <a:pt x="184" y="550"/>
                </a:lnTo>
                <a:lnTo>
                  <a:pt x="176" y="559"/>
                </a:lnTo>
                <a:lnTo>
                  <a:pt x="172" y="564"/>
                </a:lnTo>
                <a:lnTo>
                  <a:pt x="170" y="569"/>
                </a:lnTo>
                <a:lnTo>
                  <a:pt x="169" y="574"/>
                </a:lnTo>
                <a:lnTo>
                  <a:pt x="169" y="579"/>
                </a:lnTo>
                <a:lnTo>
                  <a:pt x="169" y="579"/>
                </a:lnTo>
                <a:lnTo>
                  <a:pt x="162" y="577"/>
                </a:lnTo>
                <a:lnTo>
                  <a:pt x="156" y="572"/>
                </a:lnTo>
                <a:lnTo>
                  <a:pt x="150" y="565"/>
                </a:lnTo>
                <a:lnTo>
                  <a:pt x="145" y="557"/>
                </a:lnTo>
                <a:lnTo>
                  <a:pt x="129" y="535"/>
                </a:lnTo>
                <a:lnTo>
                  <a:pt x="129" y="535"/>
                </a:lnTo>
                <a:lnTo>
                  <a:pt x="121" y="531"/>
                </a:lnTo>
                <a:lnTo>
                  <a:pt x="114" y="529"/>
                </a:lnTo>
                <a:lnTo>
                  <a:pt x="111" y="529"/>
                </a:lnTo>
                <a:lnTo>
                  <a:pt x="108" y="531"/>
                </a:lnTo>
                <a:lnTo>
                  <a:pt x="102" y="535"/>
                </a:lnTo>
                <a:lnTo>
                  <a:pt x="102" y="535"/>
                </a:lnTo>
                <a:lnTo>
                  <a:pt x="98" y="523"/>
                </a:lnTo>
                <a:lnTo>
                  <a:pt x="94" y="510"/>
                </a:lnTo>
                <a:lnTo>
                  <a:pt x="88" y="488"/>
                </a:lnTo>
                <a:lnTo>
                  <a:pt x="88" y="488"/>
                </a:lnTo>
                <a:lnTo>
                  <a:pt x="85" y="466"/>
                </a:lnTo>
                <a:lnTo>
                  <a:pt x="83" y="448"/>
                </a:lnTo>
                <a:lnTo>
                  <a:pt x="81" y="412"/>
                </a:lnTo>
                <a:lnTo>
                  <a:pt x="80" y="395"/>
                </a:lnTo>
                <a:lnTo>
                  <a:pt x="79" y="379"/>
                </a:lnTo>
                <a:lnTo>
                  <a:pt x="76" y="361"/>
                </a:lnTo>
                <a:lnTo>
                  <a:pt x="70" y="344"/>
                </a:lnTo>
                <a:lnTo>
                  <a:pt x="70" y="344"/>
                </a:lnTo>
                <a:lnTo>
                  <a:pt x="64" y="334"/>
                </a:lnTo>
                <a:lnTo>
                  <a:pt x="58" y="326"/>
                </a:lnTo>
                <a:lnTo>
                  <a:pt x="53" y="320"/>
                </a:lnTo>
                <a:lnTo>
                  <a:pt x="48" y="317"/>
                </a:lnTo>
                <a:lnTo>
                  <a:pt x="45" y="313"/>
                </a:lnTo>
                <a:lnTo>
                  <a:pt x="42" y="308"/>
                </a:lnTo>
                <a:lnTo>
                  <a:pt x="42" y="304"/>
                </a:lnTo>
                <a:lnTo>
                  <a:pt x="43" y="297"/>
                </a:lnTo>
                <a:lnTo>
                  <a:pt x="43" y="297"/>
                </a:lnTo>
                <a:lnTo>
                  <a:pt x="48" y="292"/>
                </a:lnTo>
                <a:lnTo>
                  <a:pt x="50" y="287"/>
                </a:lnTo>
                <a:lnTo>
                  <a:pt x="52" y="281"/>
                </a:lnTo>
                <a:lnTo>
                  <a:pt x="50" y="274"/>
                </a:lnTo>
                <a:lnTo>
                  <a:pt x="49" y="267"/>
                </a:lnTo>
                <a:lnTo>
                  <a:pt x="47" y="259"/>
                </a:lnTo>
                <a:lnTo>
                  <a:pt x="40" y="243"/>
                </a:lnTo>
                <a:lnTo>
                  <a:pt x="33" y="226"/>
                </a:lnTo>
                <a:lnTo>
                  <a:pt x="25" y="208"/>
                </a:lnTo>
                <a:lnTo>
                  <a:pt x="20" y="191"/>
                </a:lnTo>
                <a:lnTo>
                  <a:pt x="18" y="183"/>
                </a:lnTo>
                <a:lnTo>
                  <a:pt x="18" y="175"/>
                </a:lnTo>
                <a:lnTo>
                  <a:pt x="18" y="175"/>
                </a:lnTo>
                <a:lnTo>
                  <a:pt x="17" y="151"/>
                </a:lnTo>
                <a:lnTo>
                  <a:pt x="17" y="138"/>
                </a:lnTo>
                <a:lnTo>
                  <a:pt x="16" y="126"/>
                </a:lnTo>
                <a:lnTo>
                  <a:pt x="14" y="114"/>
                </a:lnTo>
                <a:lnTo>
                  <a:pt x="10" y="104"/>
                </a:lnTo>
                <a:lnTo>
                  <a:pt x="6" y="94"/>
                </a:lnTo>
                <a:lnTo>
                  <a:pt x="3" y="90"/>
                </a:lnTo>
                <a:lnTo>
                  <a:pt x="0" y="88"/>
                </a:lnTo>
                <a:lnTo>
                  <a:pt x="0" y="88"/>
                </a:lnTo>
                <a:lnTo>
                  <a:pt x="32" y="65"/>
                </a:lnTo>
                <a:lnTo>
                  <a:pt x="77" y="127"/>
                </a:lnTo>
                <a:lnTo>
                  <a:pt x="77" y="127"/>
                </a:lnTo>
                <a:lnTo>
                  <a:pt x="77" y="127"/>
                </a:lnTo>
                <a:lnTo>
                  <a:pt x="83" y="132"/>
                </a:lnTo>
                <a:lnTo>
                  <a:pt x="90" y="137"/>
                </a:lnTo>
                <a:lnTo>
                  <a:pt x="96" y="139"/>
                </a:lnTo>
                <a:lnTo>
                  <a:pt x="100" y="139"/>
                </a:lnTo>
                <a:lnTo>
                  <a:pt x="103" y="139"/>
                </a:lnTo>
                <a:lnTo>
                  <a:pt x="108" y="138"/>
                </a:lnTo>
                <a:lnTo>
                  <a:pt x="113" y="136"/>
                </a:lnTo>
                <a:lnTo>
                  <a:pt x="116" y="134"/>
                </a:lnTo>
                <a:lnTo>
                  <a:pt x="121" y="130"/>
                </a:lnTo>
                <a:lnTo>
                  <a:pt x="125" y="124"/>
                </a:lnTo>
                <a:lnTo>
                  <a:pt x="130" y="119"/>
                </a:lnTo>
                <a:lnTo>
                  <a:pt x="139" y="102"/>
                </a:lnTo>
                <a:lnTo>
                  <a:pt x="139" y="102"/>
                </a:lnTo>
                <a:lnTo>
                  <a:pt x="144" y="96"/>
                </a:lnTo>
                <a:lnTo>
                  <a:pt x="149" y="92"/>
                </a:lnTo>
                <a:lnTo>
                  <a:pt x="155" y="90"/>
                </a:lnTo>
                <a:lnTo>
                  <a:pt x="163" y="89"/>
                </a:lnTo>
                <a:lnTo>
                  <a:pt x="171" y="90"/>
                </a:lnTo>
                <a:lnTo>
                  <a:pt x="179" y="91"/>
                </a:lnTo>
                <a:lnTo>
                  <a:pt x="198" y="97"/>
                </a:lnTo>
                <a:lnTo>
                  <a:pt x="214" y="105"/>
                </a:lnTo>
                <a:lnTo>
                  <a:pt x="229" y="112"/>
                </a:lnTo>
                <a:lnTo>
                  <a:pt x="241" y="120"/>
                </a:lnTo>
                <a:lnTo>
                  <a:pt x="241" y="120"/>
                </a:lnTo>
                <a:lnTo>
                  <a:pt x="246" y="114"/>
                </a:lnTo>
                <a:lnTo>
                  <a:pt x="248" y="108"/>
                </a:lnTo>
                <a:lnTo>
                  <a:pt x="249" y="102"/>
                </a:lnTo>
                <a:lnTo>
                  <a:pt x="251" y="97"/>
                </a:lnTo>
                <a:lnTo>
                  <a:pt x="251" y="92"/>
                </a:lnTo>
                <a:lnTo>
                  <a:pt x="251" y="86"/>
                </a:lnTo>
                <a:lnTo>
                  <a:pt x="247" y="77"/>
                </a:lnTo>
                <a:lnTo>
                  <a:pt x="241" y="67"/>
                </a:lnTo>
                <a:lnTo>
                  <a:pt x="234" y="58"/>
                </a:lnTo>
                <a:lnTo>
                  <a:pt x="216" y="39"/>
                </a:lnTo>
                <a:lnTo>
                  <a:pt x="216" y="39"/>
                </a:lnTo>
                <a:lnTo>
                  <a:pt x="220" y="38"/>
                </a:lnTo>
                <a:lnTo>
                  <a:pt x="222" y="35"/>
                </a:lnTo>
                <a:lnTo>
                  <a:pt x="224" y="31"/>
                </a:lnTo>
                <a:lnTo>
                  <a:pt x="225" y="28"/>
                </a:lnTo>
                <a:lnTo>
                  <a:pt x="230" y="9"/>
                </a:lnTo>
                <a:lnTo>
                  <a:pt x="232" y="5"/>
                </a:lnTo>
                <a:lnTo>
                  <a:pt x="233" y="2"/>
                </a:lnTo>
                <a:lnTo>
                  <a:pt x="236" y="0"/>
                </a:lnTo>
                <a:lnTo>
                  <a:pt x="239" y="0"/>
                </a:lnTo>
                <a:lnTo>
                  <a:pt x="244" y="1"/>
                </a:lnTo>
                <a:lnTo>
                  <a:pt x="248" y="5"/>
                </a:lnTo>
                <a:lnTo>
                  <a:pt x="254" y="9"/>
                </a:lnTo>
                <a:lnTo>
                  <a:pt x="261" y="17"/>
                </a:lnTo>
                <a:lnTo>
                  <a:pt x="261" y="17"/>
                </a:lnTo>
                <a:lnTo>
                  <a:pt x="266" y="22"/>
                </a:lnTo>
                <a:lnTo>
                  <a:pt x="271" y="25"/>
                </a:lnTo>
                <a:lnTo>
                  <a:pt x="286" y="33"/>
                </a:lnTo>
                <a:lnTo>
                  <a:pt x="306" y="40"/>
                </a:lnTo>
                <a:lnTo>
                  <a:pt x="327" y="46"/>
                </a:lnTo>
                <a:lnTo>
                  <a:pt x="327" y="46"/>
                </a:lnTo>
                <a:lnTo>
                  <a:pt x="333" y="48"/>
                </a:lnTo>
                <a:lnTo>
                  <a:pt x="342" y="51"/>
                </a:lnTo>
                <a:lnTo>
                  <a:pt x="342" y="51"/>
                </a:lnTo>
                <a:lnTo>
                  <a:pt x="340" y="74"/>
                </a:lnTo>
                <a:lnTo>
                  <a:pt x="339" y="88"/>
                </a:lnTo>
                <a:lnTo>
                  <a:pt x="342" y="102"/>
                </a:lnTo>
                <a:lnTo>
                  <a:pt x="342" y="102"/>
                </a:lnTo>
                <a:lnTo>
                  <a:pt x="355" y="101"/>
                </a:lnTo>
                <a:lnTo>
                  <a:pt x="370" y="104"/>
                </a:lnTo>
                <a:lnTo>
                  <a:pt x="386" y="107"/>
                </a:lnTo>
                <a:lnTo>
                  <a:pt x="401" y="113"/>
                </a:lnTo>
                <a:lnTo>
                  <a:pt x="415" y="121"/>
                </a:lnTo>
                <a:lnTo>
                  <a:pt x="422" y="124"/>
                </a:lnTo>
                <a:lnTo>
                  <a:pt x="427" y="129"/>
                </a:lnTo>
                <a:lnTo>
                  <a:pt x="431" y="134"/>
                </a:lnTo>
                <a:lnTo>
                  <a:pt x="435" y="139"/>
                </a:lnTo>
                <a:lnTo>
                  <a:pt x="436" y="144"/>
                </a:lnTo>
                <a:lnTo>
                  <a:pt x="437" y="150"/>
                </a:lnTo>
                <a:lnTo>
                  <a:pt x="437" y="150"/>
                </a:lnTo>
                <a:lnTo>
                  <a:pt x="436" y="157"/>
                </a:lnTo>
                <a:lnTo>
                  <a:pt x="434" y="163"/>
                </a:lnTo>
                <a:lnTo>
                  <a:pt x="429" y="170"/>
                </a:lnTo>
                <a:lnTo>
                  <a:pt x="424" y="176"/>
                </a:lnTo>
                <a:lnTo>
                  <a:pt x="420" y="183"/>
                </a:lnTo>
                <a:lnTo>
                  <a:pt x="415" y="191"/>
                </a:lnTo>
                <a:lnTo>
                  <a:pt x="413" y="200"/>
                </a:lnTo>
                <a:lnTo>
                  <a:pt x="412" y="212"/>
                </a:lnTo>
                <a:lnTo>
                  <a:pt x="412" y="212"/>
                </a:lnTo>
                <a:lnTo>
                  <a:pt x="412" y="218"/>
                </a:lnTo>
                <a:lnTo>
                  <a:pt x="413" y="223"/>
                </a:lnTo>
                <a:lnTo>
                  <a:pt x="415" y="228"/>
                </a:lnTo>
                <a:lnTo>
                  <a:pt x="417" y="233"/>
                </a:lnTo>
                <a:lnTo>
                  <a:pt x="424" y="241"/>
                </a:lnTo>
                <a:lnTo>
                  <a:pt x="431" y="247"/>
                </a:lnTo>
                <a:lnTo>
                  <a:pt x="439" y="254"/>
                </a:lnTo>
                <a:lnTo>
                  <a:pt x="445" y="261"/>
                </a:lnTo>
                <a:lnTo>
                  <a:pt x="450" y="269"/>
                </a:lnTo>
                <a:lnTo>
                  <a:pt x="451" y="274"/>
                </a:lnTo>
                <a:lnTo>
                  <a:pt x="452" y="279"/>
                </a:lnTo>
                <a:lnTo>
                  <a:pt x="452" y="279"/>
                </a:lnTo>
                <a:lnTo>
                  <a:pt x="451" y="291"/>
                </a:lnTo>
                <a:lnTo>
                  <a:pt x="449" y="304"/>
                </a:lnTo>
                <a:lnTo>
                  <a:pt x="445" y="317"/>
                </a:lnTo>
                <a:lnTo>
                  <a:pt x="444" y="329"/>
                </a:lnTo>
                <a:lnTo>
                  <a:pt x="444" y="329"/>
                </a:lnTo>
                <a:lnTo>
                  <a:pt x="437" y="336"/>
                </a:lnTo>
                <a:lnTo>
                  <a:pt x="437" y="33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7" name="Freeform 12"/>
          <p:cNvSpPr>
            <a:spLocks/>
          </p:cNvSpPr>
          <p:nvPr/>
        </p:nvSpPr>
        <p:spPr bwMode="auto">
          <a:xfrm>
            <a:off x="635000" y="5195888"/>
            <a:ext cx="322263" cy="457200"/>
          </a:xfrm>
          <a:custGeom>
            <a:avLst/>
            <a:gdLst/>
            <a:ahLst/>
            <a:cxnLst>
              <a:cxn ang="0">
                <a:pos x="170" y="452"/>
              </a:cxn>
              <a:cxn ang="0">
                <a:pos x="154" y="429"/>
              </a:cxn>
              <a:cxn ang="0">
                <a:pos x="128" y="416"/>
              </a:cxn>
              <a:cxn ang="0">
                <a:pos x="103" y="411"/>
              </a:cxn>
              <a:cxn ang="0">
                <a:pos x="62" y="374"/>
              </a:cxn>
              <a:cxn ang="0">
                <a:pos x="28" y="360"/>
              </a:cxn>
              <a:cxn ang="0">
                <a:pos x="27" y="335"/>
              </a:cxn>
              <a:cxn ang="0">
                <a:pos x="18" y="302"/>
              </a:cxn>
              <a:cxn ang="0">
                <a:pos x="23" y="290"/>
              </a:cxn>
              <a:cxn ang="0">
                <a:pos x="42" y="280"/>
              </a:cxn>
              <a:cxn ang="0">
                <a:pos x="47" y="268"/>
              </a:cxn>
              <a:cxn ang="0">
                <a:pos x="40" y="249"/>
              </a:cxn>
              <a:cxn ang="0">
                <a:pos x="6" y="219"/>
              </a:cxn>
              <a:cxn ang="0">
                <a:pos x="0" y="198"/>
              </a:cxn>
              <a:cxn ang="0">
                <a:pos x="4" y="175"/>
              </a:cxn>
              <a:cxn ang="0">
                <a:pos x="29" y="158"/>
              </a:cxn>
              <a:cxn ang="0">
                <a:pos x="40" y="85"/>
              </a:cxn>
              <a:cxn ang="0">
                <a:pos x="31" y="74"/>
              </a:cxn>
              <a:cxn ang="0">
                <a:pos x="21" y="62"/>
              </a:cxn>
              <a:cxn ang="0">
                <a:pos x="35" y="31"/>
              </a:cxn>
              <a:cxn ang="0">
                <a:pos x="51" y="4"/>
              </a:cxn>
              <a:cxn ang="0">
                <a:pos x="67" y="16"/>
              </a:cxn>
              <a:cxn ang="0">
                <a:pos x="80" y="22"/>
              </a:cxn>
              <a:cxn ang="0">
                <a:pos x="96" y="12"/>
              </a:cxn>
              <a:cxn ang="0">
                <a:pos x="113" y="0"/>
              </a:cxn>
              <a:cxn ang="0">
                <a:pos x="127" y="4"/>
              </a:cxn>
              <a:cxn ang="0">
                <a:pos x="147" y="22"/>
              </a:cxn>
              <a:cxn ang="0">
                <a:pos x="156" y="45"/>
              </a:cxn>
              <a:cxn ang="0">
                <a:pos x="176" y="55"/>
              </a:cxn>
              <a:cxn ang="0">
                <a:pos x="191" y="52"/>
              </a:cxn>
              <a:cxn ang="0">
                <a:pos x="207" y="58"/>
              </a:cxn>
              <a:cxn ang="0">
                <a:pos x="220" y="74"/>
              </a:cxn>
              <a:cxn ang="0">
                <a:pos x="256" y="81"/>
              </a:cxn>
              <a:cxn ang="0">
                <a:pos x="264" y="92"/>
              </a:cxn>
              <a:cxn ang="0">
                <a:pos x="270" y="113"/>
              </a:cxn>
              <a:cxn ang="0">
                <a:pos x="302" y="144"/>
              </a:cxn>
              <a:cxn ang="0">
                <a:pos x="324" y="172"/>
              </a:cxn>
              <a:cxn ang="0">
                <a:pos x="325" y="191"/>
              </a:cxn>
              <a:cxn ang="0">
                <a:pos x="316" y="220"/>
              </a:cxn>
              <a:cxn ang="0">
                <a:pos x="318" y="249"/>
              </a:cxn>
              <a:cxn ang="0">
                <a:pos x="339" y="291"/>
              </a:cxn>
              <a:cxn ang="0">
                <a:pos x="380" y="347"/>
              </a:cxn>
              <a:cxn ang="0">
                <a:pos x="393" y="386"/>
              </a:cxn>
              <a:cxn ang="0">
                <a:pos x="383" y="418"/>
              </a:cxn>
              <a:cxn ang="0">
                <a:pos x="334" y="429"/>
              </a:cxn>
              <a:cxn ang="0">
                <a:pos x="308" y="463"/>
              </a:cxn>
              <a:cxn ang="0">
                <a:pos x="293" y="467"/>
              </a:cxn>
              <a:cxn ang="0">
                <a:pos x="286" y="478"/>
              </a:cxn>
              <a:cxn ang="0">
                <a:pos x="281" y="503"/>
              </a:cxn>
              <a:cxn ang="0">
                <a:pos x="286" y="525"/>
              </a:cxn>
              <a:cxn ang="0">
                <a:pos x="278" y="518"/>
              </a:cxn>
              <a:cxn ang="0">
                <a:pos x="255" y="516"/>
              </a:cxn>
              <a:cxn ang="0">
                <a:pos x="240" y="504"/>
              </a:cxn>
              <a:cxn ang="0">
                <a:pos x="216" y="504"/>
              </a:cxn>
              <a:cxn ang="0">
                <a:pos x="195" y="486"/>
              </a:cxn>
              <a:cxn ang="0">
                <a:pos x="172" y="471"/>
              </a:cxn>
              <a:cxn ang="0">
                <a:pos x="161" y="463"/>
              </a:cxn>
            </a:cxnLst>
            <a:rect l="0" t="0" r="r" b="b"/>
            <a:pathLst>
              <a:path w="393" h="525">
                <a:moveTo>
                  <a:pt x="161" y="463"/>
                </a:moveTo>
                <a:lnTo>
                  <a:pt x="161" y="463"/>
                </a:lnTo>
                <a:lnTo>
                  <a:pt x="165" y="456"/>
                </a:lnTo>
                <a:lnTo>
                  <a:pt x="170" y="452"/>
                </a:lnTo>
                <a:lnTo>
                  <a:pt x="173" y="449"/>
                </a:lnTo>
                <a:lnTo>
                  <a:pt x="176" y="446"/>
                </a:lnTo>
                <a:lnTo>
                  <a:pt x="176" y="446"/>
                </a:lnTo>
                <a:lnTo>
                  <a:pt x="154" y="429"/>
                </a:lnTo>
                <a:lnTo>
                  <a:pt x="144" y="421"/>
                </a:lnTo>
                <a:lnTo>
                  <a:pt x="135" y="412"/>
                </a:lnTo>
                <a:lnTo>
                  <a:pt x="135" y="412"/>
                </a:lnTo>
                <a:lnTo>
                  <a:pt x="128" y="416"/>
                </a:lnTo>
                <a:lnTo>
                  <a:pt x="121" y="417"/>
                </a:lnTo>
                <a:lnTo>
                  <a:pt x="115" y="416"/>
                </a:lnTo>
                <a:lnTo>
                  <a:pt x="109" y="414"/>
                </a:lnTo>
                <a:lnTo>
                  <a:pt x="103" y="411"/>
                </a:lnTo>
                <a:lnTo>
                  <a:pt x="97" y="408"/>
                </a:lnTo>
                <a:lnTo>
                  <a:pt x="86" y="397"/>
                </a:lnTo>
                <a:lnTo>
                  <a:pt x="74" y="386"/>
                </a:lnTo>
                <a:lnTo>
                  <a:pt x="62" y="374"/>
                </a:lnTo>
                <a:lnTo>
                  <a:pt x="55" y="370"/>
                </a:lnTo>
                <a:lnTo>
                  <a:pt x="47" y="366"/>
                </a:lnTo>
                <a:lnTo>
                  <a:pt x="37" y="363"/>
                </a:lnTo>
                <a:lnTo>
                  <a:pt x="28" y="360"/>
                </a:lnTo>
                <a:lnTo>
                  <a:pt x="28" y="360"/>
                </a:lnTo>
                <a:lnTo>
                  <a:pt x="29" y="351"/>
                </a:lnTo>
                <a:lnTo>
                  <a:pt x="28" y="343"/>
                </a:lnTo>
                <a:lnTo>
                  <a:pt x="27" y="335"/>
                </a:lnTo>
                <a:lnTo>
                  <a:pt x="25" y="328"/>
                </a:lnTo>
                <a:lnTo>
                  <a:pt x="20" y="315"/>
                </a:lnTo>
                <a:lnTo>
                  <a:pt x="18" y="309"/>
                </a:lnTo>
                <a:lnTo>
                  <a:pt x="18" y="302"/>
                </a:lnTo>
                <a:lnTo>
                  <a:pt x="18" y="302"/>
                </a:lnTo>
                <a:lnTo>
                  <a:pt x="18" y="298"/>
                </a:lnTo>
                <a:lnTo>
                  <a:pt x="19" y="295"/>
                </a:lnTo>
                <a:lnTo>
                  <a:pt x="23" y="290"/>
                </a:lnTo>
                <a:lnTo>
                  <a:pt x="27" y="288"/>
                </a:lnTo>
                <a:lnTo>
                  <a:pt x="32" y="286"/>
                </a:lnTo>
                <a:lnTo>
                  <a:pt x="37" y="283"/>
                </a:lnTo>
                <a:lnTo>
                  <a:pt x="42" y="280"/>
                </a:lnTo>
                <a:lnTo>
                  <a:pt x="46" y="275"/>
                </a:lnTo>
                <a:lnTo>
                  <a:pt x="47" y="273"/>
                </a:lnTo>
                <a:lnTo>
                  <a:pt x="47" y="268"/>
                </a:lnTo>
                <a:lnTo>
                  <a:pt x="47" y="268"/>
                </a:lnTo>
                <a:lnTo>
                  <a:pt x="47" y="263"/>
                </a:lnTo>
                <a:lnTo>
                  <a:pt x="44" y="258"/>
                </a:lnTo>
                <a:lnTo>
                  <a:pt x="42" y="253"/>
                </a:lnTo>
                <a:lnTo>
                  <a:pt x="40" y="249"/>
                </a:lnTo>
                <a:lnTo>
                  <a:pt x="32" y="241"/>
                </a:lnTo>
                <a:lnTo>
                  <a:pt x="23" y="234"/>
                </a:lnTo>
                <a:lnTo>
                  <a:pt x="14" y="227"/>
                </a:lnTo>
                <a:lnTo>
                  <a:pt x="6" y="219"/>
                </a:lnTo>
                <a:lnTo>
                  <a:pt x="4" y="214"/>
                </a:lnTo>
                <a:lnTo>
                  <a:pt x="2" y="210"/>
                </a:lnTo>
                <a:lnTo>
                  <a:pt x="0" y="205"/>
                </a:lnTo>
                <a:lnTo>
                  <a:pt x="0" y="198"/>
                </a:lnTo>
                <a:lnTo>
                  <a:pt x="0" y="198"/>
                </a:lnTo>
                <a:lnTo>
                  <a:pt x="0" y="190"/>
                </a:lnTo>
                <a:lnTo>
                  <a:pt x="2" y="182"/>
                </a:lnTo>
                <a:lnTo>
                  <a:pt x="4" y="175"/>
                </a:lnTo>
                <a:lnTo>
                  <a:pt x="9" y="170"/>
                </a:lnTo>
                <a:lnTo>
                  <a:pt x="14" y="165"/>
                </a:lnTo>
                <a:lnTo>
                  <a:pt x="21" y="161"/>
                </a:lnTo>
                <a:lnTo>
                  <a:pt x="29" y="158"/>
                </a:lnTo>
                <a:lnTo>
                  <a:pt x="40" y="154"/>
                </a:lnTo>
                <a:lnTo>
                  <a:pt x="40" y="154"/>
                </a:lnTo>
                <a:lnTo>
                  <a:pt x="40" y="85"/>
                </a:lnTo>
                <a:lnTo>
                  <a:pt x="40" y="85"/>
                </a:lnTo>
                <a:lnTo>
                  <a:pt x="39" y="81"/>
                </a:lnTo>
                <a:lnTo>
                  <a:pt x="37" y="77"/>
                </a:lnTo>
                <a:lnTo>
                  <a:pt x="34" y="75"/>
                </a:lnTo>
                <a:lnTo>
                  <a:pt x="31" y="74"/>
                </a:lnTo>
                <a:lnTo>
                  <a:pt x="27" y="73"/>
                </a:lnTo>
                <a:lnTo>
                  <a:pt x="25" y="70"/>
                </a:lnTo>
                <a:lnTo>
                  <a:pt x="23" y="67"/>
                </a:lnTo>
                <a:lnTo>
                  <a:pt x="21" y="62"/>
                </a:lnTo>
                <a:lnTo>
                  <a:pt x="21" y="62"/>
                </a:lnTo>
                <a:lnTo>
                  <a:pt x="23" y="58"/>
                </a:lnTo>
                <a:lnTo>
                  <a:pt x="26" y="51"/>
                </a:lnTo>
                <a:lnTo>
                  <a:pt x="35" y="31"/>
                </a:lnTo>
                <a:lnTo>
                  <a:pt x="44" y="12"/>
                </a:lnTo>
                <a:lnTo>
                  <a:pt x="49" y="6"/>
                </a:lnTo>
                <a:lnTo>
                  <a:pt x="51" y="4"/>
                </a:lnTo>
                <a:lnTo>
                  <a:pt x="51" y="4"/>
                </a:lnTo>
                <a:lnTo>
                  <a:pt x="55" y="5"/>
                </a:lnTo>
                <a:lnTo>
                  <a:pt x="58" y="7"/>
                </a:lnTo>
                <a:lnTo>
                  <a:pt x="64" y="13"/>
                </a:lnTo>
                <a:lnTo>
                  <a:pt x="67" y="16"/>
                </a:lnTo>
                <a:lnTo>
                  <a:pt x="71" y="20"/>
                </a:lnTo>
                <a:lnTo>
                  <a:pt x="75" y="21"/>
                </a:lnTo>
                <a:lnTo>
                  <a:pt x="80" y="22"/>
                </a:lnTo>
                <a:lnTo>
                  <a:pt x="80" y="22"/>
                </a:lnTo>
                <a:lnTo>
                  <a:pt x="87" y="21"/>
                </a:lnTo>
                <a:lnTo>
                  <a:pt x="92" y="19"/>
                </a:lnTo>
                <a:lnTo>
                  <a:pt x="95" y="15"/>
                </a:lnTo>
                <a:lnTo>
                  <a:pt x="96" y="12"/>
                </a:lnTo>
                <a:lnTo>
                  <a:pt x="98" y="7"/>
                </a:lnTo>
                <a:lnTo>
                  <a:pt x="102" y="4"/>
                </a:lnTo>
                <a:lnTo>
                  <a:pt x="107" y="1"/>
                </a:lnTo>
                <a:lnTo>
                  <a:pt x="113" y="0"/>
                </a:lnTo>
                <a:lnTo>
                  <a:pt x="113" y="0"/>
                </a:lnTo>
                <a:lnTo>
                  <a:pt x="118" y="1"/>
                </a:lnTo>
                <a:lnTo>
                  <a:pt x="123" y="1"/>
                </a:lnTo>
                <a:lnTo>
                  <a:pt x="127" y="4"/>
                </a:lnTo>
                <a:lnTo>
                  <a:pt x="131" y="6"/>
                </a:lnTo>
                <a:lnTo>
                  <a:pt x="139" y="13"/>
                </a:lnTo>
                <a:lnTo>
                  <a:pt x="147" y="22"/>
                </a:lnTo>
                <a:lnTo>
                  <a:pt x="147" y="22"/>
                </a:lnTo>
                <a:lnTo>
                  <a:pt x="147" y="28"/>
                </a:lnTo>
                <a:lnTo>
                  <a:pt x="149" y="34"/>
                </a:lnTo>
                <a:lnTo>
                  <a:pt x="151" y="39"/>
                </a:lnTo>
                <a:lnTo>
                  <a:pt x="156" y="45"/>
                </a:lnTo>
                <a:lnTo>
                  <a:pt x="159" y="49"/>
                </a:lnTo>
                <a:lnTo>
                  <a:pt x="165" y="53"/>
                </a:lnTo>
                <a:lnTo>
                  <a:pt x="170" y="55"/>
                </a:lnTo>
                <a:lnTo>
                  <a:pt x="176" y="55"/>
                </a:lnTo>
                <a:lnTo>
                  <a:pt x="176" y="55"/>
                </a:lnTo>
                <a:lnTo>
                  <a:pt x="180" y="55"/>
                </a:lnTo>
                <a:lnTo>
                  <a:pt x="185" y="54"/>
                </a:lnTo>
                <a:lnTo>
                  <a:pt x="191" y="52"/>
                </a:lnTo>
                <a:lnTo>
                  <a:pt x="196" y="47"/>
                </a:lnTo>
                <a:lnTo>
                  <a:pt x="205" y="45"/>
                </a:lnTo>
                <a:lnTo>
                  <a:pt x="205" y="45"/>
                </a:lnTo>
                <a:lnTo>
                  <a:pt x="207" y="58"/>
                </a:lnTo>
                <a:lnTo>
                  <a:pt x="210" y="66"/>
                </a:lnTo>
                <a:lnTo>
                  <a:pt x="212" y="69"/>
                </a:lnTo>
                <a:lnTo>
                  <a:pt x="215" y="72"/>
                </a:lnTo>
                <a:lnTo>
                  <a:pt x="220" y="74"/>
                </a:lnTo>
                <a:lnTo>
                  <a:pt x="228" y="76"/>
                </a:lnTo>
                <a:lnTo>
                  <a:pt x="237" y="76"/>
                </a:lnTo>
                <a:lnTo>
                  <a:pt x="246" y="78"/>
                </a:lnTo>
                <a:lnTo>
                  <a:pt x="256" y="81"/>
                </a:lnTo>
                <a:lnTo>
                  <a:pt x="256" y="81"/>
                </a:lnTo>
                <a:lnTo>
                  <a:pt x="260" y="84"/>
                </a:lnTo>
                <a:lnTo>
                  <a:pt x="262" y="86"/>
                </a:lnTo>
                <a:lnTo>
                  <a:pt x="264" y="92"/>
                </a:lnTo>
                <a:lnTo>
                  <a:pt x="265" y="99"/>
                </a:lnTo>
                <a:lnTo>
                  <a:pt x="268" y="107"/>
                </a:lnTo>
                <a:lnTo>
                  <a:pt x="268" y="107"/>
                </a:lnTo>
                <a:lnTo>
                  <a:pt x="270" y="113"/>
                </a:lnTo>
                <a:lnTo>
                  <a:pt x="275" y="119"/>
                </a:lnTo>
                <a:lnTo>
                  <a:pt x="283" y="128"/>
                </a:lnTo>
                <a:lnTo>
                  <a:pt x="293" y="136"/>
                </a:lnTo>
                <a:lnTo>
                  <a:pt x="302" y="144"/>
                </a:lnTo>
                <a:lnTo>
                  <a:pt x="311" y="152"/>
                </a:lnTo>
                <a:lnTo>
                  <a:pt x="319" y="161"/>
                </a:lnTo>
                <a:lnTo>
                  <a:pt x="322" y="166"/>
                </a:lnTo>
                <a:lnTo>
                  <a:pt x="324" y="172"/>
                </a:lnTo>
                <a:lnTo>
                  <a:pt x="325" y="177"/>
                </a:lnTo>
                <a:lnTo>
                  <a:pt x="326" y="184"/>
                </a:lnTo>
                <a:lnTo>
                  <a:pt x="326" y="184"/>
                </a:lnTo>
                <a:lnTo>
                  <a:pt x="325" y="191"/>
                </a:lnTo>
                <a:lnTo>
                  <a:pt x="324" y="198"/>
                </a:lnTo>
                <a:lnTo>
                  <a:pt x="321" y="207"/>
                </a:lnTo>
                <a:lnTo>
                  <a:pt x="317" y="215"/>
                </a:lnTo>
                <a:lnTo>
                  <a:pt x="316" y="220"/>
                </a:lnTo>
                <a:lnTo>
                  <a:pt x="315" y="225"/>
                </a:lnTo>
                <a:lnTo>
                  <a:pt x="315" y="225"/>
                </a:lnTo>
                <a:lnTo>
                  <a:pt x="316" y="237"/>
                </a:lnTo>
                <a:lnTo>
                  <a:pt x="318" y="249"/>
                </a:lnTo>
                <a:lnTo>
                  <a:pt x="322" y="260"/>
                </a:lnTo>
                <a:lnTo>
                  <a:pt x="327" y="271"/>
                </a:lnTo>
                <a:lnTo>
                  <a:pt x="333" y="281"/>
                </a:lnTo>
                <a:lnTo>
                  <a:pt x="339" y="291"/>
                </a:lnTo>
                <a:lnTo>
                  <a:pt x="354" y="310"/>
                </a:lnTo>
                <a:lnTo>
                  <a:pt x="368" y="328"/>
                </a:lnTo>
                <a:lnTo>
                  <a:pt x="375" y="336"/>
                </a:lnTo>
                <a:lnTo>
                  <a:pt x="380" y="347"/>
                </a:lnTo>
                <a:lnTo>
                  <a:pt x="385" y="356"/>
                </a:lnTo>
                <a:lnTo>
                  <a:pt x="390" y="365"/>
                </a:lnTo>
                <a:lnTo>
                  <a:pt x="392" y="375"/>
                </a:lnTo>
                <a:lnTo>
                  <a:pt x="393" y="386"/>
                </a:lnTo>
                <a:lnTo>
                  <a:pt x="393" y="386"/>
                </a:lnTo>
                <a:lnTo>
                  <a:pt x="393" y="412"/>
                </a:lnTo>
                <a:lnTo>
                  <a:pt x="393" y="412"/>
                </a:lnTo>
                <a:lnTo>
                  <a:pt x="383" y="418"/>
                </a:lnTo>
                <a:lnTo>
                  <a:pt x="372" y="422"/>
                </a:lnTo>
                <a:lnTo>
                  <a:pt x="361" y="426"/>
                </a:lnTo>
                <a:lnTo>
                  <a:pt x="348" y="428"/>
                </a:lnTo>
                <a:lnTo>
                  <a:pt x="334" y="429"/>
                </a:lnTo>
                <a:lnTo>
                  <a:pt x="321" y="431"/>
                </a:lnTo>
                <a:lnTo>
                  <a:pt x="289" y="431"/>
                </a:lnTo>
                <a:lnTo>
                  <a:pt x="289" y="431"/>
                </a:lnTo>
                <a:lnTo>
                  <a:pt x="308" y="463"/>
                </a:lnTo>
                <a:lnTo>
                  <a:pt x="308" y="463"/>
                </a:lnTo>
                <a:lnTo>
                  <a:pt x="308" y="463"/>
                </a:lnTo>
                <a:lnTo>
                  <a:pt x="300" y="465"/>
                </a:lnTo>
                <a:lnTo>
                  <a:pt x="293" y="467"/>
                </a:lnTo>
                <a:lnTo>
                  <a:pt x="289" y="469"/>
                </a:lnTo>
                <a:lnTo>
                  <a:pt x="287" y="471"/>
                </a:lnTo>
                <a:lnTo>
                  <a:pt x="286" y="473"/>
                </a:lnTo>
                <a:lnTo>
                  <a:pt x="286" y="478"/>
                </a:lnTo>
                <a:lnTo>
                  <a:pt x="286" y="478"/>
                </a:lnTo>
                <a:lnTo>
                  <a:pt x="285" y="487"/>
                </a:lnTo>
                <a:lnTo>
                  <a:pt x="284" y="494"/>
                </a:lnTo>
                <a:lnTo>
                  <a:pt x="281" y="503"/>
                </a:lnTo>
                <a:lnTo>
                  <a:pt x="281" y="506"/>
                </a:lnTo>
                <a:lnTo>
                  <a:pt x="281" y="511"/>
                </a:lnTo>
                <a:lnTo>
                  <a:pt x="283" y="517"/>
                </a:lnTo>
                <a:lnTo>
                  <a:pt x="286" y="525"/>
                </a:lnTo>
                <a:lnTo>
                  <a:pt x="286" y="525"/>
                </a:lnTo>
                <a:lnTo>
                  <a:pt x="278" y="518"/>
                </a:lnTo>
                <a:lnTo>
                  <a:pt x="278" y="518"/>
                </a:lnTo>
                <a:lnTo>
                  <a:pt x="278" y="518"/>
                </a:lnTo>
                <a:lnTo>
                  <a:pt x="261" y="518"/>
                </a:lnTo>
                <a:lnTo>
                  <a:pt x="261" y="518"/>
                </a:lnTo>
                <a:lnTo>
                  <a:pt x="257" y="517"/>
                </a:lnTo>
                <a:lnTo>
                  <a:pt x="255" y="516"/>
                </a:lnTo>
                <a:lnTo>
                  <a:pt x="250" y="510"/>
                </a:lnTo>
                <a:lnTo>
                  <a:pt x="247" y="508"/>
                </a:lnTo>
                <a:lnTo>
                  <a:pt x="243" y="505"/>
                </a:lnTo>
                <a:lnTo>
                  <a:pt x="240" y="504"/>
                </a:lnTo>
                <a:lnTo>
                  <a:pt x="234" y="503"/>
                </a:lnTo>
                <a:lnTo>
                  <a:pt x="234" y="503"/>
                </a:lnTo>
                <a:lnTo>
                  <a:pt x="224" y="503"/>
                </a:lnTo>
                <a:lnTo>
                  <a:pt x="216" y="504"/>
                </a:lnTo>
                <a:lnTo>
                  <a:pt x="205" y="506"/>
                </a:lnTo>
                <a:lnTo>
                  <a:pt x="205" y="506"/>
                </a:lnTo>
                <a:lnTo>
                  <a:pt x="199" y="492"/>
                </a:lnTo>
                <a:lnTo>
                  <a:pt x="195" y="486"/>
                </a:lnTo>
                <a:lnTo>
                  <a:pt x="191" y="480"/>
                </a:lnTo>
                <a:lnTo>
                  <a:pt x="185" y="475"/>
                </a:lnTo>
                <a:lnTo>
                  <a:pt x="179" y="473"/>
                </a:lnTo>
                <a:lnTo>
                  <a:pt x="172" y="471"/>
                </a:lnTo>
                <a:lnTo>
                  <a:pt x="164" y="470"/>
                </a:lnTo>
                <a:lnTo>
                  <a:pt x="164" y="470"/>
                </a:lnTo>
                <a:lnTo>
                  <a:pt x="161" y="463"/>
                </a:lnTo>
                <a:lnTo>
                  <a:pt x="161" y="46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8" name="Freeform 13"/>
          <p:cNvSpPr>
            <a:spLocks/>
          </p:cNvSpPr>
          <p:nvPr/>
        </p:nvSpPr>
        <p:spPr bwMode="auto">
          <a:xfrm>
            <a:off x="3652838" y="5567363"/>
            <a:ext cx="665162" cy="514350"/>
          </a:xfrm>
          <a:custGeom>
            <a:avLst/>
            <a:gdLst/>
            <a:ahLst/>
            <a:cxnLst>
              <a:cxn ang="0">
                <a:pos x="534" y="585"/>
              </a:cxn>
              <a:cxn ang="0">
                <a:pos x="566" y="563"/>
              </a:cxn>
              <a:cxn ang="0">
                <a:pos x="568" y="546"/>
              </a:cxn>
              <a:cxn ang="0">
                <a:pos x="548" y="528"/>
              </a:cxn>
              <a:cxn ang="0">
                <a:pos x="526" y="510"/>
              </a:cxn>
              <a:cxn ang="0">
                <a:pos x="536" y="493"/>
              </a:cxn>
              <a:cxn ang="0">
                <a:pos x="654" y="433"/>
              </a:cxn>
              <a:cxn ang="0">
                <a:pos x="682" y="418"/>
              </a:cxn>
              <a:cxn ang="0">
                <a:pos x="733" y="411"/>
              </a:cxn>
              <a:cxn ang="0">
                <a:pos x="779" y="392"/>
              </a:cxn>
              <a:cxn ang="0">
                <a:pos x="785" y="368"/>
              </a:cxn>
              <a:cxn ang="0">
                <a:pos x="770" y="340"/>
              </a:cxn>
              <a:cxn ang="0">
                <a:pos x="771" y="311"/>
              </a:cxn>
              <a:cxn ang="0">
                <a:pos x="811" y="294"/>
              </a:cxn>
              <a:cxn ang="0">
                <a:pos x="801" y="259"/>
              </a:cxn>
              <a:cxn ang="0">
                <a:pos x="808" y="238"/>
              </a:cxn>
              <a:cxn ang="0">
                <a:pos x="795" y="218"/>
              </a:cxn>
              <a:cxn ang="0">
                <a:pos x="782" y="197"/>
              </a:cxn>
              <a:cxn ang="0">
                <a:pos x="800" y="169"/>
              </a:cxn>
              <a:cxn ang="0">
                <a:pos x="777" y="158"/>
              </a:cxn>
              <a:cxn ang="0">
                <a:pos x="741" y="96"/>
              </a:cxn>
              <a:cxn ang="0">
                <a:pos x="724" y="73"/>
              </a:cxn>
              <a:cxn ang="0">
                <a:pos x="659" y="23"/>
              </a:cxn>
              <a:cxn ang="0">
                <a:pos x="642" y="2"/>
              </a:cxn>
              <a:cxn ang="0">
                <a:pos x="620" y="30"/>
              </a:cxn>
              <a:cxn ang="0">
                <a:pos x="602" y="43"/>
              </a:cxn>
              <a:cxn ang="0">
                <a:pos x="547" y="39"/>
              </a:cxn>
              <a:cxn ang="0">
                <a:pos x="521" y="45"/>
              </a:cxn>
              <a:cxn ang="0">
                <a:pos x="506" y="58"/>
              </a:cxn>
              <a:cxn ang="0">
                <a:pos x="453" y="94"/>
              </a:cxn>
              <a:cxn ang="0">
                <a:pos x="420" y="130"/>
              </a:cxn>
              <a:cxn ang="0">
                <a:pos x="399" y="124"/>
              </a:cxn>
              <a:cxn ang="0">
                <a:pos x="358" y="83"/>
              </a:cxn>
              <a:cxn ang="0">
                <a:pos x="355" y="51"/>
              </a:cxn>
              <a:cxn ang="0">
                <a:pos x="328" y="22"/>
              </a:cxn>
              <a:cxn ang="0">
                <a:pos x="303" y="0"/>
              </a:cxn>
              <a:cxn ang="0">
                <a:pos x="266" y="5"/>
              </a:cxn>
              <a:cxn ang="0">
                <a:pos x="214" y="38"/>
              </a:cxn>
              <a:cxn ang="0">
                <a:pos x="169" y="65"/>
              </a:cxn>
              <a:cxn ang="0">
                <a:pos x="87" y="69"/>
              </a:cxn>
              <a:cxn ang="0">
                <a:pos x="66" y="83"/>
              </a:cxn>
              <a:cxn ang="0">
                <a:pos x="37" y="65"/>
              </a:cxn>
              <a:cxn ang="0">
                <a:pos x="19" y="75"/>
              </a:cxn>
              <a:cxn ang="0">
                <a:pos x="0" y="91"/>
              </a:cxn>
              <a:cxn ang="0">
                <a:pos x="137" y="500"/>
              </a:cxn>
              <a:cxn ang="0">
                <a:pos x="153" y="505"/>
              </a:cxn>
              <a:cxn ang="0">
                <a:pos x="174" y="486"/>
              </a:cxn>
              <a:cxn ang="0">
                <a:pos x="198" y="447"/>
              </a:cxn>
              <a:cxn ang="0">
                <a:pos x="220" y="447"/>
              </a:cxn>
              <a:cxn ang="0">
                <a:pos x="250" y="468"/>
              </a:cxn>
              <a:cxn ang="0">
                <a:pos x="260" y="500"/>
              </a:cxn>
              <a:cxn ang="0">
                <a:pos x="271" y="539"/>
              </a:cxn>
              <a:cxn ang="0">
                <a:pos x="327" y="539"/>
              </a:cxn>
              <a:cxn ang="0">
                <a:pos x="414" y="520"/>
              </a:cxn>
              <a:cxn ang="0">
                <a:pos x="456" y="519"/>
              </a:cxn>
              <a:cxn ang="0">
                <a:pos x="502" y="551"/>
              </a:cxn>
              <a:cxn ang="0">
                <a:pos x="532" y="587"/>
              </a:cxn>
            </a:cxnLst>
            <a:rect l="0" t="0" r="r" b="b"/>
            <a:pathLst>
              <a:path w="811" h="590">
                <a:moveTo>
                  <a:pt x="532" y="587"/>
                </a:moveTo>
                <a:lnTo>
                  <a:pt x="528" y="590"/>
                </a:lnTo>
                <a:lnTo>
                  <a:pt x="528" y="590"/>
                </a:lnTo>
                <a:lnTo>
                  <a:pt x="528" y="590"/>
                </a:lnTo>
                <a:lnTo>
                  <a:pt x="534" y="585"/>
                </a:lnTo>
                <a:lnTo>
                  <a:pt x="540" y="580"/>
                </a:lnTo>
                <a:lnTo>
                  <a:pt x="553" y="574"/>
                </a:lnTo>
                <a:lnTo>
                  <a:pt x="559" y="571"/>
                </a:lnTo>
                <a:lnTo>
                  <a:pt x="565" y="566"/>
                </a:lnTo>
                <a:lnTo>
                  <a:pt x="566" y="563"/>
                </a:lnTo>
                <a:lnTo>
                  <a:pt x="568" y="559"/>
                </a:lnTo>
                <a:lnTo>
                  <a:pt x="568" y="555"/>
                </a:lnTo>
                <a:lnTo>
                  <a:pt x="570" y="550"/>
                </a:lnTo>
                <a:lnTo>
                  <a:pt x="570" y="550"/>
                </a:lnTo>
                <a:lnTo>
                  <a:pt x="568" y="546"/>
                </a:lnTo>
                <a:lnTo>
                  <a:pt x="567" y="542"/>
                </a:lnTo>
                <a:lnTo>
                  <a:pt x="565" y="540"/>
                </a:lnTo>
                <a:lnTo>
                  <a:pt x="563" y="536"/>
                </a:lnTo>
                <a:lnTo>
                  <a:pt x="556" y="532"/>
                </a:lnTo>
                <a:lnTo>
                  <a:pt x="548" y="528"/>
                </a:lnTo>
                <a:lnTo>
                  <a:pt x="540" y="524"/>
                </a:lnTo>
                <a:lnTo>
                  <a:pt x="532" y="519"/>
                </a:lnTo>
                <a:lnTo>
                  <a:pt x="529" y="516"/>
                </a:lnTo>
                <a:lnTo>
                  <a:pt x="527" y="513"/>
                </a:lnTo>
                <a:lnTo>
                  <a:pt x="526" y="510"/>
                </a:lnTo>
                <a:lnTo>
                  <a:pt x="525" y="506"/>
                </a:lnTo>
                <a:lnTo>
                  <a:pt x="525" y="506"/>
                </a:lnTo>
                <a:lnTo>
                  <a:pt x="527" y="502"/>
                </a:lnTo>
                <a:lnTo>
                  <a:pt x="530" y="498"/>
                </a:lnTo>
                <a:lnTo>
                  <a:pt x="536" y="493"/>
                </a:lnTo>
                <a:lnTo>
                  <a:pt x="543" y="488"/>
                </a:lnTo>
                <a:lnTo>
                  <a:pt x="561" y="476"/>
                </a:lnTo>
                <a:lnTo>
                  <a:pt x="583" y="465"/>
                </a:lnTo>
                <a:lnTo>
                  <a:pt x="627" y="444"/>
                </a:lnTo>
                <a:lnTo>
                  <a:pt x="654" y="433"/>
                </a:lnTo>
                <a:lnTo>
                  <a:pt x="654" y="433"/>
                </a:lnTo>
                <a:lnTo>
                  <a:pt x="663" y="427"/>
                </a:lnTo>
                <a:lnTo>
                  <a:pt x="670" y="422"/>
                </a:lnTo>
                <a:lnTo>
                  <a:pt x="678" y="419"/>
                </a:lnTo>
                <a:lnTo>
                  <a:pt x="682" y="418"/>
                </a:lnTo>
                <a:lnTo>
                  <a:pt x="687" y="418"/>
                </a:lnTo>
                <a:lnTo>
                  <a:pt x="687" y="418"/>
                </a:lnTo>
                <a:lnTo>
                  <a:pt x="701" y="415"/>
                </a:lnTo>
                <a:lnTo>
                  <a:pt x="716" y="413"/>
                </a:lnTo>
                <a:lnTo>
                  <a:pt x="733" y="411"/>
                </a:lnTo>
                <a:lnTo>
                  <a:pt x="749" y="407"/>
                </a:lnTo>
                <a:lnTo>
                  <a:pt x="763" y="403"/>
                </a:lnTo>
                <a:lnTo>
                  <a:pt x="770" y="401"/>
                </a:lnTo>
                <a:lnTo>
                  <a:pt x="774" y="397"/>
                </a:lnTo>
                <a:lnTo>
                  <a:pt x="779" y="392"/>
                </a:lnTo>
                <a:lnTo>
                  <a:pt x="782" y="388"/>
                </a:lnTo>
                <a:lnTo>
                  <a:pt x="785" y="383"/>
                </a:lnTo>
                <a:lnTo>
                  <a:pt x="786" y="378"/>
                </a:lnTo>
                <a:lnTo>
                  <a:pt x="786" y="378"/>
                </a:lnTo>
                <a:lnTo>
                  <a:pt x="785" y="368"/>
                </a:lnTo>
                <a:lnTo>
                  <a:pt x="782" y="363"/>
                </a:lnTo>
                <a:lnTo>
                  <a:pt x="780" y="357"/>
                </a:lnTo>
                <a:lnTo>
                  <a:pt x="777" y="351"/>
                </a:lnTo>
                <a:lnTo>
                  <a:pt x="773" y="346"/>
                </a:lnTo>
                <a:lnTo>
                  <a:pt x="770" y="340"/>
                </a:lnTo>
                <a:lnTo>
                  <a:pt x="769" y="333"/>
                </a:lnTo>
                <a:lnTo>
                  <a:pt x="767" y="322"/>
                </a:lnTo>
                <a:lnTo>
                  <a:pt x="767" y="322"/>
                </a:lnTo>
                <a:lnTo>
                  <a:pt x="769" y="317"/>
                </a:lnTo>
                <a:lnTo>
                  <a:pt x="771" y="311"/>
                </a:lnTo>
                <a:lnTo>
                  <a:pt x="776" y="306"/>
                </a:lnTo>
                <a:lnTo>
                  <a:pt x="781" y="302"/>
                </a:lnTo>
                <a:lnTo>
                  <a:pt x="788" y="299"/>
                </a:lnTo>
                <a:lnTo>
                  <a:pt x="795" y="297"/>
                </a:lnTo>
                <a:lnTo>
                  <a:pt x="811" y="294"/>
                </a:lnTo>
                <a:lnTo>
                  <a:pt x="811" y="294"/>
                </a:lnTo>
                <a:lnTo>
                  <a:pt x="800" y="264"/>
                </a:lnTo>
                <a:lnTo>
                  <a:pt x="800" y="264"/>
                </a:lnTo>
                <a:lnTo>
                  <a:pt x="800" y="264"/>
                </a:lnTo>
                <a:lnTo>
                  <a:pt x="801" y="259"/>
                </a:lnTo>
                <a:lnTo>
                  <a:pt x="802" y="256"/>
                </a:lnTo>
                <a:lnTo>
                  <a:pt x="804" y="251"/>
                </a:lnTo>
                <a:lnTo>
                  <a:pt x="807" y="246"/>
                </a:lnTo>
                <a:lnTo>
                  <a:pt x="808" y="243"/>
                </a:lnTo>
                <a:lnTo>
                  <a:pt x="808" y="238"/>
                </a:lnTo>
                <a:lnTo>
                  <a:pt x="808" y="238"/>
                </a:lnTo>
                <a:lnTo>
                  <a:pt x="807" y="231"/>
                </a:lnTo>
                <a:lnTo>
                  <a:pt x="804" y="227"/>
                </a:lnTo>
                <a:lnTo>
                  <a:pt x="800" y="222"/>
                </a:lnTo>
                <a:lnTo>
                  <a:pt x="795" y="218"/>
                </a:lnTo>
                <a:lnTo>
                  <a:pt x="790" y="213"/>
                </a:lnTo>
                <a:lnTo>
                  <a:pt x="786" y="208"/>
                </a:lnTo>
                <a:lnTo>
                  <a:pt x="784" y="204"/>
                </a:lnTo>
                <a:lnTo>
                  <a:pt x="782" y="197"/>
                </a:lnTo>
                <a:lnTo>
                  <a:pt x="782" y="197"/>
                </a:lnTo>
                <a:lnTo>
                  <a:pt x="782" y="193"/>
                </a:lnTo>
                <a:lnTo>
                  <a:pt x="785" y="190"/>
                </a:lnTo>
                <a:lnTo>
                  <a:pt x="792" y="182"/>
                </a:lnTo>
                <a:lnTo>
                  <a:pt x="797" y="174"/>
                </a:lnTo>
                <a:lnTo>
                  <a:pt x="800" y="169"/>
                </a:lnTo>
                <a:lnTo>
                  <a:pt x="800" y="165"/>
                </a:lnTo>
                <a:lnTo>
                  <a:pt x="800" y="165"/>
                </a:lnTo>
                <a:lnTo>
                  <a:pt x="792" y="163"/>
                </a:lnTo>
                <a:lnTo>
                  <a:pt x="784" y="161"/>
                </a:lnTo>
                <a:lnTo>
                  <a:pt x="777" y="158"/>
                </a:lnTo>
                <a:lnTo>
                  <a:pt x="771" y="153"/>
                </a:lnTo>
                <a:lnTo>
                  <a:pt x="765" y="147"/>
                </a:lnTo>
                <a:lnTo>
                  <a:pt x="762" y="140"/>
                </a:lnTo>
                <a:lnTo>
                  <a:pt x="754" y="127"/>
                </a:lnTo>
                <a:lnTo>
                  <a:pt x="741" y="96"/>
                </a:lnTo>
                <a:lnTo>
                  <a:pt x="736" y="89"/>
                </a:lnTo>
                <a:lnTo>
                  <a:pt x="733" y="83"/>
                </a:lnTo>
                <a:lnTo>
                  <a:pt x="728" y="77"/>
                </a:lnTo>
                <a:lnTo>
                  <a:pt x="724" y="73"/>
                </a:lnTo>
                <a:lnTo>
                  <a:pt x="724" y="73"/>
                </a:lnTo>
                <a:lnTo>
                  <a:pt x="713" y="65"/>
                </a:lnTo>
                <a:lnTo>
                  <a:pt x="702" y="56"/>
                </a:lnTo>
                <a:lnTo>
                  <a:pt x="679" y="42"/>
                </a:lnTo>
                <a:lnTo>
                  <a:pt x="668" y="32"/>
                </a:lnTo>
                <a:lnTo>
                  <a:pt x="659" y="23"/>
                </a:lnTo>
                <a:lnTo>
                  <a:pt x="651" y="13"/>
                </a:lnTo>
                <a:lnTo>
                  <a:pt x="649" y="6"/>
                </a:lnTo>
                <a:lnTo>
                  <a:pt x="647" y="0"/>
                </a:lnTo>
                <a:lnTo>
                  <a:pt x="647" y="0"/>
                </a:lnTo>
                <a:lnTo>
                  <a:pt x="642" y="2"/>
                </a:lnTo>
                <a:lnTo>
                  <a:pt x="637" y="5"/>
                </a:lnTo>
                <a:lnTo>
                  <a:pt x="632" y="10"/>
                </a:lnTo>
                <a:lnTo>
                  <a:pt x="628" y="17"/>
                </a:lnTo>
                <a:lnTo>
                  <a:pt x="624" y="24"/>
                </a:lnTo>
                <a:lnTo>
                  <a:pt x="620" y="30"/>
                </a:lnTo>
                <a:lnTo>
                  <a:pt x="617" y="36"/>
                </a:lnTo>
                <a:lnTo>
                  <a:pt x="611" y="40"/>
                </a:lnTo>
                <a:lnTo>
                  <a:pt x="606" y="43"/>
                </a:lnTo>
                <a:lnTo>
                  <a:pt x="602" y="43"/>
                </a:lnTo>
                <a:lnTo>
                  <a:pt x="602" y="43"/>
                </a:lnTo>
                <a:lnTo>
                  <a:pt x="594" y="44"/>
                </a:lnTo>
                <a:lnTo>
                  <a:pt x="584" y="43"/>
                </a:lnTo>
                <a:lnTo>
                  <a:pt x="566" y="40"/>
                </a:lnTo>
                <a:lnTo>
                  <a:pt x="557" y="39"/>
                </a:lnTo>
                <a:lnTo>
                  <a:pt x="547" y="39"/>
                </a:lnTo>
                <a:lnTo>
                  <a:pt x="536" y="40"/>
                </a:lnTo>
                <a:lnTo>
                  <a:pt x="525" y="43"/>
                </a:lnTo>
                <a:lnTo>
                  <a:pt x="525" y="43"/>
                </a:lnTo>
                <a:lnTo>
                  <a:pt x="524" y="44"/>
                </a:lnTo>
                <a:lnTo>
                  <a:pt x="521" y="45"/>
                </a:lnTo>
                <a:lnTo>
                  <a:pt x="517" y="51"/>
                </a:lnTo>
                <a:lnTo>
                  <a:pt x="512" y="55"/>
                </a:lnTo>
                <a:lnTo>
                  <a:pt x="509" y="58"/>
                </a:lnTo>
                <a:lnTo>
                  <a:pt x="506" y="58"/>
                </a:lnTo>
                <a:lnTo>
                  <a:pt x="506" y="58"/>
                </a:lnTo>
                <a:lnTo>
                  <a:pt x="469" y="58"/>
                </a:lnTo>
                <a:lnTo>
                  <a:pt x="469" y="58"/>
                </a:lnTo>
                <a:lnTo>
                  <a:pt x="465" y="69"/>
                </a:lnTo>
                <a:lnTo>
                  <a:pt x="460" y="81"/>
                </a:lnTo>
                <a:lnTo>
                  <a:pt x="453" y="94"/>
                </a:lnTo>
                <a:lnTo>
                  <a:pt x="445" y="108"/>
                </a:lnTo>
                <a:lnTo>
                  <a:pt x="436" y="120"/>
                </a:lnTo>
                <a:lnTo>
                  <a:pt x="430" y="124"/>
                </a:lnTo>
                <a:lnTo>
                  <a:pt x="426" y="128"/>
                </a:lnTo>
                <a:lnTo>
                  <a:pt x="420" y="130"/>
                </a:lnTo>
                <a:lnTo>
                  <a:pt x="414" y="131"/>
                </a:lnTo>
                <a:lnTo>
                  <a:pt x="414" y="131"/>
                </a:lnTo>
                <a:lnTo>
                  <a:pt x="412" y="131"/>
                </a:lnTo>
                <a:lnTo>
                  <a:pt x="407" y="130"/>
                </a:lnTo>
                <a:lnTo>
                  <a:pt x="399" y="124"/>
                </a:lnTo>
                <a:lnTo>
                  <a:pt x="390" y="117"/>
                </a:lnTo>
                <a:lnTo>
                  <a:pt x="380" y="109"/>
                </a:lnTo>
                <a:lnTo>
                  <a:pt x="370" y="100"/>
                </a:lnTo>
                <a:lnTo>
                  <a:pt x="362" y="91"/>
                </a:lnTo>
                <a:lnTo>
                  <a:pt x="358" y="83"/>
                </a:lnTo>
                <a:lnTo>
                  <a:pt x="357" y="79"/>
                </a:lnTo>
                <a:lnTo>
                  <a:pt x="355" y="76"/>
                </a:lnTo>
                <a:lnTo>
                  <a:pt x="355" y="76"/>
                </a:lnTo>
                <a:lnTo>
                  <a:pt x="355" y="51"/>
                </a:lnTo>
                <a:lnTo>
                  <a:pt x="355" y="51"/>
                </a:lnTo>
                <a:lnTo>
                  <a:pt x="351" y="48"/>
                </a:lnTo>
                <a:lnTo>
                  <a:pt x="347" y="46"/>
                </a:lnTo>
                <a:lnTo>
                  <a:pt x="341" y="39"/>
                </a:lnTo>
                <a:lnTo>
                  <a:pt x="334" y="31"/>
                </a:lnTo>
                <a:lnTo>
                  <a:pt x="328" y="22"/>
                </a:lnTo>
                <a:lnTo>
                  <a:pt x="322" y="14"/>
                </a:lnTo>
                <a:lnTo>
                  <a:pt x="315" y="7"/>
                </a:lnTo>
                <a:lnTo>
                  <a:pt x="311" y="4"/>
                </a:lnTo>
                <a:lnTo>
                  <a:pt x="307" y="1"/>
                </a:lnTo>
                <a:lnTo>
                  <a:pt x="303" y="0"/>
                </a:lnTo>
                <a:lnTo>
                  <a:pt x="297" y="0"/>
                </a:lnTo>
                <a:lnTo>
                  <a:pt x="297" y="0"/>
                </a:lnTo>
                <a:lnTo>
                  <a:pt x="285" y="0"/>
                </a:lnTo>
                <a:lnTo>
                  <a:pt x="275" y="2"/>
                </a:lnTo>
                <a:lnTo>
                  <a:pt x="266" y="5"/>
                </a:lnTo>
                <a:lnTo>
                  <a:pt x="258" y="8"/>
                </a:lnTo>
                <a:lnTo>
                  <a:pt x="250" y="12"/>
                </a:lnTo>
                <a:lnTo>
                  <a:pt x="242" y="16"/>
                </a:lnTo>
                <a:lnTo>
                  <a:pt x="228" y="27"/>
                </a:lnTo>
                <a:lnTo>
                  <a:pt x="214" y="38"/>
                </a:lnTo>
                <a:lnTo>
                  <a:pt x="200" y="48"/>
                </a:lnTo>
                <a:lnTo>
                  <a:pt x="185" y="58"/>
                </a:lnTo>
                <a:lnTo>
                  <a:pt x="177" y="62"/>
                </a:lnTo>
                <a:lnTo>
                  <a:pt x="169" y="65"/>
                </a:lnTo>
                <a:lnTo>
                  <a:pt x="169" y="65"/>
                </a:lnTo>
                <a:lnTo>
                  <a:pt x="155" y="67"/>
                </a:lnTo>
                <a:lnTo>
                  <a:pt x="140" y="67"/>
                </a:lnTo>
                <a:lnTo>
                  <a:pt x="113" y="66"/>
                </a:lnTo>
                <a:lnTo>
                  <a:pt x="100" y="67"/>
                </a:lnTo>
                <a:lnTo>
                  <a:pt x="87" y="69"/>
                </a:lnTo>
                <a:lnTo>
                  <a:pt x="82" y="71"/>
                </a:lnTo>
                <a:lnTo>
                  <a:pt x="76" y="74"/>
                </a:lnTo>
                <a:lnTo>
                  <a:pt x="71" y="78"/>
                </a:lnTo>
                <a:lnTo>
                  <a:pt x="66" y="83"/>
                </a:lnTo>
                <a:lnTo>
                  <a:pt x="66" y="83"/>
                </a:lnTo>
                <a:lnTo>
                  <a:pt x="60" y="78"/>
                </a:lnTo>
                <a:lnTo>
                  <a:pt x="52" y="73"/>
                </a:lnTo>
                <a:lnTo>
                  <a:pt x="45" y="67"/>
                </a:lnTo>
                <a:lnTo>
                  <a:pt x="40" y="66"/>
                </a:lnTo>
                <a:lnTo>
                  <a:pt x="37" y="65"/>
                </a:lnTo>
                <a:lnTo>
                  <a:pt x="37" y="65"/>
                </a:lnTo>
                <a:lnTo>
                  <a:pt x="30" y="66"/>
                </a:lnTo>
                <a:lnTo>
                  <a:pt x="26" y="68"/>
                </a:lnTo>
                <a:lnTo>
                  <a:pt x="22" y="71"/>
                </a:lnTo>
                <a:lnTo>
                  <a:pt x="19" y="75"/>
                </a:lnTo>
                <a:lnTo>
                  <a:pt x="16" y="79"/>
                </a:lnTo>
                <a:lnTo>
                  <a:pt x="11" y="83"/>
                </a:lnTo>
                <a:lnTo>
                  <a:pt x="7" y="88"/>
                </a:lnTo>
                <a:lnTo>
                  <a:pt x="0" y="91"/>
                </a:lnTo>
                <a:lnTo>
                  <a:pt x="0" y="91"/>
                </a:lnTo>
                <a:lnTo>
                  <a:pt x="132" y="488"/>
                </a:lnTo>
                <a:lnTo>
                  <a:pt x="132" y="488"/>
                </a:lnTo>
                <a:lnTo>
                  <a:pt x="132" y="488"/>
                </a:lnTo>
                <a:lnTo>
                  <a:pt x="133" y="494"/>
                </a:lnTo>
                <a:lnTo>
                  <a:pt x="137" y="500"/>
                </a:lnTo>
                <a:lnTo>
                  <a:pt x="141" y="504"/>
                </a:lnTo>
                <a:lnTo>
                  <a:pt x="144" y="505"/>
                </a:lnTo>
                <a:lnTo>
                  <a:pt x="146" y="506"/>
                </a:lnTo>
                <a:lnTo>
                  <a:pt x="146" y="506"/>
                </a:lnTo>
                <a:lnTo>
                  <a:pt x="153" y="505"/>
                </a:lnTo>
                <a:lnTo>
                  <a:pt x="159" y="503"/>
                </a:lnTo>
                <a:lnTo>
                  <a:pt x="163" y="501"/>
                </a:lnTo>
                <a:lnTo>
                  <a:pt x="167" y="496"/>
                </a:lnTo>
                <a:lnTo>
                  <a:pt x="170" y="491"/>
                </a:lnTo>
                <a:lnTo>
                  <a:pt x="174" y="486"/>
                </a:lnTo>
                <a:lnTo>
                  <a:pt x="179" y="475"/>
                </a:lnTo>
                <a:lnTo>
                  <a:pt x="184" y="464"/>
                </a:lnTo>
                <a:lnTo>
                  <a:pt x="190" y="453"/>
                </a:lnTo>
                <a:lnTo>
                  <a:pt x="194" y="449"/>
                </a:lnTo>
                <a:lnTo>
                  <a:pt x="198" y="447"/>
                </a:lnTo>
                <a:lnTo>
                  <a:pt x="202" y="444"/>
                </a:lnTo>
                <a:lnTo>
                  <a:pt x="208" y="443"/>
                </a:lnTo>
                <a:lnTo>
                  <a:pt x="208" y="443"/>
                </a:lnTo>
                <a:lnTo>
                  <a:pt x="214" y="444"/>
                </a:lnTo>
                <a:lnTo>
                  <a:pt x="220" y="447"/>
                </a:lnTo>
                <a:lnTo>
                  <a:pt x="234" y="452"/>
                </a:lnTo>
                <a:lnTo>
                  <a:pt x="239" y="456"/>
                </a:lnTo>
                <a:lnTo>
                  <a:pt x="245" y="460"/>
                </a:lnTo>
                <a:lnTo>
                  <a:pt x="248" y="465"/>
                </a:lnTo>
                <a:lnTo>
                  <a:pt x="250" y="468"/>
                </a:lnTo>
                <a:lnTo>
                  <a:pt x="250" y="468"/>
                </a:lnTo>
                <a:lnTo>
                  <a:pt x="251" y="480"/>
                </a:lnTo>
                <a:lnTo>
                  <a:pt x="253" y="488"/>
                </a:lnTo>
                <a:lnTo>
                  <a:pt x="257" y="494"/>
                </a:lnTo>
                <a:lnTo>
                  <a:pt x="260" y="500"/>
                </a:lnTo>
                <a:lnTo>
                  <a:pt x="265" y="506"/>
                </a:lnTo>
                <a:lnTo>
                  <a:pt x="268" y="514"/>
                </a:lnTo>
                <a:lnTo>
                  <a:pt x="270" y="525"/>
                </a:lnTo>
                <a:lnTo>
                  <a:pt x="271" y="539"/>
                </a:lnTo>
                <a:lnTo>
                  <a:pt x="271" y="539"/>
                </a:lnTo>
                <a:lnTo>
                  <a:pt x="276" y="537"/>
                </a:lnTo>
                <a:lnTo>
                  <a:pt x="282" y="537"/>
                </a:lnTo>
                <a:lnTo>
                  <a:pt x="296" y="537"/>
                </a:lnTo>
                <a:lnTo>
                  <a:pt x="327" y="539"/>
                </a:lnTo>
                <a:lnTo>
                  <a:pt x="327" y="539"/>
                </a:lnTo>
                <a:lnTo>
                  <a:pt x="344" y="537"/>
                </a:lnTo>
                <a:lnTo>
                  <a:pt x="359" y="535"/>
                </a:lnTo>
                <a:lnTo>
                  <a:pt x="374" y="532"/>
                </a:lnTo>
                <a:lnTo>
                  <a:pt x="388" y="528"/>
                </a:lnTo>
                <a:lnTo>
                  <a:pt x="414" y="520"/>
                </a:lnTo>
                <a:lnTo>
                  <a:pt x="427" y="518"/>
                </a:lnTo>
                <a:lnTo>
                  <a:pt x="441" y="517"/>
                </a:lnTo>
                <a:lnTo>
                  <a:pt x="441" y="517"/>
                </a:lnTo>
                <a:lnTo>
                  <a:pt x="448" y="518"/>
                </a:lnTo>
                <a:lnTo>
                  <a:pt x="456" y="519"/>
                </a:lnTo>
                <a:lnTo>
                  <a:pt x="463" y="521"/>
                </a:lnTo>
                <a:lnTo>
                  <a:pt x="468" y="524"/>
                </a:lnTo>
                <a:lnTo>
                  <a:pt x="481" y="532"/>
                </a:lnTo>
                <a:lnTo>
                  <a:pt x="492" y="541"/>
                </a:lnTo>
                <a:lnTo>
                  <a:pt x="502" y="551"/>
                </a:lnTo>
                <a:lnTo>
                  <a:pt x="510" y="563"/>
                </a:lnTo>
                <a:lnTo>
                  <a:pt x="517" y="575"/>
                </a:lnTo>
                <a:lnTo>
                  <a:pt x="521" y="587"/>
                </a:lnTo>
                <a:lnTo>
                  <a:pt x="521" y="587"/>
                </a:lnTo>
                <a:lnTo>
                  <a:pt x="532" y="587"/>
                </a:lnTo>
                <a:lnTo>
                  <a:pt x="532" y="58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9" name="Freeform 14"/>
          <p:cNvSpPr>
            <a:spLocks/>
          </p:cNvSpPr>
          <p:nvPr/>
        </p:nvSpPr>
        <p:spPr bwMode="auto">
          <a:xfrm>
            <a:off x="7885113" y="4986338"/>
            <a:ext cx="385762" cy="1082675"/>
          </a:xfrm>
          <a:custGeom>
            <a:avLst/>
            <a:gdLst/>
            <a:ahLst/>
            <a:cxnLst>
              <a:cxn ang="0">
                <a:pos x="105" y="476"/>
              </a:cxn>
              <a:cxn ang="0">
                <a:pos x="125" y="463"/>
              </a:cxn>
              <a:cxn ang="0">
                <a:pos x="122" y="443"/>
              </a:cxn>
              <a:cxn ang="0">
                <a:pos x="111" y="413"/>
              </a:cxn>
              <a:cxn ang="0">
                <a:pos x="114" y="387"/>
              </a:cxn>
              <a:cxn ang="0">
                <a:pos x="140" y="351"/>
              </a:cxn>
              <a:cxn ang="0">
                <a:pos x="154" y="345"/>
              </a:cxn>
              <a:cxn ang="0">
                <a:pos x="243" y="337"/>
              </a:cxn>
              <a:cxn ang="0">
                <a:pos x="287" y="320"/>
              </a:cxn>
              <a:cxn ang="0">
                <a:pos x="311" y="284"/>
              </a:cxn>
              <a:cxn ang="0">
                <a:pos x="308" y="258"/>
              </a:cxn>
              <a:cxn ang="0">
                <a:pos x="290" y="234"/>
              </a:cxn>
              <a:cxn ang="0">
                <a:pos x="287" y="217"/>
              </a:cxn>
              <a:cxn ang="0">
                <a:pos x="309" y="201"/>
              </a:cxn>
              <a:cxn ang="0">
                <a:pos x="337" y="176"/>
              </a:cxn>
              <a:cxn ang="0">
                <a:pos x="337" y="117"/>
              </a:cxn>
              <a:cxn ang="0">
                <a:pos x="318" y="113"/>
              </a:cxn>
              <a:cxn ang="0">
                <a:pos x="294" y="117"/>
              </a:cxn>
              <a:cxn ang="0">
                <a:pos x="228" y="87"/>
              </a:cxn>
              <a:cxn ang="0">
                <a:pos x="290" y="0"/>
              </a:cxn>
              <a:cxn ang="0">
                <a:pos x="356" y="31"/>
              </a:cxn>
              <a:cxn ang="0">
                <a:pos x="367" y="40"/>
              </a:cxn>
              <a:cxn ang="0">
                <a:pos x="371" y="78"/>
              </a:cxn>
              <a:cxn ang="0">
                <a:pos x="379" y="91"/>
              </a:cxn>
              <a:cxn ang="0">
                <a:pos x="390" y="90"/>
              </a:cxn>
              <a:cxn ang="0">
                <a:pos x="415" y="77"/>
              </a:cxn>
              <a:cxn ang="0">
                <a:pos x="424" y="129"/>
              </a:cxn>
              <a:cxn ang="0">
                <a:pos x="453" y="214"/>
              </a:cxn>
              <a:cxn ang="0">
                <a:pos x="466" y="411"/>
              </a:cxn>
              <a:cxn ang="0">
                <a:pos x="471" y="756"/>
              </a:cxn>
              <a:cxn ang="0">
                <a:pos x="463" y="830"/>
              </a:cxn>
              <a:cxn ang="0">
                <a:pos x="431" y="925"/>
              </a:cxn>
              <a:cxn ang="0">
                <a:pos x="390" y="1000"/>
              </a:cxn>
              <a:cxn ang="0">
                <a:pos x="348" y="1040"/>
              </a:cxn>
              <a:cxn ang="0">
                <a:pos x="313" y="1055"/>
              </a:cxn>
              <a:cxn ang="0">
                <a:pos x="287" y="1056"/>
              </a:cxn>
              <a:cxn ang="0">
                <a:pos x="267" y="1043"/>
              </a:cxn>
              <a:cxn ang="0">
                <a:pos x="250" y="1018"/>
              </a:cxn>
              <a:cxn ang="0">
                <a:pos x="228" y="1022"/>
              </a:cxn>
              <a:cxn ang="0">
                <a:pos x="211" y="1036"/>
              </a:cxn>
              <a:cxn ang="0">
                <a:pos x="202" y="1057"/>
              </a:cxn>
              <a:cxn ang="0">
                <a:pos x="199" y="1133"/>
              </a:cxn>
              <a:cxn ang="0">
                <a:pos x="163" y="1179"/>
              </a:cxn>
              <a:cxn ang="0">
                <a:pos x="149" y="1192"/>
              </a:cxn>
              <a:cxn ang="0">
                <a:pos x="153" y="1211"/>
              </a:cxn>
              <a:cxn ang="0">
                <a:pos x="159" y="1228"/>
              </a:cxn>
              <a:cxn ang="0">
                <a:pos x="129" y="1196"/>
              </a:cxn>
              <a:cxn ang="0">
                <a:pos x="126" y="1168"/>
              </a:cxn>
              <a:cxn ang="0">
                <a:pos x="150" y="1140"/>
              </a:cxn>
              <a:cxn ang="0">
                <a:pos x="158" y="1113"/>
              </a:cxn>
              <a:cxn ang="0">
                <a:pos x="136" y="1049"/>
              </a:cxn>
              <a:cxn ang="0">
                <a:pos x="74" y="957"/>
              </a:cxn>
              <a:cxn ang="0">
                <a:pos x="14" y="903"/>
              </a:cxn>
              <a:cxn ang="0">
                <a:pos x="1" y="875"/>
              </a:cxn>
              <a:cxn ang="0">
                <a:pos x="21" y="787"/>
              </a:cxn>
              <a:cxn ang="0">
                <a:pos x="52" y="761"/>
              </a:cxn>
              <a:cxn ang="0">
                <a:pos x="154" y="744"/>
              </a:cxn>
              <a:cxn ang="0">
                <a:pos x="144" y="662"/>
              </a:cxn>
              <a:cxn ang="0">
                <a:pos x="105" y="530"/>
              </a:cxn>
              <a:cxn ang="0">
                <a:pos x="84" y="478"/>
              </a:cxn>
            </a:cxnLst>
            <a:rect l="0" t="0" r="r" b="b"/>
            <a:pathLst>
              <a:path w="473" h="1240">
                <a:moveTo>
                  <a:pt x="84" y="478"/>
                </a:moveTo>
                <a:lnTo>
                  <a:pt x="84" y="478"/>
                </a:lnTo>
                <a:lnTo>
                  <a:pt x="98" y="476"/>
                </a:lnTo>
                <a:lnTo>
                  <a:pt x="105" y="476"/>
                </a:lnTo>
                <a:lnTo>
                  <a:pt x="112" y="474"/>
                </a:lnTo>
                <a:lnTo>
                  <a:pt x="117" y="472"/>
                </a:lnTo>
                <a:lnTo>
                  <a:pt x="121" y="468"/>
                </a:lnTo>
                <a:lnTo>
                  <a:pt x="125" y="463"/>
                </a:lnTo>
                <a:lnTo>
                  <a:pt x="125" y="456"/>
                </a:lnTo>
                <a:lnTo>
                  <a:pt x="125" y="456"/>
                </a:lnTo>
                <a:lnTo>
                  <a:pt x="125" y="449"/>
                </a:lnTo>
                <a:lnTo>
                  <a:pt x="122" y="443"/>
                </a:lnTo>
                <a:lnTo>
                  <a:pt x="118" y="433"/>
                </a:lnTo>
                <a:lnTo>
                  <a:pt x="115" y="427"/>
                </a:lnTo>
                <a:lnTo>
                  <a:pt x="113" y="420"/>
                </a:lnTo>
                <a:lnTo>
                  <a:pt x="111" y="413"/>
                </a:lnTo>
                <a:lnTo>
                  <a:pt x="111" y="404"/>
                </a:lnTo>
                <a:lnTo>
                  <a:pt x="111" y="404"/>
                </a:lnTo>
                <a:lnTo>
                  <a:pt x="112" y="396"/>
                </a:lnTo>
                <a:lnTo>
                  <a:pt x="114" y="387"/>
                </a:lnTo>
                <a:lnTo>
                  <a:pt x="119" y="377"/>
                </a:lnTo>
                <a:lnTo>
                  <a:pt x="126" y="367"/>
                </a:lnTo>
                <a:lnTo>
                  <a:pt x="133" y="359"/>
                </a:lnTo>
                <a:lnTo>
                  <a:pt x="140" y="351"/>
                </a:lnTo>
                <a:lnTo>
                  <a:pt x="148" y="346"/>
                </a:lnTo>
                <a:lnTo>
                  <a:pt x="151" y="345"/>
                </a:lnTo>
                <a:lnTo>
                  <a:pt x="154" y="345"/>
                </a:lnTo>
                <a:lnTo>
                  <a:pt x="154" y="345"/>
                </a:lnTo>
                <a:lnTo>
                  <a:pt x="179" y="344"/>
                </a:lnTo>
                <a:lnTo>
                  <a:pt x="204" y="343"/>
                </a:lnTo>
                <a:lnTo>
                  <a:pt x="230" y="341"/>
                </a:lnTo>
                <a:lnTo>
                  <a:pt x="243" y="337"/>
                </a:lnTo>
                <a:lnTo>
                  <a:pt x="256" y="335"/>
                </a:lnTo>
                <a:lnTo>
                  <a:pt x="267" y="330"/>
                </a:lnTo>
                <a:lnTo>
                  <a:pt x="278" y="326"/>
                </a:lnTo>
                <a:lnTo>
                  <a:pt x="287" y="320"/>
                </a:lnTo>
                <a:lnTo>
                  <a:pt x="296" y="313"/>
                </a:lnTo>
                <a:lnTo>
                  <a:pt x="303" y="304"/>
                </a:lnTo>
                <a:lnTo>
                  <a:pt x="308" y="295"/>
                </a:lnTo>
                <a:lnTo>
                  <a:pt x="311" y="284"/>
                </a:lnTo>
                <a:lnTo>
                  <a:pt x="312" y="272"/>
                </a:lnTo>
                <a:lnTo>
                  <a:pt x="312" y="272"/>
                </a:lnTo>
                <a:lnTo>
                  <a:pt x="311" y="265"/>
                </a:lnTo>
                <a:lnTo>
                  <a:pt x="308" y="258"/>
                </a:lnTo>
                <a:lnTo>
                  <a:pt x="304" y="252"/>
                </a:lnTo>
                <a:lnTo>
                  <a:pt x="299" y="246"/>
                </a:lnTo>
                <a:lnTo>
                  <a:pt x="295" y="239"/>
                </a:lnTo>
                <a:lnTo>
                  <a:pt x="290" y="234"/>
                </a:lnTo>
                <a:lnTo>
                  <a:pt x="288" y="227"/>
                </a:lnTo>
                <a:lnTo>
                  <a:pt x="287" y="220"/>
                </a:lnTo>
                <a:lnTo>
                  <a:pt x="287" y="220"/>
                </a:lnTo>
                <a:lnTo>
                  <a:pt x="287" y="217"/>
                </a:lnTo>
                <a:lnTo>
                  <a:pt x="289" y="215"/>
                </a:lnTo>
                <a:lnTo>
                  <a:pt x="294" y="211"/>
                </a:lnTo>
                <a:lnTo>
                  <a:pt x="299" y="206"/>
                </a:lnTo>
                <a:lnTo>
                  <a:pt x="309" y="201"/>
                </a:lnTo>
                <a:lnTo>
                  <a:pt x="317" y="196"/>
                </a:lnTo>
                <a:lnTo>
                  <a:pt x="325" y="190"/>
                </a:lnTo>
                <a:lnTo>
                  <a:pt x="333" y="184"/>
                </a:lnTo>
                <a:lnTo>
                  <a:pt x="337" y="176"/>
                </a:lnTo>
                <a:lnTo>
                  <a:pt x="337" y="176"/>
                </a:lnTo>
                <a:lnTo>
                  <a:pt x="337" y="117"/>
                </a:lnTo>
                <a:lnTo>
                  <a:pt x="337" y="117"/>
                </a:lnTo>
                <a:lnTo>
                  <a:pt x="337" y="117"/>
                </a:lnTo>
                <a:lnTo>
                  <a:pt x="331" y="114"/>
                </a:lnTo>
                <a:lnTo>
                  <a:pt x="326" y="113"/>
                </a:lnTo>
                <a:lnTo>
                  <a:pt x="321" y="113"/>
                </a:lnTo>
                <a:lnTo>
                  <a:pt x="318" y="113"/>
                </a:lnTo>
                <a:lnTo>
                  <a:pt x="309" y="116"/>
                </a:lnTo>
                <a:lnTo>
                  <a:pt x="302" y="117"/>
                </a:lnTo>
                <a:lnTo>
                  <a:pt x="294" y="117"/>
                </a:lnTo>
                <a:lnTo>
                  <a:pt x="294" y="117"/>
                </a:lnTo>
                <a:lnTo>
                  <a:pt x="289" y="116"/>
                </a:lnTo>
                <a:lnTo>
                  <a:pt x="281" y="113"/>
                </a:lnTo>
                <a:lnTo>
                  <a:pt x="258" y="102"/>
                </a:lnTo>
                <a:lnTo>
                  <a:pt x="228" y="87"/>
                </a:lnTo>
                <a:lnTo>
                  <a:pt x="228" y="87"/>
                </a:lnTo>
                <a:lnTo>
                  <a:pt x="290" y="0"/>
                </a:lnTo>
                <a:lnTo>
                  <a:pt x="290" y="0"/>
                </a:lnTo>
                <a:lnTo>
                  <a:pt x="290" y="0"/>
                </a:lnTo>
                <a:lnTo>
                  <a:pt x="296" y="1"/>
                </a:lnTo>
                <a:lnTo>
                  <a:pt x="305" y="5"/>
                </a:lnTo>
                <a:lnTo>
                  <a:pt x="332" y="17"/>
                </a:lnTo>
                <a:lnTo>
                  <a:pt x="356" y="31"/>
                </a:lnTo>
                <a:lnTo>
                  <a:pt x="364" y="37"/>
                </a:lnTo>
                <a:lnTo>
                  <a:pt x="366" y="39"/>
                </a:lnTo>
                <a:lnTo>
                  <a:pt x="367" y="40"/>
                </a:lnTo>
                <a:lnTo>
                  <a:pt x="367" y="40"/>
                </a:lnTo>
                <a:lnTo>
                  <a:pt x="370" y="46"/>
                </a:lnTo>
                <a:lnTo>
                  <a:pt x="371" y="53"/>
                </a:lnTo>
                <a:lnTo>
                  <a:pt x="371" y="70"/>
                </a:lnTo>
                <a:lnTo>
                  <a:pt x="371" y="78"/>
                </a:lnTo>
                <a:lnTo>
                  <a:pt x="373" y="85"/>
                </a:lnTo>
                <a:lnTo>
                  <a:pt x="374" y="87"/>
                </a:lnTo>
                <a:lnTo>
                  <a:pt x="377" y="90"/>
                </a:lnTo>
                <a:lnTo>
                  <a:pt x="379" y="91"/>
                </a:lnTo>
                <a:lnTo>
                  <a:pt x="382" y="92"/>
                </a:lnTo>
                <a:lnTo>
                  <a:pt x="382" y="92"/>
                </a:lnTo>
                <a:lnTo>
                  <a:pt x="386" y="91"/>
                </a:lnTo>
                <a:lnTo>
                  <a:pt x="390" y="90"/>
                </a:lnTo>
                <a:lnTo>
                  <a:pt x="397" y="85"/>
                </a:lnTo>
                <a:lnTo>
                  <a:pt x="405" y="81"/>
                </a:lnTo>
                <a:lnTo>
                  <a:pt x="410" y="78"/>
                </a:lnTo>
                <a:lnTo>
                  <a:pt x="415" y="77"/>
                </a:lnTo>
                <a:lnTo>
                  <a:pt x="415" y="77"/>
                </a:lnTo>
                <a:lnTo>
                  <a:pt x="417" y="93"/>
                </a:lnTo>
                <a:lnTo>
                  <a:pt x="420" y="110"/>
                </a:lnTo>
                <a:lnTo>
                  <a:pt x="424" y="129"/>
                </a:lnTo>
                <a:lnTo>
                  <a:pt x="430" y="148"/>
                </a:lnTo>
                <a:lnTo>
                  <a:pt x="436" y="169"/>
                </a:lnTo>
                <a:lnTo>
                  <a:pt x="443" y="191"/>
                </a:lnTo>
                <a:lnTo>
                  <a:pt x="453" y="214"/>
                </a:lnTo>
                <a:lnTo>
                  <a:pt x="463" y="238"/>
                </a:lnTo>
                <a:lnTo>
                  <a:pt x="463" y="238"/>
                </a:lnTo>
                <a:lnTo>
                  <a:pt x="464" y="324"/>
                </a:lnTo>
                <a:lnTo>
                  <a:pt x="466" y="411"/>
                </a:lnTo>
                <a:lnTo>
                  <a:pt x="471" y="579"/>
                </a:lnTo>
                <a:lnTo>
                  <a:pt x="473" y="656"/>
                </a:lnTo>
                <a:lnTo>
                  <a:pt x="472" y="725"/>
                </a:lnTo>
                <a:lnTo>
                  <a:pt x="471" y="756"/>
                </a:lnTo>
                <a:lnTo>
                  <a:pt x="470" y="784"/>
                </a:lnTo>
                <a:lnTo>
                  <a:pt x="466" y="808"/>
                </a:lnTo>
                <a:lnTo>
                  <a:pt x="463" y="830"/>
                </a:lnTo>
                <a:lnTo>
                  <a:pt x="463" y="830"/>
                </a:lnTo>
                <a:lnTo>
                  <a:pt x="456" y="855"/>
                </a:lnTo>
                <a:lnTo>
                  <a:pt x="446" y="888"/>
                </a:lnTo>
                <a:lnTo>
                  <a:pt x="439" y="907"/>
                </a:lnTo>
                <a:lnTo>
                  <a:pt x="431" y="925"/>
                </a:lnTo>
                <a:lnTo>
                  <a:pt x="423" y="945"/>
                </a:lnTo>
                <a:lnTo>
                  <a:pt x="413" y="964"/>
                </a:lnTo>
                <a:lnTo>
                  <a:pt x="402" y="983"/>
                </a:lnTo>
                <a:lnTo>
                  <a:pt x="390" y="1000"/>
                </a:lnTo>
                <a:lnTo>
                  <a:pt x="378" y="1015"/>
                </a:lnTo>
                <a:lnTo>
                  <a:pt x="363" y="1029"/>
                </a:lnTo>
                <a:lnTo>
                  <a:pt x="356" y="1036"/>
                </a:lnTo>
                <a:lnTo>
                  <a:pt x="348" y="1040"/>
                </a:lnTo>
                <a:lnTo>
                  <a:pt x="340" y="1045"/>
                </a:lnTo>
                <a:lnTo>
                  <a:pt x="331" y="1049"/>
                </a:lnTo>
                <a:lnTo>
                  <a:pt x="322" y="1053"/>
                </a:lnTo>
                <a:lnTo>
                  <a:pt x="313" y="1055"/>
                </a:lnTo>
                <a:lnTo>
                  <a:pt x="304" y="1056"/>
                </a:lnTo>
                <a:lnTo>
                  <a:pt x="294" y="1056"/>
                </a:lnTo>
                <a:lnTo>
                  <a:pt x="294" y="1056"/>
                </a:lnTo>
                <a:lnTo>
                  <a:pt x="287" y="1056"/>
                </a:lnTo>
                <a:lnTo>
                  <a:pt x="280" y="1054"/>
                </a:lnTo>
                <a:lnTo>
                  <a:pt x="274" y="1051"/>
                </a:lnTo>
                <a:lnTo>
                  <a:pt x="271" y="1047"/>
                </a:lnTo>
                <a:lnTo>
                  <a:pt x="267" y="1043"/>
                </a:lnTo>
                <a:lnTo>
                  <a:pt x="264" y="1038"/>
                </a:lnTo>
                <a:lnTo>
                  <a:pt x="258" y="1029"/>
                </a:lnTo>
                <a:lnTo>
                  <a:pt x="252" y="1021"/>
                </a:lnTo>
                <a:lnTo>
                  <a:pt x="250" y="1018"/>
                </a:lnTo>
                <a:lnTo>
                  <a:pt x="245" y="1017"/>
                </a:lnTo>
                <a:lnTo>
                  <a:pt x="241" y="1016"/>
                </a:lnTo>
                <a:lnTo>
                  <a:pt x="235" y="1018"/>
                </a:lnTo>
                <a:lnTo>
                  <a:pt x="228" y="1022"/>
                </a:lnTo>
                <a:lnTo>
                  <a:pt x="220" y="1028"/>
                </a:lnTo>
                <a:lnTo>
                  <a:pt x="220" y="1028"/>
                </a:lnTo>
                <a:lnTo>
                  <a:pt x="215" y="1032"/>
                </a:lnTo>
                <a:lnTo>
                  <a:pt x="211" y="1036"/>
                </a:lnTo>
                <a:lnTo>
                  <a:pt x="207" y="1040"/>
                </a:lnTo>
                <a:lnTo>
                  <a:pt x="205" y="1046"/>
                </a:lnTo>
                <a:lnTo>
                  <a:pt x="203" y="1052"/>
                </a:lnTo>
                <a:lnTo>
                  <a:pt x="202" y="1057"/>
                </a:lnTo>
                <a:lnTo>
                  <a:pt x="199" y="1071"/>
                </a:lnTo>
                <a:lnTo>
                  <a:pt x="199" y="1087"/>
                </a:lnTo>
                <a:lnTo>
                  <a:pt x="199" y="1108"/>
                </a:lnTo>
                <a:lnTo>
                  <a:pt x="199" y="1133"/>
                </a:lnTo>
                <a:lnTo>
                  <a:pt x="198" y="1163"/>
                </a:lnTo>
                <a:lnTo>
                  <a:pt x="198" y="1163"/>
                </a:lnTo>
                <a:lnTo>
                  <a:pt x="178" y="1171"/>
                </a:lnTo>
                <a:lnTo>
                  <a:pt x="163" y="1179"/>
                </a:lnTo>
                <a:lnTo>
                  <a:pt x="157" y="1182"/>
                </a:lnTo>
                <a:lnTo>
                  <a:pt x="153" y="1185"/>
                </a:lnTo>
                <a:lnTo>
                  <a:pt x="150" y="1189"/>
                </a:lnTo>
                <a:lnTo>
                  <a:pt x="149" y="1192"/>
                </a:lnTo>
                <a:lnTo>
                  <a:pt x="148" y="1197"/>
                </a:lnTo>
                <a:lnTo>
                  <a:pt x="149" y="1200"/>
                </a:lnTo>
                <a:lnTo>
                  <a:pt x="151" y="1205"/>
                </a:lnTo>
                <a:lnTo>
                  <a:pt x="153" y="1211"/>
                </a:lnTo>
                <a:lnTo>
                  <a:pt x="163" y="1224"/>
                </a:lnTo>
                <a:lnTo>
                  <a:pt x="176" y="1240"/>
                </a:lnTo>
                <a:lnTo>
                  <a:pt x="176" y="1240"/>
                </a:lnTo>
                <a:lnTo>
                  <a:pt x="159" y="1228"/>
                </a:lnTo>
                <a:lnTo>
                  <a:pt x="144" y="1215"/>
                </a:lnTo>
                <a:lnTo>
                  <a:pt x="138" y="1208"/>
                </a:lnTo>
                <a:lnTo>
                  <a:pt x="134" y="1202"/>
                </a:lnTo>
                <a:lnTo>
                  <a:pt x="129" y="1196"/>
                </a:lnTo>
                <a:lnTo>
                  <a:pt x="127" y="1189"/>
                </a:lnTo>
                <a:lnTo>
                  <a:pt x="125" y="1182"/>
                </a:lnTo>
                <a:lnTo>
                  <a:pt x="125" y="1175"/>
                </a:lnTo>
                <a:lnTo>
                  <a:pt x="126" y="1168"/>
                </a:lnTo>
                <a:lnTo>
                  <a:pt x="129" y="1161"/>
                </a:lnTo>
                <a:lnTo>
                  <a:pt x="134" y="1154"/>
                </a:lnTo>
                <a:lnTo>
                  <a:pt x="142" y="1147"/>
                </a:lnTo>
                <a:lnTo>
                  <a:pt x="150" y="1140"/>
                </a:lnTo>
                <a:lnTo>
                  <a:pt x="161" y="1133"/>
                </a:lnTo>
                <a:lnTo>
                  <a:pt x="161" y="1133"/>
                </a:lnTo>
                <a:lnTo>
                  <a:pt x="160" y="1124"/>
                </a:lnTo>
                <a:lnTo>
                  <a:pt x="158" y="1113"/>
                </a:lnTo>
                <a:lnTo>
                  <a:pt x="150" y="1086"/>
                </a:lnTo>
                <a:lnTo>
                  <a:pt x="142" y="1063"/>
                </a:lnTo>
                <a:lnTo>
                  <a:pt x="136" y="1049"/>
                </a:lnTo>
                <a:lnTo>
                  <a:pt x="136" y="1049"/>
                </a:lnTo>
                <a:lnTo>
                  <a:pt x="113" y="1010"/>
                </a:lnTo>
                <a:lnTo>
                  <a:pt x="102" y="994"/>
                </a:lnTo>
                <a:lnTo>
                  <a:pt x="92" y="979"/>
                </a:lnTo>
                <a:lnTo>
                  <a:pt x="74" y="957"/>
                </a:lnTo>
                <a:lnTo>
                  <a:pt x="58" y="940"/>
                </a:lnTo>
                <a:lnTo>
                  <a:pt x="43" y="926"/>
                </a:lnTo>
                <a:lnTo>
                  <a:pt x="29" y="915"/>
                </a:lnTo>
                <a:lnTo>
                  <a:pt x="14" y="903"/>
                </a:lnTo>
                <a:lnTo>
                  <a:pt x="0" y="888"/>
                </a:lnTo>
                <a:lnTo>
                  <a:pt x="0" y="888"/>
                </a:lnTo>
                <a:lnTo>
                  <a:pt x="0" y="884"/>
                </a:lnTo>
                <a:lnTo>
                  <a:pt x="1" y="875"/>
                </a:lnTo>
                <a:lnTo>
                  <a:pt x="10" y="846"/>
                </a:lnTo>
                <a:lnTo>
                  <a:pt x="14" y="827"/>
                </a:lnTo>
                <a:lnTo>
                  <a:pt x="19" y="807"/>
                </a:lnTo>
                <a:lnTo>
                  <a:pt x="21" y="787"/>
                </a:lnTo>
                <a:lnTo>
                  <a:pt x="22" y="768"/>
                </a:lnTo>
                <a:lnTo>
                  <a:pt x="22" y="768"/>
                </a:lnTo>
                <a:lnTo>
                  <a:pt x="36" y="763"/>
                </a:lnTo>
                <a:lnTo>
                  <a:pt x="52" y="761"/>
                </a:lnTo>
                <a:lnTo>
                  <a:pt x="88" y="756"/>
                </a:lnTo>
                <a:lnTo>
                  <a:pt x="125" y="751"/>
                </a:lnTo>
                <a:lnTo>
                  <a:pt x="141" y="748"/>
                </a:lnTo>
                <a:lnTo>
                  <a:pt x="154" y="744"/>
                </a:lnTo>
                <a:lnTo>
                  <a:pt x="154" y="744"/>
                </a:lnTo>
                <a:lnTo>
                  <a:pt x="152" y="723"/>
                </a:lnTo>
                <a:lnTo>
                  <a:pt x="150" y="702"/>
                </a:lnTo>
                <a:lnTo>
                  <a:pt x="144" y="662"/>
                </a:lnTo>
                <a:lnTo>
                  <a:pt x="136" y="625"/>
                </a:lnTo>
                <a:lnTo>
                  <a:pt x="127" y="591"/>
                </a:lnTo>
                <a:lnTo>
                  <a:pt x="117" y="560"/>
                </a:lnTo>
                <a:lnTo>
                  <a:pt x="105" y="530"/>
                </a:lnTo>
                <a:lnTo>
                  <a:pt x="84" y="474"/>
                </a:lnTo>
                <a:lnTo>
                  <a:pt x="84" y="474"/>
                </a:lnTo>
                <a:lnTo>
                  <a:pt x="84" y="478"/>
                </a:lnTo>
                <a:lnTo>
                  <a:pt x="84" y="47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0" name="Freeform 15"/>
          <p:cNvSpPr>
            <a:spLocks/>
          </p:cNvSpPr>
          <p:nvPr/>
        </p:nvSpPr>
        <p:spPr bwMode="auto">
          <a:xfrm>
            <a:off x="4052888" y="2347913"/>
            <a:ext cx="1430337" cy="3590925"/>
          </a:xfrm>
          <a:custGeom>
            <a:avLst/>
            <a:gdLst/>
            <a:ahLst/>
            <a:cxnLst>
              <a:cxn ang="0">
                <a:pos x="117" y="1687"/>
              </a:cxn>
              <a:cxn ang="0">
                <a:pos x="232" y="1982"/>
              </a:cxn>
              <a:cxn ang="0">
                <a:pos x="319" y="2178"/>
              </a:cxn>
              <a:cxn ang="0">
                <a:pos x="279" y="2383"/>
              </a:cxn>
              <a:cxn ang="0">
                <a:pos x="202" y="2499"/>
              </a:cxn>
              <a:cxn ang="0">
                <a:pos x="285" y="2641"/>
              </a:cxn>
              <a:cxn ang="0">
                <a:pos x="193" y="2781"/>
              </a:cxn>
              <a:cxn ang="0">
                <a:pos x="342" y="2879"/>
              </a:cxn>
              <a:cxn ang="0">
                <a:pos x="481" y="3009"/>
              </a:cxn>
              <a:cxn ang="0">
                <a:pos x="510" y="3176"/>
              </a:cxn>
              <a:cxn ang="0">
                <a:pos x="480" y="3405"/>
              </a:cxn>
              <a:cxn ang="0">
                <a:pos x="485" y="3556"/>
              </a:cxn>
              <a:cxn ang="0">
                <a:pos x="613" y="3620"/>
              </a:cxn>
              <a:cxn ang="0">
                <a:pos x="756" y="3872"/>
              </a:cxn>
              <a:cxn ang="0">
                <a:pos x="658" y="4013"/>
              </a:cxn>
              <a:cxn ang="0">
                <a:pos x="857" y="4092"/>
              </a:cxn>
              <a:cxn ang="0">
                <a:pos x="993" y="3873"/>
              </a:cxn>
              <a:cxn ang="0">
                <a:pos x="1123" y="3785"/>
              </a:cxn>
              <a:cxn ang="0">
                <a:pos x="1147" y="3662"/>
              </a:cxn>
              <a:cxn ang="0">
                <a:pos x="1139" y="3497"/>
              </a:cxn>
              <a:cxn ang="0">
                <a:pos x="1178" y="3301"/>
              </a:cxn>
              <a:cxn ang="0">
                <a:pos x="1308" y="3153"/>
              </a:cxn>
              <a:cxn ang="0">
                <a:pos x="1436" y="3199"/>
              </a:cxn>
              <a:cxn ang="0">
                <a:pos x="1475" y="3057"/>
              </a:cxn>
              <a:cxn ang="0">
                <a:pos x="1521" y="2928"/>
              </a:cxn>
              <a:cxn ang="0">
                <a:pos x="1675" y="2967"/>
              </a:cxn>
              <a:cxn ang="0">
                <a:pos x="1705" y="2842"/>
              </a:cxn>
              <a:cxn ang="0">
                <a:pos x="1705" y="2714"/>
              </a:cxn>
              <a:cxn ang="0">
                <a:pos x="1625" y="2548"/>
              </a:cxn>
              <a:cxn ang="0">
                <a:pos x="1709" y="2416"/>
              </a:cxn>
              <a:cxn ang="0">
                <a:pos x="1665" y="2288"/>
              </a:cxn>
              <a:cxn ang="0">
                <a:pos x="1672" y="2136"/>
              </a:cxn>
              <a:cxn ang="0">
                <a:pos x="1656" y="2064"/>
              </a:cxn>
              <a:cxn ang="0">
                <a:pos x="1603" y="1880"/>
              </a:cxn>
              <a:cxn ang="0">
                <a:pos x="1506" y="1703"/>
              </a:cxn>
              <a:cxn ang="0">
                <a:pos x="1504" y="1431"/>
              </a:cxn>
              <a:cxn ang="0">
                <a:pos x="1576" y="1208"/>
              </a:cxn>
              <a:cxn ang="0">
                <a:pos x="1674" y="960"/>
              </a:cxn>
              <a:cxn ang="0">
                <a:pos x="1595" y="802"/>
              </a:cxn>
              <a:cxn ang="0">
                <a:pos x="1488" y="601"/>
              </a:cxn>
              <a:cxn ang="0">
                <a:pos x="1457" y="618"/>
              </a:cxn>
              <a:cxn ang="0">
                <a:pos x="1308" y="705"/>
              </a:cxn>
              <a:cxn ang="0">
                <a:pos x="1460" y="193"/>
              </a:cxn>
              <a:cxn ang="0">
                <a:pos x="1228" y="173"/>
              </a:cxn>
              <a:cxn ang="0">
                <a:pos x="1167" y="86"/>
              </a:cxn>
              <a:cxn ang="0">
                <a:pos x="1055" y="2"/>
              </a:cxn>
              <a:cxn ang="0">
                <a:pos x="961" y="231"/>
              </a:cxn>
              <a:cxn ang="0">
                <a:pos x="877" y="294"/>
              </a:cxn>
              <a:cxn ang="0">
                <a:pos x="783" y="300"/>
              </a:cxn>
              <a:cxn ang="0">
                <a:pos x="682" y="375"/>
              </a:cxn>
              <a:cxn ang="0">
                <a:pos x="439" y="642"/>
              </a:cxn>
              <a:cxn ang="0">
                <a:pos x="179" y="702"/>
              </a:cxn>
              <a:cxn ang="0">
                <a:pos x="144" y="901"/>
              </a:cxn>
              <a:cxn ang="0">
                <a:pos x="256" y="1039"/>
              </a:cxn>
              <a:cxn ang="0">
                <a:pos x="210" y="1282"/>
              </a:cxn>
              <a:cxn ang="0">
                <a:pos x="166" y="1233"/>
              </a:cxn>
              <a:cxn ang="0">
                <a:pos x="162" y="1012"/>
              </a:cxn>
              <a:cxn ang="0">
                <a:pos x="36" y="934"/>
              </a:cxn>
              <a:cxn ang="0">
                <a:pos x="57" y="1046"/>
              </a:cxn>
              <a:cxn ang="0">
                <a:pos x="70" y="1234"/>
              </a:cxn>
              <a:cxn ang="0">
                <a:pos x="103" y="1416"/>
              </a:cxn>
              <a:cxn ang="0">
                <a:pos x="162" y="1530"/>
              </a:cxn>
            </a:cxnLst>
            <a:rect l="0" t="0" r="r" b="b"/>
            <a:pathLst>
              <a:path w="1749" h="4117">
                <a:moveTo>
                  <a:pt x="169" y="1560"/>
                </a:moveTo>
                <a:lnTo>
                  <a:pt x="166" y="1548"/>
                </a:lnTo>
                <a:lnTo>
                  <a:pt x="166" y="1548"/>
                </a:lnTo>
                <a:lnTo>
                  <a:pt x="169" y="1560"/>
                </a:lnTo>
                <a:lnTo>
                  <a:pt x="166" y="1560"/>
                </a:lnTo>
                <a:lnTo>
                  <a:pt x="166" y="1560"/>
                </a:lnTo>
                <a:lnTo>
                  <a:pt x="166" y="1560"/>
                </a:lnTo>
                <a:lnTo>
                  <a:pt x="164" y="1566"/>
                </a:lnTo>
                <a:lnTo>
                  <a:pt x="163" y="1573"/>
                </a:lnTo>
                <a:lnTo>
                  <a:pt x="161" y="1580"/>
                </a:lnTo>
                <a:lnTo>
                  <a:pt x="159" y="1588"/>
                </a:lnTo>
                <a:lnTo>
                  <a:pt x="154" y="1595"/>
                </a:lnTo>
                <a:lnTo>
                  <a:pt x="151" y="1600"/>
                </a:lnTo>
                <a:lnTo>
                  <a:pt x="145" y="1606"/>
                </a:lnTo>
                <a:lnTo>
                  <a:pt x="140" y="1611"/>
                </a:lnTo>
                <a:lnTo>
                  <a:pt x="140" y="1611"/>
                </a:lnTo>
                <a:lnTo>
                  <a:pt x="130" y="1613"/>
                </a:lnTo>
                <a:lnTo>
                  <a:pt x="120" y="1615"/>
                </a:lnTo>
                <a:lnTo>
                  <a:pt x="114" y="1616"/>
                </a:lnTo>
                <a:lnTo>
                  <a:pt x="110" y="1620"/>
                </a:lnTo>
                <a:lnTo>
                  <a:pt x="107" y="1624"/>
                </a:lnTo>
                <a:lnTo>
                  <a:pt x="107" y="1630"/>
                </a:lnTo>
                <a:lnTo>
                  <a:pt x="107" y="1630"/>
                </a:lnTo>
                <a:lnTo>
                  <a:pt x="117" y="1687"/>
                </a:lnTo>
                <a:lnTo>
                  <a:pt x="125" y="1729"/>
                </a:lnTo>
                <a:lnTo>
                  <a:pt x="129" y="1745"/>
                </a:lnTo>
                <a:lnTo>
                  <a:pt x="132" y="1754"/>
                </a:lnTo>
                <a:lnTo>
                  <a:pt x="132" y="1754"/>
                </a:lnTo>
                <a:lnTo>
                  <a:pt x="139" y="1761"/>
                </a:lnTo>
                <a:lnTo>
                  <a:pt x="145" y="1767"/>
                </a:lnTo>
                <a:lnTo>
                  <a:pt x="155" y="1775"/>
                </a:lnTo>
                <a:lnTo>
                  <a:pt x="160" y="1780"/>
                </a:lnTo>
                <a:lnTo>
                  <a:pt x="162" y="1786"/>
                </a:lnTo>
                <a:lnTo>
                  <a:pt x="164" y="1795"/>
                </a:lnTo>
                <a:lnTo>
                  <a:pt x="166" y="1806"/>
                </a:lnTo>
                <a:lnTo>
                  <a:pt x="166" y="1806"/>
                </a:lnTo>
                <a:lnTo>
                  <a:pt x="166" y="1905"/>
                </a:lnTo>
                <a:lnTo>
                  <a:pt x="166" y="1905"/>
                </a:lnTo>
                <a:lnTo>
                  <a:pt x="166" y="1913"/>
                </a:lnTo>
                <a:lnTo>
                  <a:pt x="167" y="1920"/>
                </a:lnTo>
                <a:lnTo>
                  <a:pt x="169" y="1927"/>
                </a:lnTo>
                <a:lnTo>
                  <a:pt x="171" y="1933"/>
                </a:lnTo>
                <a:lnTo>
                  <a:pt x="175" y="1939"/>
                </a:lnTo>
                <a:lnTo>
                  <a:pt x="178" y="1944"/>
                </a:lnTo>
                <a:lnTo>
                  <a:pt x="187" y="1954"/>
                </a:lnTo>
                <a:lnTo>
                  <a:pt x="198" y="1962"/>
                </a:lnTo>
                <a:lnTo>
                  <a:pt x="209" y="1968"/>
                </a:lnTo>
                <a:lnTo>
                  <a:pt x="232" y="1982"/>
                </a:lnTo>
                <a:lnTo>
                  <a:pt x="232" y="1982"/>
                </a:lnTo>
                <a:lnTo>
                  <a:pt x="236" y="2052"/>
                </a:lnTo>
                <a:lnTo>
                  <a:pt x="236" y="2052"/>
                </a:lnTo>
                <a:lnTo>
                  <a:pt x="236" y="2052"/>
                </a:lnTo>
                <a:lnTo>
                  <a:pt x="231" y="2057"/>
                </a:lnTo>
                <a:lnTo>
                  <a:pt x="227" y="2064"/>
                </a:lnTo>
                <a:lnTo>
                  <a:pt x="222" y="2072"/>
                </a:lnTo>
                <a:lnTo>
                  <a:pt x="221" y="2077"/>
                </a:lnTo>
                <a:lnTo>
                  <a:pt x="221" y="2081"/>
                </a:lnTo>
                <a:lnTo>
                  <a:pt x="221" y="2081"/>
                </a:lnTo>
                <a:lnTo>
                  <a:pt x="221" y="2086"/>
                </a:lnTo>
                <a:lnTo>
                  <a:pt x="223" y="2090"/>
                </a:lnTo>
                <a:lnTo>
                  <a:pt x="227" y="2095"/>
                </a:lnTo>
                <a:lnTo>
                  <a:pt x="231" y="2100"/>
                </a:lnTo>
                <a:lnTo>
                  <a:pt x="243" y="2107"/>
                </a:lnTo>
                <a:lnTo>
                  <a:pt x="256" y="2113"/>
                </a:lnTo>
                <a:lnTo>
                  <a:pt x="273" y="2118"/>
                </a:lnTo>
                <a:lnTo>
                  <a:pt x="288" y="2123"/>
                </a:lnTo>
                <a:lnTo>
                  <a:pt x="301" y="2125"/>
                </a:lnTo>
                <a:lnTo>
                  <a:pt x="312" y="2125"/>
                </a:lnTo>
                <a:lnTo>
                  <a:pt x="312" y="2125"/>
                </a:lnTo>
                <a:lnTo>
                  <a:pt x="314" y="2142"/>
                </a:lnTo>
                <a:lnTo>
                  <a:pt x="316" y="2160"/>
                </a:lnTo>
                <a:lnTo>
                  <a:pt x="319" y="2178"/>
                </a:lnTo>
                <a:lnTo>
                  <a:pt x="320" y="2199"/>
                </a:lnTo>
                <a:lnTo>
                  <a:pt x="320" y="2199"/>
                </a:lnTo>
                <a:lnTo>
                  <a:pt x="320" y="2210"/>
                </a:lnTo>
                <a:lnTo>
                  <a:pt x="317" y="2220"/>
                </a:lnTo>
                <a:lnTo>
                  <a:pt x="314" y="2229"/>
                </a:lnTo>
                <a:lnTo>
                  <a:pt x="309" y="2237"/>
                </a:lnTo>
                <a:lnTo>
                  <a:pt x="305" y="2242"/>
                </a:lnTo>
                <a:lnTo>
                  <a:pt x="299" y="2248"/>
                </a:lnTo>
                <a:lnTo>
                  <a:pt x="286" y="2257"/>
                </a:lnTo>
                <a:lnTo>
                  <a:pt x="275" y="2268"/>
                </a:lnTo>
                <a:lnTo>
                  <a:pt x="269" y="2272"/>
                </a:lnTo>
                <a:lnTo>
                  <a:pt x="263" y="2278"/>
                </a:lnTo>
                <a:lnTo>
                  <a:pt x="260" y="2285"/>
                </a:lnTo>
                <a:lnTo>
                  <a:pt x="256" y="2293"/>
                </a:lnTo>
                <a:lnTo>
                  <a:pt x="254" y="2302"/>
                </a:lnTo>
                <a:lnTo>
                  <a:pt x="253" y="2314"/>
                </a:lnTo>
                <a:lnTo>
                  <a:pt x="253" y="2314"/>
                </a:lnTo>
                <a:lnTo>
                  <a:pt x="254" y="2321"/>
                </a:lnTo>
                <a:lnTo>
                  <a:pt x="258" y="2329"/>
                </a:lnTo>
                <a:lnTo>
                  <a:pt x="267" y="2344"/>
                </a:lnTo>
                <a:lnTo>
                  <a:pt x="271" y="2352"/>
                </a:lnTo>
                <a:lnTo>
                  <a:pt x="275" y="2361"/>
                </a:lnTo>
                <a:lnTo>
                  <a:pt x="278" y="2371"/>
                </a:lnTo>
                <a:lnTo>
                  <a:pt x="279" y="2383"/>
                </a:lnTo>
                <a:lnTo>
                  <a:pt x="279" y="2383"/>
                </a:lnTo>
                <a:lnTo>
                  <a:pt x="278" y="2388"/>
                </a:lnTo>
                <a:lnTo>
                  <a:pt x="277" y="2394"/>
                </a:lnTo>
                <a:lnTo>
                  <a:pt x="276" y="2399"/>
                </a:lnTo>
                <a:lnTo>
                  <a:pt x="273" y="2403"/>
                </a:lnTo>
                <a:lnTo>
                  <a:pt x="266" y="2412"/>
                </a:lnTo>
                <a:lnTo>
                  <a:pt x="258" y="2420"/>
                </a:lnTo>
                <a:lnTo>
                  <a:pt x="250" y="2426"/>
                </a:lnTo>
                <a:lnTo>
                  <a:pt x="243" y="2433"/>
                </a:lnTo>
                <a:lnTo>
                  <a:pt x="236" y="2443"/>
                </a:lnTo>
                <a:lnTo>
                  <a:pt x="233" y="2447"/>
                </a:lnTo>
                <a:lnTo>
                  <a:pt x="232" y="2453"/>
                </a:lnTo>
                <a:lnTo>
                  <a:pt x="232" y="2453"/>
                </a:lnTo>
                <a:lnTo>
                  <a:pt x="230" y="2466"/>
                </a:lnTo>
                <a:lnTo>
                  <a:pt x="229" y="2478"/>
                </a:lnTo>
                <a:lnTo>
                  <a:pt x="228" y="2484"/>
                </a:lnTo>
                <a:lnTo>
                  <a:pt x="227" y="2490"/>
                </a:lnTo>
                <a:lnTo>
                  <a:pt x="224" y="2493"/>
                </a:lnTo>
                <a:lnTo>
                  <a:pt x="221" y="2497"/>
                </a:lnTo>
                <a:lnTo>
                  <a:pt x="221" y="2497"/>
                </a:lnTo>
                <a:lnTo>
                  <a:pt x="216" y="2499"/>
                </a:lnTo>
                <a:lnTo>
                  <a:pt x="214" y="2500"/>
                </a:lnTo>
                <a:lnTo>
                  <a:pt x="208" y="2500"/>
                </a:lnTo>
                <a:lnTo>
                  <a:pt x="202" y="2499"/>
                </a:lnTo>
                <a:lnTo>
                  <a:pt x="199" y="2499"/>
                </a:lnTo>
                <a:lnTo>
                  <a:pt x="194" y="2500"/>
                </a:lnTo>
                <a:lnTo>
                  <a:pt x="194" y="2500"/>
                </a:lnTo>
                <a:lnTo>
                  <a:pt x="195" y="2512"/>
                </a:lnTo>
                <a:lnTo>
                  <a:pt x="197" y="2523"/>
                </a:lnTo>
                <a:lnTo>
                  <a:pt x="198" y="2533"/>
                </a:lnTo>
                <a:lnTo>
                  <a:pt x="201" y="2545"/>
                </a:lnTo>
                <a:lnTo>
                  <a:pt x="205" y="2554"/>
                </a:lnTo>
                <a:lnTo>
                  <a:pt x="208" y="2563"/>
                </a:lnTo>
                <a:lnTo>
                  <a:pt x="213" y="2573"/>
                </a:lnTo>
                <a:lnTo>
                  <a:pt x="218" y="2581"/>
                </a:lnTo>
                <a:lnTo>
                  <a:pt x="225" y="2588"/>
                </a:lnTo>
                <a:lnTo>
                  <a:pt x="232" y="2594"/>
                </a:lnTo>
                <a:lnTo>
                  <a:pt x="239" y="2600"/>
                </a:lnTo>
                <a:lnTo>
                  <a:pt x="247" y="2605"/>
                </a:lnTo>
                <a:lnTo>
                  <a:pt x="256" y="2609"/>
                </a:lnTo>
                <a:lnTo>
                  <a:pt x="266" y="2612"/>
                </a:lnTo>
                <a:lnTo>
                  <a:pt x="276" y="2614"/>
                </a:lnTo>
                <a:lnTo>
                  <a:pt x="288" y="2614"/>
                </a:lnTo>
                <a:lnTo>
                  <a:pt x="288" y="2614"/>
                </a:lnTo>
                <a:lnTo>
                  <a:pt x="288" y="2621"/>
                </a:lnTo>
                <a:lnTo>
                  <a:pt x="288" y="2628"/>
                </a:lnTo>
                <a:lnTo>
                  <a:pt x="286" y="2635"/>
                </a:lnTo>
                <a:lnTo>
                  <a:pt x="285" y="2641"/>
                </a:lnTo>
                <a:lnTo>
                  <a:pt x="283" y="2645"/>
                </a:lnTo>
                <a:lnTo>
                  <a:pt x="281" y="2650"/>
                </a:lnTo>
                <a:lnTo>
                  <a:pt x="273" y="2658"/>
                </a:lnTo>
                <a:lnTo>
                  <a:pt x="264" y="2665"/>
                </a:lnTo>
                <a:lnTo>
                  <a:pt x="254" y="2670"/>
                </a:lnTo>
                <a:lnTo>
                  <a:pt x="244" y="2675"/>
                </a:lnTo>
                <a:lnTo>
                  <a:pt x="232" y="2680"/>
                </a:lnTo>
                <a:lnTo>
                  <a:pt x="209" y="2688"/>
                </a:lnTo>
                <a:lnTo>
                  <a:pt x="199" y="2692"/>
                </a:lnTo>
                <a:lnTo>
                  <a:pt x="190" y="2697"/>
                </a:lnTo>
                <a:lnTo>
                  <a:pt x="182" y="2703"/>
                </a:lnTo>
                <a:lnTo>
                  <a:pt x="175" y="2710"/>
                </a:lnTo>
                <a:lnTo>
                  <a:pt x="172" y="2714"/>
                </a:lnTo>
                <a:lnTo>
                  <a:pt x="171" y="2719"/>
                </a:lnTo>
                <a:lnTo>
                  <a:pt x="170" y="2723"/>
                </a:lnTo>
                <a:lnTo>
                  <a:pt x="169" y="2728"/>
                </a:lnTo>
                <a:lnTo>
                  <a:pt x="169" y="2728"/>
                </a:lnTo>
                <a:lnTo>
                  <a:pt x="170" y="2738"/>
                </a:lnTo>
                <a:lnTo>
                  <a:pt x="174" y="2746"/>
                </a:lnTo>
                <a:lnTo>
                  <a:pt x="177" y="2753"/>
                </a:lnTo>
                <a:lnTo>
                  <a:pt x="182" y="2759"/>
                </a:lnTo>
                <a:lnTo>
                  <a:pt x="186" y="2766"/>
                </a:lnTo>
                <a:lnTo>
                  <a:pt x="191" y="2773"/>
                </a:lnTo>
                <a:lnTo>
                  <a:pt x="193" y="2781"/>
                </a:lnTo>
                <a:lnTo>
                  <a:pt x="194" y="2790"/>
                </a:lnTo>
                <a:lnTo>
                  <a:pt x="194" y="2790"/>
                </a:lnTo>
                <a:lnTo>
                  <a:pt x="194" y="2850"/>
                </a:lnTo>
                <a:lnTo>
                  <a:pt x="194" y="2850"/>
                </a:lnTo>
                <a:lnTo>
                  <a:pt x="195" y="2857"/>
                </a:lnTo>
                <a:lnTo>
                  <a:pt x="197" y="2861"/>
                </a:lnTo>
                <a:lnTo>
                  <a:pt x="199" y="2867"/>
                </a:lnTo>
                <a:lnTo>
                  <a:pt x="202" y="2872"/>
                </a:lnTo>
                <a:lnTo>
                  <a:pt x="206" y="2875"/>
                </a:lnTo>
                <a:lnTo>
                  <a:pt x="210" y="2878"/>
                </a:lnTo>
                <a:lnTo>
                  <a:pt x="217" y="2879"/>
                </a:lnTo>
                <a:lnTo>
                  <a:pt x="217" y="2879"/>
                </a:lnTo>
                <a:lnTo>
                  <a:pt x="229" y="2879"/>
                </a:lnTo>
                <a:lnTo>
                  <a:pt x="239" y="2878"/>
                </a:lnTo>
                <a:lnTo>
                  <a:pt x="259" y="2873"/>
                </a:lnTo>
                <a:lnTo>
                  <a:pt x="279" y="2869"/>
                </a:lnTo>
                <a:lnTo>
                  <a:pt x="290" y="2868"/>
                </a:lnTo>
                <a:lnTo>
                  <a:pt x="301" y="2867"/>
                </a:lnTo>
                <a:lnTo>
                  <a:pt x="301" y="2867"/>
                </a:lnTo>
                <a:lnTo>
                  <a:pt x="313" y="2868"/>
                </a:lnTo>
                <a:lnTo>
                  <a:pt x="322" y="2869"/>
                </a:lnTo>
                <a:lnTo>
                  <a:pt x="330" y="2872"/>
                </a:lnTo>
                <a:lnTo>
                  <a:pt x="336" y="2875"/>
                </a:lnTo>
                <a:lnTo>
                  <a:pt x="342" y="2879"/>
                </a:lnTo>
                <a:lnTo>
                  <a:pt x="346" y="2883"/>
                </a:lnTo>
                <a:lnTo>
                  <a:pt x="355" y="2891"/>
                </a:lnTo>
                <a:lnTo>
                  <a:pt x="362" y="2902"/>
                </a:lnTo>
                <a:lnTo>
                  <a:pt x="370" y="2910"/>
                </a:lnTo>
                <a:lnTo>
                  <a:pt x="376" y="2913"/>
                </a:lnTo>
                <a:lnTo>
                  <a:pt x="382" y="2916"/>
                </a:lnTo>
                <a:lnTo>
                  <a:pt x="389" y="2918"/>
                </a:lnTo>
                <a:lnTo>
                  <a:pt x="397" y="2919"/>
                </a:lnTo>
                <a:lnTo>
                  <a:pt x="397" y="2919"/>
                </a:lnTo>
                <a:lnTo>
                  <a:pt x="401" y="2933"/>
                </a:lnTo>
                <a:lnTo>
                  <a:pt x="408" y="2948"/>
                </a:lnTo>
                <a:lnTo>
                  <a:pt x="418" y="2963"/>
                </a:lnTo>
                <a:lnTo>
                  <a:pt x="422" y="2970"/>
                </a:lnTo>
                <a:lnTo>
                  <a:pt x="427" y="2974"/>
                </a:lnTo>
                <a:lnTo>
                  <a:pt x="427" y="2974"/>
                </a:lnTo>
                <a:lnTo>
                  <a:pt x="435" y="2979"/>
                </a:lnTo>
                <a:lnTo>
                  <a:pt x="444" y="2982"/>
                </a:lnTo>
                <a:lnTo>
                  <a:pt x="462" y="2988"/>
                </a:lnTo>
                <a:lnTo>
                  <a:pt x="469" y="2991"/>
                </a:lnTo>
                <a:lnTo>
                  <a:pt x="473" y="2994"/>
                </a:lnTo>
                <a:lnTo>
                  <a:pt x="476" y="2996"/>
                </a:lnTo>
                <a:lnTo>
                  <a:pt x="479" y="3000"/>
                </a:lnTo>
                <a:lnTo>
                  <a:pt x="480" y="3004"/>
                </a:lnTo>
                <a:lnTo>
                  <a:pt x="481" y="3009"/>
                </a:lnTo>
                <a:lnTo>
                  <a:pt x="482" y="3014"/>
                </a:lnTo>
                <a:lnTo>
                  <a:pt x="482" y="3014"/>
                </a:lnTo>
                <a:lnTo>
                  <a:pt x="481" y="3020"/>
                </a:lnTo>
                <a:lnTo>
                  <a:pt x="480" y="3026"/>
                </a:lnTo>
                <a:lnTo>
                  <a:pt x="477" y="3032"/>
                </a:lnTo>
                <a:lnTo>
                  <a:pt x="474" y="3037"/>
                </a:lnTo>
                <a:lnTo>
                  <a:pt x="466" y="3049"/>
                </a:lnTo>
                <a:lnTo>
                  <a:pt x="458" y="3061"/>
                </a:lnTo>
                <a:lnTo>
                  <a:pt x="449" y="3073"/>
                </a:lnTo>
                <a:lnTo>
                  <a:pt x="441" y="3087"/>
                </a:lnTo>
                <a:lnTo>
                  <a:pt x="438" y="3095"/>
                </a:lnTo>
                <a:lnTo>
                  <a:pt x="436" y="3103"/>
                </a:lnTo>
                <a:lnTo>
                  <a:pt x="434" y="3112"/>
                </a:lnTo>
                <a:lnTo>
                  <a:pt x="434" y="3121"/>
                </a:lnTo>
                <a:lnTo>
                  <a:pt x="434" y="3121"/>
                </a:lnTo>
                <a:lnTo>
                  <a:pt x="435" y="3132"/>
                </a:lnTo>
                <a:lnTo>
                  <a:pt x="437" y="3140"/>
                </a:lnTo>
                <a:lnTo>
                  <a:pt x="443" y="3148"/>
                </a:lnTo>
                <a:lnTo>
                  <a:pt x="449" y="3153"/>
                </a:lnTo>
                <a:lnTo>
                  <a:pt x="457" y="3157"/>
                </a:lnTo>
                <a:lnTo>
                  <a:pt x="465" y="3161"/>
                </a:lnTo>
                <a:lnTo>
                  <a:pt x="483" y="3166"/>
                </a:lnTo>
                <a:lnTo>
                  <a:pt x="502" y="3172"/>
                </a:lnTo>
                <a:lnTo>
                  <a:pt x="510" y="3176"/>
                </a:lnTo>
                <a:lnTo>
                  <a:pt x="518" y="3179"/>
                </a:lnTo>
                <a:lnTo>
                  <a:pt x="523" y="3185"/>
                </a:lnTo>
                <a:lnTo>
                  <a:pt x="528" y="3191"/>
                </a:lnTo>
                <a:lnTo>
                  <a:pt x="531" y="3200"/>
                </a:lnTo>
                <a:lnTo>
                  <a:pt x="533" y="3209"/>
                </a:lnTo>
                <a:lnTo>
                  <a:pt x="533" y="3209"/>
                </a:lnTo>
                <a:lnTo>
                  <a:pt x="533" y="3217"/>
                </a:lnTo>
                <a:lnTo>
                  <a:pt x="530" y="3225"/>
                </a:lnTo>
                <a:lnTo>
                  <a:pt x="528" y="3232"/>
                </a:lnTo>
                <a:lnTo>
                  <a:pt x="525" y="3238"/>
                </a:lnTo>
                <a:lnTo>
                  <a:pt x="520" y="3242"/>
                </a:lnTo>
                <a:lnTo>
                  <a:pt x="515" y="3247"/>
                </a:lnTo>
                <a:lnTo>
                  <a:pt x="505" y="3256"/>
                </a:lnTo>
                <a:lnTo>
                  <a:pt x="495" y="3264"/>
                </a:lnTo>
                <a:lnTo>
                  <a:pt x="487" y="3273"/>
                </a:lnTo>
                <a:lnTo>
                  <a:pt x="482" y="3278"/>
                </a:lnTo>
                <a:lnTo>
                  <a:pt x="480" y="3284"/>
                </a:lnTo>
                <a:lnTo>
                  <a:pt x="479" y="3291"/>
                </a:lnTo>
                <a:lnTo>
                  <a:pt x="477" y="3298"/>
                </a:lnTo>
                <a:lnTo>
                  <a:pt x="477" y="3298"/>
                </a:lnTo>
                <a:lnTo>
                  <a:pt x="477" y="3393"/>
                </a:lnTo>
                <a:lnTo>
                  <a:pt x="477" y="3393"/>
                </a:lnTo>
                <a:lnTo>
                  <a:pt x="479" y="3399"/>
                </a:lnTo>
                <a:lnTo>
                  <a:pt x="480" y="3405"/>
                </a:lnTo>
                <a:lnTo>
                  <a:pt x="482" y="3410"/>
                </a:lnTo>
                <a:lnTo>
                  <a:pt x="485" y="3416"/>
                </a:lnTo>
                <a:lnTo>
                  <a:pt x="493" y="3428"/>
                </a:lnTo>
                <a:lnTo>
                  <a:pt x="504" y="3439"/>
                </a:lnTo>
                <a:lnTo>
                  <a:pt x="513" y="3452"/>
                </a:lnTo>
                <a:lnTo>
                  <a:pt x="518" y="3459"/>
                </a:lnTo>
                <a:lnTo>
                  <a:pt x="521" y="3466"/>
                </a:lnTo>
                <a:lnTo>
                  <a:pt x="525" y="3474"/>
                </a:lnTo>
                <a:lnTo>
                  <a:pt x="527" y="3483"/>
                </a:lnTo>
                <a:lnTo>
                  <a:pt x="529" y="3493"/>
                </a:lnTo>
                <a:lnTo>
                  <a:pt x="529" y="3504"/>
                </a:lnTo>
                <a:lnTo>
                  <a:pt x="529" y="3504"/>
                </a:lnTo>
                <a:lnTo>
                  <a:pt x="529" y="3510"/>
                </a:lnTo>
                <a:lnTo>
                  <a:pt x="527" y="3516"/>
                </a:lnTo>
                <a:lnTo>
                  <a:pt x="526" y="3521"/>
                </a:lnTo>
                <a:lnTo>
                  <a:pt x="522" y="3525"/>
                </a:lnTo>
                <a:lnTo>
                  <a:pt x="519" y="3528"/>
                </a:lnTo>
                <a:lnTo>
                  <a:pt x="515" y="3531"/>
                </a:lnTo>
                <a:lnTo>
                  <a:pt x="507" y="3536"/>
                </a:lnTo>
                <a:lnTo>
                  <a:pt x="499" y="3539"/>
                </a:lnTo>
                <a:lnTo>
                  <a:pt x="492" y="3545"/>
                </a:lnTo>
                <a:lnTo>
                  <a:pt x="489" y="3548"/>
                </a:lnTo>
                <a:lnTo>
                  <a:pt x="487" y="3552"/>
                </a:lnTo>
                <a:lnTo>
                  <a:pt x="485" y="3556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2"/>
                </a:lnTo>
                <a:lnTo>
                  <a:pt x="485" y="3566"/>
                </a:lnTo>
                <a:lnTo>
                  <a:pt x="487" y="3569"/>
                </a:lnTo>
                <a:lnTo>
                  <a:pt x="492" y="3578"/>
                </a:lnTo>
                <a:lnTo>
                  <a:pt x="500" y="3589"/>
                </a:lnTo>
                <a:lnTo>
                  <a:pt x="510" y="3599"/>
                </a:lnTo>
                <a:lnTo>
                  <a:pt x="520" y="3608"/>
                </a:lnTo>
                <a:lnTo>
                  <a:pt x="530" y="3616"/>
                </a:lnTo>
                <a:lnTo>
                  <a:pt x="540" y="3622"/>
                </a:lnTo>
                <a:lnTo>
                  <a:pt x="544" y="3623"/>
                </a:lnTo>
                <a:lnTo>
                  <a:pt x="548" y="3624"/>
                </a:lnTo>
                <a:lnTo>
                  <a:pt x="548" y="3624"/>
                </a:lnTo>
                <a:lnTo>
                  <a:pt x="563" y="3623"/>
                </a:lnTo>
                <a:lnTo>
                  <a:pt x="575" y="3621"/>
                </a:lnTo>
                <a:lnTo>
                  <a:pt x="587" y="3619"/>
                </a:lnTo>
                <a:lnTo>
                  <a:pt x="599" y="3617"/>
                </a:lnTo>
                <a:lnTo>
                  <a:pt x="599" y="3617"/>
                </a:lnTo>
                <a:lnTo>
                  <a:pt x="606" y="3617"/>
                </a:lnTo>
                <a:lnTo>
                  <a:pt x="613" y="3620"/>
                </a:lnTo>
                <a:lnTo>
                  <a:pt x="619" y="3622"/>
                </a:lnTo>
                <a:lnTo>
                  <a:pt x="624" y="3626"/>
                </a:lnTo>
                <a:lnTo>
                  <a:pt x="634" y="3635"/>
                </a:lnTo>
                <a:lnTo>
                  <a:pt x="643" y="3643"/>
                </a:lnTo>
                <a:lnTo>
                  <a:pt x="643" y="3643"/>
                </a:lnTo>
                <a:lnTo>
                  <a:pt x="656" y="3652"/>
                </a:lnTo>
                <a:lnTo>
                  <a:pt x="665" y="3661"/>
                </a:lnTo>
                <a:lnTo>
                  <a:pt x="674" y="3672"/>
                </a:lnTo>
                <a:lnTo>
                  <a:pt x="681" y="3683"/>
                </a:lnTo>
                <a:lnTo>
                  <a:pt x="687" y="3696"/>
                </a:lnTo>
                <a:lnTo>
                  <a:pt x="691" y="3710"/>
                </a:lnTo>
                <a:lnTo>
                  <a:pt x="699" y="3737"/>
                </a:lnTo>
                <a:lnTo>
                  <a:pt x="706" y="3766"/>
                </a:lnTo>
                <a:lnTo>
                  <a:pt x="714" y="3794"/>
                </a:lnTo>
                <a:lnTo>
                  <a:pt x="720" y="3806"/>
                </a:lnTo>
                <a:lnTo>
                  <a:pt x="726" y="3819"/>
                </a:lnTo>
                <a:lnTo>
                  <a:pt x="733" y="3830"/>
                </a:lnTo>
                <a:lnTo>
                  <a:pt x="742" y="3841"/>
                </a:lnTo>
                <a:lnTo>
                  <a:pt x="742" y="3841"/>
                </a:lnTo>
                <a:lnTo>
                  <a:pt x="743" y="3845"/>
                </a:lnTo>
                <a:lnTo>
                  <a:pt x="744" y="3850"/>
                </a:lnTo>
                <a:lnTo>
                  <a:pt x="749" y="3859"/>
                </a:lnTo>
                <a:lnTo>
                  <a:pt x="755" y="3867"/>
                </a:lnTo>
                <a:lnTo>
                  <a:pt x="756" y="3872"/>
                </a:lnTo>
                <a:lnTo>
                  <a:pt x="757" y="3878"/>
                </a:lnTo>
                <a:lnTo>
                  <a:pt x="757" y="3878"/>
                </a:lnTo>
                <a:lnTo>
                  <a:pt x="756" y="3883"/>
                </a:lnTo>
                <a:lnTo>
                  <a:pt x="752" y="3889"/>
                </a:lnTo>
                <a:lnTo>
                  <a:pt x="749" y="3894"/>
                </a:lnTo>
                <a:lnTo>
                  <a:pt x="743" y="3898"/>
                </a:lnTo>
                <a:lnTo>
                  <a:pt x="734" y="3906"/>
                </a:lnTo>
                <a:lnTo>
                  <a:pt x="729" y="3910"/>
                </a:lnTo>
                <a:lnTo>
                  <a:pt x="727" y="3914"/>
                </a:lnTo>
                <a:lnTo>
                  <a:pt x="727" y="3914"/>
                </a:lnTo>
                <a:lnTo>
                  <a:pt x="726" y="3921"/>
                </a:lnTo>
                <a:lnTo>
                  <a:pt x="725" y="3928"/>
                </a:lnTo>
                <a:lnTo>
                  <a:pt x="725" y="3941"/>
                </a:lnTo>
                <a:lnTo>
                  <a:pt x="725" y="3945"/>
                </a:lnTo>
                <a:lnTo>
                  <a:pt x="724" y="3951"/>
                </a:lnTo>
                <a:lnTo>
                  <a:pt x="721" y="3957"/>
                </a:lnTo>
                <a:lnTo>
                  <a:pt x="717" y="3962"/>
                </a:lnTo>
                <a:lnTo>
                  <a:pt x="717" y="3962"/>
                </a:lnTo>
                <a:lnTo>
                  <a:pt x="712" y="3967"/>
                </a:lnTo>
                <a:lnTo>
                  <a:pt x="708" y="3973"/>
                </a:lnTo>
                <a:lnTo>
                  <a:pt x="695" y="3983"/>
                </a:lnTo>
                <a:lnTo>
                  <a:pt x="682" y="3993"/>
                </a:lnTo>
                <a:lnTo>
                  <a:pt x="670" y="4002"/>
                </a:lnTo>
                <a:lnTo>
                  <a:pt x="658" y="4013"/>
                </a:lnTo>
                <a:lnTo>
                  <a:pt x="652" y="4020"/>
                </a:lnTo>
                <a:lnTo>
                  <a:pt x="648" y="4027"/>
                </a:lnTo>
                <a:lnTo>
                  <a:pt x="644" y="4035"/>
                </a:lnTo>
                <a:lnTo>
                  <a:pt x="642" y="4043"/>
                </a:lnTo>
                <a:lnTo>
                  <a:pt x="640" y="4054"/>
                </a:lnTo>
                <a:lnTo>
                  <a:pt x="640" y="4065"/>
                </a:lnTo>
                <a:lnTo>
                  <a:pt x="640" y="4065"/>
                </a:lnTo>
                <a:lnTo>
                  <a:pt x="668" y="4097"/>
                </a:lnTo>
                <a:lnTo>
                  <a:pt x="668" y="4097"/>
                </a:lnTo>
                <a:lnTo>
                  <a:pt x="732" y="4097"/>
                </a:lnTo>
                <a:lnTo>
                  <a:pt x="732" y="4097"/>
                </a:lnTo>
                <a:lnTo>
                  <a:pt x="732" y="4097"/>
                </a:lnTo>
                <a:lnTo>
                  <a:pt x="736" y="4103"/>
                </a:lnTo>
                <a:lnTo>
                  <a:pt x="741" y="4106"/>
                </a:lnTo>
                <a:lnTo>
                  <a:pt x="747" y="4110"/>
                </a:lnTo>
                <a:lnTo>
                  <a:pt x="752" y="4112"/>
                </a:lnTo>
                <a:lnTo>
                  <a:pt x="765" y="4116"/>
                </a:lnTo>
                <a:lnTo>
                  <a:pt x="779" y="4117"/>
                </a:lnTo>
                <a:lnTo>
                  <a:pt x="779" y="4117"/>
                </a:lnTo>
                <a:lnTo>
                  <a:pt x="797" y="4116"/>
                </a:lnTo>
                <a:lnTo>
                  <a:pt x="813" y="4112"/>
                </a:lnTo>
                <a:lnTo>
                  <a:pt x="829" y="4106"/>
                </a:lnTo>
                <a:lnTo>
                  <a:pt x="843" y="4101"/>
                </a:lnTo>
                <a:lnTo>
                  <a:pt x="857" y="4092"/>
                </a:lnTo>
                <a:lnTo>
                  <a:pt x="870" y="4082"/>
                </a:lnTo>
                <a:lnTo>
                  <a:pt x="880" y="4071"/>
                </a:lnTo>
                <a:lnTo>
                  <a:pt x="892" y="4059"/>
                </a:lnTo>
                <a:lnTo>
                  <a:pt x="901" y="4046"/>
                </a:lnTo>
                <a:lnTo>
                  <a:pt x="910" y="4032"/>
                </a:lnTo>
                <a:lnTo>
                  <a:pt x="918" y="4018"/>
                </a:lnTo>
                <a:lnTo>
                  <a:pt x="926" y="4003"/>
                </a:lnTo>
                <a:lnTo>
                  <a:pt x="940" y="3973"/>
                </a:lnTo>
                <a:lnTo>
                  <a:pt x="951" y="3943"/>
                </a:lnTo>
                <a:lnTo>
                  <a:pt x="951" y="3943"/>
                </a:lnTo>
                <a:lnTo>
                  <a:pt x="955" y="3938"/>
                </a:lnTo>
                <a:lnTo>
                  <a:pt x="958" y="3935"/>
                </a:lnTo>
                <a:lnTo>
                  <a:pt x="963" y="3932"/>
                </a:lnTo>
                <a:lnTo>
                  <a:pt x="969" y="3929"/>
                </a:lnTo>
                <a:lnTo>
                  <a:pt x="978" y="3926"/>
                </a:lnTo>
                <a:lnTo>
                  <a:pt x="981" y="3924"/>
                </a:lnTo>
                <a:lnTo>
                  <a:pt x="985" y="3921"/>
                </a:lnTo>
                <a:lnTo>
                  <a:pt x="985" y="3921"/>
                </a:lnTo>
                <a:lnTo>
                  <a:pt x="987" y="3919"/>
                </a:lnTo>
                <a:lnTo>
                  <a:pt x="988" y="3915"/>
                </a:lnTo>
                <a:lnTo>
                  <a:pt x="989" y="3909"/>
                </a:lnTo>
                <a:lnTo>
                  <a:pt x="991" y="3890"/>
                </a:lnTo>
                <a:lnTo>
                  <a:pt x="992" y="3881"/>
                </a:lnTo>
                <a:lnTo>
                  <a:pt x="993" y="3873"/>
                </a:lnTo>
                <a:lnTo>
                  <a:pt x="995" y="3867"/>
                </a:lnTo>
                <a:lnTo>
                  <a:pt x="997" y="3864"/>
                </a:lnTo>
                <a:lnTo>
                  <a:pt x="1000" y="3863"/>
                </a:lnTo>
                <a:lnTo>
                  <a:pt x="1000" y="3863"/>
                </a:lnTo>
                <a:lnTo>
                  <a:pt x="1015" y="3854"/>
                </a:lnTo>
                <a:lnTo>
                  <a:pt x="1033" y="3848"/>
                </a:lnTo>
                <a:lnTo>
                  <a:pt x="1054" y="3842"/>
                </a:lnTo>
                <a:lnTo>
                  <a:pt x="1075" y="3837"/>
                </a:lnTo>
                <a:lnTo>
                  <a:pt x="1095" y="3834"/>
                </a:lnTo>
                <a:lnTo>
                  <a:pt x="1116" y="3831"/>
                </a:lnTo>
                <a:lnTo>
                  <a:pt x="1134" y="3830"/>
                </a:lnTo>
                <a:lnTo>
                  <a:pt x="1151" y="3829"/>
                </a:lnTo>
                <a:lnTo>
                  <a:pt x="1151" y="3829"/>
                </a:lnTo>
                <a:lnTo>
                  <a:pt x="1153" y="3823"/>
                </a:lnTo>
                <a:lnTo>
                  <a:pt x="1154" y="3817"/>
                </a:lnTo>
                <a:lnTo>
                  <a:pt x="1154" y="3810"/>
                </a:lnTo>
                <a:lnTo>
                  <a:pt x="1153" y="3806"/>
                </a:lnTo>
                <a:lnTo>
                  <a:pt x="1151" y="3804"/>
                </a:lnTo>
                <a:lnTo>
                  <a:pt x="1151" y="3804"/>
                </a:lnTo>
                <a:lnTo>
                  <a:pt x="1145" y="3803"/>
                </a:lnTo>
                <a:lnTo>
                  <a:pt x="1140" y="3802"/>
                </a:lnTo>
                <a:lnTo>
                  <a:pt x="1136" y="3798"/>
                </a:lnTo>
                <a:lnTo>
                  <a:pt x="1131" y="3795"/>
                </a:lnTo>
                <a:lnTo>
                  <a:pt x="1123" y="3785"/>
                </a:lnTo>
                <a:lnTo>
                  <a:pt x="1114" y="3774"/>
                </a:lnTo>
                <a:lnTo>
                  <a:pt x="1096" y="3751"/>
                </a:lnTo>
                <a:lnTo>
                  <a:pt x="1088" y="3742"/>
                </a:lnTo>
                <a:lnTo>
                  <a:pt x="1080" y="3734"/>
                </a:lnTo>
                <a:lnTo>
                  <a:pt x="1080" y="3734"/>
                </a:lnTo>
                <a:lnTo>
                  <a:pt x="1076" y="3731"/>
                </a:lnTo>
                <a:lnTo>
                  <a:pt x="1070" y="3728"/>
                </a:lnTo>
                <a:lnTo>
                  <a:pt x="1067" y="3726"/>
                </a:lnTo>
                <a:lnTo>
                  <a:pt x="1064" y="3722"/>
                </a:lnTo>
                <a:lnTo>
                  <a:pt x="1063" y="3719"/>
                </a:lnTo>
                <a:lnTo>
                  <a:pt x="1062" y="3715"/>
                </a:lnTo>
                <a:lnTo>
                  <a:pt x="1062" y="3715"/>
                </a:lnTo>
                <a:lnTo>
                  <a:pt x="1063" y="3712"/>
                </a:lnTo>
                <a:lnTo>
                  <a:pt x="1068" y="3706"/>
                </a:lnTo>
                <a:lnTo>
                  <a:pt x="1081" y="3693"/>
                </a:lnTo>
                <a:lnTo>
                  <a:pt x="1096" y="3682"/>
                </a:lnTo>
                <a:lnTo>
                  <a:pt x="1102" y="3677"/>
                </a:lnTo>
                <a:lnTo>
                  <a:pt x="1106" y="3676"/>
                </a:lnTo>
                <a:lnTo>
                  <a:pt x="1106" y="3676"/>
                </a:lnTo>
                <a:lnTo>
                  <a:pt x="1125" y="3676"/>
                </a:lnTo>
                <a:lnTo>
                  <a:pt x="1133" y="3674"/>
                </a:lnTo>
                <a:lnTo>
                  <a:pt x="1139" y="3672"/>
                </a:lnTo>
                <a:lnTo>
                  <a:pt x="1144" y="3668"/>
                </a:lnTo>
                <a:lnTo>
                  <a:pt x="1147" y="3662"/>
                </a:lnTo>
                <a:lnTo>
                  <a:pt x="1149" y="3654"/>
                </a:lnTo>
                <a:lnTo>
                  <a:pt x="1151" y="3643"/>
                </a:lnTo>
                <a:lnTo>
                  <a:pt x="1151" y="3643"/>
                </a:lnTo>
                <a:lnTo>
                  <a:pt x="1149" y="3638"/>
                </a:lnTo>
                <a:lnTo>
                  <a:pt x="1148" y="3632"/>
                </a:lnTo>
                <a:lnTo>
                  <a:pt x="1145" y="3623"/>
                </a:lnTo>
                <a:lnTo>
                  <a:pt x="1140" y="3613"/>
                </a:lnTo>
                <a:lnTo>
                  <a:pt x="1139" y="3608"/>
                </a:lnTo>
                <a:lnTo>
                  <a:pt x="1139" y="3602"/>
                </a:lnTo>
                <a:lnTo>
                  <a:pt x="1139" y="3602"/>
                </a:lnTo>
                <a:lnTo>
                  <a:pt x="1139" y="3596"/>
                </a:lnTo>
                <a:lnTo>
                  <a:pt x="1141" y="3590"/>
                </a:lnTo>
                <a:lnTo>
                  <a:pt x="1146" y="3578"/>
                </a:lnTo>
                <a:lnTo>
                  <a:pt x="1152" y="3565"/>
                </a:lnTo>
                <a:lnTo>
                  <a:pt x="1153" y="3556"/>
                </a:lnTo>
                <a:lnTo>
                  <a:pt x="1154" y="3547"/>
                </a:lnTo>
                <a:lnTo>
                  <a:pt x="1154" y="3547"/>
                </a:lnTo>
                <a:lnTo>
                  <a:pt x="1153" y="3539"/>
                </a:lnTo>
                <a:lnTo>
                  <a:pt x="1152" y="3532"/>
                </a:lnTo>
                <a:lnTo>
                  <a:pt x="1146" y="3521"/>
                </a:lnTo>
                <a:lnTo>
                  <a:pt x="1141" y="3509"/>
                </a:lnTo>
                <a:lnTo>
                  <a:pt x="1139" y="3502"/>
                </a:lnTo>
                <a:lnTo>
                  <a:pt x="1139" y="3497"/>
                </a:lnTo>
                <a:lnTo>
                  <a:pt x="1139" y="3497"/>
                </a:lnTo>
                <a:lnTo>
                  <a:pt x="1140" y="3491"/>
                </a:lnTo>
                <a:lnTo>
                  <a:pt x="1141" y="3485"/>
                </a:lnTo>
                <a:lnTo>
                  <a:pt x="1148" y="3471"/>
                </a:lnTo>
                <a:lnTo>
                  <a:pt x="1156" y="3454"/>
                </a:lnTo>
                <a:lnTo>
                  <a:pt x="1160" y="3446"/>
                </a:lnTo>
                <a:lnTo>
                  <a:pt x="1161" y="3438"/>
                </a:lnTo>
                <a:lnTo>
                  <a:pt x="1161" y="3438"/>
                </a:lnTo>
                <a:lnTo>
                  <a:pt x="1172" y="3433"/>
                </a:lnTo>
                <a:lnTo>
                  <a:pt x="1182" y="3426"/>
                </a:lnTo>
                <a:lnTo>
                  <a:pt x="1191" y="3418"/>
                </a:lnTo>
                <a:lnTo>
                  <a:pt x="1198" y="3409"/>
                </a:lnTo>
                <a:lnTo>
                  <a:pt x="1203" y="3398"/>
                </a:lnTo>
                <a:lnTo>
                  <a:pt x="1208" y="3386"/>
                </a:lnTo>
                <a:lnTo>
                  <a:pt x="1212" y="3375"/>
                </a:lnTo>
                <a:lnTo>
                  <a:pt x="1213" y="3364"/>
                </a:lnTo>
                <a:lnTo>
                  <a:pt x="1213" y="3364"/>
                </a:lnTo>
                <a:lnTo>
                  <a:pt x="1212" y="3357"/>
                </a:lnTo>
                <a:lnTo>
                  <a:pt x="1210" y="3350"/>
                </a:lnTo>
                <a:lnTo>
                  <a:pt x="1209" y="3345"/>
                </a:lnTo>
                <a:lnTo>
                  <a:pt x="1206" y="3340"/>
                </a:lnTo>
                <a:lnTo>
                  <a:pt x="1200" y="3330"/>
                </a:lnTo>
                <a:lnTo>
                  <a:pt x="1192" y="3319"/>
                </a:lnTo>
                <a:lnTo>
                  <a:pt x="1185" y="3310"/>
                </a:lnTo>
                <a:lnTo>
                  <a:pt x="1178" y="3301"/>
                </a:lnTo>
                <a:lnTo>
                  <a:pt x="1174" y="3291"/>
                </a:lnTo>
                <a:lnTo>
                  <a:pt x="1172" y="3285"/>
                </a:lnTo>
                <a:lnTo>
                  <a:pt x="1172" y="3279"/>
                </a:lnTo>
                <a:lnTo>
                  <a:pt x="1172" y="3279"/>
                </a:lnTo>
                <a:lnTo>
                  <a:pt x="1172" y="3260"/>
                </a:lnTo>
                <a:lnTo>
                  <a:pt x="1176" y="3241"/>
                </a:lnTo>
                <a:lnTo>
                  <a:pt x="1179" y="3223"/>
                </a:lnTo>
                <a:lnTo>
                  <a:pt x="1185" y="3207"/>
                </a:lnTo>
                <a:lnTo>
                  <a:pt x="1193" y="3193"/>
                </a:lnTo>
                <a:lnTo>
                  <a:pt x="1197" y="3187"/>
                </a:lnTo>
                <a:lnTo>
                  <a:pt x="1201" y="3182"/>
                </a:lnTo>
                <a:lnTo>
                  <a:pt x="1207" y="3178"/>
                </a:lnTo>
                <a:lnTo>
                  <a:pt x="1212" y="3176"/>
                </a:lnTo>
                <a:lnTo>
                  <a:pt x="1217" y="3173"/>
                </a:lnTo>
                <a:lnTo>
                  <a:pt x="1224" y="3173"/>
                </a:lnTo>
                <a:lnTo>
                  <a:pt x="1224" y="3173"/>
                </a:lnTo>
                <a:lnTo>
                  <a:pt x="1271" y="3173"/>
                </a:lnTo>
                <a:lnTo>
                  <a:pt x="1271" y="3173"/>
                </a:lnTo>
                <a:lnTo>
                  <a:pt x="1279" y="3172"/>
                </a:lnTo>
                <a:lnTo>
                  <a:pt x="1286" y="3170"/>
                </a:lnTo>
                <a:lnTo>
                  <a:pt x="1292" y="3168"/>
                </a:lnTo>
                <a:lnTo>
                  <a:pt x="1298" y="3163"/>
                </a:lnTo>
                <a:lnTo>
                  <a:pt x="1304" y="3158"/>
                </a:lnTo>
                <a:lnTo>
                  <a:pt x="1308" y="3153"/>
                </a:lnTo>
                <a:lnTo>
                  <a:pt x="1317" y="3142"/>
                </a:lnTo>
                <a:lnTo>
                  <a:pt x="1325" y="3131"/>
                </a:lnTo>
                <a:lnTo>
                  <a:pt x="1333" y="3120"/>
                </a:lnTo>
                <a:lnTo>
                  <a:pt x="1337" y="3116"/>
                </a:lnTo>
                <a:lnTo>
                  <a:pt x="1342" y="3113"/>
                </a:lnTo>
                <a:lnTo>
                  <a:pt x="1346" y="3111"/>
                </a:lnTo>
                <a:lnTo>
                  <a:pt x="1352" y="3110"/>
                </a:lnTo>
                <a:lnTo>
                  <a:pt x="1352" y="3110"/>
                </a:lnTo>
                <a:lnTo>
                  <a:pt x="1360" y="3111"/>
                </a:lnTo>
                <a:lnTo>
                  <a:pt x="1367" y="3115"/>
                </a:lnTo>
                <a:lnTo>
                  <a:pt x="1373" y="3119"/>
                </a:lnTo>
                <a:lnTo>
                  <a:pt x="1377" y="3124"/>
                </a:lnTo>
                <a:lnTo>
                  <a:pt x="1382" y="3131"/>
                </a:lnTo>
                <a:lnTo>
                  <a:pt x="1385" y="3139"/>
                </a:lnTo>
                <a:lnTo>
                  <a:pt x="1391" y="3155"/>
                </a:lnTo>
                <a:lnTo>
                  <a:pt x="1397" y="3171"/>
                </a:lnTo>
                <a:lnTo>
                  <a:pt x="1401" y="3178"/>
                </a:lnTo>
                <a:lnTo>
                  <a:pt x="1405" y="3185"/>
                </a:lnTo>
                <a:lnTo>
                  <a:pt x="1411" y="3191"/>
                </a:lnTo>
                <a:lnTo>
                  <a:pt x="1416" y="3195"/>
                </a:lnTo>
                <a:lnTo>
                  <a:pt x="1424" y="3197"/>
                </a:lnTo>
                <a:lnTo>
                  <a:pt x="1432" y="3199"/>
                </a:lnTo>
                <a:lnTo>
                  <a:pt x="1432" y="3199"/>
                </a:lnTo>
                <a:lnTo>
                  <a:pt x="1436" y="3199"/>
                </a:lnTo>
                <a:lnTo>
                  <a:pt x="1437" y="3197"/>
                </a:lnTo>
                <a:lnTo>
                  <a:pt x="1438" y="3195"/>
                </a:lnTo>
                <a:lnTo>
                  <a:pt x="1439" y="3193"/>
                </a:lnTo>
                <a:lnTo>
                  <a:pt x="1439" y="3187"/>
                </a:lnTo>
                <a:lnTo>
                  <a:pt x="1438" y="3179"/>
                </a:lnTo>
                <a:lnTo>
                  <a:pt x="1435" y="3161"/>
                </a:lnTo>
                <a:lnTo>
                  <a:pt x="1434" y="3153"/>
                </a:lnTo>
                <a:lnTo>
                  <a:pt x="1432" y="3143"/>
                </a:lnTo>
                <a:lnTo>
                  <a:pt x="1432" y="3143"/>
                </a:lnTo>
                <a:lnTo>
                  <a:pt x="1435" y="3128"/>
                </a:lnTo>
                <a:lnTo>
                  <a:pt x="1439" y="3105"/>
                </a:lnTo>
                <a:lnTo>
                  <a:pt x="1445" y="3085"/>
                </a:lnTo>
                <a:lnTo>
                  <a:pt x="1449" y="3077"/>
                </a:lnTo>
                <a:lnTo>
                  <a:pt x="1451" y="3073"/>
                </a:lnTo>
                <a:lnTo>
                  <a:pt x="1451" y="3073"/>
                </a:lnTo>
                <a:lnTo>
                  <a:pt x="1454" y="3072"/>
                </a:lnTo>
                <a:lnTo>
                  <a:pt x="1458" y="3072"/>
                </a:lnTo>
                <a:lnTo>
                  <a:pt x="1464" y="3072"/>
                </a:lnTo>
                <a:lnTo>
                  <a:pt x="1467" y="3072"/>
                </a:lnTo>
                <a:lnTo>
                  <a:pt x="1469" y="3071"/>
                </a:lnTo>
                <a:lnTo>
                  <a:pt x="1472" y="3070"/>
                </a:lnTo>
                <a:lnTo>
                  <a:pt x="1474" y="3066"/>
                </a:lnTo>
                <a:lnTo>
                  <a:pt x="1474" y="3066"/>
                </a:lnTo>
                <a:lnTo>
                  <a:pt x="1475" y="3057"/>
                </a:lnTo>
                <a:lnTo>
                  <a:pt x="1476" y="3048"/>
                </a:lnTo>
                <a:lnTo>
                  <a:pt x="1478" y="3041"/>
                </a:lnTo>
                <a:lnTo>
                  <a:pt x="1481" y="3036"/>
                </a:lnTo>
                <a:lnTo>
                  <a:pt x="1484" y="3033"/>
                </a:lnTo>
                <a:lnTo>
                  <a:pt x="1484" y="3033"/>
                </a:lnTo>
                <a:lnTo>
                  <a:pt x="1490" y="3026"/>
                </a:lnTo>
                <a:lnTo>
                  <a:pt x="1498" y="3018"/>
                </a:lnTo>
                <a:lnTo>
                  <a:pt x="1515" y="3003"/>
                </a:lnTo>
                <a:lnTo>
                  <a:pt x="1523" y="2995"/>
                </a:lnTo>
                <a:lnTo>
                  <a:pt x="1530" y="2986"/>
                </a:lnTo>
                <a:lnTo>
                  <a:pt x="1534" y="2977"/>
                </a:lnTo>
                <a:lnTo>
                  <a:pt x="1536" y="2972"/>
                </a:lnTo>
                <a:lnTo>
                  <a:pt x="1536" y="2967"/>
                </a:lnTo>
                <a:lnTo>
                  <a:pt x="1536" y="2967"/>
                </a:lnTo>
                <a:lnTo>
                  <a:pt x="1535" y="2963"/>
                </a:lnTo>
                <a:lnTo>
                  <a:pt x="1534" y="2960"/>
                </a:lnTo>
                <a:lnTo>
                  <a:pt x="1530" y="2956"/>
                </a:lnTo>
                <a:lnTo>
                  <a:pt x="1524" y="2953"/>
                </a:lnTo>
                <a:lnTo>
                  <a:pt x="1523" y="2951"/>
                </a:lnTo>
                <a:lnTo>
                  <a:pt x="1521" y="2949"/>
                </a:lnTo>
                <a:lnTo>
                  <a:pt x="1521" y="2949"/>
                </a:lnTo>
                <a:lnTo>
                  <a:pt x="1521" y="2934"/>
                </a:lnTo>
                <a:lnTo>
                  <a:pt x="1521" y="2934"/>
                </a:lnTo>
                <a:lnTo>
                  <a:pt x="1521" y="2928"/>
                </a:lnTo>
                <a:lnTo>
                  <a:pt x="1522" y="2924"/>
                </a:lnTo>
                <a:lnTo>
                  <a:pt x="1524" y="2919"/>
                </a:lnTo>
                <a:lnTo>
                  <a:pt x="1528" y="2916"/>
                </a:lnTo>
                <a:lnTo>
                  <a:pt x="1528" y="2916"/>
                </a:lnTo>
                <a:lnTo>
                  <a:pt x="1531" y="2910"/>
                </a:lnTo>
                <a:lnTo>
                  <a:pt x="1536" y="2905"/>
                </a:lnTo>
                <a:lnTo>
                  <a:pt x="1541" y="2902"/>
                </a:lnTo>
                <a:lnTo>
                  <a:pt x="1546" y="2898"/>
                </a:lnTo>
                <a:lnTo>
                  <a:pt x="1551" y="2896"/>
                </a:lnTo>
                <a:lnTo>
                  <a:pt x="1557" y="2895"/>
                </a:lnTo>
                <a:lnTo>
                  <a:pt x="1568" y="2894"/>
                </a:lnTo>
                <a:lnTo>
                  <a:pt x="1568" y="2894"/>
                </a:lnTo>
                <a:lnTo>
                  <a:pt x="1573" y="2895"/>
                </a:lnTo>
                <a:lnTo>
                  <a:pt x="1575" y="2896"/>
                </a:lnTo>
                <a:lnTo>
                  <a:pt x="1577" y="2899"/>
                </a:lnTo>
                <a:lnTo>
                  <a:pt x="1580" y="2904"/>
                </a:lnTo>
                <a:lnTo>
                  <a:pt x="1583" y="2913"/>
                </a:lnTo>
                <a:lnTo>
                  <a:pt x="1587" y="2922"/>
                </a:lnTo>
                <a:lnTo>
                  <a:pt x="1587" y="2922"/>
                </a:lnTo>
                <a:lnTo>
                  <a:pt x="1626" y="2945"/>
                </a:lnTo>
                <a:lnTo>
                  <a:pt x="1656" y="2960"/>
                </a:lnTo>
                <a:lnTo>
                  <a:pt x="1667" y="2965"/>
                </a:lnTo>
                <a:lnTo>
                  <a:pt x="1675" y="2967"/>
                </a:lnTo>
                <a:lnTo>
                  <a:pt x="1675" y="2967"/>
                </a:lnTo>
                <a:lnTo>
                  <a:pt x="1684" y="2966"/>
                </a:lnTo>
                <a:lnTo>
                  <a:pt x="1691" y="2965"/>
                </a:lnTo>
                <a:lnTo>
                  <a:pt x="1697" y="2962"/>
                </a:lnTo>
                <a:lnTo>
                  <a:pt x="1702" y="2958"/>
                </a:lnTo>
                <a:lnTo>
                  <a:pt x="1704" y="2955"/>
                </a:lnTo>
                <a:lnTo>
                  <a:pt x="1706" y="2950"/>
                </a:lnTo>
                <a:lnTo>
                  <a:pt x="1707" y="2945"/>
                </a:lnTo>
                <a:lnTo>
                  <a:pt x="1709" y="2941"/>
                </a:lnTo>
                <a:lnTo>
                  <a:pt x="1709" y="2941"/>
                </a:lnTo>
                <a:lnTo>
                  <a:pt x="1709" y="2916"/>
                </a:lnTo>
                <a:lnTo>
                  <a:pt x="1709" y="2916"/>
                </a:lnTo>
                <a:lnTo>
                  <a:pt x="1709" y="2910"/>
                </a:lnTo>
                <a:lnTo>
                  <a:pt x="1711" y="2905"/>
                </a:lnTo>
                <a:lnTo>
                  <a:pt x="1716" y="2897"/>
                </a:lnTo>
                <a:lnTo>
                  <a:pt x="1720" y="2890"/>
                </a:lnTo>
                <a:lnTo>
                  <a:pt x="1722" y="2887"/>
                </a:lnTo>
                <a:lnTo>
                  <a:pt x="1722" y="2882"/>
                </a:lnTo>
                <a:lnTo>
                  <a:pt x="1722" y="2882"/>
                </a:lnTo>
                <a:lnTo>
                  <a:pt x="1722" y="2864"/>
                </a:lnTo>
                <a:lnTo>
                  <a:pt x="1722" y="2864"/>
                </a:lnTo>
                <a:lnTo>
                  <a:pt x="1721" y="2860"/>
                </a:lnTo>
                <a:lnTo>
                  <a:pt x="1719" y="2856"/>
                </a:lnTo>
                <a:lnTo>
                  <a:pt x="1712" y="2849"/>
                </a:lnTo>
                <a:lnTo>
                  <a:pt x="1705" y="2842"/>
                </a:lnTo>
                <a:lnTo>
                  <a:pt x="1696" y="2835"/>
                </a:lnTo>
                <a:lnTo>
                  <a:pt x="1688" y="2829"/>
                </a:lnTo>
                <a:lnTo>
                  <a:pt x="1682" y="2823"/>
                </a:lnTo>
                <a:lnTo>
                  <a:pt x="1676" y="2818"/>
                </a:lnTo>
                <a:lnTo>
                  <a:pt x="1675" y="2815"/>
                </a:lnTo>
                <a:lnTo>
                  <a:pt x="1675" y="2812"/>
                </a:lnTo>
                <a:lnTo>
                  <a:pt x="1675" y="2812"/>
                </a:lnTo>
                <a:lnTo>
                  <a:pt x="1675" y="2806"/>
                </a:lnTo>
                <a:lnTo>
                  <a:pt x="1676" y="2802"/>
                </a:lnTo>
                <a:lnTo>
                  <a:pt x="1679" y="2797"/>
                </a:lnTo>
                <a:lnTo>
                  <a:pt x="1681" y="2792"/>
                </a:lnTo>
                <a:lnTo>
                  <a:pt x="1688" y="2784"/>
                </a:lnTo>
                <a:lnTo>
                  <a:pt x="1696" y="2779"/>
                </a:lnTo>
                <a:lnTo>
                  <a:pt x="1703" y="2772"/>
                </a:lnTo>
                <a:lnTo>
                  <a:pt x="1710" y="2765"/>
                </a:lnTo>
                <a:lnTo>
                  <a:pt x="1712" y="2760"/>
                </a:lnTo>
                <a:lnTo>
                  <a:pt x="1714" y="2757"/>
                </a:lnTo>
                <a:lnTo>
                  <a:pt x="1716" y="2752"/>
                </a:lnTo>
                <a:lnTo>
                  <a:pt x="1716" y="2746"/>
                </a:lnTo>
                <a:lnTo>
                  <a:pt x="1716" y="2746"/>
                </a:lnTo>
                <a:lnTo>
                  <a:pt x="1716" y="2739"/>
                </a:lnTo>
                <a:lnTo>
                  <a:pt x="1714" y="2734"/>
                </a:lnTo>
                <a:lnTo>
                  <a:pt x="1710" y="2723"/>
                </a:lnTo>
                <a:lnTo>
                  <a:pt x="1705" y="2714"/>
                </a:lnTo>
                <a:lnTo>
                  <a:pt x="1701" y="2706"/>
                </a:lnTo>
                <a:lnTo>
                  <a:pt x="1701" y="2706"/>
                </a:lnTo>
                <a:lnTo>
                  <a:pt x="1635" y="2706"/>
                </a:lnTo>
                <a:lnTo>
                  <a:pt x="1635" y="2706"/>
                </a:lnTo>
                <a:lnTo>
                  <a:pt x="1635" y="2706"/>
                </a:lnTo>
                <a:lnTo>
                  <a:pt x="1632" y="2700"/>
                </a:lnTo>
                <a:lnTo>
                  <a:pt x="1628" y="2693"/>
                </a:lnTo>
                <a:lnTo>
                  <a:pt x="1626" y="2684"/>
                </a:lnTo>
                <a:lnTo>
                  <a:pt x="1623" y="2675"/>
                </a:lnTo>
                <a:lnTo>
                  <a:pt x="1621" y="2652"/>
                </a:lnTo>
                <a:lnTo>
                  <a:pt x="1620" y="2629"/>
                </a:lnTo>
                <a:lnTo>
                  <a:pt x="1620" y="2629"/>
                </a:lnTo>
                <a:lnTo>
                  <a:pt x="1621" y="2616"/>
                </a:lnTo>
                <a:lnTo>
                  <a:pt x="1623" y="2607"/>
                </a:lnTo>
                <a:lnTo>
                  <a:pt x="1626" y="2600"/>
                </a:lnTo>
                <a:lnTo>
                  <a:pt x="1628" y="2593"/>
                </a:lnTo>
                <a:lnTo>
                  <a:pt x="1635" y="2581"/>
                </a:lnTo>
                <a:lnTo>
                  <a:pt x="1637" y="2573"/>
                </a:lnTo>
                <a:lnTo>
                  <a:pt x="1638" y="2563"/>
                </a:lnTo>
                <a:lnTo>
                  <a:pt x="1638" y="2563"/>
                </a:lnTo>
                <a:lnTo>
                  <a:pt x="1634" y="2562"/>
                </a:lnTo>
                <a:lnTo>
                  <a:pt x="1630" y="2560"/>
                </a:lnTo>
                <a:lnTo>
                  <a:pt x="1627" y="2555"/>
                </a:lnTo>
                <a:lnTo>
                  <a:pt x="1625" y="2548"/>
                </a:lnTo>
                <a:lnTo>
                  <a:pt x="1625" y="2548"/>
                </a:lnTo>
                <a:lnTo>
                  <a:pt x="1632" y="2544"/>
                </a:lnTo>
                <a:lnTo>
                  <a:pt x="1637" y="2539"/>
                </a:lnTo>
                <a:lnTo>
                  <a:pt x="1645" y="2529"/>
                </a:lnTo>
                <a:lnTo>
                  <a:pt x="1655" y="2519"/>
                </a:lnTo>
                <a:lnTo>
                  <a:pt x="1660" y="2513"/>
                </a:lnTo>
                <a:lnTo>
                  <a:pt x="1668" y="2508"/>
                </a:lnTo>
                <a:lnTo>
                  <a:pt x="1668" y="2508"/>
                </a:lnTo>
                <a:lnTo>
                  <a:pt x="1672" y="2502"/>
                </a:lnTo>
                <a:lnTo>
                  <a:pt x="1676" y="2498"/>
                </a:lnTo>
                <a:lnTo>
                  <a:pt x="1679" y="2494"/>
                </a:lnTo>
                <a:lnTo>
                  <a:pt x="1681" y="2491"/>
                </a:lnTo>
                <a:lnTo>
                  <a:pt x="1682" y="2487"/>
                </a:lnTo>
                <a:lnTo>
                  <a:pt x="1683" y="2482"/>
                </a:lnTo>
                <a:lnTo>
                  <a:pt x="1683" y="2482"/>
                </a:lnTo>
                <a:lnTo>
                  <a:pt x="1684" y="2472"/>
                </a:lnTo>
                <a:lnTo>
                  <a:pt x="1687" y="2464"/>
                </a:lnTo>
                <a:lnTo>
                  <a:pt x="1691" y="2458"/>
                </a:lnTo>
                <a:lnTo>
                  <a:pt x="1696" y="2451"/>
                </a:lnTo>
                <a:lnTo>
                  <a:pt x="1701" y="2443"/>
                </a:lnTo>
                <a:lnTo>
                  <a:pt x="1704" y="2436"/>
                </a:lnTo>
                <a:lnTo>
                  <a:pt x="1707" y="2426"/>
                </a:lnTo>
                <a:lnTo>
                  <a:pt x="1709" y="2416"/>
                </a:lnTo>
                <a:lnTo>
                  <a:pt x="1709" y="2416"/>
                </a:lnTo>
                <a:lnTo>
                  <a:pt x="1707" y="2413"/>
                </a:lnTo>
                <a:lnTo>
                  <a:pt x="1706" y="2409"/>
                </a:lnTo>
                <a:lnTo>
                  <a:pt x="1701" y="2402"/>
                </a:lnTo>
                <a:lnTo>
                  <a:pt x="1698" y="2399"/>
                </a:lnTo>
                <a:lnTo>
                  <a:pt x="1696" y="2394"/>
                </a:lnTo>
                <a:lnTo>
                  <a:pt x="1694" y="2388"/>
                </a:lnTo>
                <a:lnTo>
                  <a:pt x="1694" y="2383"/>
                </a:lnTo>
                <a:lnTo>
                  <a:pt x="1694" y="2383"/>
                </a:lnTo>
                <a:lnTo>
                  <a:pt x="1694" y="2378"/>
                </a:lnTo>
                <a:lnTo>
                  <a:pt x="1696" y="2375"/>
                </a:lnTo>
                <a:lnTo>
                  <a:pt x="1701" y="2365"/>
                </a:lnTo>
                <a:lnTo>
                  <a:pt x="1706" y="2356"/>
                </a:lnTo>
                <a:lnTo>
                  <a:pt x="1707" y="2352"/>
                </a:lnTo>
                <a:lnTo>
                  <a:pt x="1709" y="2346"/>
                </a:lnTo>
                <a:lnTo>
                  <a:pt x="1709" y="2346"/>
                </a:lnTo>
                <a:lnTo>
                  <a:pt x="1707" y="2340"/>
                </a:lnTo>
                <a:lnTo>
                  <a:pt x="1706" y="2334"/>
                </a:lnTo>
                <a:lnTo>
                  <a:pt x="1704" y="2329"/>
                </a:lnTo>
                <a:lnTo>
                  <a:pt x="1701" y="2324"/>
                </a:lnTo>
                <a:lnTo>
                  <a:pt x="1693" y="2316"/>
                </a:lnTo>
                <a:lnTo>
                  <a:pt x="1684" y="2309"/>
                </a:lnTo>
                <a:lnTo>
                  <a:pt x="1675" y="2302"/>
                </a:lnTo>
                <a:lnTo>
                  <a:pt x="1668" y="2293"/>
                </a:lnTo>
                <a:lnTo>
                  <a:pt x="1665" y="2288"/>
                </a:lnTo>
                <a:lnTo>
                  <a:pt x="1663" y="2283"/>
                </a:lnTo>
                <a:lnTo>
                  <a:pt x="1661" y="2276"/>
                </a:lnTo>
                <a:lnTo>
                  <a:pt x="1660" y="2269"/>
                </a:lnTo>
                <a:lnTo>
                  <a:pt x="1660" y="2269"/>
                </a:lnTo>
                <a:lnTo>
                  <a:pt x="1661" y="2260"/>
                </a:lnTo>
                <a:lnTo>
                  <a:pt x="1664" y="2253"/>
                </a:lnTo>
                <a:lnTo>
                  <a:pt x="1667" y="2247"/>
                </a:lnTo>
                <a:lnTo>
                  <a:pt x="1672" y="2241"/>
                </a:lnTo>
                <a:lnTo>
                  <a:pt x="1680" y="2232"/>
                </a:lnTo>
                <a:lnTo>
                  <a:pt x="1682" y="2226"/>
                </a:lnTo>
                <a:lnTo>
                  <a:pt x="1683" y="2222"/>
                </a:lnTo>
                <a:lnTo>
                  <a:pt x="1683" y="2222"/>
                </a:lnTo>
                <a:lnTo>
                  <a:pt x="1682" y="2215"/>
                </a:lnTo>
                <a:lnTo>
                  <a:pt x="1680" y="2209"/>
                </a:lnTo>
                <a:lnTo>
                  <a:pt x="1672" y="2199"/>
                </a:lnTo>
                <a:lnTo>
                  <a:pt x="1667" y="2193"/>
                </a:lnTo>
                <a:lnTo>
                  <a:pt x="1664" y="2186"/>
                </a:lnTo>
                <a:lnTo>
                  <a:pt x="1661" y="2177"/>
                </a:lnTo>
                <a:lnTo>
                  <a:pt x="1660" y="2166"/>
                </a:lnTo>
                <a:lnTo>
                  <a:pt x="1660" y="2166"/>
                </a:lnTo>
                <a:lnTo>
                  <a:pt x="1661" y="2157"/>
                </a:lnTo>
                <a:lnTo>
                  <a:pt x="1664" y="2149"/>
                </a:lnTo>
                <a:lnTo>
                  <a:pt x="1667" y="2142"/>
                </a:lnTo>
                <a:lnTo>
                  <a:pt x="1672" y="2136"/>
                </a:lnTo>
                <a:lnTo>
                  <a:pt x="1678" y="2133"/>
                </a:lnTo>
                <a:lnTo>
                  <a:pt x="1684" y="2130"/>
                </a:lnTo>
                <a:lnTo>
                  <a:pt x="1699" y="2124"/>
                </a:lnTo>
                <a:lnTo>
                  <a:pt x="1714" y="2119"/>
                </a:lnTo>
                <a:lnTo>
                  <a:pt x="1728" y="2113"/>
                </a:lnTo>
                <a:lnTo>
                  <a:pt x="1735" y="2110"/>
                </a:lnTo>
                <a:lnTo>
                  <a:pt x="1741" y="2105"/>
                </a:lnTo>
                <a:lnTo>
                  <a:pt x="1745" y="2100"/>
                </a:lnTo>
                <a:lnTo>
                  <a:pt x="1749" y="2093"/>
                </a:lnTo>
                <a:lnTo>
                  <a:pt x="1749" y="2093"/>
                </a:lnTo>
                <a:lnTo>
                  <a:pt x="1749" y="2078"/>
                </a:lnTo>
                <a:lnTo>
                  <a:pt x="1749" y="2078"/>
                </a:lnTo>
                <a:lnTo>
                  <a:pt x="1749" y="2078"/>
                </a:lnTo>
                <a:lnTo>
                  <a:pt x="1742" y="2078"/>
                </a:lnTo>
                <a:lnTo>
                  <a:pt x="1742" y="2078"/>
                </a:lnTo>
                <a:lnTo>
                  <a:pt x="1728" y="2079"/>
                </a:lnTo>
                <a:lnTo>
                  <a:pt x="1716" y="2080"/>
                </a:lnTo>
                <a:lnTo>
                  <a:pt x="1703" y="2081"/>
                </a:lnTo>
                <a:lnTo>
                  <a:pt x="1697" y="2080"/>
                </a:lnTo>
                <a:lnTo>
                  <a:pt x="1690" y="2078"/>
                </a:lnTo>
                <a:lnTo>
                  <a:pt x="1690" y="2078"/>
                </a:lnTo>
                <a:lnTo>
                  <a:pt x="1676" y="2072"/>
                </a:lnTo>
                <a:lnTo>
                  <a:pt x="1665" y="2067"/>
                </a:lnTo>
                <a:lnTo>
                  <a:pt x="1656" y="2064"/>
                </a:lnTo>
                <a:lnTo>
                  <a:pt x="1645" y="2063"/>
                </a:lnTo>
                <a:lnTo>
                  <a:pt x="1645" y="2063"/>
                </a:lnTo>
                <a:lnTo>
                  <a:pt x="1629" y="2064"/>
                </a:lnTo>
                <a:lnTo>
                  <a:pt x="1613" y="2066"/>
                </a:lnTo>
                <a:lnTo>
                  <a:pt x="1596" y="2066"/>
                </a:lnTo>
                <a:lnTo>
                  <a:pt x="1588" y="2065"/>
                </a:lnTo>
                <a:lnTo>
                  <a:pt x="1580" y="2063"/>
                </a:lnTo>
                <a:lnTo>
                  <a:pt x="1580" y="2063"/>
                </a:lnTo>
                <a:lnTo>
                  <a:pt x="1580" y="1979"/>
                </a:lnTo>
                <a:lnTo>
                  <a:pt x="1580" y="1979"/>
                </a:lnTo>
                <a:lnTo>
                  <a:pt x="1581" y="1973"/>
                </a:lnTo>
                <a:lnTo>
                  <a:pt x="1581" y="1967"/>
                </a:lnTo>
                <a:lnTo>
                  <a:pt x="1585" y="1957"/>
                </a:lnTo>
                <a:lnTo>
                  <a:pt x="1590" y="1948"/>
                </a:lnTo>
                <a:lnTo>
                  <a:pt x="1596" y="1940"/>
                </a:lnTo>
                <a:lnTo>
                  <a:pt x="1607" y="1926"/>
                </a:lnTo>
                <a:lnTo>
                  <a:pt x="1612" y="1919"/>
                </a:lnTo>
                <a:lnTo>
                  <a:pt x="1612" y="1916"/>
                </a:lnTo>
                <a:lnTo>
                  <a:pt x="1613" y="1913"/>
                </a:lnTo>
                <a:lnTo>
                  <a:pt x="1613" y="1913"/>
                </a:lnTo>
                <a:lnTo>
                  <a:pt x="1612" y="1904"/>
                </a:lnTo>
                <a:lnTo>
                  <a:pt x="1610" y="1896"/>
                </a:lnTo>
                <a:lnTo>
                  <a:pt x="1607" y="1888"/>
                </a:lnTo>
                <a:lnTo>
                  <a:pt x="1603" y="1880"/>
                </a:lnTo>
                <a:lnTo>
                  <a:pt x="1592" y="1866"/>
                </a:lnTo>
                <a:lnTo>
                  <a:pt x="1581" y="1852"/>
                </a:lnTo>
                <a:lnTo>
                  <a:pt x="1568" y="1838"/>
                </a:lnTo>
                <a:lnTo>
                  <a:pt x="1557" y="1824"/>
                </a:lnTo>
                <a:lnTo>
                  <a:pt x="1552" y="1817"/>
                </a:lnTo>
                <a:lnTo>
                  <a:pt x="1548" y="1809"/>
                </a:lnTo>
                <a:lnTo>
                  <a:pt x="1545" y="1800"/>
                </a:lnTo>
                <a:lnTo>
                  <a:pt x="1543" y="1791"/>
                </a:lnTo>
                <a:lnTo>
                  <a:pt x="1543" y="1791"/>
                </a:lnTo>
                <a:lnTo>
                  <a:pt x="1542" y="1782"/>
                </a:lnTo>
                <a:lnTo>
                  <a:pt x="1542" y="1774"/>
                </a:lnTo>
                <a:lnTo>
                  <a:pt x="1543" y="1765"/>
                </a:lnTo>
                <a:lnTo>
                  <a:pt x="1545" y="1757"/>
                </a:lnTo>
                <a:lnTo>
                  <a:pt x="1548" y="1749"/>
                </a:lnTo>
                <a:lnTo>
                  <a:pt x="1549" y="1742"/>
                </a:lnTo>
                <a:lnTo>
                  <a:pt x="1549" y="1734"/>
                </a:lnTo>
                <a:lnTo>
                  <a:pt x="1548" y="1726"/>
                </a:lnTo>
                <a:lnTo>
                  <a:pt x="1548" y="1726"/>
                </a:lnTo>
                <a:lnTo>
                  <a:pt x="1546" y="1722"/>
                </a:lnTo>
                <a:lnTo>
                  <a:pt x="1544" y="1719"/>
                </a:lnTo>
                <a:lnTo>
                  <a:pt x="1539" y="1714"/>
                </a:lnTo>
                <a:lnTo>
                  <a:pt x="1533" y="1710"/>
                </a:lnTo>
                <a:lnTo>
                  <a:pt x="1524" y="1707"/>
                </a:lnTo>
                <a:lnTo>
                  <a:pt x="1506" y="1703"/>
                </a:lnTo>
                <a:lnTo>
                  <a:pt x="1488" y="1699"/>
                </a:lnTo>
                <a:lnTo>
                  <a:pt x="1488" y="1699"/>
                </a:lnTo>
                <a:lnTo>
                  <a:pt x="1490" y="1692"/>
                </a:lnTo>
                <a:lnTo>
                  <a:pt x="1492" y="1688"/>
                </a:lnTo>
                <a:lnTo>
                  <a:pt x="1496" y="1682"/>
                </a:lnTo>
                <a:lnTo>
                  <a:pt x="1499" y="1679"/>
                </a:lnTo>
                <a:lnTo>
                  <a:pt x="1508" y="1670"/>
                </a:lnTo>
                <a:lnTo>
                  <a:pt x="1519" y="1665"/>
                </a:lnTo>
                <a:lnTo>
                  <a:pt x="1528" y="1658"/>
                </a:lnTo>
                <a:lnTo>
                  <a:pt x="1535" y="1651"/>
                </a:lnTo>
                <a:lnTo>
                  <a:pt x="1538" y="1646"/>
                </a:lnTo>
                <a:lnTo>
                  <a:pt x="1541" y="1642"/>
                </a:lnTo>
                <a:lnTo>
                  <a:pt x="1542" y="1636"/>
                </a:lnTo>
                <a:lnTo>
                  <a:pt x="1543" y="1630"/>
                </a:lnTo>
                <a:lnTo>
                  <a:pt x="1543" y="1630"/>
                </a:lnTo>
                <a:lnTo>
                  <a:pt x="1542" y="1606"/>
                </a:lnTo>
                <a:lnTo>
                  <a:pt x="1541" y="1583"/>
                </a:lnTo>
                <a:lnTo>
                  <a:pt x="1538" y="1561"/>
                </a:lnTo>
                <a:lnTo>
                  <a:pt x="1535" y="1538"/>
                </a:lnTo>
                <a:lnTo>
                  <a:pt x="1530" y="1516"/>
                </a:lnTo>
                <a:lnTo>
                  <a:pt x="1524" y="1494"/>
                </a:lnTo>
                <a:lnTo>
                  <a:pt x="1519" y="1473"/>
                </a:lnTo>
                <a:lnTo>
                  <a:pt x="1512" y="1452"/>
                </a:lnTo>
                <a:lnTo>
                  <a:pt x="1504" y="1431"/>
                </a:lnTo>
                <a:lnTo>
                  <a:pt x="1496" y="1410"/>
                </a:lnTo>
                <a:lnTo>
                  <a:pt x="1477" y="1370"/>
                </a:lnTo>
                <a:lnTo>
                  <a:pt x="1458" y="1332"/>
                </a:lnTo>
                <a:lnTo>
                  <a:pt x="1436" y="1295"/>
                </a:lnTo>
                <a:lnTo>
                  <a:pt x="1436" y="1295"/>
                </a:lnTo>
                <a:lnTo>
                  <a:pt x="1443" y="1292"/>
                </a:lnTo>
                <a:lnTo>
                  <a:pt x="1449" y="1288"/>
                </a:lnTo>
                <a:lnTo>
                  <a:pt x="1460" y="1278"/>
                </a:lnTo>
                <a:lnTo>
                  <a:pt x="1472" y="1267"/>
                </a:lnTo>
                <a:lnTo>
                  <a:pt x="1483" y="1254"/>
                </a:lnTo>
                <a:lnTo>
                  <a:pt x="1493" y="1242"/>
                </a:lnTo>
                <a:lnTo>
                  <a:pt x="1503" y="1231"/>
                </a:lnTo>
                <a:lnTo>
                  <a:pt x="1513" y="1223"/>
                </a:lnTo>
                <a:lnTo>
                  <a:pt x="1516" y="1221"/>
                </a:lnTo>
                <a:lnTo>
                  <a:pt x="1521" y="1218"/>
                </a:lnTo>
                <a:lnTo>
                  <a:pt x="1521" y="1218"/>
                </a:lnTo>
                <a:lnTo>
                  <a:pt x="1526" y="1217"/>
                </a:lnTo>
                <a:lnTo>
                  <a:pt x="1531" y="1216"/>
                </a:lnTo>
                <a:lnTo>
                  <a:pt x="1542" y="1215"/>
                </a:lnTo>
                <a:lnTo>
                  <a:pt x="1560" y="1215"/>
                </a:lnTo>
                <a:lnTo>
                  <a:pt x="1568" y="1214"/>
                </a:lnTo>
                <a:lnTo>
                  <a:pt x="1572" y="1212"/>
                </a:lnTo>
                <a:lnTo>
                  <a:pt x="1574" y="1210"/>
                </a:lnTo>
                <a:lnTo>
                  <a:pt x="1576" y="1208"/>
                </a:lnTo>
                <a:lnTo>
                  <a:pt x="1579" y="1203"/>
                </a:lnTo>
                <a:lnTo>
                  <a:pt x="1580" y="1199"/>
                </a:lnTo>
                <a:lnTo>
                  <a:pt x="1580" y="1193"/>
                </a:lnTo>
                <a:lnTo>
                  <a:pt x="1580" y="1193"/>
                </a:lnTo>
                <a:lnTo>
                  <a:pt x="1580" y="1186"/>
                </a:lnTo>
                <a:lnTo>
                  <a:pt x="1577" y="1180"/>
                </a:lnTo>
                <a:lnTo>
                  <a:pt x="1571" y="1169"/>
                </a:lnTo>
                <a:lnTo>
                  <a:pt x="1565" y="1157"/>
                </a:lnTo>
                <a:lnTo>
                  <a:pt x="1562" y="1151"/>
                </a:lnTo>
                <a:lnTo>
                  <a:pt x="1561" y="1145"/>
                </a:lnTo>
                <a:lnTo>
                  <a:pt x="1561" y="1145"/>
                </a:lnTo>
                <a:lnTo>
                  <a:pt x="1613" y="1012"/>
                </a:lnTo>
                <a:lnTo>
                  <a:pt x="1613" y="1012"/>
                </a:lnTo>
                <a:lnTo>
                  <a:pt x="1613" y="1012"/>
                </a:lnTo>
                <a:lnTo>
                  <a:pt x="1620" y="1008"/>
                </a:lnTo>
                <a:lnTo>
                  <a:pt x="1629" y="1002"/>
                </a:lnTo>
                <a:lnTo>
                  <a:pt x="1640" y="997"/>
                </a:lnTo>
                <a:lnTo>
                  <a:pt x="1650" y="992"/>
                </a:lnTo>
                <a:lnTo>
                  <a:pt x="1659" y="985"/>
                </a:lnTo>
                <a:lnTo>
                  <a:pt x="1664" y="981"/>
                </a:lnTo>
                <a:lnTo>
                  <a:pt x="1667" y="977"/>
                </a:lnTo>
                <a:lnTo>
                  <a:pt x="1671" y="972"/>
                </a:lnTo>
                <a:lnTo>
                  <a:pt x="1673" y="966"/>
                </a:lnTo>
                <a:lnTo>
                  <a:pt x="1674" y="960"/>
                </a:lnTo>
                <a:lnTo>
                  <a:pt x="1675" y="954"/>
                </a:lnTo>
                <a:lnTo>
                  <a:pt x="1675" y="954"/>
                </a:lnTo>
                <a:lnTo>
                  <a:pt x="1675" y="949"/>
                </a:lnTo>
                <a:lnTo>
                  <a:pt x="1674" y="944"/>
                </a:lnTo>
                <a:lnTo>
                  <a:pt x="1672" y="940"/>
                </a:lnTo>
                <a:lnTo>
                  <a:pt x="1669" y="936"/>
                </a:lnTo>
                <a:lnTo>
                  <a:pt x="1664" y="929"/>
                </a:lnTo>
                <a:lnTo>
                  <a:pt x="1657" y="925"/>
                </a:lnTo>
                <a:lnTo>
                  <a:pt x="1643" y="916"/>
                </a:lnTo>
                <a:lnTo>
                  <a:pt x="1636" y="911"/>
                </a:lnTo>
                <a:lnTo>
                  <a:pt x="1632" y="906"/>
                </a:lnTo>
                <a:lnTo>
                  <a:pt x="1632" y="906"/>
                </a:lnTo>
                <a:lnTo>
                  <a:pt x="1628" y="901"/>
                </a:lnTo>
                <a:lnTo>
                  <a:pt x="1626" y="895"/>
                </a:lnTo>
                <a:lnTo>
                  <a:pt x="1622" y="883"/>
                </a:lnTo>
                <a:lnTo>
                  <a:pt x="1621" y="871"/>
                </a:lnTo>
                <a:lnTo>
                  <a:pt x="1620" y="859"/>
                </a:lnTo>
                <a:lnTo>
                  <a:pt x="1619" y="847"/>
                </a:lnTo>
                <a:lnTo>
                  <a:pt x="1617" y="835"/>
                </a:lnTo>
                <a:lnTo>
                  <a:pt x="1612" y="825"/>
                </a:lnTo>
                <a:lnTo>
                  <a:pt x="1610" y="819"/>
                </a:lnTo>
                <a:lnTo>
                  <a:pt x="1606" y="814"/>
                </a:lnTo>
                <a:lnTo>
                  <a:pt x="1606" y="814"/>
                </a:lnTo>
                <a:lnTo>
                  <a:pt x="1595" y="802"/>
                </a:lnTo>
                <a:lnTo>
                  <a:pt x="1583" y="791"/>
                </a:lnTo>
                <a:lnTo>
                  <a:pt x="1559" y="773"/>
                </a:lnTo>
                <a:lnTo>
                  <a:pt x="1548" y="764"/>
                </a:lnTo>
                <a:lnTo>
                  <a:pt x="1536" y="753"/>
                </a:lnTo>
                <a:lnTo>
                  <a:pt x="1527" y="741"/>
                </a:lnTo>
                <a:lnTo>
                  <a:pt x="1522" y="734"/>
                </a:lnTo>
                <a:lnTo>
                  <a:pt x="1518" y="726"/>
                </a:lnTo>
                <a:lnTo>
                  <a:pt x="1518" y="726"/>
                </a:lnTo>
                <a:lnTo>
                  <a:pt x="1511" y="713"/>
                </a:lnTo>
                <a:lnTo>
                  <a:pt x="1507" y="702"/>
                </a:lnTo>
                <a:lnTo>
                  <a:pt x="1501" y="681"/>
                </a:lnTo>
                <a:lnTo>
                  <a:pt x="1498" y="673"/>
                </a:lnTo>
                <a:lnTo>
                  <a:pt x="1496" y="669"/>
                </a:lnTo>
                <a:lnTo>
                  <a:pt x="1492" y="665"/>
                </a:lnTo>
                <a:lnTo>
                  <a:pt x="1489" y="661"/>
                </a:lnTo>
                <a:lnTo>
                  <a:pt x="1483" y="659"/>
                </a:lnTo>
                <a:lnTo>
                  <a:pt x="1469" y="653"/>
                </a:lnTo>
                <a:lnTo>
                  <a:pt x="1469" y="653"/>
                </a:lnTo>
                <a:lnTo>
                  <a:pt x="1475" y="636"/>
                </a:lnTo>
                <a:lnTo>
                  <a:pt x="1482" y="622"/>
                </a:lnTo>
                <a:lnTo>
                  <a:pt x="1487" y="612"/>
                </a:lnTo>
                <a:lnTo>
                  <a:pt x="1488" y="606"/>
                </a:lnTo>
                <a:lnTo>
                  <a:pt x="1488" y="601"/>
                </a:lnTo>
                <a:lnTo>
                  <a:pt x="1488" y="601"/>
                </a:lnTo>
                <a:lnTo>
                  <a:pt x="1489" y="593"/>
                </a:lnTo>
                <a:lnTo>
                  <a:pt x="1492" y="586"/>
                </a:lnTo>
                <a:lnTo>
                  <a:pt x="1495" y="575"/>
                </a:lnTo>
                <a:lnTo>
                  <a:pt x="1496" y="557"/>
                </a:lnTo>
                <a:lnTo>
                  <a:pt x="1496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73" y="551"/>
                </a:lnTo>
                <a:lnTo>
                  <a:pt x="1459" y="542"/>
                </a:lnTo>
                <a:lnTo>
                  <a:pt x="1459" y="542"/>
                </a:lnTo>
                <a:lnTo>
                  <a:pt x="1440" y="549"/>
                </a:lnTo>
                <a:lnTo>
                  <a:pt x="1428" y="554"/>
                </a:lnTo>
                <a:lnTo>
                  <a:pt x="1420" y="561"/>
                </a:lnTo>
                <a:lnTo>
                  <a:pt x="1417" y="563"/>
                </a:lnTo>
                <a:lnTo>
                  <a:pt x="1416" y="567"/>
                </a:lnTo>
                <a:lnTo>
                  <a:pt x="1415" y="570"/>
                </a:lnTo>
                <a:lnTo>
                  <a:pt x="1415" y="573"/>
                </a:lnTo>
                <a:lnTo>
                  <a:pt x="1417" y="580"/>
                </a:lnTo>
                <a:lnTo>
                  <a:pt x="1422" y="585"/>
                </a:lnTo>
                <a:lnTo>
                  <a:pt x="1428" y="591"/>
                </a:lnTo>
                <a:lnTo>
                  <a:pt x="1440" y="601"/>
                </a:lnTo>
                <a:lnTo>
                  <a:pt x="1452" y="612"/>
                </a:lnTo>
                <a:lnTo>
                  <a:pt x="1457" y="618"/>
                </a:lnTo>
                <a:lnTo>
                  <a:pt x="1458" y="622"/>
                </a:lnTo>
                <a:lnTo>
                  <a:pt x="1458" y="624"/>
                </a:lnTo>
                <a:lnTo>
                  <a:pt x="1457" y="626"/>
                </a:lnTo>
                <a:lnTo>
                  <a:pt x="1451" y="630"/>
                </a:lnTo>
                <a:lnTo>
                  <a:pt x="1451" y="630"/>
                </a:lnTo>
                <a:lnTo>
                  <a:pt x="1444" y="645"/>
                </a:lnTo>
                <a:lnTo>
                  <a:pt x="1435" y="658"/>
                </a:lnTo>
                <a:lnTo>
                  <a:pt x="1426" y="669"/>
                </a:lnTo>
                <a:lnTo>
                  <a:pt x="1415" y="680"/>
                </a:lnTo>
                <a:lnTo>
                  <a:pt x="1404" y="689"/>
                </a:lnTo>
                <a:lnTo>
                  <a:pt x="1392" y="697"/>
                </a:lnTo>
                <a:lnTo>
                  <a:pt x="1369" y="712"/>
                </a:lnTo>
                <a:lnTo>
                  <a:pt x="1345" y="726"/>
                </a:lnTo>
                <a:lnTo>
                  <a:pt x="1323" y="737"/>
                </a:lnTo>
                <a:lnTo>
                  <a:pt x="1314" y="744"/>
                </a:lnTo>
                <a:lnTo>
                  <a:pt x="1305" y="751"/>
                </a:lnTo>
                <a:lnTo>
                  <a:pt x="1297" y="758"/>
                </a:lnTo>
                <a:lnTo>
                  <a:pt x="1290" y="766"/>
                </a:lnTo>
                <a:lnTo>
                  <a:pt x="1290" y="766"/>
                </a:lnTo>
                <a:lnTo>
                  <a:pt x="1290" y="758"/>
                </a:lnTo>
                <a:lnTo>
                  <a:pt x="1291" y="749"/>
                </a:lnTo>
                <a:lnTo>
                  <a:pt x="1294" y="738"/>
                </a:lnTo>
                <a:lnTo>
                  <a:pt x="1298" y="728"/>
                </a:lnTo>
                <a:lnTo>
                  <a:pt x="1308" y="705"/>
                </a:lnTo>
                <a:lnTo>
                  <a:pt x="1322" y="681"/>
                </a:lnTo>
                <a:lnTo>
                  <a:pt x="1339" y="653"/>
                </a:lnTo>
                <a:lnTo>
                  <a:pt x="1358" y="626"/>
                </a:lnTo>
                <a:lnTo>
                  <a:pt x="1398" y="565"/>
                </a:lnTo>
                <a:lnTo>
                  <a:pt x="1419" y="532"/>
                </a:lnTo>
                <a:lnTo>
                  <a:pt x="1439" y="499"/>
                </a:lnTo>
                <a:lnTo>
                  <a:pt x="1458" y="466"/>
                </a:lnTo>
                <a:lnTo>
                  <a:pt x="1475" y="432"/>
                </a:lnTo>
                <a:lnTo>
                  <a:pt x="1483" y="415"/>
                </a:lnTo>
                <a:lnTo>
                  <a:pt x="1489" y="398"/>
                </a:lnTo>
                <a:lnTo>
                  <a:pt x="1496" y="381"/>
                </a:lnTo>
                <a:lnTo>
                  <a:pt x="1500" y="363"/>
                </a:lnTo>
                <a:lnTo>
                  <a:pt x="1505" y="347"/>
                </a:lnTo>
                <a:lnTo>
                  <a:pt x="1507" y="330"/>
                </a:lnTo>
                <a:lnTo>
                  <a:pt x="1510" y="313"/>
                </a:lnTo>
                <a:lnTo>
                  <a:pt x="1510" y="297"/>
                </a:lnTo>
                <a:lnTo>
                  <a:pt x="1510" y="297"/>
                </a:lnTo>
                <a:lnTo>
                  <a:pt x="1508" y="284"/>
                </a:lnTo>
                <a:lnTo>
                  <a:pt x="1505" y="269"/>
                </a:lnTo>
                <a:lnTo>
                  <a:pt x="1499" y="254"/>
                </a:lnTo>
                <a:lnTo>
                  <a:pt x="1492" y="239"/>
                </a:lnTo>
                <a:lnTo>
                  <a:pt x="1483" y="223"/>
                </a:lnTo>
                <a:lnTo>
                  <a:pt x="1472" y="208"/>
                </a:lnTo>
                <a:lnTo>
                  <a:pt x="1460" y="193"/>
                </a:lnTo>
                <a:lnTo>
                  <a:pt x="1447" y="178"/>
                </a:lnTo>
                <a:lnTo>
                  <a:pt x="1434" y="164"/>
                </a:lnTo>
                <a:lnTo>
                  <a:pt x="1420" y="150"/>
                </a:lnTo>
                <a:lnTo>
                  <a:pt x="1405" y="139"/>
                </a:lnTo>
                <a:lnTo>
                  <a:pt x="1391" y="129"/>
                </a:lnTo>
                <a:lnTo>
                  <a:pt x="1376" y="120"/>
                </a:lnTo>
                <a:lnTo>
                  <a:pt x="1362" y="115"/>
                </a:lnTo>
                <a:lnTo>
                  <a:pt x="1350" y="110"/>
                </a:lnTo>
                <a:lnTo>
                  <a:pt x="1337" y="109"/>
                </a:lnTo>
                <a:lnTo>
                  <a:pt x="1337" y="109"/>
                </a:lnTo>
                <a:lnTo>
                  <a:pt x="1317" y="109"/>
                </a:lnTo>
                <a:lnTo>
                  <a:pt x="1293" y="110"/>
                </a:lnTo>
                <a:lnTo>
                  <a:pt x="1281" y="112"/>
                </a:lnTo>
                <a:lnTo>
                  <a:pt x="1269" y="115"/>
                </a:lnTo>
                <a:lnTo>
                  <a:pt x="1259" y="118"/>
                </a:lnTo>
                <a:lnTo>
                  <a:pt x="1248" y="124"/>
                </a:lnTo>
                <a:lnTo>
                  <a:pt x="1248" y="124"/>
                </a:lnTo>
                <a:lnTo>
                  <a:pt x="1247" y="135"/>
                </a:lnTo>
                <a:lnTo>
                  <a:pt x="1245" y="145"/>
                </a:lnTo>
                <a:lnTo>
                  <a:pt x="1243" y="153"/>
                </a:lnTo>
                <a:lnTo>
                  <a:pt x="1239" y="160"/>
                </a:lnTo>
                <a:lnTo>
                  <a:pt x="1236" y="165"/>
                </a:lnTo>
                <a:lnTo>
                  <a:pt x="1232" y="170"/>
                </a:lnTo>
                <a:lnTo>
                  <a:pt x="1228" y="173"/>
                </a:lnTo>
                <a:lnTo>
                  <a:pt x="1223" y="176"/>
                </a:lnTo>
                <a:lnTo>
                  <a:pt x="1218" y="178"/>
                </a:lnTo>
                <a:lnTo>
                  <a:pt x="1214" y="179"/>
                </a:lnTo>
                <a:lnTo>
                  <a:pt x="1205" y="179"/>
                </a:lnTo>
                <a:lnTo>
                  <a:pt x="1186" y="179"/>
                </a:lnTo>
                <a:lnTo>
                  <a:pt x="1186" y="179"/>
                </a:lnTo>
                <a:lnTo>
                  <a:pt x="1185" y="178"/>
                </a:lnTo>
                <a:lnTo>
                  <a:pt x="1184" y="178"/>
                </a:lnTo>
                <a:lnTo>
                  <a:pt x="1185" y="173"/>
                </a:lnTo>
                <a:lnTo>
                  <a:pt x="1187" y="168"/>
                </a:lnTo>
                <a:lnTo>
                  <a:pt x="1192" y="161"/>
                </a:lnTo>
                <a:lnTo>
                  <a:pt x="1201" y="142"/>
                </a:lnTo>
                <a:lnTo>
                  <a:pt x="1206" y="132"/>
                </a:lnTo>
                <a:lnTo>
                  <a:pt x="1208" y="123"/>
                </a:lnTo>
                <a:lnTo>
                  <a:pt x="1209" y="112"/>
                </a:lnTo>
                <a:lnTo>
                  <a:pt x="1208" y="108"/>
                </a:lnTo>
                <a:lnTo>
                  <a:pt x="1207" y="104"/>
                </a:lnTo>
                <a:lnTo>
                  <a:pt x="1205" y="100"/>
                </a:lnTo>
                <a:lnTo>
                  <a:pt x="1201" y="96"/>
                </a:lnTo>
                <a:lnTo>
                  <a:pt x="1197" y="93"/>
                </a:lnTo>
                <a:lnTo>
                  <a:pt x="1192" y="91"/>
                </a:lnTo>
                <a:lnTo>
                  <a:pt x="1185" y="88"/>
                </a:lnTo>
                <a:lnTo>
                  <a:pt x="1177" y="87"/>
                </a:lnTo>
                <a:lnTo>
                  <a:pt x="1167" y="86"/>
                </a:lnTo>
                <a:lnTo>
                  <a:pt x="1156" y="85"/>
                </a:lnTo>
                <a:lnTo>
                  <a:pt x="1129" y="86"/>
                </a:lnTo>
                <a:lnTo>
                  <a:pt x="1095" y="91"/>
                </a:lnTo>
                <a:lnTo>
                  <a:pt x="1095" y="91"/>
                </a:lnTo>
                <a:lnTo>
                  <a:pt x="1092" y="88"/>
                </a:lnTo>
                <a:lnTo>
                  <a:pt x="1092" y="85"/>
                </a:lnTo>
                <a:lnTo>
                  <a:pt x="1094" y="82"/>
                </a:lnTo>
                <a:lnTo>
                  <a:pt x="1098" y="80"/>
                </a:lnTo>
                <a:lnTo>
                  <a:pt x="1109" y="74"/>
                </a:lnTo>
                <a:lnTo>
                  <a:pt x="1122" y="68"/>
                </a:lnTo>
                <a:lnTo>
                  <a:pt x="1128" y="63"/>
                </a:lnTo>
                <a:lnTo>
                  <a:pt x="1132" y="58"/>
                </a:lnTo>
                <a:lnTo>
                  <a:pt x="1137" y="53"/>
                </a:lnTo>
                <a:lnTo>
                  <a:pt x="1139" y="47"/>
                </a:lnTo>
                <a:lnTo>
                  <a:pt x="1138" y="40"/>
                </a:lnTo>
                <a:lnTo>
                  <a:pt x="1136" y="32"/>
                </a:lnTo>
                <a:lnTo>
                  <a:pt x="1130" y="24"/>
                </a:lnTo>
                <a:lnTo>
                  <a:pt x="1121" y="13"/>
                </a:lnTo>
                <a:lnTo>
                  <a:pt x="1121" y="13"/>
                </a:lnTo>
                <a:lnTo>
                  <a:pt x="1103" y="7"/>
                </a:lnTo>
                <a:lnTo>
                  <a:pt x="1088" y="2"/>
                </a:lnTo>
                <a:lnTo>
                  <a:pt x="1076" y="0"/>
                </a:lnTo>
                <a:lnTo>
                  <a:pt x="1064" y="0"/>
                </a:lnTo>
                <a:lnTo>
                  <a:pt x="1055" y="2"/>
                </a:lnTo>
                <a:lnTo>
                  <a:pt x="1047" y="5"/>
                </a:lnTo>
                <a:lnTo>
                  <a:pt x="1042" y="11"/>
                </a:lnTo>
                <a:lnTo>
                  <a:pt x="1040" y="17"/>
                </a:lnTo>
                <a:lnTo>
                  <a:pt x="1040" y="17"/>
                </a:lnTo>
                <a:lnTo>
                  <a:pt x="1032" y="27"/>
                </a:lnTo>
                <a:lnTo>
                  <a:pt x="1024" y="39"/>
                </a:lnTo>
                <a:lnTo>
                  <a:pt x="1008" y="69"/>
                </a:lnTo>
                <a:lnTo>
                  <a:pt x="992" y="101"/>
                </a:lnTo>
                <a:lnTo>
                  <a:pt x="984" y="115"/>
                </a:lnTo>
                <a:lnTo>
                  <a:pt x="973" y="127"/>
                </a:lnTo>
                <a:lnTo>
                  <a:pt x="973" y="127"/>
                </a:lnTo>
                <a:lnTo>
                  <a:pt x="970" y="133"/>
                </a:lnTo>
                <a:lnTo>
                  <a:pt x="969" y="140"/>
                </a:lnTo>
                <a:lnTo>
                  <a:pt x="969" y="147"/>
                </a:lnTo>
                <a:lnTo>
                  <a:pt x="970" y="154"/>
                </a:lnTo>
                <a:lnTo>
                  <a:pt x="974" y="168"/>
                </a:lnTo>
                <a:lnTo>
                  <a:pt x="980" y="183"/>
                </a:lnTo>
                <a:lnTo>
                  <a:pt x="983" y="190"/>
                </a:lnTo>
                <a:lnTo>
                  <a:pt x="983" y="196"/>
                </a:lnTo>
                <a:lnTo>
                  <a:pt x="983" y="203"/>
                </a:lnTo>
                <a:lnTo>
                  <a:pt x="980" y="211"/>
                </a:lnTo>
                <a:lnTo>
                  <a:pt x="977" y="218"/>
                </a:lnTo>
                <a:lnTo>
                  <a:pt x="970" y="224"/>
                </a:lnTo>
                <a:lnTo>
                  <a:pt x="961" y="231"/>
                </a:lnTo>
                <a:lnTo>
                  <a:pt x="948" y="238"/>
                </a:lnTo>
                <a:lnTo>
                  <a:pt x="948" y="238"/>
                </a:lnTo>
                <a:lnTo>
                  <a:pt x="933" y="233"/>
                </a:lnTo>
                <a:lnTo>
                  <a:pt x="919" y="232"/>
                </a:lnTo>
                <a:lnTo>
                  <a:pt x="912" y="232"/>
                </a:lnTo>
                <a:lnTo>
                  <a:pt x="907" y="232"/>
                </a:lnTo>
                <a:lnTo>
                  <a:pt x="902" y="234"/>
                </a:lnTo>
                <a:lnTo>
                  <a:pt x="900" y="237"/>
                </a:lnTo>
                <a:lnTo>
                  <a:pt x="899" y="241"/>
                </a:lnTo>
                <a:lnTo>
                  <a:pt x="900" y="248"/>
                </a:lnTo>
                <a:lnTo>
                  <a:pt x="904" y="256"/>
                </a:lnTo>
                <a:lnTo>
                  <a:pt x="912" y="268"/>
                </a:lnTo>
                <a:lnTo>
                  <a:pt x="925" y="280"/>
                </a:lnTo>
                <a:lnTo>
                  <a:pt x="941" y="297"/>
                </a:lnTo>
                <a:lnTo>
                  <a:pt x="941" y="297"/>
                </a:lnTo>
                <a:lnTo>
                  <a:pt x="927" y="291"/>
                </a:lnTo>
                <a:lnTo>
                  <a:pt x="917" y="286"/>
                </a:lnTo>
                <a:lnTo>
                  <a:pt x="909" y="285"/>
                </a:lnTo>
                <a:lnTo>
                  <a:pt x="902" y="284"/>
                </a:lnTo>
                <a:lnTo>
                  <a:pt x="893" y="284"/>
                </a:lnTo>
                <a:lnTo>
                  <a:pt x="886" y="285"/>
                </a:lnTo>
                <a:lnTo>
                  <a:pt x="886" y="285"/>
                </a:lnTo>
                <a:lnTo>
                  <a:pt x="882" y="287"/>
                </a:lnTo>
                <a:lnTo>
                  <a:pt x="877" y="294"/>
                </a:lnTo>
                <a:lnTo>
                  <a:pt x="859" y="314"/>
                </a:lnTo>
                <a:lnTo>
                  <a:pt x="849" y="324"/>
                </a:lnTo>
                <a:lnTo>
                  <a:pt x="839" y="333"/>
                </a:lnTo>
                <a:lnTo>
                  <a:pt x="833" y="337"/>
                </a:lnTo>
                <a:lnTo>
                  <a:pt x="828" y="339"/>
                </a:lnTo>
                <a:lnTo>
                  <a:pt x="824" y="340"/>
                </a:lnTo>
                <a:lnTo>
                  <a:pt x="819" y="340"/>
                </a:lnTo>
                <a:lnTo>
                  <a:pt x="819" y="340"/>
                </a:lnTo>
                <a:lnTo>
                  <a:pt x="816" y="339"/>
                </a:lnTo>
                <a:lnTo>
                  <a:pt x="815" y="337"/>
                </a:lnTo>
                <a:lnTo>
                  <a:pt x="815" y="333"/>
                </a:lnTo>
                <a:lnTo>
                  <a:pt x="815" y="329"/>
                </a:lnTo>
                <a:lnTo>
                  <a:pt x="819" y="318"/>
                </a:lnTo>
                <a:lnTo>
                  <a:pt x="825" y="307"/>
                </a:lnTo>
                <a:lnTo>
                  <a:pt x="828" y="297"/>
                </a:lnTo>
                <a:lnTo>
                  <a:pt x="829" y="291"/>
                </a:lnTo>
                <a:lnTo>
                  <a:pt x="831" y="287"/>
                </a:lnTo>
                <a:lnTo>
                  <a:pt x="829" y="283"/>
                </a:lnTo>
                <a:lnTo>
                  <a:pt x="826" y="280"/>
                </a:lnTo>
                <a:lnTo>
                  <a:pt x="823" y="278"/>
                </a:lnTo>
                <a:lnTo>
                  <a:pt x="816" y="277"/>
                </a:lnTo>
                <a:lnTo>
                  <a:pt x="816" y="277"/>
                </a:lnTo>
                <a:lnTo>
                  <a:pt x="798" y="291"/>
                </a:lnTo>
                <a:lnTo>
                  <a:pt x="783" y="300"/>
                </a:lnTo>
                <a:lnTo>
                  <a:pt x="768" y="307"/>
                </a:lnTo>
                <a:lnTo>
                  <a:pt x="756" y="310"/>
                </a:lnTo>
                <a:lnTo>
                  <a:pt x="743" y="313"/>
                </a:lnTo>
                <a:lnTo>
                  <a:pt x="732" y="315"/>
                </a:lnTo>
                <a:lnTo>
                  <a:pt x="720" y="316"/>
                </a:lnTo>
                <a:lnTo>
                  <a:pt x="709" y="318"/>
                </a:lnTo>
                <a:lnTo>
                  <a:pt x="709" y="318"/>
                </a:lnTo>
                <a:lnTo>
                  <a:pt x="697" y="318"/>
                </a:lnTo>
                <a:lnTo>
                  <a:pt x="688" y="320"/>
                </a:lnTo>
                <a:lnTo>
                  <a:pt x="682" y="322"/>
                </a:lnTo>
                <a:lnTo>
                  <a:pt x="679" y="323"/>
                </a:lnTo>
                <a:lnTo>
                  <a:pt x="678" y="326"/>
                </a:lnTo>
                <a:lnTo>
                  <a:pt x="678" y="330"/>
                </a:lnTo>
                <a:lnTo>
                  <a:pt x="680" y="333"/>
                </a:lnTo>
                <a:lnTo>
                  <a:pt x="682" y="337"/>
                </a:lnTo>
                <a:lnTo>
                  <a:pt x="689" y="345"/>
                </a:lnTo>
                <a:lnTo>
                  <a:pt x="695" y="354"/>
                </a:lnTo>
                <a:lnTo>
                  <a:pt x="696" y="359"/>
                </a:lnTo>
                <a:lnTo>
                  <a:pt x="696" y="362"/>
                </a:lnTo>
                <a:lnTo>
                  <a:pt x="695" y="367"/>
                </a:lnTo>
                <a:lnTo>
                  <a:pt x="691" y="370"/>
                </a:lnTo>
                <a:lnTo>
                  <a:pt x="691" y="370"/>
                </a:lnTo>
                <a:lnTo>
                  <a:pt x="687" y="372"/>
                </a:lnTo>
                <a:lnTo>
                  <a:pt x="682" y="375"/>
                </a:lnTo>
                <a:lnTo>
                  <a:pt x="668" y="379"/>
                </a:lnTo>
                <a:lnTo>
                  <a:pt x="635" y="389"/>
                </a:lnTo>
                <a:lnTo>
                  <a:pt x="617" y="393"/>
                </a:lnTo>
                <a:lnTo>
                  <a:pt x="598" y="400"/>
                </a:lnTo>
                <a:lnTo>
                  <a:pt x="581" y="408"/>
                </a:lnTo>
                <a:lnTo>
                  <a:pt x="573" y="413"/>
                </a:lnTo>
                <a:lnTo>
                  <a:pt x="566" y="417"/>
                </a:lnTo>
                <a:lnTo>
                  <a:pt x="566" y="417"/>
                </a:lnTo>
                <a:lnTo>
                  <a:pt x="542" y="435"/>
                </a:lnTo>
                <a:lnTo>
                  <a:pt x="521" y="451"/>
                </a:lnTo>
                <a:lnTo>
                  <a:pt x="503" y="468"/>
                </a:lnTo>
                <a:lnTo>
                  <a:pt x="485" y="486"/>
                </a:lnTo>
                <a:lnTo>
                  <a:pt x="470" y="504"/>
                </a:lnTo>
                <a:lnTo>
                  <a:pt x="456" y="521"/>
                </a:lnTo>
                <a:lnTo>
                  <a:pt x="430" y="557"/>
                </a:lnTo>
                <a:lnTo>
                  <a:pt x="430" y="557"/>
                </a:lnTo>
                <a:lnTo>
                  <a:pt x="427" y="561"/>
                </a:lnTo>
                <a:lnTo>
                  <a:pt x="424" y="567"/>
                </a:lnTo>
                <a:lnTo>
                  <a:pt x="423" y="573"/>
                </a:lnTo>
                <a:lnTo>
                  <a:pt x="423" y="578"/>
                </a:lnTo>
                <a:lnTo>
                  <a:pt x="424" y="593"/>
                </a:lnTo>
                <a:lnTo>
                  <a:pt x="428" y="610"/>
                </a:lnTo>
                <a:lnTo>
                  <a:pt x="434" y="626"/>
                </a:lnTo>
                <a:lnTo>
                  <a:pt x="439" y="642"/>
                </a:lnTo>
                <a:lnTo>
                  <a:pt x="452" y="674"/>
                </a:lnTo>
                <a:lnTo>
                  <a:pt x="457" y="688"/>
                </a:lnTo>
                <a:lnTo>
                  <a:pt x="460" y="699"/>
                </a:lnTo>
                <a:lnTo>
                  <a:pt x="461" y="708"/>
                </a:lnTo>
                <a:lnTo>
                  <a:pt x="461" y="711"/>
                </a:lnTo>
                <a:lnTo>
                  <a:pt x="460" y="713"/>
                </a:lnTo>
                <a:lnTo>
                  <a:pt x="459" y="714"/>
                </a:lnTo>
                <a:lnTo>
                  <a:pt x="456" y="714"/>
                </a:lnTo>
                <a:lnTo>
                  <a:pt x="452" y="714"/>
                </a:lnTo>
                <a:lnTo>
                  <a:pt x="447" y="712"/>
                </a:lnTo>
                <a:lnTo>
                  <a:pt x="434" y="703"/>
                </a:lnTo>
                <a:lnTo>
                  <a:pt x="415" y="689"/>
                </a:lnTo>
                <a:lnTo>
                  <a:pt x="415" y="689"/>
                </a:lnTo>
                <a:lnTo>
                  <a:pt x="380" y="696"/>
                </a:lnTo>
                <a:lnTo>
                  <a:pt x="348" y="700"/>
                </a:lnTo>
                <a:lnTo>
                  <a:pt x="321" y="703"/>
                </a:lnTo>
                <a:lnTo>
                  <a:pt x="297" y="703"/>
                </a:lnTo>
                <a:lnTo>
                  <a:pt x="275" y="703"/>
                </a:lnTo>
                <a:lnTo>
                  <a:pt x="254" y="702"/>
                </a:lnTo>
                <a:lnTo>
                  <a:pt x="232" y="700"/>
                </a:lnTo>
                <a:lnTo>
                  <a:pt x="209" y="700"/>
                </a:lnTo>
                <a:lnTo>
                  <a:pt x="209" y="700"/>
                </a:lnTo>
                <a:lnTo>
                  <a:pt x="193" y="700"/>
                </a:lnTo>
                <a:lnTo>
                  <a:pt x="179" y="702"/>
                </a:lnTo>
                <a:lnTo>
                  <a:pt x="168" y="704"/>
                </a:lnTo>
                <a:lnTo>
                  <a:pt x="156" y="707"/>
                </a:lnTo>
                <a:lnTo>
                  <a:pt x="148" y="711"/>
                </a:lnTo>
                <a:lnTo>
                  <a:pt x="140" y="717"/>
                </a:lnTo>
                <a:lnTo>
                  <a:pt x="134" y="722"/>
                </a:lnTo>
                <a:lnTo>
                  <a:pt x="130" y="729"/>
                </a:lnTo>
                <a:lnTo>
                  <a:pt x="128" y="736"/>
                </a:lnTo>
                <a:lnTo>
                  <a:pt x="126" y="745"/>
                </a:lnTo>
                <a:lnTo>
                  <a:pt x="126" y="754"/>
                </a:lnTo>
                <a:lnTo>
                  <a:pt x="129" y="765"/>
                </a:lnTo>
                <a:lnTo>
                  <a:pt x="132" y="776"/>
                </a:lnTo>
                <a:lnTo>
                  <a:pt x="137" y="789"/>
                </a:lnTo>
                <a:lnTo>
                  <a:pt x="143" y="803"/>
                </a:lnTo>
                <a:lnTo>
                  <a:pt x="151" y="818"/>
                </a:lnTo>
                <a:lnTo>
                  <a:pt x="151" y="818"/>
                </a:lnTo>
                <a:lnTo>
                  <a:pt x="153" y="824"/>
                </a:lnTo>
                <a:lnTo>
                  <a:pt x="153" y="829"/>
                </a:lnTo>
                <a:lnTo>
                  <a:pt x="153" y="836"/>
                </a:lnTo>
                <a:lnTo>
                  <a:pt x="151" y="843"/>
                </a:lnTo>
                <a:lnTo>
                  <a:pt x="147" y="859"/>
                </a:lnTo>
                <a:lnTo>
                  <a:pt x="144" y="875"/>
                </a:lnTo>
                <a:lnTo>
                  <a:pt x="143" y="883"/>
                </a:lnTo>
                <a:lnTo>
                  <a:pt x="143" y="893"/>
                </a:lnTo>
                <a:lnTo>
                  <a:pt x="144" y="901"/>
                </a:lnTo>
                <a:lnTo>
                  <a:pt x="146" y="909"/>
                </a:lnTo>
                <a:lnTo>
                  <a:pt x="152" y="916"/>
                </a:lnTo>
                <a:lnTo>
                  <a:pt x="159" y="924"/>
                </a:lnTo>
                <a:lnTo>
                  <a:pt x="168" y="929"/>
                </a:lnTo>
                <a:lnTo>
                  <a:pt x="180" y="935"/>
                </a:lnTo>
                <a:lnTo>
                  <a:pt x="180" y="935"/>
                </a:lnTo>
                <a:lnTo>
                  <a:pt x="184" y="933"/>
                </a:lnTo>
                <a:lnTo>
                  <a:pt x="189" y="934"/>
                </a:lnTo>
                <a:lnTo>
                  <a:pt x="192" y="935"/>
                </a:lnTo>
                <a:lnTo>
                  <a:pt x="194" y="940"/>
                </a:lnTo>
                <a:lnTo>
                  <a:pt x="199" y="951"/>
                </a:lnTo>
                <a:lnTo>
                  <a:pt x="202" y="964"/>
                </a:lnTo>
                <a:lnTo>
                  <a:pt x="207" y="978"/>
                </a:lnTo>
                <a:lnTo>
                  <a:pt x="209" y="983"/>
                </a:lnTo>
                <a:lnTo>
                  <a:pt x="212" y="989"/>
                </a:lnTo>
                <a:lnTo>
                  <a:pt x="215" y="993"/>
                </a:lnTo>
                <a:lnTo>
                  <a:pt x="218" y="994"/>
                </a:lnTo>
                <a:lnTo>
                  <a:pt x="223" y="994"/>
                </a:lnTo>
                <a:lnTo>
                  <a:pt x="228" y="990"/>
                </a:lnTo>
                <a:lnTo>
                  <a:pt x="228" y="990"/>
                </a:lnTo>
                <a:lnTo>
                  <a:pt x="239" y="1007"/>
                </a:lnTo>
                <a:lnTo>
                  <a:pt x="248" y="1020"/>
                </a:lnTo>
                <a:lnTo>
                  <a:pt x="255" y="1033"/>
                </a:lnTo>
                <a:lnTo>
                  <a:pt x="256" y="1039"/>
                </a:lnTo>
                <a:lnTo>
                  <a:pt x="258" y="1046"/>
                </a:lnTo>
                <a:lnTo>
                  <a:pt x="258" y="1051"/>
                </a:lnTo>
                <a:lnTo>
                  <a:pt x="256" y="1058"/>
                </a:lnTo>
                <a:lnTo>
                  <a:pt x="254" y="1065"/>
                </a:lnTo>
                <a:lnTo>
                  <a:pt x="251" y="1072"/>
                </a:lnTo>
                <a:lnTo>
                  <a:pt x="246" y="1080"/>
                </a:lnTo>
                <a:lnTo>
                  <a:pt x="240" y="1089"/>
                </a:lnTo>
                <a:lnTo>
                  <a:pt x="224" y="1108"/>
                </a:lnTo>
                <a:lnTo>
                  <a:pt x="224" y="1108"/>
                </a:lnTo>
                <a:lnTo>
                  <a:pt x="230" y="1123"/>
                </a:lnTo>
                <a:lnTo>
                  <a:pt x="243" y="1157"/>
                </a:lnTo>
                <a:lnTo>
                  <a:pt x="250" y="1177"/>
                </a:lnTo>
                <a:lnTo>
                  <a:pt x="253" y="1196"/>
                </a:lnTo>
                <a:lnTo>
                  <a:pt x="255" y="1206"/>
                </a:lnTo>
                <a:lnTo>
                  <a:pt x="255" y="1212"/>
                </a:lnTo>
                <a:lnTo>
                  <a:pt x="255" y="1219"/>
                </a:lnTo>
                <a:lnTo>
                  <a:pt x="253" y="1225"/>
                </a:lnTo>
                <a:lnTo>
                  <a:pt x="253" y="1225"/>
                </a:lnTo>
                <a:lnTo>
                  <a:pt x="238" y="1252"/>
                </a:lnTo>
                <a:lnTo>
                  <a:pt x="225" y="1269"/>
                </a:lnTo>
                <a:lnTo>
                  <a:pt x="221" y="1275"/>
                </a:lnTo>
                <a:lnTo>
                  <a:pt x="217" y="1279"/>
                </a:lnTo>
                <a:lnTo>
                  <a:pt x="214" y="1282"/>
                </a:lnTo>
                <a:lnTo>
                  <a:pt x="210" y="1282"/>
                </a:lnTo>
                <a:lnTo>
                  <a:pt x="208" y="1282"/>
                </a:lnTo>
                <a:lnTo>
                  <a:pt x="206" y="1280"/>
                </a:lnTo>
                <a:lnTo>
                  <a:pt x="202" y="1275"/>
                </a:lnTo>
                <a:lnTo>
                  <a:pt x="194" y="1259"/>
                </a:lnTo>
                <a:lnTo>
                  <a:pt x="194" y="1259"/>
                </a:lnTo>
                <a:lnTo>
                  <a:pt x="205" y="1235"/>
                </a:lnTo>
                <a:lnTo>
                  <a:pt x="212" y="1215"/>
                </a:lnTo>
                <a:lnTo>
                  <a:pt x="217" y="1196"/>
                </a:lnTo>
                <a:lnTo>
                  <a:pt x="220" y="1181"/>
                </a:lnTo>
                <a:lnTo>
                  <a:pt x="221" y="1168"/>
                </a:lnTo>
                <a:lnTo>
                  <a:pt x="221" y="1157"/>
                </a:lnTo>
                <a:lnTo>
                  <a:pt x="220" y="1149"/>
                </a:lnTo>
                <a:lnTo>
                  <a:pt x="217" y="1147"/>
                </a:lnTo>
                <a:lnTo>
                  <a:pt x="216" y="1146"/>
                </a:lnTo>
                <a:lnTo>
                  <a:pt x="214" y="1145"/>
                </a:lnTo>
                <a:lnTo>
                  <a:pt x="212" y="1143"/>
                </a:lnTo>
                <a:lnTo>
                  <a:pt x="209" y="1145"/>
                </a:lnTo>
                <a:lnTo>
                  <a:pt x="206" y="1146"/>
                </a:lnTo>
                <a:lnTo>
                  <a:pt x="200" y="1151"/>
                </a:lnTo>
                <a:lnTo>
                  <a:pt x="194" y="1160"/>
                </a:lnTo>
                <a:lnTo>
                  <a:pt x="186" y="1172"/>
                </a:lnTo>
                <a:lnTo>
                  <a:pt x="179" y="1188"/>
                </a:lnTo>
                <a:lnTo>
                  <a:pt x="172" y="1209"/>
                </a:lnTo>
                <a:lnTo>
                  <a:pt x="166" y="1233"/>
                </a:lnTo>
                <a:lnTo>
                  <a:pt x="166" y="1233"/>
                </a:lnTo>
                <a:lnTo>
                  <a:pt x="167" y="1222"/>
                </a:lnTo>
                <a:lnTo>
                  <a:pt x="169" y="1203"/>
                </a:lnTo>
                <a:lnTo>
                  <a:pt x="178" y="1160"/>
                </a:lnTo>
                <a:lnTo>
                  <a:pt x="184" y="1137"/>
                </a:lnTo>
                <a:lnTo>
                  <a:pt x="191" y="1115"/>
                </a:lnTo>
                <a:lnTo>
                  <a:pt x="197" y="1097"/>
                </a:lnTo>
                <a:lnTo>
                  <a:pt x="202" y="1086"/>
                </a:lnTo>
                <a:lnTo>
                  <a:pt x="202" y="1086"/>
                </a:lnTo>
                <a:lnTo>
                  <a:pt x="215" y="1064"/>
                </a:lnTo>
                <a:lnTo>
                  <a:pt x="223" y="1047"/>
                </a:lnTo>
                <a:lnTo>
                  <a:pt x="228" y="1033"/>
                </a:lnTo>
                <a:lnTo>
                  <a:pt x="230" y="1024"/>
                </a:lnTo>
                <a:lnTo>
                  <a:pt x="230" y="1020"/>
                </a:lnTo>
                <a:lnTo>
                  <a:pt x="229" y="1018"/>
                </a:lnTo>
                <a:lnTo>
                  <a:pt x="228" y="1016"/>
                </a:lnTo>
                <a:lnTo>
                  <a:pt x="225" y="1015"/>
                </a:lnTo>
                <a:lnTo>
                  <a:pt x="221" y="1013"/>
                </a:lnTo>
                <a:lnTo>
                  <a:pt x="214" y="1013"/>
                </a:lnTo>
                <a:lnTo>
                  <a:pt x="197" y="1016"/>
                </a:lnTo>
                <a:lnTo>
                  <a:pt x="189" y="1016"/>
                </a:lnTo>
                <a:lnTo>
                  <a:pt x="179" y="1017"/>
                </a:lnTo>
                <a:lnTo>
                  <a:pt x="170" y="1016"/>
                </a:lnTo>
                <a:lnTo>
                  <a:pt x="162" y="1012"/>
                </a:lnTo>
                <a:lnTo>
                  <a:pt x="159" y="1010"/>
                </a:lnTo>
                <a:lnTo>
                  <a:pt x="155" y="1007"/>
                </a:lnTo>
                <a:lnTo>
                  <a:pt x="153" y="1003"/>
                </a:lnTo>
                <a:lnTo>
                  <a:pt x="151" y="997"/>
                </a:lnTo>
                <a:lnTo>
                  <a:pt x="151" y="997"/>
                </a:lnTo>
                <a:lnTo>
                  <a:pt x="141" y="979"/>
                </a:lnTo>
                <a:lnTo>
                  <a:pt x="132" y="963"/>
                </a:lnTo>
                <a:lnTo>
                  <a:pt x="122" y="950"/>
                </a:lnTo>
                <a:lnTo>
                  <a:pt x="111" y="940"/>
                </a:lnTo>
                <a:lnTo>
                  <a:pt x="87" y="918"/>
                </a:lnTo>
                <a:lnTo>
                  <a:pt x="72" y="905"/>
                </a:lnTo>
                <a:lnTo>
                  <a:pt x="55" y="888"/>
                </a:lnTo>
                <a:lnTo>
                  <a:pt x="55" y="888"/>
                </a:lnTo>
                <a:lnTo>
                  <a:pt x="54" y="890"/>
                </a:lnTo>
                <a:lnTo>
                  <a:pt x="50" y="893"/>
                </a:lnTo>
                <a:lnTo>
                  <a:pt x="45" y="895"/>
                </a:lnTo>
                <a:lnTo>
                  <a:pt x="37" y="895"/>
                </a:lnTo>
                <a:lnTo>
                  <a:pt x="37" y="895"/>
                </a:lnTo>
                <a:lnTo>
                  <a:pt x="33" y="902"/>
                </a:lnTo>
                <a:lnTo>
                  <a:pt x="32" y="908"/>
                </a:lnTo>
                <a:lnTo>
                  <a:pt x="33" y="921"/>
                </a:lnTo>
                <a:lnTo>
                  <a:pt x="33" y="921"/>
                </a:lnTo>
                <a:lnTo>
                  <a:pt x="33" y="928"/>
                </a:lnTo>
                <a:lnTo>
                  <a:pt x="36" y="934"/>
                </a:lnTo>
                <a:lnTo>
                  <a:pt x="39" y="939"/>
                </a:lnTo>
                <a:lnTo>
                  <a:pt x="44" y="942"/>
                </a:lnTo>
                <a:lnTo>
                  <a:pt x="48" y="946"/>
                </a:lnTo>
                <a:lnTo>
                  <a:pt x="54" y="948"/>
                </a:lnTo>
                <a:lnTo>
                  <a:pt x="67" y="952"/>
                </a:lnTo>
                <a:lnTo>
                  <a:pt x="79" y="957"/>
                </a:lnTo>
                <a:lnTo>
                  <a:pt x="85" y="960"/>
                </a:lnTo>
                <a:lnTo>
                  <a:pt x="91" y="964"/>
                </a:lnTo>
                <a:lnTo>
                  <a:pt x="95" y="967"/>
                </a:lnTo>
                <a:lnTo>
                  <a:pt x="99" y="973"/>
                </a:lnTo>
                <a:lnTo>
                  <a:pt x="101" y="979"/>
                </a:lnTo>
                <a:lnTo>
                  <a:pt x="103" y="987"/>
                </a:lnTo>
                <a:lnTo>
                  <a:pt x="103" y="987"/>
                </a:lnTo>
                <a:lnTo>
                  <a:pt x="103" y="998"/>
                </a:lnTo>
                <a:lnTo>
                  <a:pt x="103" y="1008"/>
                </a:lnTo>
                <a:lnTo>
                  <a:pt x="101" y="1015"/>
                </a:lnTo>
                <a:lnTo>
                  <a:pt x="98" y="1021"/>
                </a:lnTo>
                <a:lnTo>
                  <a:pt x="94" y="1026"/>
                </a:lnTo>
                <a:lnTo>
                  <a:pt x="90" y="1030"/>
                </a:lnTo>
                <a:lnTo>
                  <a:pt x="85" y="1032"/>
                </a:lnTo>
                <a:lnTo>
                  <a:pt x="80" y="1034"/>
                </a:lnTo>
                <a:lnTo>
                  <a:pt x="70" y="1039"/>
                </a:lnTo>
                <a:lnTo>
                  <a:pt x="61" y="1042"/>
                </a:lnTo>
                <a:lnTo>
                  <a:pt x="57" y="1046"/>
                </a:lnTo>
                <a:lnTo>
                  <a:pt x="54" y="1049"/>
                </a:lnTo>
                <a:lnTo>
                  <a:pt x="53" y="1054"/>
                </a:lnTo>
                <a:lnTo>
                  <a:pt x="52" y="1061"/>
                </a:lnTo>
                <a:lnTo>
                  <a:pt x="52" y="1061"/>
                </a:lnTo>
                <a:lnTo>
                  <a:pt x="53" y="1066"/>
                </a:lnTo>
                <a:lnTo>
                  <a:pt x="54" y="1072"/>
                </a:lnTo>
                <a:lnTo>
                  <a:pt x="56" y="1078"/>
                </a:lnTo>
                <a:lnTo>
                  <a:pt x="60" y="1082"/>
                </a:lnTo>
                <a:lnTo>
                  <a:pt x="68" y="1094"/>
                </a:lnTo>
                <a:lnTo>
                  <a:pt x="77" y="1105"/>
                </a:lnTo>
                <a:lnTo>
                  <a:pt x="87" y="1118"/>
                </a:lnTo>
                <a:lnTo>
                  <a:pt x="91" y="1126"/>
                </a:lnTo>
                <a:lnTo>
                  <a:pt x="95" y="1133"/>
                </a:lnTo>
                <a:lnTo>
                  <a:pt x="98" y="1141"/>
                </a:lnTo>
                <a:lnTo>
                  <a:pt x="101" y="1150"/>
                </a:lnTo>
                <a:lnTo>
                  <a:pt x="102" y="1161"/>
                </a:lnTo>
                <a:lnTo>
                  <a:pt x="103" y="1171"/>
                </a:lnTo>
                <a:lnTo>
                  <a:pt x="103" y="1171"/>
                </a:lnTo>
                <a:lnTo>
                  <a:pt x="102" y="1187"/>
                </a:lnTo>
                <a:lnTo>
                  <a:pt x="99" y="1201"/>
                </a:lnTo>
                <a:lnTo>
                  <a:pt x="93" y="1211"/>
                </a:lnTo>
                <a:lnTo>
                  <a:pt x="87" y="1221"/>
                </a:lnTo>
                <a:lnTo>
                  <a:pt x="79" y="1229"/>
                </a:lnTo>
                <a:lnTo>
                  <a:pt x="70" y="1234"/>
                </a:lnTo>
                <a:lnTo>
                  <a:pt x="52" y="1246"/>
                </a:lnTo>
                <a:lnTo>
                  <a:pt x="32" y="1256"/>
                </a:lnTo>
                <a:lnTo>
                  <a:pt x="24" y="1262"/>
                </a:lnTo>
                <a:lnTo>
                  <a:pt x="16" y="1269"/>
                </a:lnTo>
                <a:lnTo>
                  <a:pt x="9" y="1278"/>
                </a:lnTo>
                <a:lnTo>
                  <a:pt x="4" y="1288"/>
                </a:lnTo>
                <a:lnTo>
                  <a:pt x="1" y="1302"/>
                </a:lnTo>
                <a:lnTo>
                  <a:pt x="0" y="1317"/>
                </a:lnTo>
                <a:lnTo>
                  <a:pt x="0" y="1317"/>
                </a:lnTo>
                <a:lnTo>
                  <a:pt x="1" y="1325"/>
                </a:lnTo>
                <a:lnTo>
                  <a:pt x="3" y="1332"/>
                </a:lnTo>
                <a:lnTo>
                  <a:pt x="7" y="1340"/>
                </a:lnTo>
                <a:lnTo>
                  <a:pt x="11" y="1348"/>
                </a:lnTo>
                <a:lnTo>
                  <a:pt x="17" y="1356"/>
                </a:lnTo>
                <a:lnTo>
                  <a:pt x="23" y="1366"/>
                </a:lnTo>
                <a:lnTo>
                  <a:pt x="38" y="1380"/>
                </a:lnTo>
                <a:lnTo>
                  <a:pt x="54" y="1394"/>
                </a:lnTo>
                <a:lnTo>
                  <a:pt x="63" y="1401"/>
                </a:lnTo>
                <a:lnTo>
                  <a:pt x="71" y="1406"/>
                </a:lnTo>
                <a:lnTo>
                  <a:pt x="80" y="1410"/>
                </a:lnTo>
                <a:lnTo>
                  <a:pt x="88" y="1414"/>
                </a:lnTo>
                <a:lnTo>
                  <a:pt x="95" y="1416"/>
                </a:lnTo>
                <a:lnTo>
                  <a:pt x="103" y="1416"/>
                </a:lnTo>
                <a:lnTo>
                  <a:pt x="103" y="1416"/>
                </a:lnTo>
                <a:lnTo>
                  <a:pt x="110" y="1416"/>
                </a:lnTo>
                <a:lnTo>
                  <a:pt x="115" y="1415"/>
                </a:lnTo>
                <a:lnTo>
                  <a:pt x="122" y="1414"/>
                </a:lnTo>
                <a:lnTo>
                  <a:pt x="126" y="1412"/>
                </a:lnTo>
                <a:lnTo>
                  <a:pt x="132" y="1413"/>
                </a:lnTo>
                <a:lnTo>
                  <a:pt x="132" y="1413"/>
                </a:lnTo>
                <a:lnTo>
                  <a:pt x="139" y="1421"/>
                </a:lnTo>
                <a:lnTo>
                  <a:pt x="146" y="1428"/>
                </a:lnTo>
                <a:lnTo>
                  <a:pt x="162" y="1441"/>
                </a:lnTo>
                <a:lnTo>
                  <a:pt x="169" y="1450"/>
                </a:lnTo>
                <a:lnTo>
                  <a:pt x="175" y="1460"/>
                </a:lnTo>
                <a:lnTo>
                  <a:pt x="177" y="1466"/>
                </a:lnTo>
                <a:lnTo>
                  <a:pt x="178" y="1471"/>
                </a:lnTo>
                <a:lnTo>
                  <a:pt x="179" y="1478"/>
                </a:lnTo>
                <a:lnTo>
                  <a:pt x="180" y="1486"/>
                </a:lnTo>
                <a:lnTo>
                  <a:pt x="180" y="1486"/>
                </a:lnTo>
                <a:lnTo>
                  <a:pt x="179" y="1501"/>
                </a:lnTo>
                <a:lnTo>
                  <a:pt x="179" y="1507"/>
                </a:lnTo>
                <a:lnTo>
                  <a:pt x="178" y="1513"/>
                </a:lnTo>
                <a:lnTo>
                  <a:pt x="176" y="1517"/>
                </a:lnTo>
                <a:lnTo>
                  <a:pt x="172" y="1522"/>
                </a:lnTo>
                <a:lnTo>
                  <a:pt x="168" y="1527"/>
                </a:lnTo>
                <a:lnTo>
                  <a:pt x="162" y="1530"/>
                </a:lnTo>
                <a:lnTo>
                  <a:pt x="162" y="1530"/>
                </a:lnTo>
                <a:lnTo>
                  <a:pt x="166" y="1548"/>
                </a:lnTo>
                <a:lnTo>
                  <a:pt x="169" y="1560"/>
                </a:lnTo>
                <a:lnTo>
                  <a:pt x="169" y="1560"/>
                </a:lnTo>
                <a:lnTo>
                  <a:pt x="169" y="156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1" name="Freeform 16"/>
          <p:cNvSpPr>
            <a:spLocks/>
          </p:cNvSpPr>
          <p:nvPr/>
        </p:nvSpPr>
        <p:spPr bwMode="auto">
          <a:xfrm>
            <a:off x="7013575" y="3260725"/>
            <a:ext cx="1211263" cy="2182813"/>
          </a:xfrm>
          <a:custGeom>
            <a:avLst/>
            <a:gdLst/>
            <a:ahLst/>
            <a:cxnLst>
              <a:cxn ang="0">
                <a:pos x="660" y="2184"/>
              </a:cxn>
              <a:cxn ang="0">
                <a:pos x="576" y="2143"/>
              </a:cxn>
              <a:cxn ang="0">
                <a:pos x="542" y="2047"/>
              </a:cxn>
              <a:cxn ang="0">
                <a:pos x="539" y="1966"/>
              </a:cxn>
              <a:cxn ang="0">
                <a:pos x="596" y="1848"/>
              </a:cxn>
              <a:cxn ang="0">
                <a:pos x="587" y="1784"/>
              </a:cxn>
              <a:cxn ang="0">
                <a:pos x="663" y="1736"/>
              </a:cxn>
              <a:cxn ang="0">
                <a:pos x="633" y="1585"/>
              </a:cxn>
              <a:cxn ang="0">
                <a:pos x="558" y="1624"/>
              </a:cxn>
              <a:cxn ang="0">
                <a:pos x="483" y="1723"/>
              </a:cxn>
              <a:cxn ang="0">
                <a:pos x="412" y="1765"/>
              </a:cxn>
              <a:cxn ang="0">
                <a:pos x="324" y="1731"/>
              </a:cxn>
              <a:cxn ang="0">
                <a:pos x="266" y="1703"/>
              </a:cxn>
              <a:cxn ang="0">
                <a:pos x="275" y="1612"/>
              </a:cxn>
              <a:cxn ang="0">
                <a:pos x="319" y="1459"/>
              </a:cxn>
              <a:cxn ang="0">
                <a:pos x="213" y="1459"/>
              </a:cxn>
              <a:cxn ang="0">
                <a:pos x="138" y="1322"/>
              </a:cxn>
              <a:cxn ang="0">
                <a:pos x="71" y="1253"/>
              </a:cxn>
              <a:cxn ang="0">
                <a:pos x="22" y="1139"/>
              </a:cxn>
              <a:cxn ang="0">
                <a:pos x="22" y="973"/>
              </a:cxn>
              <a:cxn ang="0">
                <a:pos x="134" y="853"/>
              </a:cxn>
              <a:cxn ang="0">
                <a:pos x="195" y="789"/>
              </a:cxn>
              <a:cxn ang="0">
                <a:pos x="243" y="683"/>
              </a:cxn>
              <a:cxn ang="0">
                <a:pos x="206" y="568"/>
              </a:cxn>
              <a:cxn ang="0">
                <a:pos x="155" y="431"/>
              </a:cxn>
              <a:cxn ang="0">
                <a:pos x="129" y="227"/>
              </a:cxn>
              <a:cxn ang="0">
                <a:pos x="249" y="200"/>
              </a:cxn>
              <a:cxn ang="0">
                <a:pos x="347" y="123"/>
              </a:cxn>
              <a:cxn ang="0">
                <a:pos x="413" y="101"/>
              </a:cxn>
              <a:cxn ang="0">
                <a:pos x="480" y="0"/>
              </a:cxn>
              <a:cxn ang="0">
                <a:pos x="606" y="114"/>
              </a:cxn>
              <a:cxn ang="0">
                <a:pos x="619" y="198"/>
              </a:cxn>
              <a:cxn ang="0">
                <a:pos x="709" y="179"/>
              </a:cxn>
              <a:cxn ang="0">
                <a:pos x="786" y="227"/>
              </a:cxn>
              <a:cxn ang="0">
                <a:pos x="705" y="318"/>
              </a:cxn>
              <a:cxn ang="0">
                <a:pos x="581" y="443"/>
              </a:cxn>
              <a:cxn ang="0">
                <a:pos x="575" y="786"/>
              </a:cxn>
              <a:cxn ang="0">
                <a:pos x="569" y="1109"/>
              </a:cxn>
              <a:cxn ang="0">
                <a:pos x="533" y="1387"/>
              </a:cxn>
              <a:cxn ang="0">
                <a:pos x="669" y="1329"/>
              </a:cxn>
              <a:cxn ang="0">
                <a:pos x="729" y="1428"/>
              </a:cxn>
              <a:cxn ang="0">
                <a:pos x="736" y="1338"/>
              </a:cxn>
              <a:cxn ang="0">
                <a:pos x="824" y="1393"/>
              </a:cxn>
              <a:cxn ang="0">
                <a:pos x="819" y="1249"/>
              </a:cxn>
              <a:cxn ang="0">
                <a:pos x="1010" y="1223"/>
              </a:cxn>
              <a:cxn ang="0">
                <a:pos x="1076" y="1273"/>
              </a:cxn>
              <a:cxn ang="0">
                <a:pos x="1182" y="1348"/>
              </a:cxn>
              <a:cxn ang="0">
                <a:pos x="1394" y="1710"/>
              </a:cxn>
              <a:cxn ang="0">
                <a:pos x="1476" y="1954"/>
              </a:cxn>
              <a:cxn ang="0">
                <a:pos x="1438" y="2065"/>
              </a:cxn>
              <a:cxn ang="0">
                <a:pos x="1293" y="2067"/>
              </a:cxn>
              <a:cxn ang="0">
                <a:pos x="1402" y="2097"/>
              </a:cxn>
              <a:cxn ang="0">
                <a:pos x="1355" y="2214"/>
              </a:cxn>
              <a:cxn ang="0">
                <a:pos x="1321" y="2315"/>
              </a:cxn>
              <a:cxn ang="0">
                <a:pos x="1176" y="2384"/>
              </a:cxn>
              <a:cxn ang="0">
                <a:pos x="1163" y="2456"/>
              </a:cxn>
              <a:cxn ang="0">
                <a:pos x="1127" y="2272"/>
              </a:cxn>
              <a:cxn ang="0">
                <a:pos x="1047" y="2203"/>
              </a:cxn>
              <a:cxn ang="0">
                <a:pos x="895" y="2453"/>
              </a:cxn>
              <a:cxn ang="0">
                <a:pos x="767" y="2479"/>
              </a:cxn>
              <a:cxn ang="0">
                <a:pos x="711" y="2347"/>
              </a:cxn>
              <a:cxn ang="0">
                <a:pos x="734" y="2270"/>
              </a:cxn>
            </a:cxnLst>
            <a:rect l="0" t="0" r="r" b="b"/>
            <a:pathLst>
              <a:path w="1482" h="2504">
                <a:moveTo>
                  <a:pt x="734" y="2270"/>
                </a:moveTo>
                <a:lnTo>
                  <a:pt x="734" y="2270"/>
                </a:lnTo>
                <a:lnTo>
                  <a:pt x="737" y="2270"/>
                </a:lnTo>
                <a:lnTo>
                  <a:pt x="737" y="2270"/>
                </a:lnTo>
                <a:lnTo>
                  <a:pt x="737" y="2270"/>
                </a:lnTo>
                <a:lnTo>
                  <a:pt x="728" y="2269"/>
                </a:lnTo>
                <a:lnTo>
                  <a:pt x="719" y="2265"/>
                </a:lnTo>
                <a:lnTo>
                  <a:pt x="711" y="2260"/>
                </a:lnTo>
                <a:lnTo>
                  <a:pt x="704" y="2254"/>
                </a:lnTo>
                <a:lnTo>
                  <a:pt x="697" y="2246"/>
                </a:lnTo>
                <a:lnTo>
                  <a:pt x="691" y="2238"/>
                </a:lnTo>
                <a:lnTo>
                  <a:pt x="681" y="2218"/>
                </a:lnTo>
                <a:lnTo>
                  <a:pt x="672" y="2200"/>
                </a:lnTo>
                <a:lnTo>
                  <a:pt x="666" y="2191"/>
                </a:lnTo>
                <a:lnTo>
                  <a:pt x="660" y="2184"/>
                </a:lnTo>
                <a:lnTo>
                  <a:pt x="653" y="2177"/>
                </a:lnTo>
                <a:lnTo>
                  <a:pt x="646" y="2172"/>
                </a:lnTo>
                <a:lnTo>
                  <a:pt x="637" y="2169"/>
                </a:lnTo>
                <a:lnTo>
                  <a:pt x="628" y="2168"/>
                </a:lnTo>
                <a:lnTo>
                  <a:pt x="628" y="2168"/>
                </a:lnTo>
                <a:lnTo>
                  <a:pt x="606" y="2168"/>
                </a:lnTo>
                <a:lnTo>
                  <a:pt x="606" y="2168"/>
                </a:lnTo>
                <a:lnTo>
                  <a:pt x="600" y="2166"/>
                </a:lnTo>
                <a:lnTo>
                  <a:pt x="597" y="2165"/>
                </a:lnTo>
                <a:lnTo>
                  <a:pt x="594" y="2162"/>
                </a:lnTo>
                <a:lnTo>
                  <a:pt x="590" y="2158"/>
                </a:lnTo>
                <a:lnTo>
                  <a:pt x="587" y="2150"/>
                </a:lnTo>
                <a:lnTo>
                  <a:pt x="584" y="2141"/>
                </a:lnTo>
                <a:lnTo>
                  <a:pt x="584" y="2141"/>
                </a:lnTo>
                <a:lnTo>
                  <a:pt x="576" y="2143"/>
                </a:lnTo>
                <a:lnTo>
                  <a:pt x="571" y="2143"/>
                </a:lnTo>
                <a:lnTo>
                  <a:pt x="565" y="2143"/>
                </a:lnTo>
                <a:lnTo>
                  <a:pt x="559" y="2141"/>
                </a:lnTo>
                <a:lnTo>
                  <a:pt x="554" y="2139"/>
                </a:lnTo>
                <a:lnTo>
                  <a:pt x="551" y="2136"/>
                </a:lnTo>
                <a:lnTo>
                  <a:pt x="547" y="2132"/>
                </a:lnTo>
                <a:lnTo>
                  <a:pt x="545" y="2127"/>
                </a:lnTo>
                <a:lnTo>
                  <a:pt x="541" y="2117"/>
                </a:lnTo>
                <a:lnTo>
                  <a:pt x="538" y="2104"/>
                </a:lnTo>
                <a:lnTo>
                  <a:pt x="537" y="2090"/>
                </a:lnTo>
                <a:lnTo>
                  <a:pt x="536" y="2075"/>
                </a:lnTo>
                <a:lnTo>
                  <a:pt x="536" y="2075"/>
                </a:lnTo>
                <a:lnTo>
                  <a:pt x="537" y="2065"/>
                </a:lnTo>
                <a:lnTo>
                  <a:pt x="538" y="2056"/>
                </a:lnTo>
                <a:lnTo>
                  <a:pt x="542" y="2047"/>
                </a:lnTo>
                <a:lnTo>
                  <a:pt x="544" y="2040"/>
                </a:lnTo>
                <a:lnTo>
                  <a:pt x="552" y="2026"/>
                </a:lnTo>
                <a:lnTo>
                  <a:pt x="558" y="2012"/>
                </a:lnTo>
                <a:lnTo>
                  <a:pt x="558" y="2012"/>
                </a:lnTo>
                <a:lnTo>
                  <a:pt x="550" y="2009"/>
                </a:lnTo>
                <a:lnTo>
                  <a:pt x="545" y="2006"/>
                </a:lnTo>
                <a:lnTo>
                  <a:pt x="541" y="2003"/>
                </a:lnTo>
                <a:lnTo>
                  <a:pt x="537" y="2000"/>
                </a:lnTo>
                <a:lnTo>
                  <a:pt x="535" y="1995"/>
                </a:lnTo>
                <a:lnTo>
                  <a:pt x="533" y="1989"/>
                </a:lnTo>
                <a:lnTo>
                  <a:pt x="533" y="1983"/>
                </a:lnTo>
                <a:lnTo>
                  <a:pt x="533" y="1983"/>
                </a:lnTo>
                <a:lnTo>
                  <a:pt x="533" y="1979"/>
                </a:lnTo>
                <a:lnTo>
                  <a:pt x="534" y="1975"/>
                </a:lnTo>
                <a:lnTo>
                  <a:pt x="539" y="1966"/>
                </a:lnTo>
                <a:lnTo>
                  <a:pt x="547" y="1957"/>
                </a:lnTo>
                <a:lnTo>
                  <a:pt x="557" y="1947"/>
                </a:lnTo>
                <a:lnTo>
                  <a:pt x="566" y="1936"/>
                </a:lnTo>
                <a:lnTo>
                  <a:pt x="574" y="1925"/>
                </a:lnTo>
                <a:lnTo>
                  <a:pt x="577" y="1918"/>
                </a:lnTo>
                <a:lnTo>
                  <a:pt x="581" y="1912"/>
                </a:lnTo>
                <a:lnTo>
                  <a:pt x="583" y="1905"/>
                </a:lnTo>
                <a:lnTo>
                  <a:pt x="584" y="1898"/>
                </a:lnTo>
                <a:lnTo>
                  <a:pt x="584" y="1898"/>
                </a:lnTo>
                <a:lnTo>
                  <a:pt x="584" y="1876"/>
                </a:lnTo>
                <a:lnTo>
                  <a:pt x="584" y="1876"/>
                </a:lnTo>
                <a:lnTo>
                  <a:pt x="584" y="1871"/>
                </a:lnTo>
                <a:lnTo>
                  <a:pt x="585" y="1866"/>
                </a:lnTo>
                <a:lnTo>
                  <a:pt x="590" y="1856"/>
                </a:lnTo>
                <a:lnTo>
                  <a:pt x="596" y="1848"/>
                </a:lnTo>
                <a:lnTo>
                  <a:pt x="602" y="1841"/>
                </a:lnTo>
                <a:lnTo>
                  <a:pt x="608" y="1834"/>
                </a:lnTo>
                <a:lnTo>
                  <a:pt x="614" y="1827"/>
                </a:lnTo>
                <a:lnTo>
                  <a:pt x="619" y="1819"/>
                </a:lnTo>
                <a:lnTo>
                  <a:pt x="620" y="1815"/>
                </a:lnTo>
                <a:lnTo>
                  <a:pt x="620" y="1811"/>
                </a:lnTo>
                <a:lnTo>
                  <a:pt x="620" y="1811"/>
                </a:lnTo>
                <a:lnTo>
                  <a:pt x="620" y="1805"/>
                </a:lnTo>
                <a:lnTo>
                  <a:pt x="619" y="1802"/>
                </a:lnTo>
                <a:lnTo>
                  <a:pt x="617" y="1798"/>
                </a:lnTo>
                <a:lnTo>
                  <a:pt x="613" y="1796"/>
                </a:lnTo>
                <a:lnTo>
                  <a:pt x="606" y="1792"/>
                </a:lnTo>
                <a:lnTo>
                  <a:pt x="598" y="1789"/>
                </a:lnTo>
                <a:lnTo>
                  <a:pt x="590" y="1787"/>
                </a:lnTo>
                <a:lnTo>
                  <a:pt x="587" y="1784"/>
                </a:lnTo>
                <a:lnTo>
                  <a:pt x="583" y="1782"/>
                </a:lnTo>
                <a:lnTo>
                  <a:pt x="580" y="1779"/>
                </a:lnTo>
                <a:lnTo>
                  <a:pt x="579" y="1774"/>
                </a:lnTo>
                <a:lnTo>
                  <a:pt x="576" y="1769"/>
                </a:lnTo>
                <a:lnTo>
                  <a:pt x="576" y="1763"/>
                </a:lnTo>
                <a:lnTo>
                  <a:pt x="576" y="1763"/>
                </a:lnTo>
                <a:lnTo>
                  <a:pt x="577" y="1757"/>
                </a:lnTo>
                <a:lnTo>
                  <a:pt x="581" y="1751"/>
                </a:lnTo>
                <a:lnTo>
                  <a:pt x="585" y="1745"/>
                </a:lnTo>
                <a:lnTo>
                  <a:pt x="591" y="1741"/>
                </a:lnTo>
                <a:lnTo>
                  <a:pt x="591" y="1741"/>
                </a:lnTo>
                <a:lnTo>
                  <a:pt x="650" y="1741"/>
                </a:lnTo>
                <a:lnTo>
                  <a:pt x="650" y="1741"/>
                </a:lnTo>
                <a:lnTo>
                  <a:pt x="650" y="1741"/>
                </a:lnTo>
                <a:lnTo>
                  <a:pt x="663" y="1736"/>
                </a:lnTo>
                <a:lnTo>
                  <a:pt x="678" y="1730"/>
                </a:lnTo>
                <a:lnTo>
                  <a:pt x="683" y="1726"/>
                </a:lnTo>
                <a:lnTo>
                  <a:pt x="689" y="1721"/>
                </a:lnTo>
                <a:lnTo>
                  <a:pt x="692" y="1715"/>
                </a:lnTo>
                <a:lnTo>
                  <a:pt x="694" y="1712"/>
                </a:lnTo>
                <a:lnTo>
                  <a:pt x="694" y="1708"/>
                </a:lnTo>
                <a:lnTo>
                  <a:pt x="694" y="1708"/>
                </a:lnTo>
                <a:lnTo>
                  <a:pt x="694" y="1702"/>
                </a:lnTo>
                <a:lnTo>
                  <a:pt x="691" y="1695"/>
                </a:lnTo>
                <a:lnTo>
                  <a:pt x="684" y="1675"/>
                </a:lnTo>
                <a:lnTo>
                  <a:pt x="675" y="1653"/>
                </a:lnTo>
                <a:lnTo>
                  <a:pt x="664" y="1631"/>
                </a:lnTo>
                <a:lnTo>
                  <a:pt x="651" y="1609"/>
                </a:lnTo>
                <a:lnTo>
                  <a:pt x="638" y="1592"/>
                </a:lnTo>
                <a:lnTo>
                  <a:pt x="633" y="1585"/>
                </a:lnTo>
                <a:lnTo>
                  <a:pt x="627" y="1581"/>
                </a:lnTo>
                <a:lnTo>
                  <a:pt x="621" y="1577"/>
                </a:lnTo>
                <a:lnTo>
                  <a:pt x="617" y="1576"/>
                </a:lnTo>
                <a:lnTo>
                  <a:pt x="617" y="1576"/>
                </a:lnTo>
                <a:lnTo>
                  <a:pt x="612" y="1576"/>
                </a:lnTo>
                <a:lnTo>
                  <a:pt x="608" y="1577"/>
                </a:lnTo>
                <a:lnTo>
                  <a:pt x="600" y="1581"/>
                </a:lnTo>
                <a:lnTo>
                  <a:pt x="595" y="1585"/>
                </a:lnTo>
                <a:lnTo>
                  <a:pt x="589" y="1592"/>
                </a:lnTo>
                <a:lnTo>
                  <a:pt x="580" y="1605"/>
                </a:lnTo>
                <a:lnTo>
                  <a:pt x="574" y="1611"/>
                </a:lnTo>
                <a:lnTo>
                  <a:pt x="569" y="1615"/>
                </a:lnTo>
                <a:lnTo>
                  <a:pt x="569" y="1615"/>
                </a:lnTo>
                <a:lnTo>
                  <a:pt x="564" y="1621"/>
                </a:lnTo>
                <a:lnTo>
                  <a:pt x="558" y="1624"/>
                </a:lnTo>
                <a:lnTo>
                  <a:pt x="546" y="1629"/>
                </a:lnTo>
                <a:lnTo>
                  <a:pt x="541" y="1631"/>
                </a:lnTo>
                <a:lnTo>
                  <a:pt x="535" y="1635"/>
                </a:lnTo>
                <a:lnTo>
                  <a:pt x="529" y="1639"/>
                </a:lnTo>
                <a:lnTo>
                  <a:pt x="526" y="1645"/>
                </a:lnTo>
                <a:lnTo>
                  <a:pt x="526" y="1645"/>
                </a:lnTo>
                <a:lnTo>
                  <a:pt x="520" y="1653"/>
                </a:lnTo>
                <a:lnTo>
                  <a:pt x="516" y="1662"/>
                </a:lnTo>
                <a:lnTo>
                  <a:pt x="512" y="1682"/>
                </a:lnTo>
                <a:lnTo>
                  <a:pt x="508" y="1692"/>
                </a:lnTo>
                <a:lnTo>
                  <a:pt x="505" y="1703"/>
                </a:lnTo>
                <a:lnTo>
                  <a:pt x="499" y="1711"/>
                </a:lnTo>
                <a:lnTo>
                  <a:pt x="492" y="1719"/>
                </a:lnTo>
                <a:lnTo>
                  <a:pt x="492" y="1719"/>
                </a:lnTo>
                <a:lnTo>
                  <a:pt x="483" y="1723"/>
                </a:lnTo>
                <a:lnTo>
                  <a:pt x="474" y="1727"/>
                </a:lnTo>
                <a:lnTo>
                  <a:pt x="463" y="1733"/>
                </a:lnTo>
                <a:lnTo>
                  <a:pt x="459" y="1736"/>
                </a:lnTo>
                <a:lnTo>
                  <a:pt x="455" y="1741"/>
                </a:lnTo>
                <a:lnTo>
                  <a:pt x="455" y="1741"/>
                </a:lnTo>
                <a:lnTo>
                  <a:pt x="451" y="1744"/>
                </a:lnTo>
                <a:lnTo>
                  <a:pt x="449" y="1748"/>
                </a:lnTo>
                <a:lnTo>
                  <a:pt x="443" y="1757"/>
                </a:lnTo>
                <a:lnTo>
                  <a:pt x="440" y="1760"/>
                </a:lnTo>
                <a:lnTo>
                  <a:pt x="436" y="1764"/>
                </a:lnTo>
                <a:lnTo>
                  <a:pt x="431" y="1766"/>
                </a:lnTo>
                <a:lnTo>
                  <a:pt x="426" y="1766"/>
                </a:lnTo>
                <a:lnTo>
                  <a:pt x="426" y="1766"/>
                </a:lnTo>
                <a:lnTo>
                  <a:pt x="417" y="1766"/>
                </a:lnTo>
                <a:lnTo>
                  <a:pt x="412" y="1765"/>
                </a:lnTo>
                <a:lnTo>
                  <a:pt x="406" y="1763"/>
                </a:lnTo>
                <a:lnTo>
                  <a:pt x="400" y="1759"/>
                </a:lnTo>
                <a:lnTo>
                  <a:pt x="392" y="1752"/>
                </a:lnTo>
                <a:lnTo>
                  <a:pt x="385" y="1744"/>
                </a:lnTo>
                <a:lnTo>
                  <a:pt x="378" y="1736"/>
                </a:lnTo>
                <a:lnTo>
                  <a:pt x="370" y="1729"/>
                </a:lnTo>
                <a:lnTo>
                  <a:pt x="366" y="1727"/>
                </a:lnTo>
                <a:lnTo>
                  <a:pt x="360" y="1725"/>
                </a:lnTo>
                <a:lnTo>
                  <a:pt x="353" y="1723"/>
                </a:lnTo>
                <a:lnTo>
                  <a:pt x="345" y="1723"/>
                </a:lnTo>
                <a:lnTo>
                  <a:pt x="345" y="1723"/>
                </a:lnTo>
                <a:lnTo>
                  <a:pt x="339" y="1723"/>
                </a:lnTo>
                <a:lnTo>
                  <a:pt x="333" y="1726"/>
                </a:lnTo>
                <a:lnTo>
                  <a:pt x="329" y="1729"/>
                </a:lnTo>
                <a:lnTo>
                  <a:pt x="324" y="1731"/>
                </a:lnTo>
                <a:lnTo>
                  <a:pt x="320" y="1735"/>
                </a:lnTo>
                <a:lnTo>
                  <a:pt x="315" y="1738"/>
                </a:lnTo>
                <a:lnTo>
                  <a:pt x="308" y="1741"/>
                </a:lnTo>
                <a:lnTo>
                  <a:pt x="301" y="1741"/>
                </a:lnTo>
                <a:lnTo>
                  <a:pt x="301" y="1741"/>
                </a:lnTo>
                <a:lnTo>
                  <a:pt x="294" y="1741"/>
                </a:lnTo>
                <a:lnTo>
                  <a:pt x="287" y="1739"/>
                </a:lnTo>
                <a:lnTo>
                  <a:pt x="281" y="1736"/>
                </a:lnTo>
                <a:lnTo>
                  <a:pt x="276" y="1734"/>
                </a:lnTo>
                <a:lnTo>
                  <a:pt x="271" y="1729"/>
                </a:lnTo>
                <a:lnTo>
                  <a:pt x="267" y="1723"/>
                </a:lnTo>
                <a:lnTo>
                  <a:pt x="264" y="1718"/>
                </a:lnTo>
                <a:lnTo>
                  <a:pt x="264" y="1712"/>
                </a:lnTo>
                <a:lnTo>
                  <a:pt x="264" y="1712"/>
                </a:lnTo>
                <a:lnTo>
                  <a:pt x="266" y="1703"/>
                </a:lnTo>
                <a:lnTo>
                  <a:pt x="268" y="1695"/>
                </a:lnTo>
                <a:lnTo>
                  <a:pt x="272" y="1688"/>
                </a:lnTo>
                <a:lnTo>
                  <a:pt x="277" y="1681"/>
                </a:lnTo>
                <a:lnTo>
                  <a:pt x="282" y="1674"/>
                </a:lnTo>
                <a:lnTo>
                  <a:pt x="286" y="1666"/>
                </a:lnTo>
                <a:lnTo>
                  <a:pt x="289" y="1658"/>
                </a:lnTo>
                <a:lnTo>
                  <a:pt x="290" y="1650"/>
                </a:lnTo>
                <a:lnTo>
                  <a:pt x="290" y="1650"/>
                </a:lnTo>
                <a:lnTo>
                  <a:pt x="290" y="1644"/>
                </a:lnTo>
                <a:lnTo>
                  <a:pt x="287" y="1639"/>
                </a:lnTo>
                <a:lnTo>
                  <a:pt x="283" y="1632"/>
                </a:lnTo>
                <a:lnTo>
                  <a:pt x="277" y="1623"/>
                </a:lnTo>
                <a:lnTo>
                  <a:pt x="276" y="1619"/>
                </a:lnTo>
                <a:lnTo>
                  <a:pt x="275" y="1612"/>
                </a:lnTo>
                <a:lnTo>
                  <a:pt x="275" y="1612"/>
                </a:lnTo>
                <a:lnTo>
                  <a:pt x="276" y="1608"/>
                </a:lnTo>
                <a:lnTo>
                  <a:pt x="277" y="1605"/>
                </a:lnTo>
                <a:lnTo>
                  <a:pt x="283" y="1599"/>
                </a:lnTo>
                <a:lnTo>
                  <a:pt x="289" y="1593"/>
                </a:lnTo>
                <a:lnTo>
                  <a:pt x="292" y="1590"/>
                </a:lnTo>
                <a:lnTo>
                  <a:pt x="293" y="1586"/>
                </a:lnTo>
                <a:lnTo>
                  <a:pt x="293" y="1586"/>
                </a:lnTo>
                <a:lnTo>
                  <a:pt x="302" y="1559"/>
                </a:lnTo>
                <a:lnTo>
                  <a:pt x="310" y="1529"/>
                </a:lnTo>
                <a:lnTo>
                  <a:pt x="314" y="1514"/>
                </a:lnTo>
                <a:lnTo>
                  <a:pt x="317" y="1499"/>
                </a:lnTo>
                <a:lnTo>
                  <a:pt x="319" y="1484"/>
                </a:lnTo>
                <a:lnTo>
                  <a:pt x="320" y="1469"/>
                </a:lnTo>
                <a:lnTo>
                  <a:pt x="320" y="1469"/>
                </a:lnTo>
                <a:lnTo>
                  <a:pt x="319" y="1459"/>
                </a:lnTo>
                <a:lnTo>
                  <a:pt x="317" y="1451"/>
                </a:lnTo>
                <a:lnTo>
                  <a:pt x="315" y="1444"/>
                </a:lnTo>
                <a:lnTo>
                  <a:pt x="312" y="1438"/>
                </a:lnTo>
                <a:lnTo>
                  <a:pt x="306" y="1433"/>
                </a:lnTo>
                <a:lnTo>
                  <a:pt x="299" y="1431"/>
                </a:lnTo>
                <a:lnTo>
                  <a:pt x="290" y="1430"/>
                </a:lnTo>
                <a:lnTo>
                  <a:pt x="278" y="1429"/>
                </a:lnTo>
                <a:lnTo>
                  <a:pt x="278" y="1429"/>
                </a:lnTo>
                <a:lnTo>
                  <a:pt x="270" y="1429"/>
                </a:lnTo>
                <a:lnTo>
                  <a:pt x="262" y="1430"/>
                </a:lnTo>
                <a:lnTo>
                  <a:pt x="254" y="1432"/>
                </a:lnTo>
                <a:lnTo>
                  <a:pt x="247" y="1435"/>
                </a:lnTo>
                <a:lnTo>
                  <a:pt x="235" y="1440"/>
                </a:lnTo>
                <a:lnTo>
                  <a:pt x="223" y="1450"/>
                </a:lnTo>
                <a:lnTo>
                  <a:pt x="213" y="1459"/>
                </a:lnTo>
                <a:lnTo>
                  <a:pt x="202" y="1469"/>
                </a:lnTo>
                <a:lnTo>
                  <a:pt x="184" y="1491"/>
                </a:lnTo>
                <a:lnTo>
                  <a:pt x="184" y="1491"/>
                </a:lnTo>
                <a:lnTo>
                  <a:pt x="157" y="1491"/>
                </a:lnTo>
                <a:lnTo>
                  <a:pt x="157" y="1491"/>
                </a:lnTo>
                <a:lnTo>
                  <a:pt x="157" y="1491"/>
                </a:lnTo>
                <a:lnTo>
                  <a:pt x="154" y="1470"/>
                </a:lnTo>
                <a:lnTo>
                  <a:pt x="152" y="1451"/>
                </a:lnTo>
                <a:lnTo>
                  <a:pt x="148" y="1413"/>
                </a:lnTo>
                <a:lnTo>
                  <a:pt x="147" y="1377"/>
                </a:lnTo>
                <a:lnTo>
                  <a:pt x="146" y="1344"/>
                </a:lnTo>
                <a:lnTo>
                  <a:pt x="146" y="1344"/>
                </a:lnTo>
                <a:lnTo>
                  <a:pt x="146" y="1336"/>
                </a:lnTo>
                <a:lnTo>
                  <a:pt x="142" y="1328"/>
                </a:lnTo>
                <a:lnTo>
                  <a:pt x="138" y="1322"/>
                </a:lnTo>
                <a:lnTo>
                  <a:pt x="132" y="1317"/>
                </a:lnTo>
                <a:lnTo>
                  <a:pt x="126" y="1313"/>
                </a:lnTo>
                <a:lnTo>
                  <a:pt x="118" y="1309"/>
                </a:lnTo>
                <a:lnTo>
                  <a:pt x="102" y="1305"/>
                </a:lnTo>
                <a:lnTo>
                  <a:pt x="86" y="1300"/>
                </a:lnTo>
                <a:lnTo>
                  <a:pt x="72" y="1295"/>
                </a:lnTo>
                <a:lnTo>
                  <a:pt x="67" y="1292"/>
                </a:lnTo>
                <a:lnTo>
                  <a:pt x="62" y="1288"/>
                </a:lnTo>
                <a:lnTo>
                  <a:pt x="60" y="1284"/>
                </a:lnTo>
                <a:lnTo>
                  <a:pt x="58" y="1278"/>
                </a:lnTo>
                <a:lnTo>
                  <a:pt x="58" y="1278"/>
                </a:lnTo>
                <a:lnTo>
                  <a:pt x="58" y="1273"/>
                </a:lnTo>
                <a:lnTo>
                  <a:pt x="60" y="1269"/>
                </a:lnTo>
                <a:lnTo>
                  <a:pt x="64" y="1261"/>
                </a:lnTo>
                <a:lnTo>
                  <a:pt x="71" y="1253"/>
                </a:lnTo>
                <a:lnTo>
                  <a:pt x="77" y="1245"/>
                </a:lnTo>
                <a:lnTo>
                  <a:pt x="77" y="1245"/>
                </a:lnTo>
                <a:lnTo>
                  <a:pt x="77" y="1191"/>
                </a:lnTo>
                <a:lnTo>
                  <a:pt x="77" y="1191"/>
                </a:lnTo>
                <a:lnTo>
                  <a:pt x="77" y="1191"/>
                </a:lnTo>
                <a:lnTo>
                  <a:pt x="49" y="1186"/>
                </a:lnTo>
                <a:lnTo>
                  <a:pt x="39" y="1184"/>
                </a:lnTo>
                <a:lnTo>
                  <a:pt x="30" y="1181"/>
                </a:lnTo>
                <a:lnTo>
                  <a:pt x="22" y="1178"/>
                </a:lnTo>
                <a:lnTo>
                  <a:pt x="15" y="1173"/>
                </a:lnTo>
                <a:lnTo>
                  <a:pt x="8" y="1166"/>
                </a:lnTo>
                <a:lnTo>
                  <a:pt x="0" y="1156"/>
                </a:lnTo>
                <a:lnTo>
                  <a:pt x="0" y="1156"/>
                </a:lnTo>
                <a:lnTo>
                  <a:pt x="10" y="1148"/>
                </a:lnTo>
                <a:lnTo>
                  <a:pt x="22" y="1139"/>
                </a:lnTo>
                <a:lnTo>
                  <a:pt x="27" y="1133"/>
                </a:lnTo>
                <a:lnTo>
                  <a:pt x="32" y="1127"/>
                </a:lnTo>
                <a:lnTo>
                  <a:pt x="35" y="1120"/>
                </a:lnTo>
                <a:lnTo>
                  <a:pt x="37" y="1112"/>
                </a:lnTo>
                <a:lnTo>
                  <a:pt x="37" y="1112"/>
                </a:lnTo>
                <a:lnTo>
                  <a:pt x="35" y="1099"/>
                </a:lnTo>
                <a:lnTo>
                  <a:pt x="33" y="1086"/>
                </a:lnTo>
                <a:lnTo>
                  <a:pt x="27" y="1061"/>
                </a:lnTo>
                <a:lnTo>
                  <a:pt x="22" y="1035"/>
                </a:lnTo>
                <a:lnTo>
                  <a:pt x="19" y="1020"/>
                </a:lnTo>
                <a:lnTo>
                  <a:pt x="18" y="1006"/>
                </a:lnTo>
                <a:lnTo>
                  <a:pt x="18" y="1006"/>
                </a:lnTo>
                <a:lnTo>
                  <a:pt x="18" y="994"/>
                </a:lnTo>
                <a:lnTo>
                  <a:pt x="19" y="983"/>
                </a:lnTo>
                <a:lnTo>
                  <a:pt x="22" y="973"/>
                </a:lnTo>
                <a:lnTo>
                  <a:pt x="24" y="965"/>
                </a:lnTo>
                <a:lnTo>
                  <a:pt x="26" y="956"/>
                </a:lnTo>
                <a:lnTo>
                  <a:pt x="30" y="949"/>
                </a:lnTo>
                <a:lnTo>
                  <a:pt x="33" y="942"/>
                </a:lnTo>
                <a:lnTo>
                  <a:pt x="38" y="936"/>
                </a:lnTo>
                <a:lnTo>
                  <a:pt x="47" y="926"/>
                </a:lnTo>
                <a:lnTo>
                  <a:pt x="56" y="918"/>
                </a:lnTo>
                <a:lnTo>
                  <a:pt x="68" y="911"/>
                </a:lnTo>
                <a:lnTo>
                  <a:pt x="79" y="904"/>
                </a:lnTo>
                <a:lnTo>
                  <a:pt x="101" y="891"/>
                </a:lnTo>
                <a:lnTo>
                  <a:pt x="111" y="885"/>
                </a:lnTo>
                <a:lnTo>
                  <a:pt x="121" y="876"/>
                </a:lnTo>
                <a:lnTo>
                  <a:pt x="129" y="866"/>
                </a:lnTo>
                <a:lnTo>
                  <a:pt x="131" y="860"/>
                </a:lnTo>
                <a:lnTo>
                  <a:pt x="134" y="853"/>
                </a:lnTo>
                <a:lnTo>
                  <a:pt x="137" y="847"/>
                </a:lnTo>
                <a:lnTo>
                  <a:pt x="138" y="837"/>
                </a:lnTo>
                <a:lnTo>
                  <a:pt x="139" y="829"/>
                </a:lnTo>
                <a:lnTo>
                  <a:pt x="139" y="819"/>
                </a:lnTo>
                <a:lnTo>
                  <a:pt x="139" y="819"/>
                </a:lnTo>
                <a:lnTo>
                  <a:pt x="140" y="812"/>
                </a:lnTo>
                <a:lnTo>
                  <a:pt x="141" y="806"/>
                </a:lnTo>
                <a:lnTo>
                  <a:pt x="144" y="802"/>
                </a:lnTo>
                <a:lnTo>
                  <a:pt x="146" y="798"/>
                </a:lnTo>
                <a:lnTo>
                  <a:pt x="149" y="796"/>
                </a:lnTo>
                <a:lnTo>
                  <a:pt x="154" y="794"/>
                </a:lnTo>
                <a:lnTo>
                  <a:pt x="163" y="791"/>
                </a:lnTo>
                <a:lnTo>
                  <a:pt x="174" y="790"/>
                </a:lnTo>
                <a:lnTo>
                  <a:pt x="184" y="790"/>
                </a:lnTo>
                <a:lnTo>
                  <a:pt x="195" y="789"/>
                </a:lnTo>
                <a:lnTo>
                  <a:pt x="206" y="786"/>
                </a:lnTo>
                <a:lnTo>
                  <a:pt x="206" y="786"/>
                </a:lnTo>
                <a:lnTo>
                  <a:pt x="213" y="782"/>
                </a:lnTo>
                <a:lnTo>
                  <a:pt x="218" y="779"/>
                </a:lnTo>
                <a:lnTo>
                  <a:pt x="223" y="775"/>
                </a:lnTo>
                <a:lnTo>
                  <a:pt x="228" y="771"/>
                </a:lnTo>
                <a:lnTo>
                  <a:pt x="231" y="765"/>
                </a:lnTo>
                <a:lnTo>
                  <a:pt x="233" y="760"/>
                </a:lnTo>
                <a:lnTo>
                  <a:pt x="237" y="748"/>
                </a:lnTo>
                <a:lnTo>
                  <a:pt x="239" y="735"/>
                </a:lnTo>
                <a:lnTo>
                  <a:pt x="239" y="722"/>
                </a:lnTo>
                <a:lnTo>
                  <a:pt x="239" y="694"/>
                </a:lnTo>
                <a:lnTo>
                  <a:pt x="239" y="694"/>
                </a:lnTo>
                <a:lnTo>
                  <a:pt x="240" y="688"/>
                </a:lnTo>
                <a:lnTo>
                  <a:pt x="243" y="683"/>
                </a:lnTo>
                <a:lnTo>
                  <a:pt x="247" y="680"/>
                </a:lnTo>
                <a:lnTo>
                  <a:pt x="252" y="676"/>
                </a:lnTo>
                <a:lnTo>
                  <a:pt x="256" y="673"/>
                </a:lnTo>
                <a:lnTo>
                  <a:pt x="260" y="669"/>
                </a:lnTo>
                <a:lnTo>
                  <a:pt x="263" y="666"/>
                </a:lnTo>
                <a:lnTo>
                  <a:pt x="264" y="661"/>
                </a:lnTo>
                <a:lnTo>
                  <a:pt x="264" y="661"/>
                </a:lnTo>
                <a:lnTo>
                  <a:pt x="263" y="653"/>
                </a:lnTo>
                <a:lnTo>
                  <a:pt x="262" y="645"/>
                </a:lnTo>
                <a:lnTo>
                  <a:pt x="259" y="631"/>
                </a:lnTo>
                <a:lnTo>
                  <a:pt x="253" y="619"/>
                </a:lnTo>
                <a:lnTo>
                  <a:pt x="246" y="607"/>
                </a:lnTo>
                <a:lnTo>
                  <a:pt x="237" y="596"/>
                </a:lnTo>
                <a:lnTo>
                  <a:pt x="226" y="586"/>
                </a:lnTo>
                <a:lnTo>
                  <a:pt x="206" y="568"/>
                </a:lnTo>
                <a:lnTo>
                  <a:pt x="184" y="549"/>
                </a:lnTo>
                <a:lnTo>
                  <a:pt x="174" y="539"/>
                </a:lnTo>
                <a:lnTo>
                  <a:pt x="164" y="529"/>
                </a:lnTo>
                <a:lnTo>
                  <a:pt x="157" y="517"/>
                </a:lnTo>
                <a:lnTo>
                  <a:pt x="152" y="506"/>
                </a:lnTo>
                <a:lnTo>
                  <a:pt x="148" y="492"/>
                </a:lnTo>
                <a:lnTo>
                  <a:pt x="147" y="484"/>
                </a:lnTo>
                <a:lnTo>
                  <a:pt x="146" y="477"/>
                </a:lnTo>
                <a:lnTo>
                  <a:pt x="146" y="477"/>
                </a:lnTo>
                <a:lnTo>
                  <a:pt x="147" y="469"/>
                </a:lnTo>
                <a:lnTo>
                  <a:pt x="148" y="463"/>
                </a:lnTo>
                <a:lnTo>
                  <a:pt x="148" y="458"/>
                </a:lnTo>
                <a:lnTo>
                  <a:pt x="146" y="452"/>
                </a:lnTo>
                <a:lnTo>
                  <a:pt x="146" y="452"/>
                </a:lnTo>
                <a:lnTo>
                  <a:pt x="155" y="431"/>
                </a:lnTo>
                <a:lnTo>
                  <a:pt x="163" y="413"/>
                </a:lnTo>
                <a:lnTo>
                  <a:pt x="167" y="404"/>
                </a:lnTo>
                <a:lnTo>
                  <a:pt x="170" y="393"/>
                </a:lnTo>
                <a:lnTo>
                  <a:pt x="171" y="383"/>
                </a:lnTo>
                <a:lnTo>
                  <a:pt x="172" y="370"/>
                </a:lnTo>
                <a:lnTo>
                  <a:pt x="172" y="370"/>
                </a:lnTo>
                <a:lnTo>
                  <a:pt x="172" y="362"/>
                </a:lnTo>
                <a:lnTo>
                  <a:pt x="170" y="353"/>
                </a:lnTo>
                <a:lnTo>
                  <a:pt x="165" y="333"/>
                </a:lnTo>
                <a:lnTo>
                  <a:pt x="159" y="314"/>
                </a:lnTo>
                <a:lnTo>
                  <a:pt x="151" y="293"/>
                </a:lnTo>
                <a:lnTo>
                  <a:pt x="136" y="256"/>
                </a:lnTo>
                <a:lnTo>
                  <a:pt x="130" y="240"/>
                </a:lnTo>
                <a:lnTo>
                  <a:pt x="129" y="233"/>
                </a:lnTo>
                <a:lnTo>
                  <a:pt x="129" y="227"/>
                </a:lnTo>
                <a:lnTo>
                  <a:pt x="129" y="227"/>
                </a:lnTo>
                <a:lnTo>
                  <a:pt x="129" y="223"/>
                </a:lnTo>
                <a:lnTo>
                  <a:pt x="130" y="218"/>
                </a:lnTo>
                <a:lnTo>
                  <a:pt x="133" y="211"/>
                </a:lnTo>
                <a:lnTo>
                  <a:pt x="139" y="206"/>
                </a:lnTo>
                <a:lnTo>
                  <a:pt x="146" y="201"/>
                </a:lnTo>
                <a:lnTo>
                  <a:pt x="154" y="198"/>
                </a:lnTo>
                <a:lnTo>
                  <a:pt x="162" y="195"/>
                </a:lnTo>
                <a:lnTo>
                  <a:pt x="171" y="194"/>
                </a:lnTo>
                <a:lnTo>
                  <a:pt x="180" y="194"/>
                </a:lnTo>
                <a:lnTo>
                  <a:pt x="180" y="194"/>
                </a:lnTo>
                <a:lnTo>
                  <a:pt x="231" y="194"/>
                </a:lnTo>
                <a:lnTo>
                  <a:pt x="231" y="194"/>
                </a:lnTo>
                <a:lnTo>
                  <a:pt x="238" y="196"/>
                </a:lnTo>
                <a:lnTo>
                  <a:pt x="249" y="200"/>
                </a:lnTo>
                <a:lnTo>
                  <a:pt x="258" y="201"/>
                </a:lnTo>
                <a:lnTo>
                  <a:pt x="266" y="202"/>
                </a:lnTo>
                <a:lnTo>
                  <a:pt x="274" y="201"/>
                </a:lnTo>
                <a:lnTo>
                  <a:pt x="282" y="199"/>
                </a:lnTo>
                <a:lnTo>
                  <a:pt x="282" y="199"/>
                </a:lnTo>
                <a:lnTo>
                  <a:pt x="287" y="195"/>
                </a:lnTo>
                <a:lnTo>
                  <a:pt x="292" y="191"/>
                </a:lnTo>
                <a:lnTo>
                  <a:pt x="295" y="186"/>
                </a:lnTo>
                <a:lnTo>
                  <a:pt x="300" y="180"/>
                </a:lnTo>
                <a:lnTo>
                  <a:pt x="314" y="154"/>
                </a:lnTo>
                <a:lnTo>
                  <a:pt x="322" y="141"/>
                </a:lnTo>
                <a:lnTo>
                  <a:pt x="327" y="135"/>
                </a:lnTo>
                <a:lnTo>
                  <a:pt x="333" y="131"/>
                </a:lnTo>
                <a:lnTo>
                  <a:pt x="339" y="126"/>
                </a:lnTo>
                <a:lnTo>
                  <a:pt x="347" y="123"/>
                </a:lnTo>
                <a:lnTo>
                  <a:pt x="356" y="122"/>
                </a:lnTo>
                <a:lnTo>
                  <a:pt x="367" y="120"/>
                </a:lnTo>
                <a:lnTo>
                  <a:pt x="367" y="120"/>
                </a:lnTo>
                <a:lnTo>
                  <a:pt x="376" y="120"/>
                </a:lnTo>
                <a:lnTo>
                  <a:pt x="382" y="122"/>
                </a:lnTo>
                <a:lnTo>
                  <a:pt x="388" y="125"/>
                </a:lnTo>
                <a:lnTo>
                  <a:pt x="390" y="125"/>
                </a:lnTo>
                <a:lnTo>
                  <a:pt x="393" y="125"/>
                </a:lnTo>
                <a:lnTo>
                  <a:pt x="404" y="120"/>
                </a:lnTo>
                <a:lnTo>
                  <a:pt x="404" y="120"/>
                </a:lnTo>
                <a:lnTo>
                  <a:pt x="407" y="119"/>
                </a:lnTo>
                <a:lnTo>
                  <a:pt x="409" y="116"/>
                </a:lnTo>
                <a:lnTo>
                  <a:pt x="411" y="114"/>
                </a:lnTo>
                <a:lnTo>
                  <a:pt x="412" y="109"/>
                </a:lnTo>
                <a:lnTo>
                  <a:pt x="413" y="101"/>
                </a:lnTo>
                <a:lnTo>
                  <a:pt x="412" y="91"/>
                </a:lnTo>
                <a:lnTo>
                  <a:pt x="409" y="69"/>
                </a:lnTo>
                <a:lnTo>
                  <a:pt x="409" y="59"/>
                </a:lnTo>
                <a:lnTo>
                  <a:pt x="411" y="51"/>
                </a:lnTo>
                <a:lnTo>
                  <a:pt x="411" y="51"/>
                </a:lnTo>
                <a:lnTo>
                  <a:pt x="417" y="46"/>
                </a:lnTo>
                <a:lnTo>
                  <a:pt x="424" y="39"/>
                </a:lnTo>
                <a:lnTo>
                  <a:pt x="440" y="21"/>
                </a:lnTo>
                <a:lnTo>
                  <a:pt x="449" y="13"/>
                </a:lnTo>
                <a:lnTo>
                  <a:pt x="457" y="5"/>
                </a:lnTo>
                <a:lnTo>
                  <a:pt x="463" y="1"/>
                </a:lnTo>
                <a:lnTo>
                  <a:pt x="467" y="0"/>
                </a:lnTo>
                <a:lnTo>
                  <a:pt x="469" y="0"/>
                </a:lnTo>
                <a:lnTo>
                  <a:pt x="469" y="0"/>
                </a:lnTo>
                <a:lnTo>
                  <a:pt x="480" y="0"/>
                </a:lnTo>
                <a:lnTo>
                  <a:pt x="490" y="2"/>
                </a:lnTo>
                <a:lnTo>
                  <a:pt x="501" y="5"/>
                </a:lnTo>
                <a:lnTo>
                  <a:pt x="513" y="9"/>
                </a:lnTo>
                <a:lnTo>
                  <a:pt x="524" y="15"/>
                </a:lnTo>
                <a:lnTo>
                  <a:pt x="536" y="20"/>
                </a:lnTo>
                <a:lnTo>
                  <a:pt x="546" y="27"/>
                </a:lnTo>
                <a:lnTo>
                  <a:pt x="557" y="34"/>
                </a:lnTo>
                <a:lnTo>
                  <a:pt x="567" y="42"/>
                </a:lnTo>
                <a:lnTo>
                  <a:pt x="576" y="51"/>
                </a:lnTo>
                <a:lnTo>
                  <a:pt x="584" y="61"/>
                </a:lnTo>
                <a:lnTo>
                  <a:pt x="591" y="71"/>
                </a:lnTo>
                <a:lnTo>
                  <a:pt x="597" y="81"/>
                </a:lnTo>
                <a:lnTo>
                  <a:pt x="602" y="92"/>
                </a:lnTo>
                <a:lnTo>
                  <a:pt x="605" y="102"/>
                </a:lnTo>
                <a:lnTo>
                  <a:pt x="606" y="114"/>
                </a:lnTo>
                <a:lnTo>
                  <a:pt x="606" y="114"/>
                </a:lnTo>
                <a:lnTo>
                  <a:pt x="605" y="118"/>
                </a:lnTo>
                <a:lnTo>
                  <a:pt x="604" y="124"/>
                </a:lnTo>
                <a:lnTo>
                  <a:pt x="598" y="132"/>
                </a:lnTo>
                <a:lnTo>
                  <a:pt x="594" y="142"/>
                </a:lnTo>
                <a:lnTo>
                  <a:pt x="591" y="148"/>
                </a:lnTo>
                <a:lnTo>
                  <a:pt x="591" y="154"/>
                </a:lnTo>
                <a:lnTo>
                  <a:pt x="591" y="154"/>
                </a:lnTo>
                <a:lnTo>
                  <a:pt x="591" y="164"/>
                </a:lnTo>
                <a:lnTo>
                  <a:pt x="594" y="173"/>
                </a:lnTo>
                <a:lnTo>
                  <a:pt x="596" y="181"/>
                </a:lnTo>
                <a:lnTo>
                  <a:pt x="599" y="187"/>
                </a:lnTo>
                <a:lnTo>
                  <a:pt x="605" y="192"/>
                </a:lnTo>
                <a:lnTo>
                  <a:pt x="611" y="195"/>
                </a:lnTo>
                <a:lnTo>
                  <a:pt x="619" y="198"/>
                </a:lnTo>
                <a:lnTo>
                  <a:pt x="628" y="199"/>
                </a:lnTo>
                <a:lnTo>
                  <a:pt x="628" y="199"/>
                </a:lnTo>
                <a:lnTo>
                  <a:pt x="637" y="198"/>
                </a:lnTo>
                <a:lnTo>
                  <a:pt x="644" y="194"/>
                </a:lnTo>
                <a:lnTo>
                  <a:pt x="649" y="189"/>
                </a:lnTo>
                <a:lnTo>
                  <a:pt x="652" y="185"/>
                </a:lnTo>
                <a:lnTo>
                  <a:pt x="656" y="180"/>
                </a:lnTo>
                <a:lnTo>
                  <a:pt x="660" y="177"/>
                </a:lnTo>
                <a:lnTo>
                  <a:pt x="665" y="173"/>
                </a:lnTo>
                <a:lnTo>
                  <a:pt x="672" y="172"/>
                </a:lnTo>
                <a:lnTo>
                  <a:pt x="672" y="172"/>
                </a:lnTo>
                <a:lnTo>
                  <a:pt x="683" y="173"/>
                </a:lnTo>
                <a:lnTo>
                  <a:pt x="691" y="176"/>
                </a:lnTo>
                <a:lnTo>
                  <a:pt x="699" y="178"/>
                </a:lnTo>
                <a:lnTo>
                  <a:pt x="709" y="179"/>
                </a:lnTo>
                <a:lnTo>
                  <a:pt x="709" y="179"/>
                </a:lnTo>
                <a:lnTo>
                  <a:pt x="742" y="179"/>
                </a:lnTo>
                <a:lnTo>
                  <a:pt x="742" y="179"/>
                </a:lnTo>
                <a:lnTo>
                  <a:pt x="745" y="180"/>
                </a:lnTo>
                <a:lnTo>
                  <a:pt x="749" y="181"/>
                </a:lnTo>
                <a:lnTo>
                  <a:pt x="751" y="183"/>
                </a:lnTo>
                <a:lnTo>
                  <a:pt x="755" y="186"/>
                </a:lnTo>
                <a:lnTo>
                  <a:pt x="758" y="193"/>
                </a:lnTo>
                <a:lnTo>
                  <a:pt x="763" y="201"/>
                </a:lnTo>
                <a:lnTo>
                  <a:pt x="766" y="209"/>
                </a:lnTo>
                <a:lnTo>
                  <a:pt x="771" y="217"/>
                </a:lnTo>
                <a:lnTo>
                  <a:pt x="778" y="223"/>
                </a:lnTo>
                <a:lnTo>
                  <a:pt x="781" y="226"/>
                </a:lnTo>
                <a:lnTo>
                  <a:pt x="786" y="227"/>
                </a:lnTo>
                <a:lnTo>
                  <a:pt x="786" y="227"/>
                </a:lnTo>
                <a:lnTo>
                  <a:pt x="776" y="236"/>
                </a:lnTo>
                <a:lnTo>
                  <a:pt x="770" y="244"/>
                </a:lnTo>
                <a:lnTo>
                  <a:pt x="764" y="252"/>
                </a:lnTo>
                <a:lnTo>
                  <a:pt x="760" y="260"/>
                </a:lnTo>
                <a:lnTo>
                  <a:pt x="759" y="269"/>
                </a:lnTo>
                <a:lnTo>
                  <a:pt x="760" y="278"/>
                </a:lnTo>
                <a:lnTo>
                  <a:pt x="764" y="290"/>
                </a:lnTo>
                <a:lnTo>
                  <a:pt x="771" y="301"/>
                </a:lnTo>
                <a:lnTo>
                  <a:pt x="771" y="301"/>
                </a:lnTo>
                <a:lnTo>
                  <a:pt x="759" y="301"/>
                </a:lnTo>
                <a:lnTo>
                  <a:pt x="747" y="302"/>
                </a:lnTo>
                <a:lnTo>
                  <a:pt x="735" y="305"/>
                </a:lnTo>
                <a:lnTo>
                  <a:pt x="725" y="308"/>
                </a:lnTo>
                <a:lnTo>
                  <a:pt x="714" y="313"/>
                </a:lnTo>
                <a:lnTo>
                  <a:pt x="705" y="318"/>
                </a:lnTo>
                <a:lnTo>
                  <a:pt x="696" y="325"/>
                </a:lnTo>
                <a:lnTo>
                  <a:pt x="688" y="331"/>
                </a:lnTo>
                <a:lnTo>
                  <a:pt x="674" y="344"/>
                </a:lnTo>
                <a:lnTo>
                  <a:pt x="663" y="355"/>
                </a:lnTo>
                <a:lnTo>
                  <a:pt x="653" y="367"/>
                </a:lnTo>
                <a:lnTo>
                  <a:pt x="653" y="367"/>
                </a:lnTo>
                <a:lnTo>
                  <a:pt x="648" y="381"/>
                </a:lnTo>
                <a:lnTo>
                  <a:pt x="642" y="392"/>
                </a:lnTo>
                <a:lnTo>
                  <a:pt x="634" y="401"/>
                </a:lnTo>
                <a:lnTo>
                  <a:pt x="627" y="409"/>
                </a:lnTo>
                <a:lnTo>
                  <a:pt x="619" y="416"/>
                </a:lnTo>
                <a:lnTo>
                  <a:pt x="611" y="422"/>
                </a:lnTo>
                <a:lnTo>
                  <a:pt x="595" y="431"/>
                </a:lnTo>
                <a:lnTo>
                  <a:pt x="588" y="437"/>
                </a:lnTo>
                <a:lnTo>
                  <a:pt x="581" y="443"/>
                </a:lnTo>
                <a:lnTo>
                  <a:pt x="574" y="450"/>
                </a:lnTo>
                <a:lnTo>
                  <a:pt x="569" y="458"/>
                </a:lnTo>
                <a:lnTo>
                  <a:pt x="565" y="467"/>
                </a:lnTo>
                <a:lnTo>
                  <a:pt x="561" y="479"/>
                </a:lnTo>
                <a:lnTo>
                  <a:pt x="559" y="493"/>
                </a:lnTo>
                <a:lnTo>
                  <a:pt x="558" y="511"/>
                </a:lnTo>
                <a:lnTo>
                  <a:pt x="558" y="511"/>
                </a:lnTo>
                <a:lnTo>
                  <a:pt x="559" y="536"/>
                </a:lnTo>
                <a:lnTo>
                  <a:pt x="560" y="561"/>
                </a:lnTo>
                <a:lnTo>
                  <a:pt x="564" y="611"/>
                </a:lnTo>
                <a:lnTo>
                  <a:pt x="568" y="658"/>
                </a:lnTo>
                <a:lnTo>
                  <a:pt x="573" y="703"/>
                </a:lnTo>
                <a:lnTo>
                  <a:pt x="576" y="745"/>
                </a:lnTo>
                <a:lnTo>
                  <a:pt x="576" y="766"/>
                </a:lnTo>
                <a:lnTo>
                  <a:pt x="575" y="786"/>
                </a:lnTo>
                <a:lnTo>
                  <a:pt x="573" y="805"/>
                </a:lnTo>
                <a:lnTo>
                  <a:pt x="569" y="824"/>
                </a:lnTo>
                <a:lnTo>
                  <a:pt x="565" y="842"/>
                </a:lnTo>
                <a:lnTo>
                  <a:pt x="558" y="859"/>
                </a:lnTo>
                <a:lnTo>
                  <a:pt x="558" y="859"/>
                </a:lnTo>
                <a:lnTo>
                  <a:pt x="557" y="863"/>
                </a:lnTo>
                <a:lnTo>
                  <a:pt x="557" y="867"/>
                </a:lnTo>
                <a:lnTo>
                  <a:pt x="558" y="882"/>
                </a:lnTo>
                <a:lnTo>
                  <a:pt x="565" y="934"/>
                </a:lnTo>
                <a:lnTo>
                  <a:pt x="568" y="970"/>
                </a:lnTo>
                <a:lnTo>
                  <a:pt x="572" y="1011"/>
                </a:lnTo>
                <a:lnTo>
                  <a:pt x="572" y="1057"/>
                </a:lnTo>
                <a:lnTo>
                  <a:pt x="571" y="1082"/>
                </a:lnTo>
                <a:lnTo>
                  <a:pt x="569" y="1109"/>
                </a:lnTo>
                <a:lnTo>
                  <a:pt x="569" y="1109"/>
                </a:lnTo>
                <a:lnTo>
                  <a:pt x="567" y="1132"/>
                </a:lnTo>
                <a:lnTo>
                  <a:pt x="562" y="1156"/>
                </a:lnTo>
                <a:lnTo>
                  <a:pt x="558" y="1181"/>
                </a:lnTo>
                <a:lnTo>
                  <a:pt x="552" y="1206"/>
                </a:lnTo>
                <a:lnTo>
                  <a:pt x="539" y="1255"/>
                </a:lnTo>
                <a:lnTo>
                  <a:pt x="528" y="1300"/>
                </a:lnTo>
                <a:lnTo>
                  <a:pt x="523" y="1321"/>
                </a:lnTo>
                <a:lnTo>
                  <a:pt x="521" y="1339"/>
                </a:lnTo>
                <a:lnTo>
                  <a:pt x="520" y="1355"/>
                </a:lnTo>
                <a:lnTo>
                  <a:pt x="520" y="1363"/>
                </a:lnTo>
                <a:lnTo>
                  <a:pt x="521" y="1369"/>
                </a:lnTo>
                <a:lnTo>
                  <a:pt x="523" y="1375"/>
                </a:lnTo>
                <a:lnTo>
                  <a:pt x="526" y="1380"/>
                </a:lnTo>
                <a:lnTo>
                  <a:pt x="529" y="1384"/>
                </a:lnTo>
                <a:lnTo>
                  <a:pt x="533" y="1387"/>
                </a:lnTo>
                <a:lnTo>
                  <a:pt x="538" y="1391"/>
                </a:lnTo>
                <a:lnTo>
                  <a:pt x="544" y="1392"/>
                </a:lnTo>
                <a:lnTo>
                  <a:pt x="550" y="1392"/>
                </a:lnTo>
                <a:lnTo>
                  <a:pt x="558" y="1392"/>
                </a:lnTo>
                <a:lnTo>
                  <a:pt x="558" y="1392"/>
                </a:lnTo>
                <a:lnTo>
                  <a:pt x="585" y="1367"/>
                </a:lnTo>
                <a:lnTo>
                  <a:pt x="610" y="1348"/>
                </a:lnTo>
                <a:lnTo>
                  <a:pt x="620" y="1342"/>
                </a:lnTo>
                <a:lnTo>
                  <a:pt x="629" y="1337"/>
                </a:lnTo>
                <a:lnTo>
                  <a:pt x="638" y="1332"/>
                </a:lnTo>
                <a:lnTo>
                  <a:pt x="645" y="1330"/>
                </a:lnTo>
                <a:lnTo>
                  <a:pt x="653" y="1328"/>
                </a:lnTo>
                <a:lnTo>
                  <a:pt x="659" y="1328"/>
                </a:lnTo>
                <a:lnTo>
                  <a:pt x="665" y="1328"/>
                </a:lnTo>
                <a:lnTo>
                  <a:pt x="669" y="1329"/>
                </a:lnTo>
                <a:lnTo>
                  <a:pt x="674" y="1331"/>
                </a:lnTo>
                <a:lnTo>
                  <a:pt x="679" y="1334"/>
                </a:lnTo>
                <a:lnTo>
                  <a:pt x="682" y="1338"/>
                </a:lnTo>
                <a:lnTo>
                  <a:pt x="684" y="1342"/>
                </a:lnTo>
                <a:lnTo>
                  <a:pt x="690" y="1353"/>
                </a:lnTo>
                <a:lnTo>
                  <a:pt x="694" y="1364"/>
                </a:lnTo>
                <a:lnTo>
                  <a:pt x="702" y="1391"/>
                </a:lnTo>
                <a:lnTo>
                  <a:pt x="705" y="1403"/>
                </a:lnTo>
                <a:lnTo>
                  <a:pt x="710" y="1416"/>
                </a:lnTo>
                <a:lnTo>
                  <a:pt x="715" y="1426"/>
                </a:lnTo>
                <a:lnTo>
                  <a:pt x="719" y="1432"/>
                </a:lnTo>
                <a:lnTo>
                  <a:pt x="724" y="1436"/>
                </a:lnTo>
                <a:lnTo>
                  <a:pt x="724" y="1436"/>
                </a:lnTo>
                <a:lnTo>
                  <a:pt x="727" y="1432"/>
                </a:lnTo>
                <a:lnTo>
                  <a:pt x="729" y="1428"/>
                </a:lnTo>
                <a:lnTo>
                  <a:pt x="730" y="1423"/>
                </a:lnTo>
                <a:lnTo>
                  <a:pt x="732" y="1417"/>
                </a:lnTo>
                <a:lnTo>
                  <a:pt x="732" y="1406"/>
                </a:lnTo>
                <a:lnTo>
                  <a:pt x="730" y="1393"/>
                </a:lnTo>
                <a:lnTo>
                  <a:pt x="728" y="1380"/>
                </a:lnTo>
                <a:lnTo>
                  <a:pt x="727" y="1368"/>
                </a:lnTo>
                <a:lnTo>
                  <a:pt x="727" y="1357"/>
                </a:lnTo>
                <a:lnTo>
                  <a:pt x="728" y="1352"/>
                </a:lnTo>
                <a:lnTo>
                  <a:pt x="730" y="1347"/>
                </a:lnTo>
                <a:lnTo>
                  <a:pt x="730" y="1347"/>
                </a:lnTo>
                <a:lnTo>
                  <a:pt x="732" y="1339"/>
                </a:lnTo>
                <a:lnTo>
                  <a:pt x="733" y="1338"/>
                </a:lnTo>
                <a:lnTo>
                  <a:pt x="734" y="1337"/>
                </a:lnTo>
                <a:lnTo>
                  <a:pt x="735" y="1337"/>
                </a:lnTo>
                <a:lnTo>
                  <a:pt x="736" y="1338"/>
                </a:lnTo>
                <a:lnTo>
                  <a:pt x="739" y="1344"/>
                </a:lnTo>
                <a:lnTo>
                  <a:pt x="747" y="1361"/>
                </a:lnTo>
                <a:lnTo>
                  <a:pt x="757" y="1383"/>
                </a:lnTo>
                <a:lnTo>
                  <a:pt x="764" y="1393"/>
                </a:lnTo>
                <a:lnTo>
                  <a:pt x="771" y="1402"/>
                </a:lnTo>
                <a:lnTo>
                  <a:pt x="779" y="1410"/>
                </a:lnTo>
                <a:lnTo>
                  <a:pt x="782" y="1413"/>
                </a:lnTo>
                <a:lnTo>
                  <a:pt x="787" y="1414"/>
                </a:lnTo>
                <a:lnTo>
                  <a:pt x="791" y="1415"/>
                </a:lnTo>
                <a:lnTo>
                  <a:pt x="796" y="1415"/>
                </a:lnTo>
                <a:lnTo>
                  <a:pt x="802" y="1413"/>
                </a:lnTo>
                <a:lnTo>
                  <a:pt x="806" y="1410"/>
                </a:lnTo>
                <a:lnTo>
                  <a:pt x="812" y="1406"/>
                </a:lnTo>
                <a:lnTo>
                  <a:pt x="818" y="1401"/>
                </a:lnTo>
                <a:lnTo>
                  <a:pt x="824" y="1393"/>
                </a:lnTo>
                <a:lnTo>
                  <a:pt x="829" y="1385"/>
                </a:lnTo>
                <a:lnTo>
                  <a:pt x="829" y="1385"/>
                </a:lnTo>
                <a:lnTo>
                  <a:pt x="836" y="1380"/>
                </a:lnTo>
                <a:lnTo>
                  <a:pt x="841" y="1376"/>
                </a:lnTo>
                <a:lnTo>
                  <a:pt x="843" y="1371"/>
                </a:lnTo>
                <a:lnTo>
                  <a:pt x="846" y="1366"/>
                </a:lnTo>
                <a:lnTo>
                  <a:pt x="846" y="1360"/>
                </a:lnTo>
                <a:lnTo>
                  <a:pt x="844" y="1353"/>
                </a:lnTo>
                <a:lnTo>
                  <a:pt x="840" y="1339"/>
                </a:lnTo>
                <a:lnTo>
                  <a:pt x="833" y="1322"/>
                </a:lnTo>
                <a:lnTo>
                  <a:pt x="826" y="1301"/>
                </a:lnTo>
                <a:lnTo>
                  <a:pt x="824" y="1290"/>
                </a:lnTo>
                <a:lnTo>
                  <a:pt x="821" y="1277"/>
                </a:lnTo>
                <a:lnTo>
                  <a:pt x="820" y="1263"/>
                </a:lnTo>
                <a:lnTo>
                  <a:pt x="819" y="1249"/>
                </a:lnTo>
                <a:lnTo>
                  <a:pt x="819" y="1249"/>
                </a:lnTo>
                <a:lnTo>
                  <a:pt x="837" y="1231"/>
                </a:lnTo>
                <a:lnTo>
                  <a:pt x="854" y="1216"/>
                </a:lnTo>
                <a:lnTo>
                  <a:pt x="870" y="1206"/>
                </a:lnTo>
                <a:lnTo>
                  <a:pt x="886" y="1199"/>
                </a:lnTo>
                <a:lnTo>
                  <a:pt x="900" y="1194"/>
                </a:lnTo>
                <a:lnTo>
                  <a:pt x="913" y="1192"/>
                </a:lnTo>
                <a:lnTo>
                  <a:pt x="926" y="1193"/>
                </a:lnTo>
                <a:lnTo>
                  <a:pt x="938" y="1194"/>
                </a:lnTo>
                <a:lnTo>
                  <a:pt x="949" y="1198"/>
                </a:lnTo>
                <a:lnTo>
                  <a:pt x="959" y="1202"/>
                </a:lnTo>
                <a:lnTo>
                  <a:pt x="979" y="1211"/>
                </a:lnTo>
                <a:lnTo>
                  <a:pt x="995" y="1219"/>
                </a:lnTo>
                <a:lnTo>
                  <a:pt x="1003" y="1222"/>
                </a:lnTo>
                <a:lnTo>
                  <a:pt x="1010" y="1223"/>
                </a:lnTo>
                <a:lnTo>
                  <a:pt x="1010" y="1223"/>
                </a:lnTo>
                <a:lnTo>
                  <a:pt x="1042" y="1219"/>
                </a:lnTo>
                <a:lnTo>
                  <a:pt x="1066" y="1218"/>
                </a:lnTo>
                <a:lnTo>
                  <a:pt x="1084" y="1219"/>
                </a:lnTo>
                <a:lnTo>
                  <a:pt x="1091" y="1221"/>
                </a:lnTo>
                <a:lnTo>
                  <a:pt x="1095" y="1222"/>
                </a:lnTo>
                <a:lnTo>
                  <a:pt x="1099" y="1224"/>
                </a:lnTo>
                <a:lnTo>
                  <a:pt x="1101" y="1226"/>
                </a:lnTo>
                <a:lnTo>
                  <a:pt x="1102" y="1229"/>
                </a:lnTo>
                <a:lnTo>
                  <a:pt x="1103" y="1232"/>
                </a:lnTo>
                <a:lnTo>
                  <a:pt x="1101" y="1238"/>
                </a:lnTo>
                <a:lnTo>
                  <a:pt x="1098" y="1245"/>
                </a:lnTo>
                <a:lnTo>
                  <a:pt x="1086" y="1260"/>
                </a:lnTo>
                <a:lnTo>
                  <a:pt x="1080" y="1267"/>
                </a:lnTo>
                <a:lnTo>
                  <a:pt x="1076" y="1273"/>
                </a:lnTo>
                <a:lnTo>
                  <a:pt x="1075" y="1279"/>
                </a:lnTo>
                <a:lnTo>
                  <a:pt x="1075" y="1282"/>
                </a:lnTo>
                <a:lnTo>
                  <a:pt x="1076" y="1284"/>
                </a:lnTo>
                <a:lnTo>
                  <a:pt x="1077" y="1286"/>
                </a:lnTo>
                <a:lnTo>
                  <a:pt x="1080" y="1287"/>
                </a:lnTo>
                <a:lnTo>
                  <a:pt x="1091" y="1288"/>
                </a:lnTo>
                <a:lnTo>
                  <a:pt x="1091" y="1288"/>
                </a:lnTo>
                <a:lnTo>
                  <a:pt x="1101" y="1291"/>
                </a:lnTo>
                <a:lnTo>
                  <a:pt x="1110" y="1294"/>
                </a:lnTo>
                <a:lnTo>
                  <a:pt x="1119" y="1296"/>
                </a:lnTo>
                <a:lnTo>
                  <a:pt x="1127" y="1301"/>
                </a:lnTo>
                <a:lnTo>
                  <a:pt x="1144" y="1310"/>
                </a:lnTo>
                <a:lnTo>
                  <a:pt x="1157" y="1321"/>
                </a:lnTo>
                <a:lnTo>
                  <a:pt x="1170" y="1334"/>
                </a:lnTo>
                <a:lnTo>
                  <a:pt x="1182" y="1348"/>
                </a:lnTo>
                <a:lnTo>
                  <a:pt x="1192" y="1364"/>
                </a:lnTo>
                <a:lnTo>
                  <a:pt x="1201" y="1380"/>
                </a:lnTo>
                <a:lnTo>
                  <a:pt x="1210" y="1398"/>
                </a:lnTo>
                <a:lnTo>
                  <a:pt x="1217" y="1416"/>
                </a:lnTo>
                <a:lnTo>
                  <a:pt x="1232" y="1453"/>
                </a:lnTo>
                <a:lnTo>
                  <a:pt x="1245" y="1490"/>
                </a:lnTo>
                <a:lnTo>
                  <a:pt x="1260" y="1524"/>
                </a:lnTo>
                <a:lnTo>
                  <a:pt x="1260" y="1524"/>
                </a:lnTo>
                <a:lnTo>
                  <a:pt x="1270" y="1545"/>
                </a:lnTo>
                <a:lnTo>
                  <a:pt x="1282" y="1565"/>
                </a:lnTo>
                <a:lnTo>
                  <a:pt x="1295" y="1584"/>
                </a:lnTo>
                <a:lnTo>
                  <a:pt x="1308" y="1603"/>
                </a:lnTo>
                <a:lnTo>
                  <a:pt x="1337" y="1639"/>
                </a:lnTo>
                <a:lnTo>
                  <a:pt x="1366" y="1674"/>
                </a:lnTo>
                <a:lnTo>
                  <a:pt x="1394" y="1710"/>
                </a:lnTo>
                <a:lnTo>
                  <a:pt x="1409" y="1728"/>
                </a:lnTo>
                <a:lnTo>
                  <a:pt x="1422" y="1746"/>
                </a:lnTo>
                <a:lnTo>
                  <a:pt x="1436" y="1766"/>
                </a:lnTo>
                <a:lnTo>
                  <a:pt x="1447" y="1786"/>
                </a:lnTo>
                <a:lnTo>
                  <a:pt x="1459" y="1807"/>
                </a:lnTo>
                <a:lnTo>
                  <a:pt x="1469" y="1829"/>
                </a:lnTo>
                <a:lnTo>
                  <a:pt x="1469" y="1829"/>
                </a:lnTo>
                <a:lnTo>
                  <a:pt x="1475" y="1843"/>
                </a:lnTo>
                <a:lnTo>
                  <a:pt x="1478" y="1856"/>
                </a:lnTo>
                <a:lnTo>
                  <a:pt x="1481" y="1867"/>
                </a:lnTo>
                <a:lnTo>
                  <a:pt x="1482" y="1880"/>
                </a:lnTo>
                <a:lnTo>
                  <a:pt x="1482" y="1891"/>
                </a:lnTo>
                <a:lnTo>
                  <a:pt x="1482" y="1903"/>
                </a:lnTo>
                <a:lnTo>
                  <a:pt x="1478" y="1927"/>
                </a:lnTo>
                <a:lnTo>
                  <a:pt x="1476" y="1954"/>
                </a:lnTo>
                <a:lnTo>
                  <a:pt x="1474" y="1983"/>
                </a:lnTo>
                <a:lnTo>
                  <a:pt x="1474" y="2001"/>
                </a:lnTo>
                <a:lnTo>
                  <a:pt x="1475" y="2019"/>
                </a:lnTo>
                <a:lnTo>
                  <a:pt x="1476" y="2039"/>
                </a:lnTo>
                <a:lnTo>
                  <a:pt x="1480" y="2061"/>
                </a:lnTo>
                <a:lnTo>
                  <a:pt x="1480" y="2061"/>
                </a:lnTo>
                <a:lnTo>
                  <a:pt x="1470" y="2064"/>
                </a:lnTo>
                <a:lnTo>
                  <a:pt x="1462" y="2067"/>
                </a:lnTo>
                <a:lnTo>
                  <a:pt x="1455" y="2071"/>
                </a:lnTo>
                <a:lnTo>
                  <a:pt x="1447" y="2072"/>
                </a:lnTo>
                <a:lnTo>
                  <a:pt x="1447" y="2072"/>
                </a:lnTo>
                <a:lnTo>
                  <a:pt x="1444" y="2071"/>
                </a:lnTo>
                <a:lnTo>
                  <a:pt x="1442" y="2070"/>
                </a:lnTo>
                <a:lnTo>
                  <a:pt x="1439" y="2067"/>
                </a:lnTo>
                <a:lnTo>
                  <a:pt x="1438" y="2065"/>
                </a:lnTo>
                <a:lnTo>
                  <a:pt x="1436" y="2058"/>
                </a:lnTo>
                <a:lnTo>
                  <a:pt x="1436" y="2050"/>
                </a:lnTo>
                <a:lnTo>
                  <a:pt x="1436" y="2033"/>
                </a:lnTo>
                <a:lnTo>
                  <a:pt x="1435" y="2026"/>
                </a:lnTo>
                <a:lnTo>
                  <a:pt x="1432" y="2020"/>
                </a:lnTo>
                <a:lnTo>
                  <a:pt x="1432" y="2020"/>
                </a:lnTo>
                <a:lnTo>
                  <a:pt x="1431" y="2019"/>
                </a:lnTo>
                <a:lnTo>
                  <a:pt x="1429" y="2017"/>
                </a:lnTo>
                <a:lnTo>
                  <a:pt x="1421" y="2011"/>
                </a:lnTo>
                <a:lnTo>
                  <a:pt x="1397" y="1997"/>
                </a:lnTo>
                <a:lnTo>
                  <a:pt x="1370" y="1985"/>
                </a:lnTo>
                <a:lnTo>
                  <a:pt x="1361" y="1981"/>
                </a:lnTo>
                <a:lnTo>
                  <a:pt x="1355" y="1980"/>
                </a:lnTo>
                <a:lnTo>
                  <a:pt x="1355" y="1980"/>
                </a:lnTo>
                <a:lnTo>
                  <a:pt x="1293" y="2067"/>
                </a:lnTo>
                <a:lnTo>
                  <a:pt x="1293" y="2067"/>
                </a:lnTo>
                <a:lnTo>
                  <a:pt x="1293" y="2067"/>
                </a:lnTo>
                <a:lnTo>
                  <a:pt x="1323" y="2082"/>
                </a:lnTo>
                <a:lnTo>
                  <a:pt x="1346" y="2093"/>
                </a:lnTo>
                <a:lnTo>
                  <a:pt x="1354" y="2096"/>
                </a:lnTo>
                <a:lnTo>
                  <a:pt x="1359" y="2097"/>
                </a:lnTo>
                <a:lnTo>
                  <a:pt x="1359" y="2097"/>
                </a:lnTo>
                <a:lnTo>
                  <a:pt x="1367" y="2097"/>
                </a:lnTo>
                <a:lnTo>
                  <a:pt x="1374" y="2096"/>
                </a:lnTo>
                <a:lnTo>
                  <a:pt x="1383" y="2093"/>
                </a:lnTo>
                <a:lnTo>
                  <a:pt x="1386" y="2093"/>
                </a:lnTo>
                <a:lnTo>
                  <a:pt x="1391" y="2093"/>
                </a:lnTo>
                <a:lnTo>
                  <a:pt x="1396" y="2094"/>
                </a:lnTo>
                <a:lnTo>
                  <a:pt x="1402" y="2097"/>
                </a:lnTo>
                <a:lnTo>
                  <a:pt x="1402" y="2097"/>
                </a:lnTo>
                <a:lnTo>
                  <a:pt x="1402" y="2156"/>
                </a:lnTo>
                <a:lnTo>
                  <a:pt x="1402" y="2156"/>
                </a:lnTo>
                <a:lnTo>
                  <a:pt x="1402" y="2156"/>
                </a:lnTo>
                <a:lnTo>
                  <a:pt x="1398" y="2164"/>
                </a:lnTo>
                <a:lnTo>
                  <a:pt x="1390" y="2170"/>
                </a:lnTo>
                <a:lnTo>
                  <a:pt x="1382" y="2176"/>
                </a:lnTo>
                <a:lnTo>
                  <a:pt x="1374" y="2181"/>
                </a:lnTo>
                <a:lnTo>
                  <a:pt x="1364" y="2186"/>
                </a:lnTo>
                <a:lnTo>
                  <a:pt x="1359" y="2191"/>
                </a:lnTo>
                <a:lnTo>
                  <a:pt x="1354" y="2195"/>
                </a:lnTo>
                <a:lnTo>
                  <a:pt x="1352" y="2197"/>
                </a:lnTo>
                <a:lnTo>
                  <a:pt x="1352" y="2200"/>
                </a:lnTo>
                <a:lnTo>
                  <a:pt x="1352" y="2200"/>
                </a:lnTo>
                <a:lnTo>
                  <a:pt x="1353" y="2207"/>
                </a:lnTo>
                <a:lnTo>
                  <a:pt x="1355" y="2214"/>
                </a:lnTo>
                <a:lnTo>
                  <a:pt x="1360" y="2219"/>
                </a:lnTo>
                <a:lnTo>
                  <a:pt x="1364" y="2226"/>
                </a:lnTo>
                <a:lnTo>
                  <a:pt x="1369" y="2232"/>
                </a:lnTo>
                <a:lnTo>
                  <a:pt x="1373" y="2238"/>
                </a:lnTo>
                <a:lnTo>
                  <a:pt x="1376" y="2245"/>
                </a:lnTo>
                <a:lnTo>
                  <a:pt x="1377" y="2252"/>
                </a:lnTo>
                <a:lnTo>
                  <a:pt x="1377" y="2252"/>
                </a:lnTo>
                <a:lnTo>
                  <a:pt x="1376" y="2264"/>
                </a:lnTo>
                <a:lnTo>
                  <a:pt x="1373" y="2275"/>
                </a:lnTo>
                <a:lnTo>
                  <a:pt x="1368" y="2284"/>
                </a:lnTo>
                <a:lnTo>
                  <a:pt x="1361" y="2293"/>
                </a:lnTo>
                <a:lnTo>
                  <a:pt x="1352" y="2300"/>
                </a:lnTo>
                <a:lnTo>
                  <a:pt x="1343" y="2306"/>
                </a:lnTo>
                <a:lnTo>
                  <a:pt x="1332" y="2310"/>
                </a:lnTo>
                <a:lnTo>
                  <a:pt x="1321" y="2315"/>
                </a:lnTo>
                <a:lnTo>
                  <a:pt x="1308" y="2317"/>
                </a:lnTo>
                <a:lnTo>
                  <a:pt x="1295" y="2321"/>
                </a:lnTo>
                <a:lnTo>
                  <a:pt x="1269" y="2323"/>
                </a:lnTo>
                <a:lnTo>
                  <a:pt x="1244" y="2324"/>
                </a:lnTo>
                <a:lnTo>
                  <a:pt x="1219" y="2325"/>
                </a:lnTo>
                <a:lnTo>
                  <a:pt x="1219" y="2325"/>
                </a:lnTo>
                <a:lnTo>
                  <a:pt x="1216" y="2325"/>
                </a:lnTo>
                <a:lnTo>
                  <a:pt x="1213" y="2326"/>
                </a:lnTo>
                <a:lnTo>
                  <a:pt x="1205" y="2331"/>
                </a:lnTo>
                <a:lnTo>
                  <a:pt x="1198" y="2339"/>
                </a:lnTo>
                <a:lnTo>
                  <a:pt x="1191" y="2347"/>
                </a:lnTo>
                <a:lnTo>
                  <a:pt x="1184" y="2357"/>
                </a:lnTo>
                <a:lnTo>
                  <a:pt x="1179" y="2367"/>
                </a:lnTo>
                <a:lnTo>
                  <a:pt x="1177" y="2376"/>
                </a:lnTo>
                <a:lnTo>
                  <a:pt x="1176" y="2384"/>
                </a:lnTo>
                <a:lnTo>
                  <a:pt x="1176" y="2384"/>
                </a:lnTo>
                <a:lnTo>
                  <a:pt x="1176" y="2393"/>
                </a:lnTo>
                <a:lnTo>
                  <a:pt x="1178" y="2400"/>
                </a:lnTo>
                <a:lnTo>
                  <a:pt x="1180" y="2407"/>
                </a:lnTo>
                <a:lnTo>
                  <a:pt x="1183" y="2413"/>
                </a:lnTo>
                <a:lnTo>
                  <a:pt x="1187" y="2423"/>
                </a:lnTo>
                <a:lnTo>
                  <a:pt x="1190" y="2429"/>
                </a:lnTo>
                <a:lnTo>
                  <a:pt x="1190" y="2436"/>
                </a:lnTo>
                <a:lnTo>
                  <a:pt x="1190" y="2436"/>
                </a:lnTo>
                <a:lnTo>
                  <a:pt x="1190" y="2443"/>
                </a:lnTo>
                <a:lnTo>
                  <a:pt x="1186" y="2448"/>
                </a:lnTo>
                <a:lnTo>
                  <a:pt x="1182" y="2452"/>
                </a:lnTo>
                <a:lnTo>
                  <a:pt x="1177" y="2454"/>
                </a:lnTo>
                <a:lnTo>
                  <a:pt x="1170" y="2456"/>
                </a:lnTo>
                <a:lnTo>
                  <a:pt x="1163" y="2456"/>
                </a:lnTo>
                <a:lnTo>
                  <a:pt x="1149" y="2458"/>
                </a:lnTo>
                <a:lnTo>
                  <a:pt x="1149" y="2458"/>
                </a:lnTo>
                <a:lnTo>
                  <a:pt x="1149" y="2454"/>
                </a:lnTo>
                <a:lnTo>
                  <a:pt x="1149" y="2454"/>
                </a:lnTo>
                <a:lnTo>
                  <a:pt x="1149" y="2454"/>
                </a:lnTo>
                <a:lnTo>
                  <a:pt x="1144" y="2433"/>
                </a:lnTo>
                <a:lnTo>
                  <a:pt x="1138" y="2412"/>
                </a:lnTo>
                <a:lnTo>
                  <a:pt x="1133" y="2391"/>
                </a:lnTo>
                <a:lnTo>
                  <a:pt x="1130" y="2369"/>
                </a:lnTo>
                <a:lnTo>
                  <a:pt x="1129" y="2347"/>
                </a:lnTo>
                <a:lnTo>
                  <a:pt x="1129" y="2323"/>
                </a:lnTo>
                <a:lnTo>
                  <a:pt x="1131" y="2299"/>
                </a:lnTo>
                <a:lnTo>
                  <a:pt x="1134" y="2273"/>
                </a:lnTo>
                <a:lnTo>
                  <a:pt x="1134" y="2273"/>
                </a:lnTo>
                <a:lnTo>
                  <a:pt x="1127" y="2272"/>
                </a:lnTo>
                <a:lnTo>
                  <a:pt x="1121" y="2271"/>
                </a:lnTo>
                <a:lnTo>
                  <a:pt x="1115" y="2269"/>
                </a:lnTo>
                <a:lnTo>
                  <a:pt x="1110" y="2267"/>
                </a:lnTo>
                <a:lnTo>
                  <a:pt x="1101" y="2260"/>
                </a:lnTo>
                <a:lnTo>
                  <a:pt x="1094" y="2252"/>
                </a:lnTo>
                <a:lnTo>
                  <a:pt x="1087" y="2242"/>
                </a:lnTo>
                <a:lnTo>
                  <a:pt x="1081" y="2234"/>
                </a:lnTo>
                <a:lnTo>
                  <a:pt x="1076" y="2226"/>
                </a:lnTo>
                <a:lnTo>
                  <a:pt x="1069" y="2218"/>
                </a:lnTo>
                <a:lnTo>
                  <a:pt x="1069" y="2218"/>
                </a:lnTo>
                <a:lnTo>
                  <a:pt x="1065" y="2212"/>
                </a:lnTo>
                <a:lnTo>
                  <a:pt x="1061" y="2208"/>
                </a:lnTo>
                <a:lnTo>
                  <a:pt x="1054" y="2206"/>
                </a:lnTo>
                <a:lnTo>
                  <a:pt x="1047" y="2203"/>
                </a:lnTo>
                <a:lnTo>
                  <a:pt x="1047" y="2203"/>
                </a:lnTo>
                <a:lnTo>
                  <a:pt x="1039" y="2210"/>
                </a:lnTo>
                <a:lnTo>
                  <a:pt x="1032" y="2218"/>
                </a:lnTo>
                <a:lnTo>
                  <a:pt x="1026" y="2226"/>
                </a:lnTo>
                <a:lnTo>
                  <a:pt x="1019" y="2235"/>
                </a:lnTo>
                <a:lnTo>
                  <a:pt x="1009" y="2256"/>
                </a:lnTo>
                <a:lnTo>
                  <a:pt x="997" y="2278"/>
                </a:lnTo>
                <a:lnTo>
                  <a:pt x="978" y="2326"/>
                </a:lnTo>
                <a:lnTo>
                  <a:pt x="966" y="2349"/>
                </a:lnTo>
                <a:lnTo>
                  <a:pt x="955" y="2372"/>
                </a:lnTo>
                <a:lnTo>
                  <a:pt x="955" y="2372"/>
                </a:lnTo>
                <a:lnTo>
                  <a:pt x="944" y="2391"/>
                </a:lnTo>
                <a:lnTo>
                  <a:pt x="933" y="2407"/>
                </a:lnTo>
                <a:lnTo>
                  <a:pt x="921" y="2424"/>
                </a:lnTo>
                <a:lnTo>
                  <a:pt x="909" y="2439"/>
                </a:lnTo>
                <a:lnTo>
                  <a:pt x="895" y="2453"/>
                </a:lnTo>
                <a:lnTo>
                  <a:pt x="881" y="2466"/>
                </a:lnTo>
                <a:lnTo>
                  <a:pt x="867" y="2477"/>
                </a:lnTo>
                <a:lnTo>
                  <a:pt x="854" y="2486"/>
                </a:lnTo>
                <a:lnTo>
                  <a:pt x="841" y="2494"/>
                </a:lnTo>
                <a:lnTo>
                  <a:pt x="827" y="2500"/>
                </a:lnTo>
                <a:lnTo>
                  <a:pt x="814" y="2504"/>
                </a:lnTo>
                <a:lnTo>
                  <a:pt x="803" y="2504"/>
                </a:lnTo>
                <a:lnTo>
                  <a:pt x="797" y="2504"/>
                </a:lnTo>
                <a:lnTo>
                  <a:pt x="793" y="2502"/>
                </a:lnTo>
                <a:lnTo>
                  <a:pt x="787" y="2500"/>
                </a:lnTo>
                <a:lnTo>
                  <a:pt x="782" y="2498"/>
                </a:lnTo>
                <a:lnTo>
                  <a:pt x="779" y="2494"/>
                </a:lnTo>
                <a:lnTo>
                  <a:pt x="774" y="2490"/>
                </a:lnTo>
                <a:lnTo>
                  <a:pt x="771" y="2485"/>
                </a:lnTo>
                <a:lnTo>
                  <a:pt x="767" y="2479"/>
                </a:lnTo>
                <a:lnTo>
                  <a:pt x="767" y="2479"/>
                </a:lnTo>
                <a:lnTo>
                  <a:pt x="755" y="2455"/>
                </a:lnTo>
                <a:lnTo>
                  <a:pt x="745" y="2435"/>
                </a:lnTo>
                <a:lnTo>
                  <a:pt x="739" y="2420"/>
                </a:lnTo>
                <a:lnTo>
                  <a:pt x="733" y="2407"/>
                </a:lnTo>
                <a:lnTo>
                  <a:pt x="727" y="2398"/>
                </a:lnTo>
                <a:lnTo>
                  <a:pt x="724" y="2394"/>
                </a:lnTo>
                <a:lnTo>
                  <a:pt x="720" y="2392"/>
                </a:lnTo>
                <a:lnTo>
                  <a:pt x="714" y="2390"/>
                </a:lnTo>
                <a:lnTo>
                  <a:pt x="709" y="2387"/>
                </a:lnTo>
                <a:lnTo>
                  <a:pt x="694" y="2384"/>
                </a:lnTo>
                <a:lnTo>
                  <a:pt x="694" y="2384"/>
                </a:lnTo>
                <a:lnTo>
                  <a:pt x="703" y="2371"/>
                </a:lnTo>
                <a:lnTo>
                  <a:pt x="709" y="2360"/>
                </a:lnTo>
                <a:lnTo>
                  <a:pt x="711" y="2347"/>
                </a:lnTo>
                <a:lnTo>
                  <a:pt x="712" y="2332"/>
                </a:lnTo>
                <a:lnTo>
                  <a:pt x="712" y="2332"/>
                </a:lnTo>
                <a:lnTo>
                  <a:pt x="712" y="2314"/>
                </a:lnTo>
                <a:lnTo>
                  <a:pt x="712" y="2314"/>
                </a:lnTo>
                <a:lnTo>
                  <a:pt x="713" y="2306"/>
                </a:lnTo>
                <a:lnTo>
                  <a:pt x="715" y="2300"/>
                </a:lnTo>
                <a:lnTo>
                  <a:pt x="718" y="2295"/>
                </a:lnTo>
                <a:lnTo>
                  <a:pt x="722" y="2292"/>
                </a:lnTo>
                <a:lnTo>
                  <a:pt x="726" y="2288"/>
                </a:lnTo>
                <a:lnTo>
                  <a:pt x="729" y="2284"/>
                </a:lnTo>
                <a:lnTo>
                  <a:pt x="733" y="2278"/>
                </a:lnTo>
                <a:lnTo>
                  <a:pt x="734" y="2270"/>
                </a:lnTo>
                <a:lnTo>
                  <a:pt x="734" y="2270"/>
                </a:lnTo>
                <a:lnTo>
                  <a:pt x="734" y="2273"/>
                </a:lnTo>
                <a:lnTo>
                  <a:pt x="734" y="2270"/>
                </a:lnTo>
                <a:lnTo>
                  <a:pt x="734" y="2270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2" name="Freeform 17"/>
          <p:cNvSpPr>
            <a:spLocks/>
          </p:cNvSpPr>
          <p:nvPr/>
        </p:nvSpPr>
        <p:spPr bwMode="auto">
          <a:xfrm>
            <a:off x="8905875" y="4856163"/>
            <a:ext cx="52388" cy="152400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0" y="66"/>
              </a:cxn>
              <a:cxn ang="0">
                <a:pos x="1" y="75"/>
              </a:cxn>
              <a:cxn ang="0">
                <a:pos x="2" y="82"/>
              </a:cxn>
              <a:cxn ang="0">
                <a:pos x="8" y="92"/>
              </a:cxn>
              <a:cxn ang="0">
                <a:pos x="8" y="92"/>
              </a:cxn>
              <a:cxn ang="0">
                <a:pos x="11" y="106"/>
              </a:cxn>
              <a:cxn ang="0">
                <a:pos x="14" y="121"/>
              </a:cxn>
              <a:cxn ang="0">
                <a:pos x="17" y="135"/>
              </a:cxn>
              <a:cxn ang="0">
                <a:pos x="22" y="148"/>
              </a:cxn>
              <a:cxn ang="0">
                <a:pos x="24" y="154"/>
              </a:cxn>
              <a:cxn ang="0">
                <a:pos x="27" y="159"/>
              </a:cxn>
              <a:cxn ang="0">
                <a:pos x="31" y="165"/>
              </a:cxn>
              <a:cxn ang="0">
                <a:pos x="35" y="168"/>
              </a:cxn>
              <a:cxn ang="0">
                <a:pos x="41" y="172"/>
              </a:cxn>
              <a:cxn ang="0">
                <a:pos x="47" y="174"/>
              </a:cxn>
              <a:cxn ang="0">
                <a:pos x="54" y="176"/>
              </a:cxn>
              <a:cxn ang="0">
                <a:pos x="63" y="176"/>
              </a:cxn>
              <a:cxn ang="0">
                <a:pos x="63" y="176"/>
              </a:cxn>
              <a:cxn ang="0">
                <a:pos x="63" y="166"/>
              </a:cxn>
              <a:cxn ang="0">
                <a:pos x="63" y="166"/>
              </a:cxn>
              <a:cxn ang="0">
                <a:pos x="63" y="166"/>
              </a:cxn>
              <a:cxn ang="0">
                <a:pos x="56" y="158"/>
              </a:cxn>
              <a:cxn ang="0">
                <a:pos x="48" y="146"/>
              </a:cxn>
              <a:cxn ang="0">
                <a:pos x="42" y="134"/>
              </a:cxn>
              <a:cxn ang="0">
                <a:pos x="41" y="127"/>
              </a:cxn>
              <a:cxn ang="0">
                <a:pos x="40" y="121"/>
              </a:cxn>
              <a:cxn ang="0">
                <a:pos x="40" y="121"/>
              </a:cxn>
              <a:cxn ang="0">
                <a:pos x="40" y="69"/>
              </a:cxn>
              <a:cxn ang="0">
                <a:pos x="40" y="69"/>
              </a:cxn>
              <a:cxn ang="0">
                <a:pos x="42" y="59"/>
              </a:cxn>
              <a:cxn ang="0">
                <a:pos x="46" y="46"/>
              </a:cxn>
              <a:cxn ang="0">
                <a:pos x="55" y="26"/>
              </a:cxn>
              <a:cxn ang="0">
                <a:pos x="55" y="26"/>
              </a:cxn>
              <a:cxn ang="0">
                <a:pos x="55" y="0"/>
              </a:cxn>
              <a:cxn ang="0">
                <a:pos x="55" y="0"/>
              </a:cxn>
              <a:cxn ang="0">
                <a:pos x="55" y="0"/>
              </a:cxn>
              <a:cxn ang="0">
                <a:pos x="45" y="4"/>
              </a:cxn>
              <a:cxn ang="0">
                <a:pos x="34" y="8"/>
              </a:cxn>
              <a:cxn ang="0">
                <a:pos x="25" y="14"/>
              </a:cxn>
              <a:cxn ang="0">
                <a:pos x="17" y="22"/>
              </a:cxn>
              <a:cxn ang="0">
                <a:pos x="10" y="31"/>
              </a:cxn>
              <a:cxn ang="0">
                <a:pos x="4" y="42"/>
              </a:cxn>
              <a:cxn ang="0">
                <a:pos x="1" y="53"/>
              </a:cxn>
              <a:cxn ang="0">
                <a:pos x="0" y="66"/>
              </a:cxn>
              <a:cxn ang="0">
                <a:pos x="0" y="66"/>
              </a:cxn>
              <a:cxn ang="0">
                <a:pos x="0" y="66"/>
              </a:cxn>
            </a:cxnLst>
            <a:rect l="0" t="0" r="r" b="b"/>
            <a:pathLst>
              <a:path w="63" h="176">
                <a:moveTo>
                  <a:pt x="0" y="66"/>
                </a:moveTo>
                <a:lnTo>
                  <a:pt x="0" y="66"/>
                </a:lnTo>
                <a:lnTo>
                  <a:pt x="1" y="75"/>
                </a:lnTo>
                <a:lnTo>
                  <a:pt x="2" y="82"/>
                </a:lnTo>
                <a:lnTo>
                  <a:pt x="8" y="92"/>
                </a:lnTo>
                <a:lnTo>
                  <a:pt x="8" y="92"/>
                </a:lnTo>
                <a:lnTo>
                  <a:pt x="11" y="106"/>
                </a:lnTo>
                <a:lnTo>
                  <a:pt x="14" y="121"/>
                </a:lnTo>
                <a:lnTo>
                  <a:pt x="17" y="135"/>
                </a:lnTo>
                <a:lnTo>
                  <a:pt x="22" y="148"/>
                </a:lnTo>
                <a:lnTo>
                  <a:pt x="24" y="154"/>
                </a:lnTo>
                <a:lnTo>
                  <a:pt x="27" y="159"/>
                </a:lnTo>
                <a:lnTo>
                  <a:pt x="31" y="165"/>
                </a:lnTo>
                <a:lnTo>
                  <a:pt x="35" y="168"/>
                </a:lnTo>
                <a:lnTo>
                  <a:pt x="41" y="172"/>
                </a:lnTo>
                <a:lnTo>
                  <a:pt x="47" y="174"/>
                </a:lnTo>
                <a:lnTo>
                  <a:pt x="54" y="176"/>
                </a:lnTo>
                <a:lnTo>
                  <a:pt x="63" y="176"/>
                </a:lnTo>
                <a:lnTo>
                  <a:pt x="63" y="176"/>
                </a:lnTo>
                <a:lnTo>
                  <a:pt x="63" y="166"/>
                </a:lnTo>
                <a:lnTo>
                  <a:pt x="63" y="166"/>
                </a:lnTo>
                <a:lnTo>
                  <a:pt x="63" y="166"/>
                </a:lnTo>
                <a:lnTo>
                  <a:pt x="56" y="158"/>
                </a:lnTo>
                <a:lnTo>
                  <a:pt x="48" y="146"/>
                </a:lnTo>
                <a:lnTo>
                  <a:pt x="42" y="134"/>
                </a:lnTo>
                <a:lnTo>
                  <a:pt x="41" y="127"/>
                </a:lnTo>
                <a:lnTo>
                  <a:pt x="40" y="121"/>
                </a:lnTo>
                <a:lnTo>
                  <a:pt x="40" y="121"/>
                </a:lnTo>
                <a:lnTo>
                  <a:pt x="40" y="69"/>
                </a:lnTo>
                <a:lnTo>
                  <a:pt x="40" y="69"/>
                </a:lnTo>
                <a:lnTo>
                  <a:pt x="42" y="59"/>
                </a:lnTo>
                <a:lnTo>
                  <a:pt x="46" y="46"/>
                </a:lnTo>
                <a:lnTo>
                  <a:pt x="55" y="26"/>
                </a:lnTo>
                <a:lnTo>
                  <a:pt x="55" y="26"/>
                </a:lnTo>
                <a:lnTo>
                  <a:pt x="55" y="0"/>
                </a:lnTo>
                <a:lnTo>
                  <a:pt x="55" y="0"/>
                </a:lnTo>
                <a:lnTo>
                  <a:pt x="55" y="0"/>
                </a:lnTo>
                <a:lnTo>
                  <a:pt x="45" y="4"/>
                </a:lnTo>
                <a:lnTo>
                  <a:pt x="34" y="8"/>
                </a:lnTo>
                <a:lnTo>
                  <a:pt x="25" y="14"/>
                </a:lnTo>
                <a:lnTo>
                  <a:pt x="17" y="22"/>
                </a:lnTo>
                <a:lnTo>
                  <a:pt x="10" y="31"/>
                </a:lnTo>
                <a:lnTo>
                  <a:pt x="4" y="42"/>
                </a:lnTo>
                <a:lnTo>
                  <a:pt x="1" y="53"/>
                </a:lnTo>
                <a:lnTo>
                  <a:pt x="0" y="66"/>
                </a:lnTo>
                <a:lnTo>
                  <a:pt x="0" y="66"/>
                </a:lnTo>
                <a:lnTo>
                  <a:pt x="0" y="6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3" name="Freeform 18"/>
          <p:cNvSpPr>
            <a:spLocks/>
          </p:cNvSpPr>
          <p:nvPr/>
        </p:nvSpPr>
        <p:spPr bwMode="auto">
          <a:xfrm>
            <a:off x="8934450" y="4611688"/>
            <a:ext cx="55563" cy="231775"/>
          </a:xfrm>
          <a:custGeom>
            <a:avLst/>
            <a:gdLst/>
            <a:ahLst/>
            <a:cxnLst>
              <a:cxn ang="0">
                <a:pos x="8" y="169"/>
              </a:cxn>
              <a:cxn ang="0">
                <a:pos x="8" y="110"/>
              </a:cxn>
              <a:cxn ang="0">
                <a:pos x="3" y="95"/>
              </a:cxn>
              <a:cxn ang="0">
                <a:pos x="0" y="77"/>
              </a:cxn>
              <a:cxn ang="0">
                <a:pos x="0" y="65"/>
              </a:cxn>
              <a:cxn ang="0">
                <a:pos x="8" y="65"/>
              </a:cxn>
              <a:cxn ang="0">
                <a:pos x="18" y="59"/>
              </a:cxn>
              <a:cxn ang="0">
                <a:pos x="25" y="50"/>
              </a:cxn>
              <a:cxn ang="0">
                <a:pos x="31" y="33"/>
              </a:cxn>
              <a:cxn ang="0">
                <a:pos x="38" y="10"/>
              </a:cxn>
              <a:cxn ang="0">
                <a:pos x="42" y="3"/>
              </a:cxn>
              <a:cxn ang="0">
                <a:pos x="51" y="0"/>
              </a:cxn>
              <a:cxn ang="0">
                <a:pos x="54" y="1"/>
              </a:cxn>
              <a:cxn ang="0">
                <a:pos x="62" y="8"/>
              </a:cxn>
              <a:cxn ang="0">
                <a:pos x="66" y="21"/>
              </a:cxn>
              <a:cxn ang="0">
                <a:pos x="65" y="31"/>
              </a:cxn>
              <a:cxn ang="0">
                <a:pos x="62" y="43"/>
              </a:cxn>
              <a:cxn ang="0">
                <a:pos x="54" y="59"/>
              </a:cxn>
              <a:cxn ang="0">
                <a:pos x="51" y="73"/>
              </a:cxn>
              <a:cxn ang="0">
                <a:pos x="53" y="89"/>
              </a:cxn>
              <a:cxn ang="0">
                <a:pos x="57" y="115"/>
              </a:cxn>
              <a:cxn ang="0">
                <a:pos x="58" y="129"/>
              </a:cxn>
              <a:cxn ang="0">
                <a:pos x="55" y="140"/>
              </a:cxn>
              <a:cxn ang="0">
                <a:pos x="48" y="148"/>
              </a:cxn>
              <a:cxn ang="0">
                <a:pos x="38" y="160"/>
              </a:cxn>
              <a:cxn ang="0">
                <a:pos x="36" y="165"/>
              </a:cxn>
              <a:cxn ang="0">
                <a:pos x="39" y="178"/>
              </a:cxn>
              <a:cxn ang="0">
                <a:pos x="49" y="203"/>
              </a:cxn>
              <a:cxn ang="0">
                <a:pos x="51" y="216"/>
              </a:cxn>
              <a:cxn ang="0">
                <a:pos x="51" y="224"/>
              </a:cxn>
              <a:cxn ang="0">
                <a:pos x="46" y="241"/>
              </a:cxn>
              <a:cxn ang="0">
                <a:pos x="41" y="259"/>
              </a:cxn>
              <a:cxn ang="0">
                <a:pos x="40" y="264"/>
              </a:cxn>
              <a:cxn ang="0">
                <a:pos x="32" y="257"/>
              </a:cxn>
              <a:cxn ang="0">
                <a:pos x="30" y="248"/>
              </a:cxn>
              <a:cxn ang="0">
                <a:pos x="30" y="224"/>
              </a:cxn>
              <a:cxn ang="0">
                <a:pos x="28" y="221"/>
              </a:cxn>
              <a:cxn ang="0">
                <a:pos x="25" y="216"/>
              </a:cxn>
              <a:cxn ang="0">
                <a:pos x="18" y="215"/>
              </a:cxn>
              <a:cxn ang="0">
                <a:pos x="15" y="213"/>
              </a:cxn>
              <a:cxn ang="0">
                <a:pos x="9" y="202"/>
              </a:cxn>
              <a:cxn ang="0">
                <a:pos x="8" y="189"/>
              </a:cxn>
              <a:cxn ang="0">
                <a:pos x="9" y="172"/>
              </a:cxn>
              <a:cxn ang="0">
                <a:pos x="8" y="169"/>
              </a:cxn>
            </a:cxnLst>
            <a:rect l="0" t="0" r="r" b="b"/>
            <a:pathLst>
              <a:path w="66" h="264">
                <a:moveTo>
                  <a:pt x="8" y="169"/>
                </a:moveTo>
                <a:lnTo>
                  <a:pt x="8" y="169"/>
                </a:lnTo>
                <a:lnTo>
                  <a:pt x="8" y="110"/>
                </a:lnTo>
                <a:lnTo>
                  <a:pt x="8" y="110"/>
                </a:lnTo>
                <a:lnTo>
                  <a:pt x="7" y="102"/>
                </a:lnTo>
                <a:lnTo>
                  <a:pt x="3" y="95"/>
                </a:lnTo>
                <a:lnTo>
                  <a:pt x="1" y="87"/>
                </a:lnTo>
                <a:lnTo>
                  <a:pt x="0" y="77"/>
                </a:lnTo>
                <a:lnTo>
                  <a:pt x="0" y="77"/>
                </a:lnTo>
                <a:lnTo>
                  <a:pt x="0" y="65"/>
                </a:lnTo>
                <a:lnTo>
                  <a:pt x="0" y="65"/>
                </a:lnTo>
                <a:lnTo>
                  <a:pt x="8" y="65"/>
                </a:lnTo>
                <a:lnTo>
                  <a:pt x="13" y="63"/>
                </a:lnTo>
                <a:lnTo>
                  <a:pt x="18" y="59"/>
                </a:lnTo>
                <a:lnTo>
                  <a:pt x="23" y="56"/>
                </a:lnTo>
                <a:lnTo>
                  <a:pt x="25" y="50"/>
                </a:lnTo>
                <a:lnTo>
                  <a:pt x="27" y="45"/>
                </a:lnTo>
                <a:lnTo>
                  <a:pt x="31" y="33"/>
                </a:lnTo>
                <a:lnTo>
                  <a:pt x="34" y="20"/>
                </a:lnTo>
                <a:lnTo>
                  <a:pt x="38" y="10"/>
                </a:lnTo>
                <a:lnTo>
                  <a:pt x="40" y="7"/>
                </a:lnTo>
                <a:lnTo>
                  <a:pt x="42" y="3"/>
                </a:lnTo>
                <a:lnTo>
                  <a:pt x="47" y="1"/>
                </a:lnTo>
                <a:lnTo>
                  <a:pt x="51" y="0"/>
                </a:lnTo>
                <a:lnTo>
                  <a:pt x="51" y="0"/>
                </a:lnTo>
                <a:lnTo>
                  <a:pt x="54" y="1"/>
                </a:lnTo>
                <a:lnTo>
                  <a:pt x="57" y="2"/>
                </a:lnTo>
                <a:lnTo>
                  <a:pt x="62" y="8"/>
                </a:lnTo>
                <a:lnTo>
                  <a:pt x="65" y="16"/>
                </a:lnTo>
                <a:lnTo>
                  <a:pt x="66" y="21"/>
                </a:lnTo>
                <a:lnTo>
                  <a:pt x="66" y="21"/>
                </a:lnTo>
                <a:lnTo>
                  <a:pt x="65" y="31"/>
                </a:lnTo>
                <a:lnTo>
                  <a:pt x="64" y="38"/>
                </a:lnTo>
                <a:lnTo>
                  <a:pt x="62" y="43"/>
                </a:lnTo>
                <a:lnTo>
                  <a:pt x="59" y="49"/>
                </a:lnTo>
                <a:lnTo>
                  <a:pt x="54" y="59"/>
                </a:lnTo>
                <a:lnTo>
                  <a:pt x="53" y="66"/>
                </a:lnTo>
                <a:lnTo>
                  <a:pt x="51" y="73"/>
                </a:lnTo>
                <a:lnTo>
                  <a:pt x="51" y="73"/>
                </a:lnTo>
                <a:lnTo>
                  <a:pt x="53" y="89"/>
                </a:lnTo>
                <a:lnTo>
                  <a:pt x="55" y="102"/>
                </a:lnTo>
                <a:lnTo>
                  <a:pt x="57" y="115"/>
                </a:lnTo>
                <a:lnTo>
                  <a:pt x="58" y="129"/>
                </a:lnTo>
                <a:lnTo>
                  <a:pt x="58" y="129"/>
                </a:lnTo>
                <a:lnTo>
                  <a:pt x="57" y="135"/>
                </a:lnTo>
                <a:lnTo>
                  <a:pt x="55" y="140"/>
                </a:lnTo>
                <a:lnTo>
                  <a:pt x="51" y="145"/>
                </a:lnTo>
                <a:lnTo>
                  <a:pt x="48" y="148"/>
                </a:lnTo>
                <a:lnTo>
                  <a:pt x="40" y="156"/>
                </a:lnTo>
                <a:lnTo>
                  <a:pt x="38" y="160"/>
                </a:lnTo>
                <a:lnTo>
                  <a:pt x="36" y="165"/>
                </a:lnTo>
                <a:lnTo>
                  <a:pt x="36" y="165"/>
                </a:lnTo>
                <a:lnTo>
                  <a:pt x="38" y="172"/>
                </a:lnTo>
                <a:lnTo>
                  <a:pt x="39" y="178"/>
                </a:lnTo>
                <a:lnTo>
                  <a:pt x="45" y="191"/>
                </a:lnTo>
                <a:lnTo>
                  <a:pt x="49" y="203"/>
                </a:lnTo>
                <a:lnTo>
                  <a:pt x="51" y="209"/>
                </a:lnTo>
                <a:lnTo>
                  <a:pt x="51" y="216"/>
                </a:lnTo>
                <a:lnTo>
                  <a:pt x="51" y="216"/>
                </a:lnTo>
                <a:lnTo>
                  <a:pt x="51" y="224"/>
                </a:lnTo>
                <a:lnTo>
                  <a:pt x="50" y="231"/>
                </a:lnTo>
                <a:lnTo>
                  <a:pt x="46" y="241"/>
                </a:lnTo>
                <a:lnTo>
                  <a:pt x="42" y="253"/>
                </a:lnTo>
                <a:lnTo>
                  <a:pt x="41" y="259"/>
                </a:lnTo>
                <a:lnTo>
                  <a:pt x="40" y="264"/>
                </a:lnTo>
                <a:lnTo>
                  <a:pt x="40" y="264"/>
                </a:lnTo>
                <a:lnTo>
                  <a:pt x="35" y="261"/>
                </a:lnTo>
                <a:lnTo>
                  <a:pt x="32" y="257"/>
                </a:lnTo>
                <a:lnTo>
                  <a:pt x="31" y="253"/>
                </a:lnTo>
                <a:lnTo>
                  <a:pt x="30" y="248"/>
                </a:lnTo>
                <a:lnTo>
                  <a:pt x="28" y="237"/>
                </a:lnTo>
                <a:lnTo>
                  <a:pt x="30" y="224"/>
                </a:lnTo>
                <a:lnTo>
                  <a:pt x="30" y="224"/>
                </a:lnTo>
                <a:lnTo>
                  <a:pt x="28" y="221"/>
                </a:lnTo>
                <a:lnTo>
                  <a:pt x="27" y="218"/>
                </a:lnTo>
                <a:lnTo>
                  <a:pt x="25" y="216"/>
                </a:lnTo>
                <a:lnTo>
                  <a:pt x="23" y="216"/>
                </a:lnTo>
                <a:lnTo>
                  <a:pt x="18" y="215"/>
                </a:lnTo>
                <a:lnTo>
                  <a:pt x="15" y="213"/>
                </a:lnTo>
                <a:lnTo>
                  <a:pt x="15" y="213"/>
                </a:lnTo>
                <a:lnTo>
                  <a:pt x="11" y="208"/>
                </a:lnTo>
                <a:lnTo>
                  <a:pt x="9" y="202"/>
                </a:lnTo>
                <a:lnTo>
                  <a:pt x="8" y="196"/>
                </a:lnTo>
                <a:lnTo>
                  <a:pt x="8" y="189"/>
                </a:lnTo>
                <a:lnTo>
                  <a:pt x="9" y="177"/>
                </a:lnTo>
                <a:lnTo>
                  <a:pt x="9" y="172"/>
                </a:lnTo>
                <a:lnTo>
                  <a:pt x="8" y="169"/>
                </a:lnTo>
                <a:lnTo>
                  <a:pt x="8" y="169"/>
                </a:lnTo>
                <a:lnTo>
                  <a:pt x="8" y="16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4" name="Freeform 19"/>
          <p:cNvSpPr>
            <a:spLocks/>
          </p:cNvSpPr>
          <p:nvPr/>
        </p:nvSpPr>
        <p:spPr bwMode="auto">
          <a:xfrm>
            <a:off x="8999538" y="4889500"/>
            <a:ext cx="20637" cy="36513"/>
          </a:xfrm>
          <a:custGeom>
            <a:avLst/>
            <a:gdLst/>
            <a:ahLst/>
            <a:cxnLst>
              <a:cxn ang="0">
                <a:pos x="26" y="10"/>
              </a:cxn>
              <a:cxn ang="0">
                <a:pos x="26" y="10"/>
              </a:cxn>
              <a:cxn ang="0">
                <a:pos x="23" y="10"/>
              </a:cxn>
              <a:cxn ang="0">
                <a:pos x="22" y="9"/>
              </a:cxn>
              <a:cxn ang="0">
                <a:pos x="18" y="6"/>
              </a:cxn>
              <a:cxn ang="0">
                <a:pos x="17" y="1"/>
              </a:cxn>
              <a:cxn ang="0">
                <a:pos x="16" y="0"/>
              </a:cxn>
              <a:cxn ang="0">
                <a:pos x="15" y="0"/>
              </a:cxn>
              <a:cxn ang="0">
                <a:pos x="15" y="0"/>
              </a:cxn>
              <a:cxn ang="0">
                <a:pos x="11" y="0"/>
              </a:cxn>
              <a:cxn ang="0">
                <a:pos x="8" y="2"/>
              </a:cxn>
              <a:cxn ang="0">
                <a:pos x="5" y="6"/>
              </a:cxn>
              <a:cxn ang="0">
                <a:pos x="3" y="10"/>
              </a:cxn>
              <a:cxn ang="0">
                <a:pos x="1" y="21"/>
              </a:cxn>
              <a:cxn ang="0">
                <a:pos x="0" y="32"/>
              </a:cxn>
              <a:cxn ang="0">
                <a:pos x="0" y="32"/>
              </a:cxn>
              <a:cxn ang="0">
                <a:pos x="0" y="35"/>
              </a:cxn>
              <a:cxn ang="0">
                <a:pos x="1" y="37"/>
              </a:cxn>
              <a:cxn ang="0">
                <a:pos x="4" y="39"/>
              </a:cxn>
              <a:cxn ang="0">
                <a:pos x="8" y="41"/>
              </a:cxn>
              <a:cxn ang="0">
                <a:pos x="11" y="44"/>
              </a:cxn>
              <a:cxn ang="0">
                <a:pos x="11" y="44"/>
              </a:cxn>
              <a:cxn ang="0">
                <a:pos x="20" y="24"/>
              </a:cxn>
              <a:cxn ang="0">
                <a:pos x="25" y="15"/>
              </a:cxn>
              <a:cxn ang="0">
                <a:pos x="26" y="12"/>
              </a:cxn>
              <a:cxn ang="0">
                <a:pos x="26" y="10"/>
              </a:cxn>
              <a:cxn ang="0">
                <a:pos x="26" y="10"/>
              </a:cxn>
              <a:cxn ang="0">
                <a:pos x="26" y="10"/>
              </a:cxn>
            </a:cxnLst>
            <a:rect l="0" t="0" r="r" b="b"/>
            <a:pathLst>
              <a:path w="26" h="44">
                <a:moveTo>
                  <a:pt x="26" y="10"/>
                </a:moveTo>
                <a:lnTo>
                  <a:pt x="26" y="10"/>
                </a:lnTo>
                <a:lnTo>
                  <a:pt x="23" y="10"/>
                </a:lnTo>
                <a:lnTo>
                  <a:pt x="22" y="9"/>
                </a:lnTo>
                <a:lnTo>
                  <a:pt x="18" y="6"/>
                </a:lnTo>
                <a:lnTo>
                  <a:pt x="17" y="1"/>
                </a:lnTo>
                <a:lnTo>
                  <a:pt x="16" y="0"/>
                </a:lnTo>
                <a:lnTo>
                  <a:pt x="15" y="0"/>
                </a:lnTo>
                <a:lnTo>
                  <a:pt x="15" y="0"/>
                </a:lnTo>
                <a:lnTo>
                  <a:pt x="11" y="0"/>
                </a:lnTo>
                <a:lnTo>
                  <a:pt x="8" y="2"/>
                </a:lnTo>
                <a:lnTo>
                  <a:pt x="5" y="6"/>
                </a:lnTo>
                <a:lnTo>
                  <a:pt x="3" y="10"/>
                </a:lnTo>
                <a:lnTo>
                  <a:pt x="1" y="21"/>
                </a:lnTo>
                <a:lnTo>
                  <a:pt x="0" y="32"/>
                </a:lnTo>
                <a:lnTo>
                  <a:pt x="0" y="32"/>
                </a:lnTo>
                <a:lnTo>
                  <a:pt x="0" y="35"/>
                </a:lnTo>
                <a:lnTo>
                  <a:pt x="1" y="37"/>
                </a:lnTo>
                <a:lnTo>
                  <a:pt x="4" y="39"/>
                </a:lnTo>
                <a:lnTo>
                  <a:pt x="8" y="41"/>
                </a:lnTo>
                <a:lnTo>
                  <a:pt x="11" y="44"/>
                </a:lnTo>
                <a:lnTo>
                  <a:pt x="11" y="44"/>
                </a:lnTo>
                <a:lnTo>
                  <a:pt x="20" y="24"/>
                </a:lnTo>
                <a:lnTo>
                  <a:pt x="25" y="15"/>
                </a:lnTo>
                <a:lnTo>
                  <a:pt x="26" y="12"/>
                </a:lnTo>
                <a:lnTo>
                  <a:pt x="26" y="10"/>
                </a:lnTo>
                <a:lnTo>
                  <a:pt x="26" y="10"/>
                </a:lnTo>
                <a:lnTo>
                  <a:pt x="26" y="1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8985250" y="4429125"/>
            <a:ext cx="34925" cy="127000"/>
          </a:xfrm>
          <a:custGeom>
            <a:avLst/>
            <a:gdLst/>
            <a:ahLst/>
            <a:cxnLst>
              <a:cxn ang="0">
                <a:pos x="41" y="31"/>
              </a:cxn>
              <a:cxn ang="0">
                <a:pos x="41" y="31"/>
              </a:cxn>
              <a:cxn ang="0">
                <a:pos x="41" y="97"/>
              </a:cxn>
              <a:cxn ang="0">
                <a:pos x="41" y="97"/>
              </a:cxn>
              <a:cxn ang="0">
                <a:pos x="39" y="106"/>
              </a:cxn>
              <a:cxn ang="0">
                <a:pos x="34" y="122"/>
              </a:cxn>
              <a:cxn ang="0">
                <a:pos x="30" y="137"/>
              </a:cxn>
              <a:cxn ang="0">
                <a:pos x="27" y="143"/>
              </a:cxn>
              <a:cxn ang="0">
                <a:pos x="26" y="145"/>
              </a:cxn>
              <a:cxn ang="0">
                <a:pos x="26" y="145"/>
              </a:cxn>
              <a:cxn ang="0">
                <a:pos x="17" y="129"/>
              </a:cxn>
              <a:cxn ang="0">
                <a:pos x="9" y="112"/>
              </a:cxn>
              <a:cxn ang="0">
                <a:pos x="6" y="104"/>
              </a:cxn>
              <a:cxn ang="0">
                <a:pos x="2" y="93"/>
              </a:cxn>
              <a:cxn ang="0">
                <a:pos x="1" y="83"/>
              </a:cxn>
              <a:cxn ang="0">
                <a:pos x="0" y="71"/>
              </a:cxn>
              <a:cxn ang="0">
                <a:pos x="0" y="71"/>
              </a:cxn>
              <a:cxn ang="0">
                <a:pos x="1" y="55"/>
              </a:cxn>
              <a:cxn ang="0">
                <a:pos x="2" y="41"/>
              </a:cxn>
              <a:cxn ang="0">
                <a:pos x="3" y="28"/>
              </a:cxn>
              <a:cxn ang="0">
                <a:pos x="4" y="13"/>
              </a:cxn>
              <a:cxn ang="0">
                <a:pos x="4" y="13"/>
              </a:cxn>
              <a:cxn ang="0">
                <a:pos x="4" y="8"/>
              </a:cxn>
              <a:cxn ang="0">
                <a:pos x="6" y="5"/>
              </a:cxn>
              <a:cxn ang="0">
                <a:pos x="8" y="2"/>
              </a:cxn>
              <a:cxn ang="0">
                <a:pos x="10" y="1"/>
              </a:cxn>
              <a:cxn ang="0">
                <a:pos x="12" y="0"/>
              </a:cxn>
              <a:cxn ang="0">
                <a:pos x="16" y="0"/>
              </a:cxn>
              <a:cxn ang="0">
                <a:pos x="23" y="2"/>
              </a:cxn>
              <a:cxn ang="0">
                <a:pos x="30" y="7"/>
              </a:cxn>
              <a:cxn ang="0">
                <a:pos x="35" y="14"/>
              </a:cxn>
              <a:cxn ang="0">
                <a:pos x="39" y="22"/>
              </a:cxn>
              <a:cxn ang="0">
                <a:pos x="40" y="27"/>
              </a:cxn>
              <a:cxn ang="0">
                <a:pos x="41" y="31"/>
              </a:cxn>
              <a:cxn ang="0">
                <a:pos x="41" y="31"/>
              </a:cxn>
              <a:cxn ang="0">
                <a:pos x="41" y="31"/>
              </a:cxn>
            </a:cxnLst>
            <a:rect l="0" t="0" r="r" b="b"/>
            <a:pathLst>
              <a:path w="41" h="145">
                <a:moveTo>
                  <a:pt x="41" y="31"/>
                </a:moveTo>
                <a:lnTo>
                  <a:pt x="41" y="31"/>
                </a:lnTo>
                <a:lnTo>
                  <a:pt x="41" y="97"/>
                </a:lnTo>
                <a:lnTo>
                  <a:pt x="41" y="97"/>
                </a:lnTo>
                <a:lnTo>
                  <a:pt x="39" y="106"/>
                </a:lnTo>
                <a:lnTo>
                  <a:pt x="34" y="122"/>
                </a:lnTo>
                <a:lnTo>
                  <a:pt x="30" y="137"/>
                </a:lnTo>
                <a:lnTo>
                  <a:pt x="27" y="143"/>
                </a:lnTo>
                <a:lnTo>
                  <a:pt x="26" y="145"/>
                </a:lnTo>
                <a:lnTo>
                  <a:pt x="26" y="145"/>
                </a:lnTo>
                <a:lnTo>
                  <a:pt x="17" y="129"/>
                </a:lnTo>
                <a:lnTo>
                  <a:pt x="9" y="112"/>
                </a:lnTo>
                <a:lnTo>
                  <a:pt x="6" y="104"/>
                </a:lnTo>
                <a:lnTo>
                  <a:pt x="2" y="93"/>
                </a:lnTo>
                <a:lnTo>
                  <a:pt x="1" y="83"/>
                </a:lnTo>
                <a:lnTo>
                  <a:pt x="0" y="71"/>
                </a:lnTo>
                <a:lnTo>
                  <a:pt x="0" y="71"/>
                </a:lnTo>
                <a:lnTo>
                  <a:pt x="1" y="55"/>
                </a:lnTo>
                <a:lnTo>
                  <a:pt x="2" y="41"/>
                </a:lnTo>
                <a:lnTo>
                  <a:pt x="3" y="28"/>
                </a:lnTo>
                <a:lnTo>
                  <a:pt x="4" y="13"/>
                </a:lnTo>
                <a:lnTo>
                  <a:pt x="4" y="13"/>
                </a:lnTo>
                <a:lnTo>
                  <a:pt x="4" y="8"/>
                </a:lnTo>
                <a:lnTo>
                  <a:pt x="6" y="5"/>
                </a:lnTo>
                <a:lnTo>
                  <a:pt x="8" y="2"/>
                </a:lnTo>
                <a:lnTo>
                  <a:pt x="10" y="1"/>
                </a:lnTo>
                <a:lnTo>
                  <a:pt x="12" y="0"/>
                </a:lnTo>
                <a:lnTo>
                  <a:pt x="16" y="0"/>
                </a:lnTo>
                <a:lnTo>
                  <a:pt x="23" y="2"/>
                </a:lnTo>
                <a:lnTo>
                  <a:pt x="30" y="7"/>
                </a:lnTo>
                <a:lnTo>
                  <a:pt x="35" y="14"/>
                </a:lnTo>
                <a:lnTo>
                  <a:pt x="39" y="22"/>
                </a:lnTo>
                <a:lnTo>
                  <a:pt x="40" y="27"/>
                </a:lnTo>
                <a:lnTo>
                  <a:pt x="41" y="31"/>
                </a:lnTo>
                <a:lnTo>
                  <a:pt x="41" y="31"/>
                </a:lnTo>
                <a:lnTo>
                  <a:pt x="41" y="3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6" name="Freeform 21"/>
          <p:cNvSpPr>
            <a:spLocks/>
          </p:cNvSpPr>
          <p:nvPr/>
        </p:nvSpPr>
        <p:spPr bwMode="auto">
          <a:xfrm>
            <a:off x="8999538" y="4224338"/>
            <a:ext cx="28575" cy="71437"/>
          </a:xfrm>
          <a:custGeom>
            <a:avLst/>
            <a:gdLst/>
            <a:ahLst/>
            <a:cxnLst>
              <a:cxn ang="0">
                <a:pos x="18" y="74"/>
              </a:cxn>
              <a:cxn ang="0">
                <a:pos x="18" y="51"/>
              </a:cxn>
              <a:cxn ang="0">
                <a:pos x="18" y="51"/>
              </a:cxn>
              <a:cxn ang="0">
                <a:pos x="18" y="51"/>
              </a:cxn>
              <a:cxn ang="0">
                <a:pos x="17" y="48"/>
              </a:cxn>
              <a:cxn ang="0">
                <a:pos x="15" y="44"/>
              </a:cxn>
              <a:cxn ang="0">
                <a:pos x="9" y="36"/>
              </a:cxn>
              <a:cxn ang="0">
                <a:pos x="5" y="32"/>
              </a:cxn>
              <a:cxn ang="0">
                <a:pos x="2" y="27"/>
              </a:cxn>
              <a:cxn ang="0">
                <a:pos x="1" y="21"/>
              </a:cxn>
              <a:cxn ang="0">
                <a:pos x="0" y="15"/>
              </a:cxn>
              <a:cxn ang="0">
                <a:pos x="0" y="15"/>
              </a:cxn>
              <a:cxn ang="0">
                <a:pos x="1" y="10"/>
              </a:cxn>
              <a:cxn ang="0">
                <a:pos x="4" y="5"/>
              </a:cxn>
              <a:cxn ang="0">
                <a:pos x="8" y="2"/>
              </a:cxn>
              <a:cxn ang="0">
                <a:pos x="11" y="0"/>
              </a:cxn>
              <a:cxn ang="0">
                <a:pos x="11" y="0"/>
              </a:cxn>
              <a:cxn ang="0">
                <a:pos x="19" y="13"/>
              </a:cxn>
              <a:cxn ang="0">
                <a:pos x="28" y="26"/>
              </a:cxn>
              <a:cxn ang="0">
                <a:pos x="32" y="34"/>
              </a:cxn>
              <a:cxn ang="0">
                <a:pos x="34" y="42"/>
              </a:cxn>
              <a:cxn ang="0">
                <a:pos x="37" y="51"/>
              </a:cxn>
              <a:cxn ang="0">
                <a:pos x="37" y="63"/>
              </a:cxn>
              <a:cxn ang="0">
                <a:pos x="37" y="63"/>
              </a:cxn>
              <a:cxn ang="0">
                <a:pos x="37" y="71"/>
              </a:cxn>
              <a:cxn ang="0">
                <a:pos x="35" y="76"/>
              </a:cxn>
              <a:cxn ang="0">
                <a:pos x="35" y="79"/>
              </a:cxn>
              <a:cxn ang="0">
                <a:pos x="33" y="80"/>
              </a:cxn>
              <a:cxn ang="0">
                <a:pos x="32" y="81"/>
              </a:cxn>
              <a:cxn ang="0">
                <a:pos x="30" y="81"/>
              </a:cxn>
              <a:cxn ang="0">
                <a:pos x="30" y="81"/>
              </a:cxn>
              <a:cxn ang="0">
                <a:pos x="26" y="80"/>
              </a:cxn>
              <a:cxn ang="0">
                <a:pos x="23" y="78"/>
              </a:cxn>
              <a:cxn ang="0">
                <a:pos x="18" y="74"/>
              </a:cxn>
              <a:cxn ang="0">
                <a:pos x="18" y="74"/>
              </a:cxn>
              <a:cxn ang="0">
                <a:pos x="18" y="74"/>
              </a:cxn>
            </a:cxnLst>
            <a:rect l="0" t="0" r="r" b="b"/>
            <a:pathLst>
              <a:path w="37" h="81">
                <a:moveTo>
                  <a:pt x="18" y="74"/>
                </a:moveTo>
                <a:lnTo>
                  <a:pt x="18" y="51"/>
                </a:lnTo>
                <a:lnTo>
                  <a:pt x="18" y="51"/>
                </a:lnTo>
                <a:lnTo>
                  <a:pt x="18" y="51"/>
                </a:lnTo>
                <a:lnTo>
                  <a:pt x="17" y="48"/>
                </a:lnTo>
                <a:lnTo>
                  <a:pt x="15" y="44"/>
                </a:lnTo>
                <a:lnTo>
                  <a:pt x="9" y="36"/>
                </a:lnTo>
                <a:lnTo>
                  <a:pt x="5" y="32"/>
                </a:lnTo>
                <a:lnTo>
                  <a:pt x="2" y="27"/>
                </a:lnTo>
                <a:lnTo>
                  <a:pt x="1" y="21"/>
                </a:lnTo>
                <a:lnTo>
                  <a:pt x="0" y="15"/>
                </a:lnTo>
                <a:lnTo>
                  <a:pt x="0" y="15"/>
                </a:lnTo>
                <a:lnTo>
                  <a:pt x="1" y="10"/>
                </a:lnTo>
                <a:lnTo>
                  <a:pt x="4" y="5"/>
                </a:lnTo>
                <a:lnTo>
                  <a:pt x="8" y="2"/>
                </a:lnTo>
                <a:lnTo>
                  <a:pt x="11" y="0"/>
                </a:lnTo>
                <a:lnTo>
                  <a:pt x="11" y="0"/>
                </a:lnTo>
                <a:lnTo>
                  <a:pt x="19" y="13"/>
                </a:lnTo>
                <a:lnTo>
                  <a:pt x="28" y="26"/>
                </a:lnTo>
                <a:lnTo>
                  <a:pt x="32" y="34"/>
                </a:lnTo>
                <a:lnTo>
                  <a:pt x="34" y="42"/>
                </a:lnTo>
                <a:lnTo>
                  <a:pt x="37" y="51"/>
                </a:lnTo>
                <a:lnTo>
                  <a:pt x="37" y="63"/>
                </a:lnTo>
                <a:lnTo>
                  <a:pt x="37" y="63"/>
                </a:lnTo>
                <a:lnTo>
                  <a:pt x="37" y="71"/>
                </a:lnTo>
                <a:lnTo>
                  <a:pt x="35" y="76"/>
                </a:lnTo>
                <a:lnTo>
                  <a:pt x="35" y="79"/>
                </a:lnTo>
                <a:lnTo>
                  <a:pt x="33" y="80"/>
                </a:lnTo>
                <a:lnTo>
                  <a:pt x="32" y="81"/>
                </a:lnTo>
                <a:lnTo>
                  <a:pt x="30" y="81"/>
                </a:lnTo>
                <a:lnTo>
                  <a:pt x="30" y="81"/>
                </a:lnTo>
                <a:lnTo>
                  <a:pt x="26" y="80"/>
                </a:lnTo>
                <a:lnTo>
                  <a:pt x="23" y="78"/>
                </a:lnTo>
                <a:lnTo>
                  <a:pt x="18" y="74"/>
                </a:lnTo>
                <a:lnTo>
                  <a:pt x="18" y="74"/>
                </a:lnTo>
                <a:lnTo>
                  <a:pt x="18" y="7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7" name="Freeform 22"/>
          <p:cNvSpPr>
            <a:spLocks/>
          </p:cNvSpPr>
          <p:nvPr/>
        </p:nvSpPr>
        <p:spPr bwMode="auto">
          <a:xfrm>
            <a:off x="8994775" y="4179888"/>
            <a:ext cx="14288" cy="25400"/>
          </a:xfrm>
          <a:custGeom>
            <a:avLst/>
            <a:gdLst/>
            <a:ahLst/>
            <a:cxnLst>
              <a:cxn ang="0">
                <a:pos x="12" y="30"/>
              </a:cxn>
              <a:cxn ang="0">
                <a:pos x="12" y="30"/>
              </a:cxn>
              <a:cxn ang="0">
                <a:pos x="6" y="28"/>
              </a:cxn>
              <a:cxn ang="0">
                <a:pos x="3" y="26"/>
              </a:cxn>
              <a:cxn ang="0">
                <a:pos x="1" y="23"/>
              </a:cxn>
              <a:cxn ang="0">
                <a:pos x="0" y="18"/>
              </a:cxn>
              <a:cxn ang="0">
                <a:pos x="0" y="18"/>
              </a:cxn>
              <a:cxn ang="0">
                <a:pos x="0" y="8"/>
              </a:cxn>
              <a:cxn ang="0">
                <a:pos x="4" y="0"/>
              </a:cxn>
              <a:cxn ang="0">
                <a:pos x="15" y="8"/>
              </a:cxn>
              <a:cxn ang="0">
                <a:pos x="15" y="8"/>
              </a:cxn>
              <a:cxn ang="0">
                <a:pos x="15" y="25"/>
              </a:cxn>
              <a:cxn ang="0">
                <a:pos x="15" y="25"/>
              </a:cxn>
              <a:cxn ang="0">
                <a:pos x="15" y="25"/>
              </a:cxn>
              <a:cxn ang="0">
                <a:pos x="12" y="30"/>
              </a:cxn>
              <a:cxn ang="0">
                <a:pos x="12" y="30"/>
              </a:cxn>
            </a:cxnLst>
            <a:rect l="0" t="0" r="r" b="b"/>
            <a:pathLst>
              <a:path w="15" h="30">
                <a:moveTo>
                  <a:pt x="12" y="30"/>
                </a:moveTo>
                <a:lnTo>
                  <a:pt x="12" y="30"/>
                </a:lnTo>
                <a:lnTo>
                  <a:pt x="6" y="28"/>
                </a:lnTo>
                <a:lnTo>
                  <a:pt x="3" y="26"/>
                </a:lnTo>
                <a:lnTo>
                  <a:pt x="1" y="23"/>
                </a:lnTo>
                <a:lnTo>
                  <a:pt x="0" y="18"/>
                </a:lnTo>
                <a:lnTo>
                  <a:pt x="0" y="18"/>
                </a:lnTo>
                <a:lnTo>
                  <a:pt x="0" y="8"/>
                </a:lnTo>
                <a:lnTo>
                  <a:pt x="4" y="0"/>
                </a:lnTo>
                <a:lnTo>
                  <a:pt x="15" y="8"/>
                </a:lnTo>
                <a:lnTo>
                  <a:pt x="15" y="8"/>
                </a:lnTo>
                <a:lnTo>
                  <a:pt x="15" y="25"/>
                </a:lnTo>
                <a:lnTo>
                  <a:pt x="15" y="25"/>
                </a:lnTo>
                <a:lnTo>
                  <a:pt x="15" y="25"/>
                </a:lnTo>
                <a:lnTo>
                  <a:pt x="12" y="30"/>
                </a:lnTo>
                <a:lnTo>
                  <a:pt x="12" y="3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8" name="Freeform 23"/>
          <p:cNvSpPr>
            <a:spLocks/>
          </p:cNvSpPr>
          <p:nvPr/>
        </p:nvSpPr>
        <p:spPr bwMode="auto">
          <a:xfrm>
            <a:off x="8990013" y="4110038"/>
            <a:ext cx="19050" cy="22225"/>
          </a:xfrm>
          <a:custGeom>
            <a:avLst/>
            <a:gdLst/>
            <a:ahLst/>
            <a:cxnLst>
              <a:cxn ang="0">
                <a:pos x="19" y="12"/>
              </a:cxn>
              <a:cxn ang="0">
                <a:pos x="19" y="12"/>
              </a:cxn>
              <a:cxn ang="0">
                <a:pos x="15" y="10"/>
              </a:cxn>
              <a:cxn ang="0">
                <a:pos x="13" y="9"/>
              </a:cxn>
              <a:cxn ang="0">
                <a:pos x="10" y="6"/>
              </a:cxn>
              <a:cxn ang="0">
                <a:pos x="5" y="2"/>
              </a:cxn>
              <a:cxn ang="0">
                <a:pos x="3" y="0"/>
              </a:cxn>
              <a:cxn ang="0">
                <a:pos x="0" y="0"/>
              </a:cxn>
              <a:cxn ang="0">
                <a:pos x="0" y="0"/>
              </a:cxn>
              <a:cxn ang="0">
                <a:pos x="0" y="15"/>
              </a:cxn>
              <a:cxn ang="0">
                <a:pos x="0" y="15"/>
              </a:cxn>
              <a:cxn ang="0">
                <a:pos x="0" y="19"/>
              </a:cxn>
              <a:cxn ang="0">
                <a:pos x="3" y="22"/>
              </a:cxn>
              <a:cxn ang="0">
                <a:pos x="5" y="24"/>
              </a:cxn>
              <a:cxn ang="0">
                <a:pos x="7" y="27"/>
              </a:cxn>
              <a:cxn ang="0">
                <a:pos x="7" y="27"/>
              </a:cxn>
              <a:cxn ang="0">
                <a:pos x="11" y="24"/>
              </a:cxn>
              <a:cxn ang="0">
                <a:pos x="14" y="22"/>
              </a:cxn>
              <a:cxn ang="0">
                <a:pos x="22" y="15"/>
              </a:cxn>
              <a:cxn ang="0">
                <a:pos x="19" y="12"/>
              </a:cxn>
              <a:cxn ang="0">
                <a:pos x="19" y="12"/>
              </a:cxn>
              <a:cxn ang="0">
                <a:pos x="19" y="12"/>
              </a:cxn>
            </a:cxnLst>
            <a:rect l="0" t="0" r="r" b="b"/>
            <a:pathLst>
              <a:path w="22" h="27">
                <a:moveTo>
                  <a:pt x="19" y="12"/>
                </a:moveTo>
                <a:lnTo>
                  <a:pt x="19" y="12"/>
                </a:lnTo>
                <a:lnTo>
                  <a:pt x="15" y="10"/>
                </a:lnTo>
                <a:lnTo>
                  <a:pt x="13" y="9"/>
                </a:lnTo>
                <a:lnTo>
                  <a:pt x="10" y="6"/>
                </a:lnTo>
                <a:lnTo>
                  <a:pt x="5" y="2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0" y="15"/>
                </a:lnTo>
                <a:lnTo>
                  <a:pt x="0" y="15"/>
                </a:lnTo>
                <a:lnTo>
                  <a:pt x="0" y="19"/>
                </a:lnTo>
                <a:lnTo>
                  <a:pt x="3" y="22"/>
                </a:lnTo>
                <a:lnTo>
                  <a:pt x="5" y="24"/>
                </a:lnTo>
                <a:lnTo>
                  <a:pt x="7" y="27"/>
                </a:lnTo>
                <a:lnTo>
                  <a:pt x="7" y="27"/>
                </a:lnTo>
                <a:lnTo>
                  <a:pt x="11" y="24"/>
                </a:lnTo>
                <a:lnTo>
                  <a:pt x="14" y="22"/>
                </a:lnTo>
                <a:lnTo>
                  <a:pt x="22" y="15"/>
                </a:lnTo>
                <a:lnTo>
                  <a:pt x="19" y="12"/>
                </a:lnTo>
                <a:lnTo>
                  <a:pt x="19" y="12"/>
                </a:lnTo>
                <a:lnTo>
                  <a:pt x="19" y="1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9" name="Freeform 24"/>
          <p:cNvSpPr>
            <a:spLocks/>
          </p:cNvSpPr>
          <p:nvPr/>
        </p:nvSpPr>
        <p:spPr bwMode="auto">
          <a:xfrm>
            <a:off x="8967788" y="4067175"/>
            <a:ext cx="17462" cy="19050"/>
          </a:xfrm>
          <a:custGeom>
            <a:avLst/>
            <a:gdLst/>
            <a:ahLst/>
            <a:cxnLst>
              <a:cxn ang="0">
                <a:pos x="11" y="22"/>
              </a:cxn>
              <a:cxn ang="0">
                <a:pos x="11" y="22"/>
              </a:cxn>
              <a:cxn ang="0">
                <a:pos x="8" y="21"/>
              </a:cxn>
              <a:cxn ang="0">
                <a:pos x="6" y="17"/>
              </a:cxn>
              <a:cxn ang="0">
                <a:pos x="3" y="15"/>
              </a:cxn>
              <a:cxn ang="0">
                <a:pos x="0" y="14"/>
              </a:cxn>
              <a:cxn ang="0">
                <a:pos x="0" y="14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8" y="1"/>
              </a:cxn>
              <a:cxn ang="0">
                <a:pos x="14" y="5"/>
              </a:cxn>
              <a:cxn ang="0">
                <a:pos x="18" y="9"/>
              </a:cxn>
              <a:cxn ang="0">
                <a:pos x="22" y="14"/>
              </a:cxn>
              <a:cxn ang="0">
                <a:pos x="22" y="14"/>
              </a:cxn>
              <a:cxn ang="0">
                <a:pos x="19" y="15"/>
              </a:cxn>
              <a:cxn ang="0">
                <a:pos x="17" y="17"/>
              </a:cxn>
              <a:cxn ang="0">
                <a:pos x="14" y="21"/>
              </a:cxn>
              <a:cxn ang="0">
                <a:pos x="11" y="22"/>
              </a:cxn>
              <a:cxn ang="0">
                <a:pos x="11" y="22"/>
              </a:cxn>
              <a:cxn ang="0">
                <a:pos x="11" y="22"/>
              </a:cxn>
            </a:cxnLst>
            <a:rect l="0" t="0" r="r" b="b"/>
            <a:pathLst>
              <a:path w="22" h="22">
                <a:moveTo>
                  <a:pt x="11" y="22"/>
                </a:moveTo>
                <a:lnTo>
                  <a:pt x="11" y="22"/>
                </a:lnTo>
                <a:lnTo>
                  <a:pt x="8" y="21"/>
                </a:lnTo>
                <a:lnTo>
                  <a:pt x="6" y="17"/>
                </a:lnTo>
                <a:lnTo>
                  <a:pt x="3" y="15"/>
                </a:lnTo>
                <a:lnTo>
                  <a:pt x="0" y="14"/>
                </a:lnTo>
                <a:lnTo>
                  <a:pt x="0" y="14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8" y="1"/>
                </a:lnTo>
                <a:lnTo>
                  <a:pt x="14" y="5"/>
                </a:lnTo>
                <a:lnTo>
                  <a:pt x="18" y="9"/>
                </a:lnTo>
                <a:lnTo>
                  <a:pt x="22" y="14"/>
                </a:lnTo>
                <a:lnTo>
                  <a:pt x="22" y="14"/>
                </a:lnTo>
                <a:lnTo>
                  <a:pt x="19" y="15"/>
                </a:lnTo>
                <a:lnTo>
                  <a:pt x="17" y="17"/>
                </a:lnTo>
                <a:lnTo>
                  <a:pt x="14" y="21"/>
                </a:lnTo>
                <a:lnTo>
                  <a:pt x="11" y="22"/>
                </a:lnTo>
                <a:lnTo>
                  <a:pt x="11" y="22"/>
                </a:lnTo>
                <a:lnTo>
                  <a:pt x="11" y="2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Freeform 25"/>
          <p:cNvSpPr>
            <a:spLocks/>
          </p:cNvSpPr>
          <p:nvPr/>
        </p:nvSpPr>
        <p:spPr bwMode="auto">
          <a:xfrm>
            <a:off x="8934450" y="3944938"/>
            <a:ext cx="23813" cy="34925"/>
          </a:xfrm>
          <a:custGeom>
            <a:avLst/>
            <a:gdLst/>
            <a:ahLst/>
            <a:cxnLst>
              <a:cxn ang="0">
                <a:pos x="15" y="0"/>
              </a:cxn>
              <a:cxn ang="0">
                <a:pos x="15" y="0"/>
              </a:cxn>
              <a:cxn ang="0">
                <a:pos x="10" y="1"/>
              </a:cxn>
              <a:cxn ang="0">
                <a:pos x="5" y="2"/>
              </a:cxn>
              <a:cxn ang="0">
                <a:pos x="3" y="4"/>
              </a:cxn>
              <a:cxn ang="0">
                <a:pos x="2" y="8"/>
              </a:cxn>
              <a:cxn ang="0">
                <a:pos x="0" y="16"/>
              </a:cxn>
              <a:cxn ang="0">
                <a:pos x="0" y="21"/>
              </a:cxn>
              <a:cxn ang="0">
                <a:pos x="0" y="21"/>
              </a:cxn>
              <a:cxn ang="0">
                <a:pos x="0" y="27"/>
              </a:cxn>
              <a:cxn ang="0">
                <a:pos x="1" y="31"/>
              </a:cxn>
              <a:cxn ang="0">
                <a:pos x="3" y="34"/>
              </a:cxn>
              <a:cxn ang="0">
                <a:pos x="4" y="36"/>
              </a:cxn>
              <a:cxn ang="0">
                <a:pos x="9" y="40"/>
              </a:cxn>
              <a:cxn ang="0">
                <a:pos x="15" y="40"/>
              </a:cxn>
              <a:cxn ang="0">
                <a:pos x="15" y="40"/>
              </a:cxn>
              <a:cxn ang="0">
                <a:pos x="17" y="40"/>
              </a:cxn>
              <a:cxn ang="0">
                <a:pos x="19" y="38"/>
              </a:cxn>
              <a:cxn ang="0">
                <a:pos x="23" y="33"/>
              </a:cxn>
              <a:cxn ang="0">
                <a:pos x="25" y="26"/>
              </a:cxn>
              <a:cxn ang="0">
                <a:pos x="26" y="21"/>
              </a:cxn>
              <a:cxn ang="0">
                <a:pos x="26" y="21"/>
              </a:cxn>
              <a:cxn ang="0">
                <a:pos x="26" y="8"/>
              </a:cxn>
              <a:cxn ang="0">
                <a:pos x="26" y="8"/>
              </a:cxn>
              <a:cxn ang="0">
                <a:pos x="20" y="2"/>
              </a:cxn>
              <a:cxn ang="0">
                <a:pos x="17" y="1"/>
              </a:cxn>
              <a:cxn ang="0">
                <a:pos x="15" y="0"/>
              </a:cxn>
              <a:cxn ang="0">
                <a:pos x="15" y="0"/>
              </a:cxn>
              <a:cxn ang="0">
                <a:pos x="15" y="0"/>
              </a:cxn>
            </a:cxnLst>
            <a:rect l="0" t="0" r="r" b="b"/>
            <a:pathLst>
              <a:path w="26" h="40">
                <a:moveTo>
                  <a:pt x="15" y="0"/>
                </a:moveTo>
                <a:lnTo>
                  <a:pt x="15" y="0"/>
                </a:lnTo>
                <a:lnTo>
                  <a:pt x="10" y="1"/>
                </a:lnTo>
                <a:lnTo>
                  <a:pt x="5" y="2"/>
                </a:lnTo>
                <a:lnTo>
                  <a:pt x="3" y="4"/>
                </a:lnTo>
                <a:lnTo>
                  <a:pt x="2" y="8"/>
                </a:lnTo>
                <a:lnTo>
                  <a:pt x="0" y="16"/>
                </a:lnTo>
                <a:lnTo>
                  <a:pt x="0" y="21"/>
                </a:lnTo>
                <a:lnTo>
                  <a:pt x="0" y="21"/>
                </a:lnTo>
                <a:lnTo>
                  <a:pt x="0" y="27"/>
                </a:lnTo>
                <a:lnTo>
                  <a:pt x="1" y="31"/>
                </a:lnTo>
                <a:lnTo>
                  <a:pt x="3" y="34"/>
                </a:lnTo>
                <a:lnTo>
                  <a:pt x="4" y="36"/>
                </a:lnTo>
                <a:lnTo>
                  <a:pt x="9" y="40"/>
                </a:lnTo>
                <a:lnTo>
                  <a:pt x="15" y="40"/>
                </a:lnTo>
                <a:lnTo>
                  <a:pt x="15" y="40"/>
                </a:lnTo>
                <a:lnTo>
                  <a:pt x="17" y="40"/>
                </a:lnTo>
                <a:lnTo>
                  <a:pt x="19" y="38"/>
                </a:lnTo>
                <a:lnTo>
                  <a:pt x="23" y="33"/>
                </a:lnTo>
                <a:lnTo>
                  <a:pt x="25" y="26"/>
                </a:lnTo>
                <a:lnTo>
                  <a:pt x="26" y="21"/>
                </a:lnTo>
                <a:lnTo>
                  <a:pt x="26" y="21"/>
                </a:lnTo>
                <a:lnTo>
                  <a:pt x="26" y="8"/>
                </a:lnTo>
                <a:lnTo>
                  <a:pt x="26" y="8"/>
                </a:lnTo>
                <a:lnTo>
                  <a:pt x="20" y="2"/>
                </a:lnTo>
                <a:lnTo>
                  <a:pt x="17" y="1"/>
                </a:lnTo>
                <a:lnTo>
                  <a:pt x="15" y="0"/>
                </a:lnTo>
                <a:lnTo>
                  <a:pt x="15" y="0"/>
                </a:lnTo>
                <a:lnTo>
                  <a:pt x="15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1" name="Freeform 26"/>
          <p:cNvSpPr>
            <a:spLocks/>
          </p:cNvSpPr>
          <p:nvPr/>
        </p:nvSpPr>
        <p:spPr bwMode="auto">
          <a:xfrm>
            <a:off x="8926513" y="3898900"/>
            <a:ext cx="19050" cy="15875"/>
          </a:xfrm>
          <a:custGeom>
            <a:avLst/>
            <a:gdLst/>
            <a:ahLst/>
            <a:cxnLst>
              <a:cxn ang="0">
                <a:pos x="23" y="11"/>
              </a:cxn>
              <a:cxn ang="0">
                <a:pos x="12" y="0"/>
              </a:cxn>
              <a:cxn ang="0">
                <a:pos x="12" y="0"/>
              </a:cxn>
              <a:cxn ang="0">
                <a:pos x="12" y="0"/>
              </a:cxn>
              <a:cxn ang="0">
                <a:pos x="8" y="0"/>
              </a:cxn>
              <a:cxn ang="0">
                <a:pos x="5" y="3"/>
              </a:cxn>
              <a:cxn ang="0">
                <a:pos x="1" y="6"/>
              </a:cxn>
              <a:cxn ang="0">
                <a:pos x="1" y="9"/>
              </a:cxn>
              <a:cxn ang="0">
                <a:pos x="0" y="11"/>
              </a:cxn>
              <a:cxn ang="0">
                <a:pos x="0" y="11"/>
              </a:cxn>
              <a:cxn ang="0">
                <a:pos x="1" y="13"/>
              </a:cxn>
              <a:cxn ang="0">
                <a:pos x="2" y="15"/>
              </a:cxn>
              <a:cxn ang="0">
                <a:pos x="8" y="18"/>
              </a:cxn>
              <a:cxn ang="0">
                <a:pos x="15" y="18"/>
              </a:cxn>
              <a:cxn ang="0">
                <a:pos x="20" y="18"/>
              </a:cxn>
              <a:cxn ang="0">
                <a:pos x="20" y="18"/>
              </a:cxn>
              <a:cxn ang="0">
                <a:pos x="22" y="18"/>
              </a:cxn>
              <a:cxn ang="0">
                <a:pos x="22" y="15"/>
              </a:cxn>
              <a:cxn ang="0">
                <a:pos x="23" y="11"/>
              </a:cxn>
              <a:cxn ang="0">
                <a:pos x="23" y="11"/>
              </a:cxn>
              <a:cxn ang="0">
                <a:pos x="23" y="11"/>
              </a:cxn>
              <a:cxn ang="0">
                <a:pos x="23" y="11"/>
              </a:cxn>
            </a:cxnLst>
            <a:rect l="0" t="0" r="r" b="b"/>
            <a:pathLst>
              <a:path w="23" h="18">
                <a:moveTo>
                  <a:pt x="23" y="11"/>
                </a:moveTo>
                <a:lnTo>
                  <a:pt x="12" y="0"/>
                </a:lnTo>
                <a:lnTo>
                  <a:pt x="12" y="0"/>
                </a:lnTo>
                <a:lnTo>
                  <a:pt x="12" y="0"/>
                </a:lnTo>
                <a:lnTo>
                  <a:pt x="8" y="0"/>
                </a:lnTo>
                <a:lnTo>
                  <a:pt x="5" y="3"/>
                </a:lnTo>
                <a:lnTo>
                  <a:pt x="1" y="6"/>
                </a:lnTo>
                <a:lnTo>
                  <a:pt x="1" y="9"/>
                </a:lnTo>
                <a:lnTo>
                  <a:pt x="0" y="11"/>
                </a:lnTo>
                <a:lnTo>
                  <a:pt x="0" y="11"/>
                </a:lnTo>
                <a:lnTo>
                  <a:pt x="1" y="13"/>
                </a:lnTo>
                <a:lnTo>
                  <a:pt x="2" y="15"/>
                </a:lnTo>
                <a:lnTo>
                  <a:pt x="8" y="18"/>
                </a:lnTo>
                <a:lnTo>
                  <a:pt x="15" y="18"/>
                </a:lnTo>
                <a:lnTo>
                  <a:pt x="20" y="18"/>
                </a:lnTo>
                <a:lnTo>
                  <a:pt x="20" y="18"/>
                </a:lnTo>
                <a:lnTo>
                  <a:pt x="22" y="18"/>
                </a:lnTo>
                <a:lnTo>
                  <a:pt x="22" y="15"/>
                </a:lnTo>
                <a:lnTo>
                  <a:pt x="23" y="11"/>
                </a:lnTo>
                <a:lnTo>
                  <a:pt x="23" y="11"/>
                </a:lnTo>
                <a:lnTo>
                  <a:pt x="23" y="11"/>
                </a:lnTo>
                <a:lnTo>
                  <a:pt x="23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Freeform 27"/>
          <p:cNvSpPr>
            <a:spLocks/>
          </p:cNvSpPr>
          <p:nvPr/>
        </p:nvSpPr>
        <p:spPr bwMode="auto">
          <a:xfrm>
            <a:off x="8899525" y="3836988"/>
            <a:ext cx="38100" cy="44450"/>
          </a:xfrm>
          <a:custGeom>
            <a:avLst/>
            <a:gdLst/>
            <a:ahLst/>
            <a:cxnLst>
              <a:cxn ang="0">
                <a:pos x="47" y="33"/>
              </a:cxn>
              <a:cxn ang="0">
                <a:pos x="47" y="33"/>
              </a:cxn>
              <a:cxn ang="0">
                <a:pos x="40" y="23"/>
              </a:cxn>
              <a:cxn ang="0">
                <a:pos x="30" y="12"/>
              </a:cxn>
              <a:cxn ang="0">
                <a:pos x="24" y="7"/>
              </a:cxn>
              <a:cxn ang="0">
                <a:pos x="18" y="4"/>
              </a:cxn>
              <a:cxn ang="0">
                <a:pos x="13" y="1"/>
              </a:cxn>
              <a:cxn ang="0">
                <a:pos x="7" y="0"/>
              </a:cxn>
              <a:cxn ang="0">
                <a:pos x="7" y="0"/>
              </a:cxn>
              <a:cxn ang="0">
                <a:pos x="5" y="0"/>
              </a:cxn>
              <a:cxn ang="0">
                <a:pos x="2" y="1"/>
              </a:cxn>
              <a:cxn ang="0">
                <a:pos x="0" y="4"/>
              </a:cxn>
              <a:cxn ang="0">
                <a:pos x="0" y="4"/>
              </a:cxn>
              <a:cxn ang="0">
                <a:pos x="2" y="8"/>
              </a:cxn>
              <a:cxn ang="0">
                <a:pos x="3" y="13"/>
              </a:cxn>
              <a:cxn ang="0">
                <a:pos x="5" y="22"/>
              </a:cxn>
              <a:cxn ang="0">
                <a:pos x="6" y="27"/>
              </a:cxn>
              <a:cxn ang="0">
                <a:pos x="7" y="30"/>
              </a:cxn>
              <a:cxn ang="0">
                <a:pos x="10" y="33"/>
              </a:cxn>
              <a:cxn ang="0">
                <a:pos x="15" y="33"/>
              </a:cxn>
              <a:cxn ang="0">
                <a:pos x="15" y="33"/>
              </a:cxn>
              <a:cxn ang="0">
                <a:pos x="15" y="39"/>
              </a:cxn>
              <a:cxn ang="0">
                <a:pos x="16" y="43"/>
              </a:cxn>
              <a:cxn ang="0">
                <a:pos x="17" y="46"/>
              </a:cxn>
              <a:cxn ang="0">
                <a:pos x="19" y="49"/>
              </a:cxn>
              <a:cxn ang="0">
                <a:pos x="22" y="50"/>
              </a:cxn>
              <a:cxn ang="0">
                <a:pos x="25" y="51"/>
              </a:cxn>
              <a:cxn ang="0">
                <a:pos x="32" y="51"/>
              </a:cxn>
              <a:cxn ang="0">
                <a:pos x="32" y="51"/>
              </a:cxn>
              <a:cxn ang="0">
                <a:pos x="37" y="51"/>
              </a:cxn>
              <a:cxn ang="0">
                <a:pos x="39" y="50"/>
              </a:cxn>
              <a:cxn ang="0">
                <a:pos x="42" y="49"/>
              </a:cxn>
              <a:cxn ang="0">
                <a:pos x="44" y="46"/>
              </a:cxn>
              <a:cxn ang="0">
                <a:pos x="47" y="41"/>
              </a:cxn>
              <a:cxn ang="0">
                <a:pos x="47" y="33"/>
              </a:cxn>
              <a:cxn ang="0">
                <a:pos x="47" y="33"/>
              </a:cxn>
              <a:cxn ang="0">
                <a:pos x="47" y="33"/>
              </a:cxn>
            </a:cxnLst>
            <a:rect l="0" t="0" r="r" b="b"/>
            <a:pathLst>
              <a:path w="47" h="51">
                <a:moveTo>
                  <a:pt x="47" y="33"/>
                </a:moveTo>
                <a:lnTo>
                  <a:pt x="47" y="33"/>
                </a:lnTo>
                <a:lnTo>
                  <a:pt x="40" y="23"/>
                </a:lnTo>
                <a:lnTo>
                  <a:pt x="30" y="12"/>
                </a:lnTo>
                <a:lnTo>
                  <a:pt x="24" y="7"/>
                </a:lnTo>
                <a:lnTo>
                  <a:pt x="18" y="4"/>
                </a:lnTo>
                <a:lnTo>
                  <a:pt x="13" y="1"/>
                </a:lnTo>
                <a:lnTo>
                  <a:pt x="7" y="0"/>
                </a:lnTo>
                <a:lnTo>
                  <a:pt x="7" y="0"/>
                </a:lnTo>
                <a:lnTo>
                  <a:pt x="5" y="0"/>
                </a:lnTo>
                <a:lnTo>
                  <a:pt x="2" y="1"/>
                </a:lnTo>
                <a:lnTo>
                  <a:pt x="0" y="4"/>
                </a:lnTo>
                <a:lnTo>
                  <a:pt x="0" y="4"/>
                </a:lnTo>
                <a:lnTo>
                  <a:pt x="2" y="8"/>
                </a:lnTo>
                <a:lnTo>
                  <a:pt x="3" y="13"/>
                </a:lnTo>
                <a:lnTo>
                  <a:pt x="5" y="22"/>
                </a:lnTo>
                <a:lnTo>
                  <a:pt x="6" y="27"/>
                </a:lnTo>
                <a:lnTo>
                  <a:pt x="7" y="30"/>
                </a:lnTo>
                <a:lnTo>
                  <a:pt x="10" y="33"/>
                </a:lnTo>
                <a:lnTo>
                  <a:pt x="15" y="33"/>
                </a:lnTo>
                <a:lnTo>
                  <a:pt x="15" y="33"/>
                </a:lnTo>
                <a:lnTo>
                  <a:pt x="15" y="39"/>
                </a:lnTo>
                <a:lnTo>
                  <a:pt x="16" y="43"/>
                </a:lnTo>
                <a:lnTo>
                  <a:pt x="17" y="46"/>
                </a:lnTo>
                <a:lnTo>
                  <a:pt x="19" y="49"/>
                </a:lnTo>
                <a:lnTo>
                  <a:pt x="22" y="50"/>
                </a:lnTo>
                <a:lnTo>
                  <a:pt x="25" y="51"/>
                </a:lnTo>
                <a:lnTo>
                  <a:pt x="32" y="51"/>
                </a:lnTo>
                <a:lnTo>
                  <a:pt x="32" y="51"/>
                </a:lnTo>
                <a:lnTo>
                  <a:pt x="37" y="51"/>
                </a:lnTo>
                <a:lnTo>
                  <a:pt x="39" y="50"/>
                </a:lnTo>
                <a:lnTo>
                  <a:pt x="42" y="49"/>
                </a:lnTo>
                <a:lnTo>
                  <a:pt x="44" y="46"/>
                </a:lnTo>
                <a:lnTo>
                  <a:pt x="47" y="41"/>
                </a:lnTo>
                <a:lnTo>
                  <a:pt x="47" y="33"/>
                </a:lnTo>
                <a:lnTo>
                  <a:pt x="47" y="33"/>
                </a:lnTo>
                <a:lnTo>
                  <a:pt x="47" y="3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3" name="Freeform 28"/>
          <p:cNvSpPr>
            <a:spLocks/>
          </p:cNvSpPr>
          <p:nvPr/>
        </p:nvSpPr>
        <p:spPr bwMode="auto">
          <a:xfrm>
            <a:off x="8855075" y="3668713"/>
            <a:ext cx="36513" cy="114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4" y="1"/>
              </a:cxn>
              <a:cxn ang="0">
                <a:pos x="12" y="3"/>
              </a:cxn>
              <a:cxn ang="0">
                <a:pos x="22" y="7"/>
              </a:cxn>
              <a:cxn ang="0">
                <a:pos x="22" y="7"/>
              </a:cxn>
              <a:cxn ang="0">
                <a:pos x="25" y="7"/>
              </a:cxn>
              <a:cxn ang="0">
                <a:pos x="28" y="8"/>
              </a:cxn>
              <a:cxn ang="0">
                <a:pos x="31" y="9"/>
              </a:cxn>
              <a:cxn ang="0">
                <a:pos x="32" y="11"/>
              </a:cxn>
              <a:cxn ang="0">
                <a:pos x="34" y="17"/>
              </a:cxn>
              <a:cxn ang="0">
                <a:pos x="35" y="24"/>
              </a:cxn>
              <a:cxn ang="0">
                <a:pos x="36" y="40"/>
              </a:cxn>
              <a:cxn ang="0">
                <a:pos x="39" y="49"/>
              </a:cxn>
              <a:cxn ang="0">
                <a:pos x="43" y="58"/>
              </a:cxn>
              <a:cxn ang="0">
                <a:pos x="43" y="58"/>
              </a:cxn>
              <a:cxn ang="0">
                <a:pos x="43" y="117"/>
              </a:cxn>
              <a:cxn ang="0">
                <a:pos x="43" y="117"/>
              </a:cxn>
              <a:cxn ang="0">
                <a:pos x="42" y="121"/>
              </a:cxn>
              <a:cxn ang="0">
                <a:pos x="40" y="125"/>
              </a:cxn>
              <a:cxn ang="0">
                <a:pos x="39" y="128"/>
              </a:cxn>
              <a:cxn ang="0">
                <a:pos x="35" y="130"/>
              </a:cxn>
              <a:cxn ang="0">
                <a:pos x="33" y="131"/>
              </a:cxn>
              <a:cxn ang="0">
                <a:pos x="28" y="132"/>
              </a:cxn>
              <a:cxn ang="0">
                <a:pos x="28" y="132"/>
              </a:cxn>
              <a:cxn ang="0">
                <a:pos x="25" y="131"/>
              </a:cxn>
              <a:cxn ang="0">
                <a:pos x="22" y="128"/>
              </a:cxn>
              <a:cxn ang="0">
                <a:pos x="11" y="119"/>
              </a:cxn>
              <a:cxn ang="0">
                <a:pos x="7" y="114"/>
              </a:cxn>
              <a:cxn ang="0">
                <a:pos x="3" y="108"/>
              </a:cxn>
              <a:cxn ang="0">
                <a:pos x="1" y="102"/>
              </a:cxn>
              <a:cxn ang="0">
                <a:pos x="0" y="98"/>
              </a:cxn>
              <a:cxn ang="0">
                <a:pos x="0" y="98"/>
              </a:cxn>
              <a:cxn ang="0">
                <a:pos x="0" y="92"/>
              </a:cxn>
              <a:cxn ang="0">
                <a:pos x="1" y="87"/>
              </a:cxn>
              <a:cxn ang="0">
                <a:pos x="5" y="78"/>
              </a:cxn>
              <a:cxn ang="0">
                <a:pos x="9" y="71"/>
              </a:cxn>
              <a:cxn ang="0">
                <a:pos x="10" y="67"/>
              </a:cxn>
              <a:cxn ang="0">
                <a:pos x="10" y="62"/>
              </a:cxn>
              <a:cxn ang="0">
                <a:pos x="10" y="62"/>
              </a:cxn>
              <a:cxn ang="0">
                <a:pos x="10" y="54"/>
              </a:cxn>
              <a:cxn ang="0">
                <a:pos x="9" y="49"/>
              </a:cxn>
              <a:cxn ang="0">
                <a:pos x="7" y="45"/>
              </a:cxn>
              <a:cxn ang="0">
                <a:pos x="5" y="41"/>
              </a:cxn>
              <a:cxn ang="0">
                <a:pos x="1" y="35"/>
              </a:cxn>
              <a:cxn ang="0">
                <a:pos x="0" y="31"/>
              </a:cxn>
              <a:cxn ang="0">
                <a:pos x="0" y="24"/>
              </a:cxn>
              <a:cxn ang="0">
                <a:pos x="0" y="24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43" h="132">
                <a:moveTo>
                  <a:pt x="0" y="0"/>
                </a:moveTo>
                <a:lnTo>
                  <a:pt x="0" y="0"/>
                </a:lnTo>
                <a:lnTo>
                  <a:pt x="4" y="1"/>
                </a:lnTo>
                <a:lnTo>
                  <a:pt x="12" y="3"/>
                </a:lnTo>
                <a:lnTo>
                  <a:pt x="22" y="7"/>
                </a:lnTo>
                <a:lnTo>
                  <a:pt x="22" y="7"/>
                </a:lnTo>
                <a:lnTo>
                  <a:pt x="25" y="7"/>
                </a:lnTo>
                <a:lnTo>
                  <a:pt x="28" y="8"/>
                </a:lnTo>
                <a:lnTo>
                  <a:pt x="31" y="9"/>
                </a:lnTo>
                <a:lnTo>
                  <a:pt x="32" y="11"/>
                </a:lnTo>
                <a:lnTo>
                  <a:pt x="34" y="17"/>
                </a:lnTo>
                <a:lnTo>
                  <a:pt x="35" y="24"/>
                </a:lnTo>
                <a:lnTo>
                  <a:pt x="36" y="40"/>
                </a:lnTo>
                <a:lnTo>
                  <a:pt x="39" y="49"/>
                </a:lnTo>
                <a:lnTo>
                  <a:pt x="43" y="58"/>
                </a:lnTo>
                <a:lnTo>
                  <a:pt x="43" y="58"/>
                </a:lnTo>
                <a:lnTo>
                  <a:pt x="43" y="117"/>
                </a:lnTo>
                <a:lnTo>
                  <a:pt x="43" y="117"/>
                </a:lnTo>
                <a:lnTo>
                  <a:pt x="42" y="121"/>
                </a:lnTo>
                <a:lnTo>
                  <a:pt x="40" y="125"/>
                </a:lnTo>
                <a:lnTo>
                  <a:pt x="39" y="128"/>
                </a:lnTo>
                <a:lnTo>
                  <a:pt x="35" y="130"/>
                </a:lnTo>
                <a:lnTo>
                  <a:pt x="33" y="131"/>
                </a:lnTo>
                <a:lnTo>
                  <a:pt x="28" y="132"/>
                </a:lnTo>
                <a:lnTo>
                  <a:pt x="28" y="132"/>
                </a:lnTo>
                <a:lnTo>
                  <a:pt x="25" y="131"/>
                </a:lnTo>
                <a:lnTo>
                  <a:pt x="22" y="128"/>
                </a:lnTo>
                <a:lnTo>
                  <a:pt x="11" y="119"/>
                </a:lnTo>
                <a:lnTo>
                  <a:pt x="7" y="114"/>
                </a:lnTo>
                <a:lnTo>
                  <a:pt x="3" y="108"/>
                </a:lnTo>
                <a:lnTo>
                  <a:pt x="1" y="102"/>
                </a:lnTo>
                <a:lnTo>
                  <a:pt x="0" y="98"/>
                </a:lnTo>
                <a:lnTo>
                  <a:pt x="0" y="98"/>
                </a:lnTo>
                <a:lnTo>
                  <a:pt x="0" y="92"/>
                </a:lnTo>
                <a:lnTo>
                  <a:pt x="1" y="87"/>
                </a:lnTo>
                <a:lnTo>
                  <a:pt x="5" y="78"/>
                </a:lnTo>
                <a:lnTo>
                  <a:pt x="9" y="71"/>
                </a:lnTo>
                <a:lnTo>
                  <a:pt x="10" y="67"/>
                </a:lnTo>
                <a:lnTo>
                  <a:pt x="10" y="62"/>
                </a:lnTo>
                <a:lnTo>
                  <a:pt x="10" y="62"/>
                </a:lnTo>
                <a:lnTo>
                  <a:pt x="10" y="54"/>
                </a:lnTo>
                <a:lnTo>
                  <a:pt x="9" y="49"/>
                </a:lnTo>
                <a:lnTo>
                  <a:pt x="7" y="45"/>
                </a:lnTo>
                <a:lnTo>
                  <a:pt x="5" y="41"/>
                </a:lnTo>
                <a:lnTo>
                  <a:pt x="1" y="35"/>
                </a:lnTo>
                <a:lnTo>
                  <a:pt x="0" y="31"/>
                </a:lnTo>
                <a:lnTo>
                  <a:pt x="0" y="24"/>
                </a:lnTo>
                <a:lnTo>
                  <a:pt x="0" y="24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4" name="Freeform 29"/>
          <p:cNvSpPr>
            <a:spLocks/>
          </p:cNvSpPr>
          <p:nvPr/>
        </p:nvSpPr>
        <p:spPr bwMode="auto">
          <a:xfrm>
            <a:off x="8851900" y="3625850"/>
            <a:ext cx="31750" cy="31750"/>
          </a:xfrm>
          <a:custGeom>
            <a:avLst/>
            <a:gdLst/>
            <a:ahLst/>
            <a:cxnLst>
              <a:cxn ang="0">
                <a:pos x="17" y="7"/>
              </a:cxn>
              <a:cxn ang="0">
                <a:pos x="17" y="7"/>
              </a:cxn>
              <a:cxn ang="0">
                <a:pos x="12" y="7"/>
              </a:cxn>
              <a:cxn ang="0">
                <a:pos x="8" y="5"/>
              </a:cxn>
              <a:cxn ang="0">
                <a:pos x="5" y="3"/>
              </a:cxn>
              <a:cxn ang="0">
                <a:pos x="0" y="0"/>
              </a:cxn>
              <a:cxn ang="0">
                <a:pos x="0" y="0"/>
              </a:cxn>
              <a:cxn ang="0">
                <a:pos x="0" y="22"/>
              </a:cxn>
              <a:cxn ang="0">
                <a:pos x="0" y="22"/>
              </a:cxn>
              <a:cxn ang="0">
                <a:pos x="1" y="28"/>
              </a:cxn>
              <a:cxn ang="0">
                <a:pos x="5" y="33"/>
              </a:cxn>
              <a:cxn ang="0">
                <a:pos x="11" y="36"/>
              </a:cxn>
              <a:cxn ang="0">
                <a:pos x="14" y="37"/>
              </a:cxn>
              <a:cxn ang="0">
                <a:pos x="17" y="37"/>
              </a:cxn>
              <a:cxn ang="0">
                <a:pos x="17" y="37"/>
              </a:cxn>
              <a:cxn ang="0">
                <a:pos x="27" y="36"/>
              </a:cxn>
              <a:cxn ang="0">
                <a:pos x="34" y="34"/>
              </a:cxn>
              <a:cxn ang="0">
                <a:pos x="36" y="32"/>
              </a:cxn>
              <a:cxn ang="0">
                <a:pos x="37" y="29"/>
              </a:cxn>
              <a:cxn ang="0">
                <a:pos x="40" y="22"/>
              </a:cxn>
              <a:cxn ang="0">
                <a:pos x="40" y="22"/>
              </a:cxn>
              <a:cxn ang="0">
                <a:pos x="17" y="7"/>
              </a:cxn>
              <a:cxn ang="0">
                <a:pos x="17" y="7"/>
              </a:cxn>
            </a:cxnLst>
            <a:rect l="0" t="0" r="r" b="b"/>
            <a:pathLst>
              <a:path w="40" h="37">
                <a:moveTo>
                  <a:pt x="17" y="7"/>
                </a:moveTo>
                <a:lnTo>
                  <a:pt x="17" y="7"/>
                </a:lnTo>
                <a:lnTo>
                  <a:pt x="12" y="7"/>
                </a:lnTo>
                <a:lnTo>
                  <a:pt x="8" y="5"/>
                </a:lnTo>
                <a:lnTo>
                  <a:pt x="5" y="3"/>
                </a:lnTo>
                <a:lnTo>
                  <a:pt x="0" y="0"/>
                </a:lnTo>
                <a:lnTo>
                  <a:pt x="0" y="0"/>
                </a:lnTo>
                <a:lnTo>
                  <a:pt x="0" y="22"/>
                </a:lnTo>
                <a:lnTo>
                  <a:pt x="0" y="22"/>
                </a:lnTo>
                <a:lnTo>
                  <a:pt x="1" y="28"/>
                </a:lnTo>
                <a:lnTo>
                  <a:pt x="5" y="33"/>
                </a:lnTo>
                <a:lnTo>
                  <a:pt x="11" y="36"/>
                </a:lnTo>
                <a:lnTo>
                  <a:pt x="14" y="37"/>
                </a:lnTo>
                <a:lnTo>
                  <a:pt x="17" y="37"/>
                </a:lnTo>
                <a:lnTo>
                  <a:pt x="17" y="37"/>
                </a:lnTo>
                <a:lnTo>
                  <a:pt x="27" y="36"/>
                </a:lnTo>
                <a:lnTo>
                  <a:pt x="34" y="34"/>
                </a:lnTo>
                <a:lnTo>
                  <a:pt x="36" y="32"/>
                </a:lnTo>
                <a:lnTo>
                  <a:pt x="37" y="29"/>
                </a:lnTo>
                <a:lnTo>
                  <a:pt x="40" y="22"/>
                </a:lnTo>
                <a:lnTo>
                  <a:pt x="40" y="22"/>
                </a:lnTo>
                <a:lnTo>
                  <a:pt x="17" y="7"/>
                </a:lnTo>
                <a:lnTo>
                  <a:pt x="17" y="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5" name="Freeform 30"/>
          <p:cNvSpPr>
            <a:spLocks/>
          </p:cNvSpPr>
          <p:nvPr/>
        </p:nvSpPr>
        <p:spPr bwMode="auto">
          <a:xfrm>
            <a:off x="8804275" y="3679825"/>
            <a:ext cx="25400" cy="26988"/>
          </a:xfrm>
          <a:custGeom>
            <a:avLst/>
            <a:gdLst/>
            <a:ahLst/>
            <a:cxnLst>
              <a:cxn ang="0">
                <a:pos x="32" y="3"/>
              </a:cxn>
              <a:cxn ang="0">
                <a:pos x="32" y="3"/>
              </a:cxn>
              <a:cxn ang="0">
                <a:pos x="27" y="3"/>
              </a:cxn>
              <a:cxn ang="0">
                <a:pos x="21" y="2"/>
              </a:cxn>
              <a:cxn ang="0">
                <a:pos x="13" y="0"/>
              </a:cxn>
              <a:cxn ang="0">
                <a:pos x="13" y="0"/>
              </a:cxn>
              <a:cxn ang="0">
                <a:pos x="10" y="2"/>
              </a:cxn>
              <a:cxn ang="0">
                <a:pos x="5" y="7"/>
              </a:cxn>
              <a:cxn ang="0">
                <a:pos x="1" y="12"/>
              </a:cxn>
              <a:cxn ang="0">
                <a:pos x="0" y="16"/>
              </a:cxn>
              <a:cxn ang="0">
                <a:pos x="0" y="18"/>
              </a:cxn>
              <a:cxn ang="0">
                <a:pos x="0" y="18"/>
              </a:cxn>
              <a:cxn ang="0">
                <a:pos x="0" y="19"/>
              </a:cxn>
              <a:cxn ang="0">
                <a:pos x="2" y="21"/>
              </a:cxn>
              <a:cxn ang="0">
                <a:pos x="9" y="25"/>
              </a:cxn>
              <a:cxn ang="0">
                <a:pos x="16" y="28"/>
              </a:cxn>
              <a:cxn ang="0">
                <a:pos x="21" y="30"/>
              </a:cxn>
              <a:cxn ang="0">
                <a:pos x="21" y="30"/>
              </a:cxn>
              <a:cxn ang="0">
                <a:pos x="32" y="30"/>
              </a:cxn>
              <a:cxn ang="0">
                <a:pos x="32" y="30"/>
              </a:cxn>
              <a:cxn ang="0">
                <a:pos x="32" y="3"/>
              </a:cxn>
              <a:cxn ang="0">
                <a:pos x="32" y="3"/>
              </a:cxn>
              <a:cxn ang="0">
                <a:pos x="32" y="3"/>
              </a:cxn>
            </a:cxnLst>
            <a:rect l="0" t="0" r="r" b="b"/>
            <a:pathLst>
              <a:path w="32" h="30">
                <a:moveTo>
                  <a:pt x="32" y="3"/>
                </a:moveTo>
                <a:lnTo>
                  <a:pt x="32" y="3"/>
                </a:lnTo>
                <a:lnTo>
                  <a:pt x="27" y="3"/>
                </a:lnTo>
                <a:lnTo>
                  <a:pt x="21" y="2"/>
                </a:lnTo>
                <a:lnTo>
                  <a:pt x="13" y="0"/>
                </a:lnTo>
                <a:lnTo>
                  <a:pt x="13" y="0"/>
                </a:lnTo>
                <a:lnTo>
                  <a:pt x="10" y="2"/>
                </a:lnTo>
                <a:lnTo>
                  <a:pt x="5" y="7"/>
                </a:lnTo>
                <a:lnTo>
                  <a:pt x="1" y="12"/>
                </a:lnTo>
                <a:lnTo>
                  <a:pt x="0" y="16"/>
                </a:lnTo>
                <a:lnTo>
                  <a:pt x="0" y="18"/>
                </a:lnTo>
                <a:lnTo>
                  <a:pt x="0" y="18"/>
                </a:lnTo>
                <a:lnTo>
                  <a:pt x="0" y="19"/>
                </a:lnTo>
                <a:lnTo>
                  <a:pt x="2" y="21"/>
                </a:lnTo>
                <a:lnTo>
                  <a:pt x="9" y="25"/>
                </a:lnTo>
                <a:lnTo>
                  <a:pt x="16" y="28"/>
                </a:lnTo>
                <a:lnTo>
                  <a:pt x="21" y="30"/>
                </a:lnTo>
                <a:lnTo>
                  <a:pt x="21" y="30"/>
                </a:lnTo>
                <a:lnTo>
                  <a:pt x="32" y="30"/>
                </a:lnTo>
                <a:lnTo>
                  <a:pt x="32" y="30"/>
                </a:lnTo>
                <a:lnTo>
                  <a:pt x="32" y="3"/>
                </a:lnTo>
                <a:lnTo>
                  <a:pt x="32" y="3"/>
                </a:lnTo>
                <a:lnTo>
                  <a:pt x="32" y="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6" name="Freeform 31"/>
          <p:cNvSpPr>
            <a:spLocks/>
          </p:cNvSpPr>
          <p:nvPr/>
        </p:nvSpPr>
        <p:spPr bwMode="auto">
          <a:xfrm>
            <a:off x="8764588" y="2647950"/>
            <a:ext cx="73025" cy="33338"/>
          </a:xfrm>
          <a:custGeom>
            <a:avLst/>
            <a:gdLst/>
            <a:ahLst/>
            <a:cxnLst>
              <a:cxn ang="0">
                <a:pos x="66" y="11"/>
              </a:cxn>
              <a:cxn ang="0">
                <a:pos x="66" y="11"/>
              </a:cxn>
              <a:cxn ang="0">
                <a:pos x="52" y="11"/>
              </a:cxn>
              <a:cxn ang="0">
                <a:pos x="38" y="10"/>
              </a:cxn>
              <a:cxn ang="0">
                <a:pos x="31" y="9"/>
              </a:cxn>
              <a:cxn ang="0">
                <a:pos x="26" y="7"/>
              </a:cxn>
              <a:cxn ang="0">
                <a:pos x="20" y="3"/>
              </a:cxn>
              <a:cxn ang="0">
                <a:pos x="15" y="0"/>
              </a:cxn>
              <a:cxn ang="0">
                <a:pos x="15" y="0"/>
              </a:cxn>
              <a:cxn ang="0">
                <a:pos x="9" y="3"/>
              </a:cxn>
              <a:cxn ang="0">
                <a:pos x="6" y="5"/>
              </a:cxn>
              <a:cxn ang="0">
                <a:pos x="4" y="10"/>
              </a:cxn>
              <a:cxn ang="0">
                <a:pos x="0" y="15"/>
              </a:cxn>
              <a:cxn ang="0">
                <a:pos x="0" y="15"/>
              </a:cxn>
              <a:cxn ang="0">
                <a:pos x="0" y="37"/>
              </a:cxn>
              <a:cxn ang="0">
                <a:pos x="0" y="37"/>
              </a:cxn>
              <a:cxn ang="0">
                <a:pos x="0" y="37"/>
              </a:cxn>
              <a:cxn ang="0">
                <a:pos x="13" y="38"/>
              </a:cxn>
              <a:cxn ang="0">
                <a:pos x="26" y="38"/>
              </a:cxn>
              <a:cxn ang="0">
                <a:pos x="42" y="37"/>
              </a:cxn>
              <a:cxn ang="0">
                <a:pos x="62" y="37"/>
              </a:cxn>
              <a:cxn ang="0">
                <a:pos x="62" y="37"/>
              </a:cxn>
              <a:cxn ang="0">
                <a:pos x="70" y="35"/>
              </a:cxn>
              <a:cxn ang="0">
                <a:pos x="76" y="34"/>
              </a:cxn>
              <a:cxn ang="0">
                <a:pos x="80" y="32"/>
              </a:cxn>
              <a:cxn ang="0">
                <a:pos x="83" y="30"/>
              </a:cxn>
              <a:cxn ang="0">
                <a:pos x="85" y="26"/>
              </a:cxn>
              <a:cxn ang="0">
                <a:pos x="87" y="22"/>
              </a:cxn>
              <a:cxn ang="0">
                <a:pos x="89" y="11"/>
              </a:cxn>
              <a:cxn ang="0">
                <a:pos x="89" y="11"/>
              </a:cxn>
              <a:cxn ang="0">
                <a:pos x="66" y="11"/>
              </a:cxn>
              <a:cxn ang="0">
                <a:pos x="66" y="11"/>
              </a:cxn>
              <a:cxn ang="0">
                <a:pos x="66" y="11"/>
              </a:cxn>
            </a:cxnLst>
            <a:rect l="0" t="0" r="r" b="b"/>
            <a:pathLst>
              <a:path w="89" h="38">
                <a:moveTo>
                  <a:pt x="66" y="11"/>
                </a:moveTo>
                <a:lnTo>
                  <a:pt x="66" y="11"/>
                </a:lnTo>
                <a:lnTo>
                  <a:pt x="52" y="11"/>
                </a:lnTo>
                <a:lnTo>
                  <a:pt x="38" y="10"/>
                </a:lnTo>
                <a:lnTo>
                  <a:pt x="31" y="9"/>
                </a:lnTo>
                <a:lnTo>
                  <a:pt x="26" y="7"/>
                </a:lnTo>
                <a:lnTo>
                  <a:pt x="20" y="3"/>
                </a:lnTo>
                <a:lnTo>
                  <a:pt x="15" y="0"/>
                </a:lnTo>
                <a:lnTo>
                  <a:pt x="15" y="0"/>
                </a:lnTo>
                <a:lnTo>
                  <a:pt x="9" y="3"/>
                </a:lnTo>
                <a:lnTo>
                  <a:pt x="6" y="5"/>
                </a:lnTo>
                <a:lnTo>
                  <a:pt x="4" y="10"/>
                </a:lnTo>
                <a:lnTo>
                  <a:pt x="0" y="15"/>
                </a:lnTo>
                <a:lnTo>
                  <a:pt x="0" y="15"/>
                </a:lnTo>
                <a:lnTo>
                  <a:pt x="0" y="37"/>
                </a:lnTo>
                <a:lnTo>
                  <a:pt x="0" y="37"/>
                </a:lnTo>
                <a:lnTo>
                  <a:pt x="0" y="37"/>
                </a:lnTo>
                <a:lnTo>
                  <a:pt x="13" y="38"/>
                </a:lnTo>
                <a:lnTo>
                  <a:pt x="26" y="38"/>
                </a:lnTo>
                <a:lnTo>
                  <a:pt x="42" y="37"/>
                </a:lnTo>
                <a:lnTo>
                  <a:pt x="62" y="37"/>
                </a:lnTo>
                <a:lnTo>
                  <a:pt x="62" y="37"/>
                </a:lnTo>
                <a:lnTo>
                  <a:pt x="70" y="35"/>
                </a:lnTo>
                <a:lnTo>
                  <a:pt x="76" y="34"/>
                </a:lnTo>
                <a:lnTo>
                  <a:pt x="80" y="32"/>
                </a:lnTo>
                <a:lnTo>
                  <a:pt x="83" y="30"/>
                </a:lnTo>
                <a:lnTo>
                  <a:pt x="85" y="26"/>
                </a:lnTo>
                <a:lnTo>
                  <a:pt x="87" y="22"/>
                </a:lnTo>
                <a:lnTo>
                  <a:pt x="89" y="11"/>
                </a:lnTo>
                <a:lnTo>
                  <a:pt x="89" y="11"/>
                </a:lnTo>
                <a:lnTo>
                  <a:pt x="66" y="11"/>
                </a:lnTo>
                <a:lnTo>
                  <a:pt x="66" y="11"/>
                </a:lnTo>
                <a:lnTo>
                  <a:pt x="66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7" name="Freeform 32"/>
          <p:cNvSpPr>
            <a:spLocks/>
          </p:cNvSpPr>
          <p:nvPr/>
        </p:nvSpPr>
        <p:spPr bwMode="auto">
          <a:xfrm>
            <a:off x="8863013" y="2578100"/>
            <a:ext cx="53975" cy="31750"/>
          </a:xfrm>
          <a:custGeom>
            <a:avLst/>
            <a:gdLst/>
            <a:ahLst/>
            <a:cxnLst>
              <a:cxn ang="0">
                <a:pos x="26" y="34"/>
              </a:cxn>
              <a:cxn ang="0">
                <a:pos x="8" y="37"/>
              </a:cxn>
              <a:cxn ang="0">
                <a:pos x="8" y="37"/>
              </a:cxn>
              <a:cxn ang="0">
                <a:pos x="8" y="37"/>
              </a:cxn>
              <a:cxn ang="0">
                <a:pos x="7" y="34"/>
              </a:cxn>
              <a:cxn ang="0">
                <a:pos x="5" y="30"/>
              </a:cxn>
              <a:cxn ang="0">
                <a:pos x="0" y="25"/>
              </a:cxn>
              <a:cxn ang="0">
                <a:pos x="0" y="25"/>
              </a:cxn>
              <a:cxn ang="0">
                <a:pos x="1" y="21"/>
              </a:cxn>
              <a:cxn ang="0">
                <a:pos x="3" y="15"/>
              </a:cxn>
              <a:cxn ang="0">
                <a:pos x="7" y="11"/>
              </a:cxn>
              <a:cxn ang="0">
                <a:pos x="13" y="7"/>
              </a:cxn>
              <a:cxn ang="0">
                <a:pos x="18" y="4"/>
              </a:cxn>
              <a:cxn ang="0">
                <a:pos x="25" y="1"/>
              </a:cxn>
              <a:cxn ang="0">
                <a:pos x="33" y="0"/>
              </a:cxn>
              <a:cxn ang="0">
                <a:pos x="41" y="0"/>
              </a:cxn>
              <a:cxn ang="0">
                <a:pos x="41" y="0"/>
              </a:cxn>
              <a:cxn ang="0">
                <a:pos x="50" y="0"/>
              </a:cxn>
              <a:cxn ang="0">
                <a:pos x="56" y="1"/>
              </a:cxn>
              <a:cxn ang="0">
                <a:pos x="60" y="2"/>
              </a:cxn>
              <a:cxn ang="0">
                <a:pos x="63" y="5"/>
              </a:cxn>
              <a:cxn ang="0">
                <a:pos x="66" y="7"/>
              </a:cxn>
              <a:cxn ang="0">
                <a:pos x="67" y="11"/>
              </a:cxn>
              <a:cxn ang="0">
                <a:pos x="67" y="11"/>
              </a:cxn>
              <a:cxn ang="0">
                <a:pos x="60" y="15"/>
              </a:cxn>
              <a:cxn ang="0">
                <a:pos x="53" y="17"/>
              </a:cxn>
              <a:cxn ang="0">
                <a:pos x="51" y="19"/>
              </a:cxn>
              <a:cxn ang="0">
                <a:pos x="50" y="20"/>
              </a:cxn>
              <a:cxn ang="0">
                <a:pos x="48" y="22"/>
              </a:cxn>
              <a:cxn ang="0">
                <a:pos x="48" y="25"/>
              </a:cxn>
              <a:cxn ang="0">
                <a:pos x="48" y="25"/>
              </a:cxn>
              <a:cxn ang="0">
                <a:pos x="26" y="34"/>
              </a:cxn>
              <a:cxn ang="0">
                <a:pos x="26" y="34"/>
              </a:cxn>
            </a:cxnLst>
            <a:rect l="0" t="0" r="r" b="b"/>
            <a:pathLst>
              <a:path w="67" h="37">
                <a:moveTo>
                  <a:pt x="26" y="34"/>
                </a:moveTo>
                <a:lnTo>
                  <a:pt x="8" y="37"/>
                </a:lnTo>
                <a:lnTo>
                  <a:pt x="8" y="37"/>
                </a:lnTo>
                <a:lnTo>
                  <a:pt x="8" y="37"/>
                </a:lnTo>
                <a:lnTo>
                  <a:pt x="7" y="34"/>
                </a:lnTo>
                <a:lnTo>
                  <a:pt x="5" y="30"/>
                </a:lnTo>
                <a:lnTo>
                  <a:pt x="0" y="25"/>
                </a:lnTo>
                <a:lnTo>
                  <a:pt x="0" y="25"/>
                </a:lnTo>
                <a:lnTo>
                  <a:pt x="1" y="21"/>
                </a:lnTo>
                <a:lnTo>
                  <a:pt x="3" y="15"/>
                </a:lnTo>
                <a:lnTo>
                  <a:pt x="7" y="11"/>
                </a:lnTo>
                <a:lnTo>
                  <a:pt x="13" y="7"/>
                </a:lnTo>
                <a:lnTo>
                  <a:pt x="18" y="4"/>
                </a:lnTo>
                <a:lnTo>
                  <a:pt x="25" y="1"/>
                </a:lnTo>
                <a:lnTo>
                  <a:pt x="33" y="0"/>
                </a:lnTo>
                <a:lnTo>
                  <a:pt x="41" y="0"/>
                </a:lnTo>
                <a:lnTo>
                  <a:pt x="41" y="0"/>
                </a:lnTo>
                <a:lnTo>
                  <a:pt x="50" y="0"/>
                </a:lnTo>
                <a:lnTo>
                  <a:pt x="56" y="1"/>
                </a:lnTo>
                <a:lnTo>
                  <a:pt x="60" y="2"/>
                </a:lnTo>
                <a:lnTo>
                  <a:pt x="63" y="5"/>
                </a:lnTo>
                <a:lnTo>
                  <a:pt x="66" y="7"/>
                </a:lnTo>
                <a:lnTo>
                  <a:pt x="67" y="11"/>
                </a:lnTo>
                <a:lnTo>
                  <a:pt x="67" y="11"/>
                </a:lnTo>
                <a:lnTo>
                  <a:pt x="60" y="15"/>
                </a:lnTo>
                <a:lnTo>
                  <a:pt x="53" y="17"/>
                </a:lnTo>
                <a:lnTo>
                  <a:pt x="51" y="19"/>
                </a:lnTo>
                <a:lnTo>
                  <a:pt x="50" y="20"/>
                </a:lnTo>
                <a:lnTo>
                  <a:pt x="48" y="22"/>
                </a:lnTo>
                <a:lnTo>
                  <a:pt x="48" y="25"/>
                </a:lnTo>
                <a:lnTo>
                  <a:pt x="48" y="25"/>
                </a:lnTo>
                <a:lnTo>
                  <a:pt x="26" y="34"/>
                </a:lnTo>
                <a:lnTo>
                  <a:pt x="26" y="3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8" name="Freeform 33"/>
          <p:cNvSpPr>
            <a:spLocks/>
          </p:cNvSpPr>
          <p:nvPr/>
        </p:nvSpPr>
        <p:spPr bwMode="auto">
          <a:xfrm>
            <a:off x="7213600" y="952500"/>
            <a:ext cx="73025" cy="187325"/>
          </a:xfrm>
          <a:custGeom>
            <a:avLst/>
            <a:gdLst/>
            <a:ahLst/>
            <a:cxnLst>
              <a:cxn ang="0">
                <a:pos x="87" y="0"/>
              </a:cxn>
              <a:cxn ang="0">
                <a:pos x="87" y="0"/>
              </a:cxn>
              <a:cxn ang="0">
                <a:pos x="78" y="5"/>
              </a:cxn>
              <a:cxn ang="0">
                <a:pos x="68" y="11"/>
              </a:cxn>
              <a:cxn ang="0">
                <a:pos x="60" y="17"/>
              </a:cxn>
              <a:cxn ang="0">
                <a:pos x="51" y="24"/>
              </a:cxn>
              <a:cxn ang="0">
                <a:pos x="43" y="31"/>
              </a:cxn>
              <a:cxn ang="0">
                <a:pos x="36" y="38"/>
              </a:cxn>
              <a:cxn ang="0">
                <a:pos x="29" y="47"/>
              </a:cxn>
              <a:cxn ang="0">
                <a:pos x="23" y="55"/>
              </a:cxn>
              <a:cxn ang="0">
                <a:pos x="17" y="64"/>
              </a:cxn>
              <a:cxn ang="0">
                <a:pos x="13" y="74"/>
              </a:cxn>
              <a:cxn ang="0">
                <a:pos x="9" y="85"/>
              </a:cxn>
              <a:cxn ang="0">
                <a:pos x="6" y="96"/>
              </a:cxn>
              <a:cxn ang="0">
                <a:pos x="3" y="108"/>
              </a:cxn>
              <a:cxn ang="0">
                <a:pos x="1" y="121"/>
              </a:cxn>
              <a:cxn ang="0">
                <a:pos x="0" y="133"/>
              </a:cxn>
              <a:cxn ang="0">
                <a:pos x="0" y="147"/>
              </a:cxn>
              <a:cxn ang="0">
                <a:pos x="0" y="147"/>
              </a:cxn>
              <a:cxn ang="0">
                <a:pos x="0" y="159"/>
              </a:cxn>
              <a:cxn ang="0">
                <a:pos x="1" y="169"/>
              </a:cxn>
              <a:cxn ang="0">
                <a:pos x="3" y="177"/>
              </a:cxn>
              <a:cxn ang="0">
                <a:pos x="7" y="185"/>
              </a:cxn>
              <a:cxn ang="0">
                <a:pos x="10" y="192"/>
              </a:cxn>
              <a:cxn ang="0">
                <a:pos x="15" y="196"/>
              </a:cxn>
              <a:cxn ang="0">
                <a:pos x="21" y="201"/>
              </a:cxn>
              <a:cxn ang="0">
                <a:pos x="26" y="206"/>
              </a:cxn>
              <a:cxn ang="0">
                <a:pos x="32" y="208"/>
              </a:cxn>
              <a:cxn ang="0">
                <a:pos x="39" y="210"/>
              </a:cxn>
              <a:cxn ang="0">
                <a:pos x="54" y="214"/>
              </a:cxn>
              <a:cxn ang="0">
                <a:pos x="70" y="215"/>
              </a:cxn>
              <a:cxn ang="0">
                <a:pos x="87" y="216"/>
              </a:cxn>
              <a:cxn ang="0">
                <a:pos x="87" y="216"/>
              </a:cxn>
              <a:cxn ang="0">
                <a:pos x="87" y="0"/>
              </a:cxn>
              <a:cxn ang="0">
                <a:pos x="87" y="0"/>
              </a:cxn>
            </a:cxnLst>
            <a:rect l="0" t="0" r="r" b="b"/>
            <a:pathLst>
              <a:path w="87" h="216">
                <a:moveTo>
                  <a:pt x="87" y="0"/>
                </a:moveTo>
                <a:lnTo>
                  <a:pt x="87" y="0"/>
                </a:lnTo>
                <a:lnTo>
                  <a:pt x="78" y="5"/>
                </a:lnTo>
                <a:lnTo>
                  <a:pt x="68" y="11"/>
                </a:lnTo>
                <a:lnTo>
                  <a:pt x="60" y="17"/>
                </a:lnTo>
                <a:lnTo>
                  <a:pt x="51" y="24"/>
                </a:lnTo>
                <a:lnTo>
                  <a:pt x="43" y="31"/>
                </a:lnTo>
                <a:lnTo>
                  <a:pt x="36" y="38"/>
                </a:lnTo>
                <a:lnTo>
                  <a:pt x="29" y="47"/>
                </a:lnTo>
                <a:lnTo>
                  <a:pt x="23" y="55"/>
                </a:lnTo>
                <a:lnTo>
                  <a:pt x="17" y="64"/>
                </a:lnTo>
                <a:lnTo>
                  <a:pt x="13" y="74"/>
                </a:lnTo>
                <a:lnTo>
                  <a:pt x="9" y="85"/>
                </a:lnTo>
                <a:lnTo>
                  <a:pt x="6" y="96"/>
                </a:lnTo>
                <a:lnTo>
                  <a:pt x="3" y="108"/>
                </a:lnTo>
                <a:lnTo>
                  <a:pt x="1" y="121"/>
                </a:lnTo>
                <a:lnTo>
                  <a:pt x="0" y="133"/>
                </a:lnTo>
                <a:lnTo>
                  <a:pt x="0" y="147"/>
                </a:lnTo>
                <a:lnTo>
                  <a:pt x="0" y="147"/>
                </a:lnTo>
                <a:lnTo>
                  <a:pt x="0" y="159"/>
                </a:lnTo>
                <a:lnTo>
                  <a:pt x="1" y="169"/>
                </a:lnTo>
                <a:lnTo>
                  <a:pt x="3" y="177"/>
                </a:lnTo>
                <a:lnTo>
                  <a:pt x="7" y="185"/>
                </a:lnTo>
                <a:lnTo>
                  <a:pt x="10" y="192"/>
                </a:lnTo>
                <a:lnTo>
                  <a:pt x="15" y="196"/>
                </a:lnTo>
                <a:lnTo>
                  <a:pt x="21" y="201"/>
                </a:lnTo>
                <a:lnTo>
                  <a:pt x="26" y="206"/>
                </a:lnTo>
                <a:lnTo>
                  <a:pt x="32" y="208"/>
                </a:lnTo>
                <a:lnTo>
                  <a:pt x="39" y="210"/>
                </a:lnTo>
                <a:lnTo>
                  <a:pt x="54" y="214"/>
                </a:lnTo>
                <a:lnTo>
                  <a:pt x="70" y="215"/>
                </a:lnTo>
                <a:lnTo>
                  <a:pt x="87" y="216"/>
                </a:lnTo>
                <a:lnTo>
                  <a:pt x="87" y="216"/>
                </a:lnTo>
                <a:lnTo>
                  <a:pt x="87" y="0"/>
                </a:lnTo>
                <a:lnTo>
                  <a:pt x="87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39" name="Freeform 34"/>
          <p:cNvSpPr>
            <a:spLocks/>
          </p:cNvSpPr>
          <p:nvPr/>
        </p:nvSpPr>
        <p:spPr bwMode="auto">
          <a:xfrm>
            <a:off x="3551238" y="1598613"/>
            <a:ext cx="74612" cy="46037"/>
          </a:xfrm>
          <a:custGeom>
            <a:avLst/>
            <a:gdLst/>
            <a:ahLst/>
            <a:cxnLst>
              <a:cxn ang="0">
                <a:pos x="88" y="52"/>
              </a:cxn>
              <a:cxn ang="0">
                <a:pos x="88" y="52"/>
              </a:cxn>
              <a:cxn ang="0">
                <a:pos x="89" y="51"/>
              </a:cxn>
              <a:cxn ang="0">
                <a:pos x="90" y="49"/>
              </a:cxn>
              <a:cxn ang="0">
                <a:pos x="90" y="46"/>
              </a:cxn>
              <a:cxn ang="0">
                <a:pos x="90" y="34"/>
              </a:cxn>
              <a:cxn ang="0">
                <a:pos x="88" y="18"/>
              </a:cxn>
              <a:cxn ang="0">
                <a:pos x="88" y="18"/>
              </a:cxn>
              <a:cxn ang="0">
                <a:pos x="78" y="11"/>
              </a:cxn>
              <a:cxn ang="0">
                <a:pos x="70" y="7"/>
              </a:cxn>
              <a:cxn ang="0">
                <a:pos x="70" y="7"/>
              </a:cxn>
              <a:cxn ang="0">
                <a:pos x="21" y="7"/>
              </a:cxn>
              <a:cxn ang="0">
                <a:pos x="21" y="7"/>
              </a:cxn>
              <a:cxn ang="0">
                <a:pos x="21" y="7"/>
              </a:cxn>
              <a:cxn ang="0">
                <a:pos x="17" y="6"/>
              </a:cxn>
              <a:cxn ang="0">
                <a:pos x="11" y="3"/>
              </a:cxn>
              <a:cxn ang="0">
                <a:pos x="6" y="2"/>
              </a:cxn>
              <a:cxn ang="0">
                <a:pos x="3" y="0"/>
              </a:cxn>
              <a:cxn ang="0">
                <a:pos x="3" y="0"/>
              </a:cxn>
              <a:cxn ang="0">
                <a:pos x="0" y="5"/>
              </a:cxn>
              <a:cxn ang="0">
                <a:pos x="0" y="7"/>
              </a:cxn>
              <a:cxn ang="0">
                <a:pos x="0" y="15"/>
              </a:cxn>
              <a:cxn ang="0">
                <a:pos x="0" y="15"/>
              </a:cxn>
              <a:cxn ang="0">
                <a:pos x="1" y="21"/>
              </a:cxn>
              <a:cxn ang="0">
                <a:pos x="1" y="25"/>
              </a:cxn>
              <a:cxn ang="0">
                <a:pos x="3" y="29"/>
              </a:cxn>
              <a:cxn ang="0">
                <a:pos x="5" y="32"/>
              </a:cxn>
              <a:cxn ang="0">
                <a:pos x="8" y="34"/>
              </a:cxn>
              <a:cxn ang="0">
                <a:pos x="11" y="37"/>
              </a:cxn>
              <a:cxn ang="0">
                <a:pos x="18" y="38"/>
              </a:cxn>
              <a:cxn ang="0">
                <a:pos x="26" y="39"/>
              </a:cxn>
              <a:cxn ang="0">
                <a:pos x="35" y="38"/>
              </a:cxn>
              <a:cxn ang="0">
                <a:pos x="55" y="37"/>
              </a:cxn>
              <a:cxn ang="0">
                <a:pos x="55" y="37"/>
              </a:cxn>
              <a:cxn ang="0">
                <a:pos x="70" y="37"/>
              </a:cxn>
              <a:cxn ang="0">
                <a:pos x="70" y="37"/>
              </a:cxn>
              <a:cxn ang="0">
                <a:pos x="71" y="42"/>
              </a:cxn>
              <a:cxn ang="0">
                <a:pos x="74" y="47"/>
              </a:cxn>
              <a:cxn ang="0">
                <a:pos x="80" y="51"/>
              </a:cxn>
              <a:cxn ang="0">
                <a:pos x="88" y="52"/>
              </a:cxn>
              <a:cxn ang="0">
                <a:pos x="88" y="52"/>
              </a:cxn>
              <a:cxn ang="0">
                <a:pos x="88" y="52"/>
              </a:cxn>
            </a:cxnLst>
            <a:rect l="0" t="0" r="r" b="b"/>
            <a:pathLst>
              <a:path w="90" h="52">
                <a:moveTo>
                  <a:pt x="88" y="52"/>
                </a:moveTo>
                <a:lnTo>
                  <a:pt x="88" y="52"/>
                </a:lnTo>
                <a:lnTo>
                  <a:pt x="89" y="51"/>
                </a:lnTo>
                <a:lnTo>
                  <a:pt x="90" y="49"/>
                </a:lnTo>
                <a:lnTo>
                  <a:pt x="90" y="46"/>
                </a:lnTo>
                <a:lnTo>
                  <a:pt x="90" y="34"/>
                </a:lnTo>
                <a:lnTo>
                  <a:pt x="88" y="18"/>
                </a:lnTo>
                <a:lnTo>
                  <a:pt x="88" y="18"/>
                </a:lnTo>
                <a:lnTo>
                  <a:pt x="78" y="11"/>
                </a:lnTo>
                <a:lnTo>
                  <a:pt x="70" y="7"/>
                </a:lnTo>
                <a:lnTo>
                  <a:pt x="70" y="7"/>
                </a:lnTo>
                <a:lnTo>
                  <a:pt x="21" y="7"/>
                </a:lnTo>
                <a:lnTo>
                  <a:pt x="21" y="7"/>
                </a:lnTo>
                <a:lnTo>
                  <a:pt x="21" y="7"/>
                </a:lnTo>
                <a:lnTo>
                  <a:pt x="17" y="6"/>
                </a:lnTo>
                <a:lnTo>
                  <a:pt x="11" y="3"/>
                </a:lnTo>
                <a:lnTo>
                  <a:pt x="6" y="2"/>
                </a:lnTo>
                <a:lnTo>
                  <a:pt x="3" y="0"/>
                </a:lnTo>
                <a:lnTo>
                  <a:pt x="3" y="0"/>
                </a:lnTo>
                <a:lnTo>
                  <a:pt x="0" y="5"/>
                </a:lnTo>
                <a:lnTo>
                  <a:pt x="0" y="7"/>
                </a:lnTo>
                <a:lnTo>
                  <a:pt x="0" y="15"/>
                </a:lnTo>
                <a:lnTo>
                  <a:pt x="0" y="15"/>
                </a:lnTo>
                <a:lnTo>
                  <a:pt x="1" y="21"/>
                </a:lnTo>
                <a:lnTo>
                  <a:pt x="1" y="25"/>
                </a:lnTo>
                <a:lnTo>
                  <a:pt x="3" y="29"/>
                </a:lnTo>
                <a:lnTo>
                  <a:pt x="5" y="32"/>
                </a:lnTo>
                <a:lnTo>
                  <a:pt x="8" y="34"/>
                </a:lnTo>
                <a:lnTo>
                  <a:pt x="11" y="37"/>
                </a:lnTo>
                <a:lnTo>
                  <a:pt x="18" y="38"/>
                </a:lnTo>
                <a:lnTo>
                  <a:pt x="26" y="39"/>
                </a:lnTo>
                <a:lnTo>
                  <a:pt x="35" y="38"/>
                </a:lnTo>
                <a:lnTo>
                  <a:pt x="55" y="37"/>
                </a:lnTo>
                <a:lnTo>
                  <a:pt x="55" y="37"/>
                </a:lnTo>
                <a:lnTo>
                  <a:pt x="70" y="37"/>
                </a:lnTo>
                <a:lnTo>
                  <a:pt x="70" y="37"/>
                </a:lnTo>
                <a:lnTo>
                  <a:pt x="71" y="42"/>
                </a:lnTo>
                <a:lnTo>
                  <a:pt x="74" y="47"/>
                </a:lnTo>
                <a:lnTo>
                  <a:pt x="80" y="51"/>
                </a:lnTo>
                <a:lnTo>
                  <a:pt x="88" y="52"/>
                </a:lnTo>
                <a:lnTo>
                  <a:pt x="88" y="52"/>
                </a:lnTo>
                <a:lnTo>
                  <a:pt x="88" y="5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0" name="Freeform 35"/>
          <p:cNvSpPr>
            <a:spLocks/>
          </p:cNvSpPr>
          <p:nvPr/>
        </p:nvSpPr>
        <p:spPr bwMode="auto">
          <a:xfrm>
            <a:off x="3557588" y="1628775"/>
            <a:ext cx="123825" cy="79375"/>
          </a:xfrm>
          <a:custGeom>
            <a:avLst/>
            <a:gdLst/>
            <a:ahLst/>
            <a:cxnLst>
              <a:cxn ang="0">
                <a:pos x="74" y="47"/>
              </a:cxn>
              <a:cxn ang="0">
                <a:pos x="67" y="45"/>
              </a:cxn>
              <a:cxn ang="0">
                <a:pos x="56" y="35"/>
              </a:cxn>
              <a:cxn ang="0">
                <a:pos x="49" y="34"/>
              </a:cxn>
              <a:cxn ang="0">
                <a:pos x="46" y="34"/>
              </a:cxn>
              <a:cxn ang="0">
                <a:pos x="40" y="38"/>
              </a:cxn>
              <a:cxn ang="0">
                <a:pos x="30" y="44"/>
              </a:cxn>
              <a:cxn ang="0">
                <a:pos x="27" y="44"/>
              </a:cxn>
              <a:cxn ang="0">
                <a:pos x="14" y="43"/>
              </a:cxn>
              <a:cxn ang="0">
                <a:pos x="8" y="37"/>
              </a:cxn>
              <a:cxn ang="0">
                <a:pos x="6" y="39"/>
              </a:cxn>
              <a:cxn ang="0">
                <a:pos x="2" y="50"/>
              </a:cxn>
              <a:cxn ang="0">
                <a:pos x="0" y="62"/>
              </a:cxn>
              <a:cxn ang="0">
                <a:pos x="2" y="76"/>
              </a:cxn>
              <a:cxn ang="0">
                <a:pos x="3" y="85"/>
              </a:cxn>
              <a:cxn ang="0">
                <a:pos x="7" y="90"/>
              </a:cxn>
              <a:cxn ang="0">
                <a:pos x="15" y="92"/>
              </a:cxn>
              <a:cxn ang="0">
                <a:pos x="23" y="91"/>
              </a:cxn>
              <a:cxn ang="0">
                <a:pos x="35" y="85"/>
              </a:cxn>
              <a:cxn ang="0">
                <a:pos x="46" y="74"/>
              </a:cxn>
              <a:cxn ang="0">
                <a:pos x="52" y="70"/>
              </a:cxn>
              <a:cxn ang="0">
                <a:pos x="56" y="72"/>
              </a:cxn>
              <a:cxn ang="0">
                <a:pos x="64" y="76"/>
              </a:cxn>
              <a:cxn ang="0">
                <a:pos x="67" y="77"/>
              </a:cxn>
              <a:cxn ang="0">
                <a:pos x="72" y="75"/>
              </a:cxn>
              <a:cxn ang="0">
                <a:pos x="82" y="65"/>
              </a:cxn>
              <a:cxn ang="0">
                <a:pos x="89" y="62"/>
              </a:cxn>
              <a:cxn ang="0">
                <a:pos x="119" y="62"/>
              </a:cxn>
              <a:cxn ang="0">
                <a:pos x="133" y="62"/>
              </a:cxn>
              <a:cxn ang="0">
                <a:pos x="141" y="61"/>
              </a:cxn>
              <a:cxn ang="0">
                <a:pos x="145" y="57"/>
              </a:cxn>
              <a:cxn ang="0">
                <a:pos x="151" y="44"/>
              </a:cxn>
              <a:cxn ang="0">
                <a:pos x="151" y="37"/>
              </a:cxn>
              <a:cxn ang="0">
                <a:pos x="145" y="36"/>
              </a:cxn>
              <a:cxn ang="0">
                <a:pos x="135" y="34"/>
              </a:cxn>
              <a:cxn ang="0">
                <a:pos x="133" y="29"/>
              </a:cxn>
              <a:cxn ang="0">
                <a:pos x="134" y="18"/>
              </a:cxn>
              <a:cxn ang="0">
                <a:pos x="135" y="9"/>
              </a:cxn>
              <a:cxn ang="0">
                <a:pos x="133" y="0"/>
              </a:cxn>
              <a:cxn ang="0">
                <a:pos x="122" y="0"/>
              </a:cxn>
              <a:cxn ang="0">
                <a:pos x="114" y="3"/>
              </a:cxn>
              <a:cxn ang="0">
                <a:pos x="109" y="7"/>
              </a:cxn>
              <a:cxn ang="0">
                <a:pos x="98" y="24"/>
              </a:cxn>
              <a:cxn ang="0">
                <a:pos x="88" y="41"/>
              </a:cxn>
              <a:cxn ang="0">
                <a:pos x="82" y="45"/>
              </a:cxn>
              <a:cxn ang="0">
                <a:pos x="74" y="47"/>
              </a:cxn>
              <a:cxn ang="0">
                <a:pos x="74" y="47"/>
              </a:cxn>
            </a:cxnLst>
            <a:rect l="0" t="0" r="r" b="b"/>
            <a:pathLst>
              <a:path w="151" h="92">
                <a:moveTo>
                  <a:pt x="74" y="47"/>
                </a:moveTo>
                <a:lnTo>
                  <a:pt x="74" y="47"/>
                </a:lnTo>
                <a:lnTo>
                  <a:pt x="71" y="47"/>
                </a:lnTo>
                <a:lnTo>
                  <a:pt x="67" y="45"/>
                </a:lnTo>
                <a:lnTo>
                  <a:pt x="61" y="41"/>
                </a:lnTo>
                <a:lnTo>
                  <a:pt x="56" y="35"/>
                </a:lnTo>
                <a:lnTo>
                  <a:pt x="53" y="34"/>
                </a:lnTo>
                <a:lnTo>
                  <a:pt x="49" y="34"/>
                </a:lnTo>
                <a:lnTo>
                  <a:pt x="49" y="34"/>
                </a:lnTo>
                <a:lnTo>
                  <a:pt x="46" y="34"/>
                </a:lnTo>
                <a:lnTo>
                  <a:pt x="44" y="35"/>
                </a:lnTo>
                <a:lnTo>
                  <a:pt x="40" y="38"/>
                </a:lnTo>
                <a:lnTo>
                  <a:pt x="34" y="43"/>
                </a:lnTo>
                <a:lnTo>
                  <a:pt x="30" y="44"/>
                </a:lnTo>
                <a:lnTo>
                  <a:pt x="27" y="44"/>
                </a:lnTo>
                <a:lnTo>
                  <a:pt x="27" y="44"/>
                </a:lnTo>
                <a:lnTo>
                  <a:pt x="20" y="44"/>
                </a:lnTo>
                <a:lnTo>
                  <a:pt x="14" y="43"/>
                </a:lnTo>
                <a:lnTo>
                  <a:pt x="11" y="41"/>
                </a:lnTo>
                <a:lnTo>
                  <a:pt x="8" y="37"/>
                </a:lnTo>
                <a:lnTo>
                  <a:pt x="8" y="37"/>
                </a:lnTo>
                <a:lnTo>
                  <a:pt x="6" y="39"/>
                </a:lnTo>
                <a:lnTo>
                  <a:pt x="4" y="43"/>
                </a:lnTo>
                <a:lnTo>
                  <a:pt x="2" y="50"/>
                </a:lnTo>
                <a:lnTo>
                  <a:pt x="0" y="57"/>
                </a:lnTo>
                <a:lnTo>
                  <a:pt x="0" y="62"/>
                </a:lnTo>
                <a:lnTo>
                  <a:pt x="0" y="62"/>
                </a:lnTo>
                <a:lnTo>
                  <a:pt x="2" y="76"/>
                </a:lnTo>
                <a:lnTo>
                  <a:pt x="2" y="82"/>
                </a:lnTo>
                <a:lnTo>
                  <a:pt x="3" y="85"/>
                </a:lnTo>
                <a:lnTo>
                  <a:pt x="4" y="89"/>
                </a:lnTo>
                <a:lnTo>
                  <a:pt x="7" y="90"/>
                </a:lnTo>
                <a:lnTo>
                  <a:pt x="11" y="91"/>
                </a:lnTo>
                <a:lnTo>
                  <a:pt x="15" y="92"/>
                </a:lnTo>
                <a:lnTo>
                  <a:pt x="15" y="92"/>
                </a:lnTo>
                <a:lnTo>
                  <a:pt x="23" y="91"/>
                </a:lnTo>
                <a:lnTo>
                  <a:pt x="29" y="89"/>
                </a:lnTo>
                <a:lnTo>
                  <a:pt x="35" y="85"/>
                </a:lnTo>
                <a:lnTo>
                  <a:pt x="40" y="81"/>
                </a:lnTo>
                <a:lnTo>
                  <a:pt x="46" y="74"/>
                </a:lnTo>
                <a:lnTo>
                  <a:pt x="50" y="72"/>
                </a:lnTo>
                <a:lnTo>
                  <a:pt x="52" y="70"/>
                </a:lnTo>
                <a:lnTo>
                  <a:pt x="52" y="70"/>
                </a:lnTo>
                <a:lnTo>
                  <a:pt x="56" y="72"/>
                </a:lnTo>
                <a:lnTo>
                  <a:pt x="60" y="74"/>
                </a:lnTo>
                <a:lnTo>
                  <a:pt x="64" y="76"/>
                </a:lnTo>
                <a:lnTo>
                  <a:pt x="67" y="77"/>
                </a:lnTo>
                <a:lnTo>
                  <a:pt x="67" y="77"/>
                </a:lnTo>
                <a:lnTo>
                  <a:pt x="69" y="76"/>
                </a:lnTo>
                <a:lnTo>
                  <a:pt x="72" y="75"/>
                </a:lnTo>
                <a:lnTo>
                  <a:pt x="76" y="69"/>
                </a:lnTo>
                <a:lnTo>
                  <a:pt x="82" y="65"/>
                </a:lnTo>
                <a:lnTo>
                  <a:pt x="86" y="64"/>
                </a:lnTo>
                <a:lnTo>
                  <a:pt x="89" y="62"/>
                </a:lnTo>
                <a:lnTo>
                  <a:pt x="89" y="62"/>
                </a:lnTo>
                <a:lnTo>
                  <a:pt x="119" y="62"/>
                </a:lnTo>
                <a:lnTo>
                  <a:pt x="119" y="62"/>
                </a:lnTo>
                <a:lnTo>
                  <a:pt x="133" y="62"/>
                </a:lnTo>
                <a:lnTo>
                  <a:pt x="137" y="62"/>
                </a:lnTo>
                <a:lnTo>
                  <a:pt x="141" y="61"/>
                </a:lnTo>
                <a:lnTo>
                  <a:pt x="143" y="60"/>
                </a:lnTo>
                <a:lnTo>
                  <a:pt x="145" y="57"/>
                </a:lnTo>
                <a:lnTo>
                  <a:pt x="151" y="44"/>
                </a:lnTo>
                <a:lnTo>
                  <a:pt x="151" y="44"/>
                </a:lnTo>
                <a:lnTo>
                  <a:pt x="151" y="37"/>
                </a:lnTo>
                <a:lnTo>
                  <a:pt x="151" y="37"/>
                </a:lnTo>
                <a:lnTo>
                  <a:pt x="151" y="37"/>
                </a:lnTo>
                <a:lnTo>
                  <a:pt x="145" y="36"/>
                </a:lnTo>
                <a:lnTo>
                  <a:pt x="140" y="36"/>
                </a:lnTo>
                <a:lnTo>
                  <a:pt x="135" y="34"/>
                </a:lnTo>
                <a:lnTo>
                  <a:pt x="134" y="31"/>
                </a:lnTo>
                <a:lnTo>
                  <a:pt x="133" y="29"/>
                </a:lnTo>
                <a:lnTo>
                  <a:pt x="133" y="29"/>
                </a:lnTo>
                <a:lnTo>
                  <a:pt x="134" y="18"/>
                </a:lnTo>
                <a:lnTo>
                  <a:pt x="134" y="13"/>
                </a:lnTo>
                <a:lnTo>
                  <a:pt x="135" y="9"/>
                </a:lnTo>
                <a:lnTo>
                  <a:pt x="133" y="0"/>
                </a:lnTo>
                <a:lnTo>
                  <a:pt x="133" y="0"/>
                </a:lnTo>
                <a:lnTo>
                  <a:pt x="122" y="0"/>
                </a:lnTo>
                <a:lnTo>
                  <a:pt x="122" y="0"/>
                </a:lnTo>
                <a:lnTo>
                  <a:pt x="118" y="0"/>
                </a:lnTo>
                <a:lnTo>
                  <a:pt x="114" y="3"/>
                </a:lnTo>
                <a:lnTo>
                  <a:pt x="111" y="5"/>
                </a:lnTo>
                <a:lnTo>
                  <a:pt x="109" y="7"/>
                </a:lnTo>
                <a:lnTo>
                  <a:pt x="103" y="15"/>
                </a:lnTo>
                <a:lnTo>
                  <a:pt x="98" y="24"/>
                </a:lnTo>
                <a:lnTo>
                  <a:pt x="94" y="32"/>
                </a:lnTo>
                <a:lnTo>
                  <a:pt x="88" y="41"/>
                </a:lnTo>
                <a:lnTo>
                  <a:pt x="86" y="43"/>
                </a:lnTo>
                <a:lnTo>
                  <a:pt x="82" y="45"/>
                </a:lnTo>
                <a:lnTo>
                  <a:pt x="79" y="47"/>
                </a:lnTo>
                <a:lnTo>
                  <a:pt x="74" y="47"/>
                </a:lnTo>
                <a:lnTo>
                  <a:pt x="74" y="47"/>
                </a:lnTo>
                <a:lnTo>
                  <a:pt x="74" y="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1" name="Freeform 36"/>
          <p:cNvSpPr>
            <a:spLocks/>
          </p:cNvSpPr>
          <p:nvPr/>
        </p:nvSpPr>
        <p:spPr bwMode="auto">
          <a:xfrm>
            <a:off x="3665538" y="1728788"/>
            <a:ext cx="33337" cy="46037"/>
          </a:xfrm>
          <a:custGeom>
            <a:avLst/>
            <a:gdLst/>
            <a:ahLst/>
            <a:cxnLst>
              <a:cxn ang="0">
                <a:pos x="18" y="7"/>
              </a:cxn>
              <a:cxn ang="0">
                <a:pos x="18" y="7"/>
              </a:cxn>
              <a:cxn ang="0">
                <a:pos x="11" y="10"/>
              </a:cxn>
              <a:cxn ang="0">
                <a:pos x="5" y="16"/>
              </a:cxn>
              <a:cxn ang="0">
                <a:pos x="3" y="19"/>
              </a:cxn>
              <a:cxn ang="0">
                <a:pos x="2" y="23"/>
              </a:cxn>
              <a:cxn ang="0">
                <a:pos x="1" y="27"/>
              </a:cxn>
              <a:cxn ang="0">
                <a:pos x="0" y="33"/>
              </a:cxn>
              <a:cxn ang="0">
                <a:pos x="0" y="33"/>
              </a:cxn>
              <a:cxn ang="0">
                <a:pos x="1" y="38"/>
              </a:cxn>
              <a:cxn ang="0">
                <a:pos x="2" y="41"/>
              </a:cxn>
              <a:cxn ang="0">
                <a:pos x="4" y="45"/>
              </a:cxn>
              <a:cxn ang="0">
                <a:pos x="7" y="46"/>
              </a:cxn>
              <a:cxn ang="0">
                <a:pos x="12" y="49"/>
              </a:cxn>
              <a:cxn ang="0">
                <a:pos x="18" y="51"/>
              </a:cxn>
              <a:cxn ang="0">
                <a:pos x="18" y="51"/>
              </a:cxn>
              <a:cxn ang="0">
                <a:pos x="26" y="51"/>
              </a:cxn>
              <a:cxn ang="0">
                <a:pos x="26" y="51"/>
              </a:cxn>
              <a:cxn ang="0">
                <a:pos x="26" y="51"/>
              </a:cxn>
              <a:cxn ang="0">
                <a:pos x="26" y="45"/>
              </a:cxn>
              <a:cxn ang="0">
                <a:pos x="29" y="38"/>
              </a:cxn>
              <a:cxn ang="0">
                <a:pos x="33" y="25"/>
              </a:cxn>
              <a:cxn ang="0">
                <a:pos x="39" y="12"/>
              </a:cxn>
              <a:cxn ang="0">
                <a:pos x="40" y="8"/>
              </a:cxn>
              <a:cxn ang="0">
                <a:pos x="41" y="3"/>
              </a:cxn>
              <a:cxn ang="0">
                <a:pos x="41" y="3"/>
              </a:cxn>
              <a:cxn ang="0">
                <a:pos x="38" y="3"/>
              </a:cxn>
              <a:cxn ang="0">
                <a:pos x="35" y="2"/>
              </a:cxn>
              <a:cxn ang="0">
                <a:pos x="32" y="1"/>
              </a:cxn>
              <a:cxn ang="0">
                <a:pos x="30" y="0"/>
              </a:cxn>
              <a:cxn ang="0">
                <a:pos x="30" y="0"/>
              </a:cxn>
              <a:cxn ang="0">
                <a:pos x="25" y="2"/>
              </a:cxn>
              <a:cxn ang="0">
                <a:pos x="18" y="7"/>
              </a:cxn>
              <a:cxn ang="0">
                <a:pos x="18" y="7"/>
              </a:cxn>
              <a:cxn ang="0">
                <a:pos x="18" y="7"/>
              </a:cxn>
            </a:cxnLst>
            <a:rect l="0" t="0" r="r" b="b"/>
            <a:pathLst>
              <a:path w="41" h="51">
                <a:moveTo>
                  <a:pt x="18" y="7"/>
                </a:moveTo>
                <a:lnTo>
                  <a:pt x="18" y="7"/>
                </a:lnTo>
                <a:lnTo>
                  <a:pt x="11" y="10"/>
                </a:lnTo>
                <a:lnTo>
                  <a:pt x="5" y="16"/>
                </a:lnTo>
                <a:lnTo>
                  <a:pt x="3" y="19"/>
                </a:lnTo>
                <a:lnTo>
                  <a:pt x="2" y="23"/>
                </a:lnTo>
                <a:lnTo>
                  <a:pt x="1" y="27"/>
                </a:lnTo>
                <a:lnTo>
                  <a:pt x="0" y="33"/>
                </a:lnTo>
                <a:lnTo>
                  <a:pt x="0" y="33"/>
                </a:lnTo>
                <a:lnTo>
                  <a:pt x="1" y="38"/>
                </a:lnTo>
                <a:lnTo>
                  <a:pt x="2" y="41"/>
                </a:lnTo>
                <a:lnTo>
                  <a:pt x="4" y="45"/>
                </a:lnTo>
                <a:lnTo>
                  <a:pt x="7" y="46"/>
                </a:lnTo>
                <a:lnTo>
                  <a:pt x="12" y="49"/>
                </a:lnTo>
                <a:lnTo>
                  <a:pt x="18" y="51"/>
                </a:lnTo>
                <a:lnTo>
                  <a:pt x="18" y="51"/>
                </a:lnTo>
                <a:lnTo>
                  <a:pt x="26" y="51"/>
                </a:lnTo>
                <a:lnTo>
                  <a:pt x="26" y="51"/>
                </a:lnTo>
                <a:lnTo>
                  <a:pt x="26" y="51"/>
                </a:lnTo>
                <a:lnTo>
                  <a:pt x="26" y="45"/>
                </a:lnTo>
                <a:lnTo>
                  <a:pt x="29" y="38"/>
                </a:lnTo>
                <a:lnTo>
                  <a:pt x="33" y="25"/>
                </a:lnTo>
                <a:lnTo>
                  <a:pt x="39" y="12"/>
                </a:lnTo>
                <a:lnTo>
                  <a:pt x="40" y="8"/>
                </a:lnTo>
                <a:lnTo>
                  <a:pt x="41" y="3"/>
                </a:lnTo>
                <a:lnTo>
                  <a:pt x="41" y="3"/>
                </a:lnTo>
                <a:lnTo>
                  <a:pt x="38" y="3"/>
                </a:lnTo>
                <a:lnTo>
                  <a:pt x="35" y="2"/>
                </a:lnTo>
                <a:lnTo>
                  <a:pt x="32" y="1"/>
                </a:lnTo>
                <a:lnTo>
                  <a:pt x="30" y="0"/>
                </a:lnTo>
                <a:lnTo>
                  <a:pt x="30" y="0"/>
                </a:lnTo>
                <a:lnTo>
                  <a:pt x="25" y="2"/>
                </a:lnTo>
                <a:lnTo>
                  <a:pt x="18" y="7"/>
                </a:lnTo>
                <a:lnTo>
                  <a:pt x="18" y="7"/>
                </a:lnTo>
                <a:lnTo>
                  <a:pt x="18" y="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2" name="Freeform 37"/>
          <p:cNvSpPr>
            <a:spLocks/>
          </p:cNvSpPr>
          <p:nvPr/>
        </p:nvSpPr>
        <p:spPr bwMode="auto">
          <a:xfrm>
            <a:off x="3913188" y="1752600"/>
            <a:ext cx="63500" cy="57150"/>
          </a:xfrm>
          <a:custGeom>
            <a:avLst/>
            <a:gdLst/>
            <a:ahLst/>
            <a:cxnLst>
              <a:cxn ang="0">
                <a:pos x="54" y="0"/>
              </a:cxn>
              <a:cxn ang="0">
                <a:pos x="54" y="18"/>
              </a:cxn>
              <a:cxn ang="0">
                <a:pos x="54" y="18"/>
              </a:cxn>
              <a:cxn ang="0">
                <a:pos x="54" y="18"/>
              </a:cxn>
              <a:cxn ang="0">
                <a:pos x="53" y="22"/>
              </a:cxn>
              <a:cxn ang="0">
                <a:pos x="51" y="24"/>
              </a:cxn>
              <a:cxn ang="0">
                <a:pos x="48" y="25"/>
              </a:cxn>
              <a:cxn ang="0">
                <a:pos x="44" y="26"/>
              </a:cxn>
              <a:cxn ang="0">
                <a:pos x="36" y="28"/>
              </a:cxn>
              <a:cxn ang="0">
                <a:pos x="26" y="29"/>
              </a:cxn>
              <a:cxn ang="0">
                <a:pos x="16" y="29"/>
              </a:cxn>
              <a:cxn ang="0">
                <a:pos x="7" y="31"/>
              </a:cxn>
              <a:cxn ang="0">
                <a:pos x="5" y="32"/>
              </a:cxn>
              <a:cxn ang="0">
                <a:pos x="2" y="34"/>
              </a:cxn>
              <a:cxn ang="0">
                <a:pos x="0" y="37"/>
              </a:cxn>
              <a:cxn ang="0">
                <a:pos x="0" y="40"/>
              </a:cxn>
              <a:cxn ang="0">
                <a:pos x="0" y="40"/>
              </a:cxn>
              <a:cxn ang="0">
                <a:pos x="0" y="48"/>
              </a:cxn>
              <a:cxn ang="0">
                <a:pos x="3" y="54"/>
              </a:cxn>
              <a:cxn ang="0">
                <a:pos x="5" y="59"/>
              </a:cxn>
              <a:cxn ang="0">
                <a:pos x="8" y="62"/>
              </a:cxn>
              <a:cxn ang="0">
                <a:pos x="13" y="64"/>
              </a:cxn>
              <a:cxn ang="0">
                <a:pos x="19" y="66"/>
              </a:cxn>
              <a:cxn ang="0">
                <a:pos x="29" y="67"/>
              </a:cxn>
              <a:cxn ang="0">
                <a:pos x="29" y="67"/>
              </a:cxn>
              <a:cxn ang="0">
                <a:pos x="43" y="66"/>
              </a:cxn>
              <a:cxn ang="0">
                <a:pos x="54" y="63"/>
              </a:cxn>
              <a:cxn ang="0">
                <a:pos x="63" y="59"/>
              </a:cxn>
              <a:cxn ang="0">
                <a:pos x="69" y="53"/>
              </a:cxn>
              <a:cxn ang="0">
                <a:pos x="75" y="46"/>
              </a:cxn>
              <a:cxn ang="0">
                <a:pos x="77" y="37"/>
              </a:cxn>
              <a:cxn ang="0">
                <a:pos x="80" y="26"/>
              </a:cxn>
              <a:cxn ang="0">
                <a:pos x="80" y="15"/>
              </a:cxn>
              <a:cxn ang="0">
                <a:pos x="80" y="15"/>
              </a:cxn>
              <a:cxn ang="0">
                <a:pos x="80" y="10"/>
              </a:cxn>
              <a:cxn ang="0">
                <a:pos x="77" y="6"/>
              </a:cxn>
              <a:cxn ang="0">
                <a:pos x="75" y="3"/>
              </a:cxn>
              <a:cxn ang="0">
                <a:pos x="72" y="2"/>
              </a:cxn>
              <a:cxn ang="0">
                <a:pos x="64" y="0"/>
              </a:cxn>
              <a:cxn ang="0">
                <a:pos x="54" y="0"/>
              </a:cxn>
              <a:cxn ang="0">
                <a:pos x="54" y="0"/>
              </a:cxn>
              <a:cxn ang="0">
                <a:pos x="54" y="0"/>
              </a:cxn>
            </a:cxnLst>
            <a:rect l="0" t="0" r="r" b="b"/>
            <a:pathLst>
              <a:path w="80" h="67">
                <a:moveTo>
                  <a:pt x="54" y="0"/>
                </a:moveTo>
                <a:lnTo>
                  <a:pt x="54" y="18"/>
                </a:lnTo>
                <a:lnTo>
                  <a:pt x="54" y="18"/>
                </a:lnTo>
                <a:lnTo>
                  <a:pt x="54" y="18"/>
                </a:lnTo>
                <a:lnTo>
                  <a:pt x="53" y="22"/>
                </a:lnTo>
                <a:lnTo>
                  <a:pt x="51" y="24"/>
                </a:lnTo>
                <a:lnTo>
                  <a:pt x="48" y="25"/>
                </a:lnTo>
                <a:lnTo>
                  <a:pt x="44" y="26"/>
                </a:lnTo>
                <a:lnTo>
                  <a:pt x="36" y="28"/>
                </a:lnTo>
                <a:lnTo>
                  <a:pt x="26" y="29"/>
                </a:lnTo>
                <a:lnTo>
                  <a:pt x="16" y="29"/>
                </a:lnTo>
                <a:lnTo>
                  <a:pt x="7" y="31"/>
                </a:lnTo>
                <a:lnTo>
                  <a:pt x="5" y="32"/>
                </a:lnTo>
                <a:lnTo>
                  <a:pt x="2" y="34"/>
                </a:lnTo>
                <a:lnTo>
                  <a:pt x="0" y="37"/>
                </a:lnTo>
                <a:lnTo>
                  <a:pt x="0" y="40"/>
                </a:lnTo>
                <a:lnTo>
                  <a:pt x="0" y="40"/>
                </a:lnTo>
                <a:lnTo>
                  <a:pt x="0" y="48"/>
                </a:lnTo>
                <a:lnTo>
                  <a:pt x="3" y="54"/>
                </a:lnTo>
                <a:lnTo>
                  <a:pt x="5" y="59"/>
                </a:lnTo>
                <a:lnTo>
                  <a:pt x="8" y="62"/>
                </a:lnTo>
                <a:lnTo>
                  <a:pt x="13" y="64"/>
                </a:lnTo>
                <a:lnTo>
                  <a:pt x="19" y="66"/>
                </a:lnTo>
                <a:lnTo>
                  <a:pt x="29" y="67"/>
                </a:lnTo>
                <a:lnTo>
                  <a:pt x="29" y="67"/>
                </a:lnTo>
                <a:lnTo>
                  <a:pt x="43" y="66"/>
                </a:lnTo>
                <a:lnTo>
                  <a:pt x="54" y="63"/>
                </a:lnTo>
                <a:lnTo>
                  <a:pt x="63" y="59"/>
                </a:lnTo>
                <a:lnTo>
                  <a:pt x="69" y="53"/>
                </a:lnTo>
                <a:lnTo>
                  <a:pt x="75" y="46"/>
                </a:lnTo>
                <a:lnTo>
                  <a:pt x="77" y="37"/>
                </a:lnTo>
                <a:lnTo>
                  <a:pt x="80" y="26"/>
                </a:lnTo>
                <a:lnTo>
                  <a:pt x="80" y="15"/>
                </a:lnTo>
                <a:lnTo>
                  <a:pt x="80" y="15"/>
                </a:lnTo>
                <a:lnTo>
                  <a:pt x="80" y="10"/>
                </a:lnTo>
                <a:lnTo>
                  <a:pt x="77" y="6"/>
                </a:lnTo>
                <a:lnTo>
                  <a:pt x="75" y="3"/>
                </a:lnTo>
                <a:lnTo>
                  <a:pt x="72" y="2"/>
                </a:lnTo>
                <a:lnTo>
                  <a:pt x="64" y="0"/>
                </a:lnTo>
                <a:lnTo>
                  <a:pt x="54" y="0"/>
                </a:lnTo>
                <a:lnTo>
                  <a:pt x="54" y="0"/>
                </a:lnTo>
                <a:lnTo>
                  <a:pt x="54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3" name="Freeform 38"/>
          <p:cNvSpPr>
            <a:spLocks/>
          </p:cNvSpPr>
          <p:nvPr/>
        </p:nvSpPr>
        <p:spPr bwMode="auto">
          <a:xfrm>
            <a:off x="3825875" y="1758950"/>
            <a:ext cx="71438" cy="69850"/>
          </a:xfrm>
          <a:custGeom>
            <a:avLst/>
            <a:gdLst/>
            <a:ahLst/>
            <a:cxnLst>
              <a:cxn ang="0">
                <a:pos x="42" y="81"/>
              </a:cxn>
              <a:cxn ang="0">
                <a:pos x="42" y="81"/>
              </a:cxn>
              <a:cxn ang="0">
                <a:pos x="34" y="79"/>
              </a:cxn>
              <a:cxn ang="0">
                <a:pos x="26" y="78"/>
              </a:cxn>
              <a:cxn ang="0">
                <a:pos x="19" y="76"/>
              </a:cxn>
              <a:cxn ang="0">
                <a:pos x="13" y="73"/>
              </a:cxn>
              <a:cxn ang="0">
                <a:pos x="8" y="68"/>
              </a:cxn>
              <a:cxn ang="0">
                <a:pos x="4" y="63"/>
              </a:cxn>
              <a:cxn ang="0">
                <a:pos x="1" y="58"/>
              </a:cxn>
              <a:cxn ang="0">
                <a:pos x="0" y="51"/>
              </a:cxn>
              <a:cxn ang="0">
                <a:pos x="0" y="51"/>
              </a:cxn>
              <a:cxn ang="0">
                <a:pos x="1" y="46"/>
              </a:cxn>
              <a:cxn ang="0">
                <a:pos x="4" y="38"/>
              </a:cxn>
              <a:cxn ang="0">
                <a:pos x="9" y="21"/>
              </a:cxn>
              <a:cxn ang="0">
                <a:pos x="14" y="13"/>
              </a:cxn>
              <a:cxn ang="0">
                <a:pos x="17" y="6"/>
              </a:cxn>
              <a:cxn ang="0">
                <a:pos x="22" y="1"/>
              </a:cxn>
              <a:cxn ang="0">
                <a:pos x="24" y="0"/>
              </a:cxn>
              <a:cxn ang="0">
                <a:pos x="27" y="0"/>
              </a:cxn>
              <a:cxn ang="0">
                <a:pos x="27" y="0"/>
              </a:cxn>
              <a:cxn ang="0">
                <a:pos x="31" y="1"/>
              </a:cxn>
              <a:cxn ang="0">
                <a:pos x="36" y="3"/>
              </a:cxn>
              <a:cxn ang="0">
                <a:pos x="40" y="6"/>
              </a:cxn>
              <a:cxn ang="0">
                <a:pos x="45" y="7"/>
              </a:cxn>
              <a:cxn ang="0">
                <a:pos x="45" y="7"/>
              </a:cxn>
              <a:cxn ang="0">
                <a:pos x="47" y="13"/>
              </a:cxn>
              <a:cxn ang="0">
                <a:pos x="51" y="16"/>
              </a:cxn>
              <a:cxn ang="0">
                <a:pos x="55" y="17"/>
              </a:cxn>
              <a:cxn ang="0">
                <a:pos x="61" y="17"/>
              </a:cxn>
              <a:cxn ang="0">
                <a:pos x="74" y="16"/>
              </a:cxn>
              <a:cxn ang="0">
                <a:pos x="85" y="14"/>
              </a:cxn>
              <a:cxn ang="0">
                <a:pos x="85" y="14"/>
              </a:cxn>
              <a:cxn ang="0">
                <a:pos x="89" y="30"/>
              </a:cxn>
              <a:cxn ang="0">
                <a:pos x="89" y="44"/>
              </a:cxn>
              <a:cxn ang="0">
                <a:pos x="88" y="50"/>
              </a:cxn>
              <a:cxn ang="0">
                <a:pos x="87" y="54"/>
              </a:cxn>
              <a:cxn ang="0">
                <a:pos x="84" y="60"/>
              </a:cxn>
              <a:cxn ang="0">
                <a:pos x="82" y="63"/>
              </a:cxn>
              <a:cxn ang="0">
                <a:pos x="78" y="68"/>
              </a:cxn>
              <a:cxn ang="0">
                <a:pos x="75" y="71"/>
              </a:cxn>
              <a:cxn ang="0">
                <a:pos x="70" y="74"/>
              </a:cxn>
              <a:cxn ang="0">
                <a:pos x="66" y="76"/>
              </a:cxn>
              <a:cxn ang="0">
                <a:pos x="54" y="79"/>
              </a:cxn>
              <a:cxn ang="0">
                <a:pos x="42" y="81"/>
              </a:cxn>
              <a:cxn ang="0">
                <a:pos x="42" y="81"/>
              </a:cxn>
              <a:cxn ang="0">
                <a:pos x="42" y="81"/>
              </a:cxn>
            </a:cxnLst>
            <a:rect l="0" t="0" r="r" b="b"/>
            <a:pathLst>
              <a:path w="89" h="81">
                <a:moveTo>
                  <a:pt x="42" y="81"/>
                </a:moveTo>
                <a:lnTo>
                  <a:pt x="42" y="81"/>
                </a:lnTo>
                <a:lnTo>
                  <a:pt x="34" y="79"/>
                </a:lnTo>
                <a:lnTo>
                  <a:pt x="26" y="78"/>
                </a:lnTo>
                <a:lnTo>
                  <a:pt x="19" y="76"/>
                </a:lnTo>
                <a:lnTo>
                  <a:pt x="13" y="73"/>
                </a:lnTo>
                <a:lnTo>
                  <a:pt x="8" y="68"/>
                </a:lnTo>
                <a:lnTo>
                  <a:pt x="4" y="63"/>
                </a:lnTo>
                <a:lnTo>
                  <a:pt x="1" y="58"/>
                </a:lnTo>
                <a:lnTo>
                  <a:pt x="0" y="51"/>
                </a:lnTo>
                <a:lnTo>
                  <a:pt x="0" y="51"/>
                </a:lnTo>
                <a:lnTo>
                  <a:pt x="1" y="46"/>
                </a:lnTo>
                <a:lnTo>
                  <a:pt x="4" y="38"/>
                </a:lnTo>
                <a:lnTo>
                  <a:pt x="9" y="21"/>
                </a:lnTo>
                <a:lnTo>
                  <a:pt x="14" y="13"/>
                </a:lnTo>
                <a:lnTo>
                  <a:pt x="17" y="6"/>
                </a:lnTo>
                <a:lnTo>
                  <a:pt x="22" y="1"/>
                </a:lnTo>
                <a:lnTo>
                  <a:pt x="24" y="0"/>
                </a:lnTo>
                <a:lnTo>
                  <a:pt x="27" y="0"/>
                </a:lnTo>
                <a:lnTo>
                  <a:pt x="27" y="0"/>
                </a:lnTo>
                <a:lnTo>
                  <a:pt x="31" y="1"/>
                </a:lnTo>
                <a:lnTo>
                  <a:pt x="36" y="3"/>
                </a:lnTo>
                <a:lnTo>
                  <a:pt x="40" y="6"/>
                </a:lnTo>
                <a:lnTo>
                  <a:pt x="45" y="7"/>
                </a:lnTo>
                <a:lnTo>
                  <a:pt x="45" y="7"/>
                </a:lnTo>
                <a:lnTo>
                  <a:pt x="47" y="13"/>
                </a:lnTo>
                <a:lnTo>
                  <a:pt x="51" y="16"/>
                </a:lnTo>
                <a:lnTo>
                  <a:pt x="55" y="17"/>
                </a:lnTo>
                <a:lnTo>
                  <a:pt x="61" y="17"/>
                </a:lnTo>
                <a:lnTo>
                  <a:pt x="74" y="16"/>
                </a:lnTo>
                <a:lnTo>
                  <a:pt x="85" y="14"/>
                </a:lnTo>
                <a:lnTo>
                  <a:pt x="85" y="14"/>
                </a:lnTo>
                <a:lnTo>
                  <a:pt x="89" y="30"/>
                </a:lnTo>
                <a:lnTo>
                  <a:pt x="89" y="44"/>
                </a:lnTo>
                <a:lnTo>
                  <a:pt x="88" y="50"/>
                </a:lnTo>
                <a:lnTo>
                  <a:pt x="87" y="54"/>
                </a:lnTo>
                <a:lnTo>
                  <a:pt x="84" y="60"/>
                </a:lnTo>
                <a:lnTo>
                  <a:pt x="82" y="63"/>
                </a:lnTo>
                <a:lnTo>
                  <a:pt x="78" y="68"/>
                </a:lnTo>
                <a:lnTo>
                  <a:pt x="75" y="71"/>
                </a:lnTo>
                <a:lnTo>
                  <a:pt x="70" y="74"/>
                </a:lnTo>
                <a:lnTo>
                  <a:pt x="66" y="76"/>
                </a:lnTo>
                <a:lnTo>
                  <a:pt x="54" y="79"/>
                </a:lnTo>
                <a:lnTo>
                  <a:pt x="42" y="81"/>
                </a:lnTo>
                <a:lnTo>
                  <a:pt x="42" y="81"/>
                </a:lnTo>
                <a:lnTo>
                  <a:pt x="42" y="8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4" name="Freeform 39"/>
          <p:cNvSpPr>
            <a:spLocks/>
          </p:cNvSpPr>
          <p:nvPr/>
        </p:nvSpPr>
        <p:spPr bwMode="auto">
          <a:xfrm>
            <a:off x="3757613" y="1782763"/>
            <a:ext cx="52387" cy="53975"/>
          </a:xfrm>
          <a:custGeom>
            <a:avLst/>
            <a:gdLst/>
            <a:ahLst/>
            <a:cxnLst>
              <a:cxn ang="0">
                <a:pos x="56" y="11"/>
              </a:cxn>
              <a:cxn ang="0">
                <a:pos x="56" y="11"/>
              </a:cxn>
              <a:cxn ang="0">
                <a:pos x="53" y="11"/>
              </a:cxn>
              <a:cxn ang="0">
                <a:pos x="51" y="9"/>
              </a:cxn>
              <a:cxn ang="0">
                <a:pos x="48" y="6"/>
              </a:cxn>
              <a:cxn ang="0">
                <a:pos x="45" y="2"/>
              </a:cxn>
              <a:cxn ang="0">
                <a:pos x="43" y="1"/>
              </a:cxn>
              <a:cxn ang="0">
                <a:pos x="41" y="0"/>
              </a:cxn>
              <a:cxn ang="0">
                <a:pos x="41" y="0"/>
              </a:cxn>
              <a:cxn ang="0">
                <a:pos x="38" y="1"/>
              </a:cxn>
              <a:cxn ang="0">
                <a:pos x="34" y="2"/>
              </a:cxn>
              <a:cxn ang="0">
                <a:pos x="26" y="6"/>
              </a:cxn>
              <a:cxn ang="0">
                <a:pos x="19" y="11"/>
              </a:cxn>
              <a:cxn ang="0">
                <a:pos x="13" y="18"/>
              </a:cxn>
              <a:cxn ang="0">
                <a:pos x="8" y="25"/>
              </a:cxn>
              <a:cxn ang="0">
                <a:pos x="4" y="32"/>
              </a:cxn>
              <a:cxn ang="0">
                <a:pos x="1" y="39"/>
              </a:cxn>
              <a:cxn ang="0">
                <a:pos x="0" y="45"/>
              </a:cxn>
              <a:cxn ang="0">
                <a:pos x="0" y="45"/>
              </a:cxn>
              <a:cxn ang="0">
                <a:pos x="1" y="50"/>
              </a:cxn>
              <a:cxn ang="0">
                <a:pos x="3" y="56"/>
              </a:cxn>
              <a:cxn ang="0">
                <a:pos x="7" y="61"/>
              </a:cxn>
              <a:cxn ang="0">
                <a:pos x="9" y="62"/>
              </a:cxn>
              <a:cxn ang="0">
                <a:pos x="11" y="62"/>
              </a:cxn>
              <a:cxn ang="0">
                <a:pos x="11" y="62"/>
              </a:cxn>
              <a:cxn ang="0">
                <a:pos x="18" y="62"/>
              </a:cxn>
              <a:cxn ang="0">
                <a:pos x="24" y="58"/>
              </a:cxn>
              <a:cxn ang="0">
                <a:pos x="28" y="55"/>
              </a:cxn>
              <a:cxn ang="0">
                <a:pos x="33" y="52"/>
              </a:cxn>
              <a:cxn ang="0">
                <a:pos x="38" y="48"/>
              </a:cxn>
              <a:cxn ang="0">
                <a:pos x="43" y="44"/>
              </a:cxn>
              <a:cxn ang="0">
                <a:pos x="49" y="41"/>
              </a:cxn>
              <a:cxn ang="0">
                <a:pos x="56" y="41"/>
              </a:cxn>
              <a:cxn ang="0">
                <a:pos x="56" y="41"/>
              </a:cxn>
              <a:cxn ang="0">
                <a:pos x="58" y="39"/>
              </a:cxn>
              <a:cxn ang="0">
                <a:pos x="61" y="37"/>
              </a:cxn>
              <a:cxn ang="0">
                <a:pos x="62" y="33"/>
              </a:cxn>
              <a:cxn ang="0">
                <a:pos x="63" y="30"/>
              </a:cxn>
              <a:cxn ang="0">
                <a:pos x="63" y="30"/>
              </a:cxn>
              <a:cxn ang="0">
                <a:pos x="63" y="11"/>
              </a:cxn>
              <a:cxn ang="0">
                <a:pos x="63" y="11"/>
              </a:cxn>
              <a:cxn ang="0">
                <a:pos x="56" y="11"/>
              </a:cxn>
              <a:cxn ang="0">
                <a:pos x="56" y="11"/>
              </a:cxn>
              <a:cxn ang="0">
                <a:pos x="56" y="11"/>
              </a:cxn>
            </a:cxnLst>
            <a:rect l="0" t="0" r="r" b="b"/>
            <a:pathLst>
              <a:path w="63" h="62">
                <a:moveTo>
                  <a:pt x="56" y="11"/>
                </a:moveTo>
                <a:lnTo>
                  <a:pt x="56" y="11"/>
                </a:lnTo>
                <a:lnTo>
                  <a:pt x="53" y="11"/>
                </a:lnTo>
                <a:lnTo>
                  <a:pt x="51" y="9"/>
                </a:lnTo>
                <a:lnTo>
                  <a:pt x="48" y="6"/>
                </a:lnTo>
                <a:lnTo>
                  <a:pt x="45" y="2"/>
                </a:lnTo>
                <a:lnTo>
                  <a:pt x="43" y="1"/>
                </a:lnTo>
                <a:lnTo>
                  <a:pt x="41" y="0"/>
                </a:lnTo>
                <a:lnTo>
                  <a:pt x="41" y="0"/>
                </a:lnTo>
                <a:lnTo>
                  <a:pt x="38" y="1"/>
                </a:lnTo>
                <a:lnTo>
                  <a:pt x="34" y="2"/>
                </a:lnTo>
                <a:lnTo>
                  <a:pt x="26" y="6"/>
                </a:lnTo>
                <a:lnTo>
                  <a:pt x="19" y="11"/>
                </a:lnTo>
                <a:lnTo>
                  <a:pt x="13" y="18"/>
                </a:lnTo>
                <a:lnTo>
                  <a:pt x="8" y="25"/>
                </a:lnTo>
                <a:lnTo>
                  <a:pt x="4" y="32"/>
                </a:lnTo>
                <a:lnTo>
                  <a:pt x="1" y="39"/>
                </a:lnTo>
                <a:lnTo>
                  <a:pt x="0" y="45"/>
                </a:lnTo>
                <a:lnTo>
                  <a:pt x="0" y="45"/>
                </a:lnTo>
                <a:lnTo>
                  <a:pt x="1" y="50"/>
                </a:lnTo>
                <a:lnTo>
                  <a:pt x="3" y="56"/>
                </a:lnTo>
                <a:lnTo>
                  <a:pt x="7" y="61"/>
                </a:lnTo>
                <a:lnTo>
                  <a:pt x="9" y="62"/>
                </a:lnTo>
                <a:lnTo>
                  <a:pt x="11" y="62"/>
                </a:lnTo>
                <a:lnTo>
                  <a:pt x="11" y="62"/>
                </a:lnTo>
                <a:lnTo>
                  <a:pt x="18" y="62"/>
                </a:lnTo>
                <a:lnTo>
                  <a:pt x="24" y="58"/>
                </a:lnTo>
                <a:lnTo>
                  <a:pt x="28" y="55"/>
                </a:lnTo>
                <a:lnTo>
                  <a:pt x="33" y="52"/>
                </a:lnTo>
                <a:lnTo>
                  <a:pt x="38" y="48"/>
                </a:lnTo>
                <a:lnTo>
                  <a:pt x="43" y="44"/>
                </a:lnTo>
                <a:lnTo>
                  <a:pt x="49" y="41"/>
                </a:lnTo>
                <a:lnTo>
                  <a:pt x="56" y="41"/>
                </a:lnTo>
                <a:lnTo>
                  <a:pt x="56" y="41"/>
                </a:lnTo>
                <a:lnTo>
                  <a:pt x="58" y="39"/>
                </a:lnTo>
                <a:lnTo>
                  <a:pt x="61" y="37"/>
                </a:lnTo>
                <a:lnTo>
                  <a:pt x="62" y="33"/>
                </a:lnTo>
                <a:lnTo>
                  <a:pt x="63" y="30"/>
                </a:lnTo>
                <a:lnTo>
                  <a:pt x="63" y="30"/>
                </a:lnTo>
                <a:lnTo>
                  <a:pt x="63" y="11"/>
                </a:lnTo>
                <a:lnTo>
                  <a:pt x="63" y="11"/>
                </a:lnTo>
                <a:lnTo>
                  <a:pt x="56" y="11"/>
                </a:lnTo>
                <a:lnTo>
                  <a:pt x="56" y="11"/>
                </a:lnTo>
                <a:lnTo>
                  <a:pt x="56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5" name="Freeform 40"/>
          <p:cNvSpPr>
            <a:spLocks/>
          </p:cNvSpPr>
          <p:nvPr/>
        </p:nvSpPr>
        <p:spPr bwMode="auto">
          <a:xfrm>
            <a:off x="3725863" y="1782763"/>
            <a:ext cx="41275" cy="44450"/>
          </a:xfrm>
          <a:custGeom>
            <a:avLst/>
            <a:gdLst/>
            <a:ahLst/>
            <a:cxnLst>
              <a:cxn ang="0">
                <a:pos x="0" y="33"/>
              </a:cxn>
              <a:cxn ang="0">
                <a:pos x="0" y="33"/>
              </a:cxn>
              <a:cxn ang="0">
                <a:pos x="2" y="39"/>
              </a:cxn>
              <a:cxn ang="0">
                <a:pos x="5" y="44"/>
              </a:cxn>
              <a:cxn ang="0">
                <a:pos x="8" y="47"/>
              </a:cxn>
              <a:cxn ang="0">
                <a:pos x="12" y="48"/>
              </a:cxn>
              <a:cxn ang="0">
                <a:pos x="12" y="48"/>
              </a:cxn>
              <a:cxn ang="0">
                <a:pos x="15" y="46"/>
              </a:cxn>
              <a:cxn ang="0">
                <a:pos x="22" y="40"/>
              </a:cxn>
              <a:cxn ang="0">
                <a:pos x="30" y="33"/>
              </a:cxn>
              <a:cxn ang="0">
                <a:pos x="40" y="24"/>
              </a:cxn>
              <a:cxn ang="0">
                <a:pos x="46" y="15"/>
              </a:cxn>
              <a:cxn ang="0">
                <a:pos x="51" y="8"/>
              </a:cxn>
              <a:cxn ang="0">
                <a:pos x="52" y="4"/>
              </a:cxn>
              <a:cxn ang="0">
                <a:pos x="51" y="2"/>
              </a:cxn>
              <a:cxn ang="0">
                <a:pos x="49" y="1"/>
              </a:cxn>
              <a:cxn ang="0">
                <a:pos x="45" y="0"/>
              </a:cxn>
              <a:cxn ang="0">
                <a:pos x="45" y="0"/>
              </a:cxn>
              <a:cxn ang="0">
                <a:pos x="38" y="0"/>
              </a:cxn>
              <a:cxn ang="0">
                <a:pos x="31" y="2"/>
              </a:cxn>
              <a:cxn ang="0">
                <a:pos x="25" y="6"/>
              </a:cxn>
              <a:cxn ang="0">
                <a:pos x="18" y="10"/>
              </a:cxn>
              <a:cxn ang="0">
                <a:pos x="11" y="15"/>
              </a:cxn>
              <a:cxn ang="0">
                <a:pos x="5" y="22"/>
              </a:cxn>
              <a:cxn ang="0">
                <a:pos x="2" y="27"/>
              </a:cxn>
              <a:cxn ang="0">
                <a:pos x="0" y="33"/>
              </a:cxn>
              <a:cxn ang="0">
                <a:pos x="0" y="33"/>
              </a:cxn>
              <a:cxn ang="0">
                <a:pos x="0" y="33"/>
              </a:cxn>
            </a:cxnLst>
            <a:rect l="0" t="0" r="r" b="b"/>
            <a:pathLst>
              <a:path w="52" h="48">
                <a:moveTo>
                  <a:pt x="0" y="33"/>
                </a:moveTo>
                <a:lnTo>
                  <a:pt x="0" y="33"/>
                </a:lnTo>
                <a:lnTo>
                  <a:pt x="2" y="39"/>
                </a:lnTo>
                <a:lnTo>
                  <a:pt x="5" y="44"/>
                </a:lnTo>
                <a:lnTo>
                  <a:pt x="8" y="47"/>
                </a:lnTo>
                <a:lnTo>
                  <a:pt x="12" y="48"/>
                </a:lnTo>
                <a:lnTo>
                  <a:pt x="12" y="48"/>
                </a:lnTo>
                <a:lnTo>
                  <a:pt x="15" y="46"/>
                </a:lnTo>
                <a:lnTo>
                  <a:pt x="22" y="40"/>
                </a:lnTo>
                <a:lnTo>
                  <a:pt x="30" y="33"/>
                </a:lnTo>
                <a:lnTo>
                  <a:pt x="40" y="24"/>
                </a:lnTo>
                <a:lnTo>
                  <a:pt x="46" y="15"/>
                </a:lnTo>
                <a:lnTo>
                  <a:pt x="51" y="8"/>
                </a:lnTo>
                <a:lnTo>
                  <a:pt x="52" y="4"/>
                </a:lnTo>
                <a:lnTo>
                  <a:pt x="51" y="2"/>
                </a:lnTo>
                <a:lnTo>
                  <a:pt x="49" y="1"/>
                </a:lnTo>
                <a:lnTo>
                  <a:pt x="45" y="0"/>
                </a:lnTo>
                <a:lnTo>
                  <a:pt x="45" y="0"/>
                </a:lnTo>
                <a:lnTo>
                  <a:pt x="38" y="0"/>
                </a:lnTo>
                <a:lnTo>
                  <a:pt x="31" y="2"/>
                </a:lnTo>
                <a:lnTo>
                  <a:pt x="25" y="6"/>
                </a:lnTo>
                <a:lnTo>
                  <a:pt x="18" y="10"/>
                </a:lnTo>
                <a:lnTo>
                  <a:pt x="11" y="15"/>
                </a:lnTo>
                <a:lnTo>
                  <a:pt x="5" y="22"/>
                </a:lnTo>
                <a:lnTo>
                  <a:pt x="2" y="27"/>
                </a:lnTo>
                <a:lnTo>
                  <a:pt x="0" y="33"/>
                </a:lnTo>
                <a:lnTo>
                  <a:pt x="0" y="33"/>
                </a:lnTo>
                <a:lnTo>
                  <a:pt x="0" y="3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6" name="Freeform 41"/>
          <p:cNvSpPr>
            <a:spLocks/>
          </p:cNvSpPr>
          <p:nvPr/>
        </p:nvSpPr>
        <p:spPr bwMode="auto">
          <a:xfrm>
            <a:off x="3789363" y="1858963"/>
            <a:ext cx="20637" cy="222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20" y="0"/>
              </a:cxn>
              <a:cxn ang="0">
                <a:pos x="12" y="0"/>
              </a:cxn>
              <a:cxn ang="0">
                <a:pos x="6" y="1"/>
              </a:cxn>
              <a:cxn ang="0">
                <a:pos x="4" y="2"/>
              </a:cxn>
              <a:cxn ang="0">
                <a:pos x="2" y="5"/>
              </a:cxn>
              <a:cxn ang="0">
                <a:pos x="0" y="7"/>
              </a:cxn>
              <a:cxn ang="0">
                <a:pos x="0" y="10"/>
              </a:cxn>
              <a:cxn ang="0">
                <a:pos x="0" y="10"/>
              </a:cxn>
              <a:cxn ang="0">
                <a:pos x="0" y="14"/>
              </a:cxn>
              <a:cxn ang="0">
                <a:pos x="2" y="17"/>
              </a:cxn>
              <a:cxn ang="0">
                <a:pos x="5" y="22"/>
              </a:cxn>
              <a:cxn ang="0">
                <a:pos x="9" y="24"/>
              </a:cxn>
              <a:cxn ang="0">
                <a:pos x="12" y="25"/>
              </a:cxn>
              <a:cxn ang="0">
                <a:pos x="12" y="25"/>
              </a:cxn>
              <a:cxn ang="0">
                <a:pos x="15" y="24"/>
              </a:cxn>
              <a:cxn ang="0">
                <a:pos x="19" y="24"/>
              </a:cxn>
              <a:cxn ang="0">
                <a:pos x="21" y="22"/>
              </a:cxn>
              <a:cxn ang="0">
                <a:pos x="23" y="21"/>
              </a:cxn>
              <a:cxn ang="0">
                <a:pos x="26" y="16"/>
              </a:cxn>
              <a:cxn ang="0">
                <a:pos x="27" y="10"/>
              </a:cxn>
              <a:cxn ang="0">
                <a:pos x="27" y="10"/>
              </a:cxn>
              <a:cxn ang="0">
                <a:pos x="26" y="8"/>
              </a:cxn>
              <a:cxn ang="0">
                <a:pos x="23" y="5"/>
              </a:cxn>
              <a:cxn ang="0">
                <a:pos x="20" y="2"/>
              </a:cxn>
              <a:cxn ang="0">
                <a:pos x="20" y="0"/>
              </a:cxn>
              <a:cxn ang="0">
                <a:pos x="20" y="0"/>
              </a:cxn>
              <a:cxn ang="0">
                <a:pos x="20" y="0"/>
              </a:cxn>
            </a:cxnLst>
            <a:rect l="0" t="0" r="r" b="b"/>
            <a:pathLst>
              <a:path w="27" h="25">
                <a:moveTo>
                  <a:pt x="20" y="0"/>
                </a:moveTo>
                <a:lnTo>
                  <a:pt x="20" y="0"/>
                </a:lnTo>
                <a:lnTo>
                  <a:pt x="12" y="0"/>
                </a:lnTo>
                <a:lnTo>
                  <a:pt x="6" y="1"/>
                </a:lnTo>
                <a:lnTo>
                  <a:pt x="4" y="2"/>
                </a:lnTo>
                <a:lnTo>
                  <a:pt x="2" y="5"/>
                </a:lnTo>
                <a:lnTo>
                  <a:pt x="0" y="7"/>
                </a:lnTo>
                <a:lnTo>
                  <a:pt x="0" y="10"/>
                </a:lnTo>
                <a:lnTo>
                  <a:pt x="0" y="10"/>
                </a:lnTo>
                <a:lnTo>
                  <a:pt x="0" y="14"/>
                </a:lnTo>
                <a:lnTo>
                  <a:pt x="2" y="17"/>
                </a:lnTo>
                <a:lnTo>
                  <a:pt x="5" y="22"/>
                </a:lnTo>
                <a:lnTo>
                  <a:pt x="9" y="24"/>
                </a:lnTo>
                <a:lnTo>
                  <a:pt x="12" y="25"/>
                </a:lnTo>
                <a:lnTo>
                  <a:pt x="12" y="25"/>
                </a:lnTo>
                <a:lnTo>
                  <a:pt x="15" y="24"/>
                </a:lnTo>
                <a:lnTo>
                  <a:pt x="19" y="24"/>
                </a:lnTo>
                <a:lnTo>
                  <a:pt x="21" y="22"/>
                </a:lnTo>
                <a:lnTo>
                  <a:pt x="23" y="21"/>
                </a:lnTo>
                <a:lnTo>
                  <a:pt x="26" y="16"/>
                </a:lnTo>
                <a:lnTo>
                  <a:pt x="27" y="10"/>
                </a:lnTo>
                <a:lnTo>
                  <a:pt x="27" y="10"/>
                </a:lnTo>
                <a:lnTo>
                  <a:pt x="26" y="8"/>
                </a:lnTo>
                <a:lnTo>
                  <a:pt x="23" y="5"/>
                </a:lnTo>
                <a:lnTo>
                  <a:pt x="20" y="2"/>
                </a:lnTo>
                <a:lnTo>
                  <a:pt x="20" y="0"/>
                </a:lnTo>
                <a:lnTo>
                  <a:pt x="20" y="0"/>
                </a:lnTo>
                <a:lnTo>
                  <a:pt x="2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7" name="Freeform 42"/>
          <p:cNvSpPr>
            <a:spLocks/>
          </p:cNvSpPr>
          <p:nvPr/>
        </p:nvSpPr>
        <p:spPr bwMode="auto">
          <a:xfrm>
            <a:off x="3757613" y="1666875"/>
            <a:ext cx="52387" cy="79375"/>
          </a:xfrm>
          <a:custGeom>
            <a:avLst/>
            <a:gdLst/>
            <a:ahLst/>
            <a:cxnLst>
              <a:cxn ang="0">
                <a:pos x="45" y="26"/>
              </a:cxn>
              <a:cxn ang="0">
                <a:pos x="45" y="26"/>
              </a:cxn>
              <a:cxn ang="0">
                <a:pos x="35" y="25"/>
              </a:cxn>
              <a:cxn ang="0">
                <a:pos x="28" y="22"/>
              </a:cxn>
              <a:cxn ang="0">
                <a:pos x="24" y="18"/>
              </a:cxn>
              <a:cxn ang="0">
                <a:pos x="20" y="13"/>
              </a:cxn>
              <a:cxn ang="0">
                <a:pos x="17" y="8"/>
              </a:cxn>
              <a:cxn ang="0">
                <a:pos x="13" y="5"/>
              </a:cxn>
              <a:cxn ang="0">
                <a:pos x="10" y="1"/>
              </a:cxn>
              <a:cxn ang="0">
                <a:pos x="4" y="0"/>
              </a:cxn>
              <a:cxn ang="0">
                <a:pos x="4" y="0"/>
              </a:cxn>
              <a:cxn ang="0">
                <a:pos x="2" y="1"/>
              </a:cxn>
              <a:cxn ang="0">
                <a:pos x="0" y="1"/>
              </a:cxn>
              <a:cxn ang="0">
                <a:pos x="0" y="5"/>
              </a:cxn>
              <a:cxn ang="0">
                <a:pos x="0" y="12"/>
              </a:cxn>
              <a:cxn ang="0">
                <a:pos x="0" y="12"/>
              </a:cxn>
              <a:cxn ang="0">
                <a:pos x="1" y="22"/>
              </a:cxn>
              <a:cxn ang="0">
                <a:pos x="3" y="35"/>
              </a:cxn>
              <a:cxn ang="0">
                <a:pos x="8" y="48"/>
              </a:cxn>
              <a:cxn ang="0">
                <a:pos x="12" y="61"/>
              </a:cxn>
              <a:cxn ang="0">
                <a:pos x="19" y="74"/>
              </a:cxn>
              <a:cxn ang="0">
                <a:pos x="26" y="83"/>
              </a:cxn>
              <a:cxn ang="0">
                <a:pos x="31" y="86"/>
              </a:cxn>
              <a:cxn ang="0">
                <a:pos x="35" y="90"/>
              </a:cxn>
              <a:cxn ang="0">
                <a:pos x="40" y="91"/>
              </a:cxn>
              <a:cxn ang="0">
                <a:pos x="45" y="92"/>
              </a:cxn>
              <a:cxn ang="0">
                <a:pos x="45" y="92"/>
              </a:cxn>
              <a:cxn ang="0">
                <a:pos x="56" y="92"/>
              </a:cxn>
              <a:cxn ang="0">
                <a:pos x="56" y="92"/>
              </a:cxn>
              <a:cxn ang="0">
                <a:pos x="56" y="85"/>
              </a:cxn>
              <a:cxn ang="0">
                <a:pos x="59" y="81"/>
              </a:cxn>
              <a:cxn ang="0">
                <a:pos x="62" y="76"/>
              </a:cxn>
              <a:cxn ang="0">
                <a:pos x="63" y="69"/>
              </a:cxn>
              <a:cxn ang="0">
                <a:pos x="63" y="69"/>
              </a:cxn>
              <a:cxn ang="0">
                <a:pos x="62" y="66"/>
              </a:cxn>
              <a:cxn ang="0">
                <a:pos x="59" y="61"/>
              </a:cxn>
              <a:cxn ang="0">
                <a:pos x="56" y="55"/>
              </a:cxn>
              <a:cxn ang="0">
                <a:pos x="56" y="52"/>
              </a:cxn>
              <a:cxn ang="0">
                <a:pos x="56" y="52"/>
              </a:cxn>
              <a:cxn ang="0">
                <a:pos x="57" y="44"/>
              </a:cxn>
              <a:cxn ang="0">
                <a:pos x="58" y="40"/>
              </a:cxn>
              <a:cxn ang="0">
                <a:pos x="59" y="37"/>
              </a:cxn>
              <a:cxn ang="0">
                <a:pos x="59" y="37"/>
              </a:cxn>
              <a:cxn ang="0">
                <a:pos x="58" y="33"/>
              </a:cxn>
              <a:cxn ang="0">
                <a:pos x="57" y="31"/>
              </a:cxn>
              <a:cxn ang="0">
                <a:pos x="55" y="29"/>
              </a:cxn>
              <a:cxn ang="0">
                <a:pos x="51" y="28"/>
              </a:cxn>
              <a:cxn ang="0">
                <a:pos x="47" y="26"/>
              </a:cxn>
              <a:cxn ang="0">
                <a:pos x="45" y="26"/>
              </a:cxn>
              <a:cxn ang="0">
                <a:pos x="45" y="26"/>
              </a:cxn>
              <a:cxn ang="0">
                <a:pos x="45" y="26"/>
              </a:cxn>
            </a:cxnLst>
            <a:rect l="0" t="0" r="r" b="b"/>
            <a:pathLst>
              <a:path w="63" h="92">
                <a:moveTo>
                  <a:pt x="45" y="26"/>
                </a:moveTo>
                <a:lnTo>
                  <a:pt x="45" y="26"/>
                </a:lnTo>
                <a:lnTo>
                  <a:pt x="35" y="25"/>
                </a:lnTo>
                <a:lnTo>
                  <a:pt x="28" y="22"/>
                </a:lnTo>
                <a:lnTo>
                  <a:pt x="24" y="18"/>
                </a:lnTo>
                <a:lnTo>
                  <a:pt x="20" y="13"/>
                </a:lnTo>
                <a:lnTo>
                  <a:pt x="17" y="8"/>
                </a:lnTo>
                <a:lnTo>
                  <a:pt x="13" y="5"/>
                </a:lnTo>
                <a:lnTo>
                  <a:pt x="10" y="1"/>
                </a:lnTo>
                <a:lnTo>
                  <a:pt x="4" y="0"/>
                </a:lnTo>
                <a:lnTo>
                  <a:pt x="4" y="0"/>
                </a:lnTo>
                <a:lnTo>
                  <a:pt x="2" y="1"/>
                </a:lnTo>
                <a:lnTo>
                  <a:pt x="0" y="1"/>
                </a:lnTo>
                <a:lnTo>
                  <a:pt x="0" y="5"/>
                </a:lnTo>
                <a:lnTo>
                  <a:pt x="0" y="12"/>
                </a:lnTo>
                <a:lnTo>
                  <a:pt x="0" y="12"/>
                </a:lnTo>
                <a:lnTo>
                  <a:pt x="1" y="22"/>
                </a:lnTo>
                <a:lnTo>
                  <a:pt x="3" y="35"/>
                </a:lnTo>
                <a:lnTo>
                  <a:pt x="8" y="48"/>
                </a:lnTo>
                <a:lnTo>
                  <a:pt x="12" y="61"/>
                </a:lnTo>
                <a:lnTo>
                  <a:pt x="19" y="74"/>
                </a:lnTo>
                <a:lnTo>
                  <a:pt x="26" y="83"/>
                </a:lnTo>
                <a:lnTo>
                  <a:pt x="31" y="86"/>
                </a:lnTo>
                <a:lnTo>
                  <a:pt x="35" y="90"/>
                </a:lnTo>
                <a:lnTo>
                  <a:pt x="40" y="91"/>
                </a:lnTo>
                <a:lnTo>
                  <a:pt x="45" y="92"/>
                </a:lnTo>
                <a:lnTo>
                  <a:pt x="45" y="92"/>
                </a:lnTo>
                <a:lnTo>
                  <a:pt x="56" y="92"/>
                </a:lnTo>
                <a:lnTo>
                  <a:pt x="56" y="92"/>
                </a:lnTo>
                <a:lnTo>
                  <a:pt x="56" y="85"/>
                </a:lnTo>
                <a:lnTo>
                  <a:pt x="59" y="81"/>
                </a:lnTo>
                <a:lnTo>
                  <a:pt x="62" y="76"/>
                </a:lnTo>
                <a:lnTo>
                  <a:pt x="63" y="69"/>
                </a:lnTo>
                <a:lnTo>
                  <a:pt x="63" y="69"/>
                </a:lnTo>
                <a:lnTo>
                  <a:pt x="62" y="66"/>
                </a:lnTo>
                <a:lnTo>
                  <a:pt x="59" y="61"/>
                </a:lnTo>
                <a:lnTo>
                  <a:pt x="56" y="55"/>
                </a:lnTo>
                <a:lnTo>
                  <a:pt x="56" y="52"/>
                </a:lnTo>
                <a:lnTo>
                  <a:pt x="56" y="52"/>
                </a:lnTo>
                <a:lnTo>
                  <a:pt x="57" y="44"/>
                </a:lnTo>
                <a:lnTo>
                  <a:pt x="58" y="40"/>
                </a:lnTo>
                <a:lnTo>
                  <a:pt x="59" y="37"/>
                </a:lnTo>
                <a:lnTo>
                  <a:pt x="59" y="37"/>
                </a:lnTo>
                <a:lnTo>
                  <a:pt x="58" y="33"/>
                </a:lnTo>
                <a:lnTo>
                  <a:pt x="57" y="31"/>
                </a:lnTo>
                <a:lnTo>
                  <a:pt x="55" y="29"/>
                </a:lnTo>
                <a:lnTo>
                  <a:pt x="51" y="28"/>
                </a:lnTo>
                <a:lnTo>
                  <a:pt x="47" y="26"/>
                </a:lnTo>
                <a:lnTo>
                  <a:pt x="45" y="26"/>
                </a:lnTo>
                <a:lnTo>
                  <a:pt x="45" y="26"/>
                </a:lnTo>
                <a:lnTo>
                  <a:pt x="45" y="2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8" name="Freeform 43"/>
          <p:cNvSpPr>
            <a:spLocks/>
          </p:cNvSpPr>
          <p:nvPr/>
        </p:nvSpPr>
        <p:spPr bwMode="auto">
          <a:xfrm>
            <a:off x="3795713" y="1630363"/>
            <a:ext cx="61912" cy="44450"/>
          </a:xfrm>
          <a:custGeom>
            <a:avLst/>
            <a:gdLst/>
            <a:ahLst/>
            <a:cxnLst>
              <a:cxn ang="0">
                <a:pos x="35" y="15"/>
              </a:cxn>
              <a:cxn ang="0">
                <a:pos x="0" y="15"/>
              </a:cxn>
              <a:cxn ang="0">
                <a:pos x="0" y="15"/>
              </a:cxn>
              <a:cxn ang="0">
                <a:pos x="0" y="22"/>
              </a:cxn>
              <a:cxn ang="0">
                <a:pos x="0" y="22"/>
              </a:cxn>
              <a:cxn ang="0">
                <a:pos x="0" y="27"/>
              </a:cxn>
              <a:cxn ang="0">
                <a:pos x="2" y="33"/>
              </a:cxn>
              <a:cxn ang="0">
                <a:pos x="4" y="38"/>
              </a:cxn>
              <a:cxn ang="0">
                <a:pos x="6" y="42"/>
              </a:cxn>
              <a:cxn ang="0">
                <a:pos x="11" y="46"/>
              </a:cxn>
              <a:cxn ang="0">
                <a:pos x="14" y="49"/>
              </a:cxn>
              <a:cxn ang="0">
                <a:pos x="20" y="50"/>
              </a:cxn>
              <a:cxn ang="0">
                <a:pos x="25" y="52"/>
              </a:cxn>
              <a:cxn ang="0">
                <a:pos x="25" y="52"/>
              </a:cxn>
              <a:cxn ang="0">
                <a:pos x="29" y="50"/>
              </a:cxn>
              <a:cxn ang="0">
                <a:pos x="33" y="48"/>
              </a:cxn>
              <a:cxn ang="0">
                <a:pos x="35" y="46"/>
              </a:cxn>
              <a:cxn ang="0">
                <a:pos x="38" y="42"/>
              </a:cxn>
              <a:cxn ang="0">
                <a:pos x="40" y="35"/>
              </a:cxn>
              <a:cxn ang="0">
                <a:pos x="41" y="33"/>
              </a:cxn>
              <a:cxn ang="0">
                <a:pos x="43" y="33"/>
              </a:cxn>
              <a:cxn ang="0">
                <a:pos x="43" y="33"/>
              </a:cxn>
              <a:cxn ang="0">
                <a:pos x="65" y="33"/>
              </a:cxn>
              <a:cxn ang="0">
                <a:pos x="65" y="33"/>
              </a:cxn>
              <a:cxn ang="0">
                <a:pos x="69" y="32"/>
              </a:cxn>
              <a:cxn ang="0">
                <a:pos x="72" y="31"/>
              </a:cxn>
              <a:cxn ang="0">
                <a:pos x="74" y="28"/>
              </a:cxn>
              <a:cxn ang="0">
                <a:pos x="75" y="26"/>
              </a:cxn>
              <a:cxn ang="0">
                <a:pos x="75" y="23"/>
              </a:cxn>
              <a:cxn ang="0">
                <a:pos x="77" y="18"/>
              </a:cxn>
              <a:cxn ang="0">
                <a:pos x="77" y="18"/>
              </a:cxn>
              <a:cxn ang="0">
                <a:pos x="75" y="10"/>
              </a:cxn>
              <a:cxn ang="0">
                <a:pos x="72" y="4"/>
              </a:cxn>
              <a:cxn ang="0">
                <a:pos x="67" y="1"/>
              </a:cxn>
              <a:cxn ang="0">
                <a:pos x="64" y="0"/>
              </a:cxn>
              <a:cxn ang="0">
                <a:pos x="62" y="0"/>
              </a:cxn>
              <a:cxn ang="0">
                <a:pos x="62" y="0"/>
              </a:cxn>
              <a:cxn ang="0">
                <a:pos x="59" y="0"/>
              </a:cxn>
              <a:cxn ang="0">
                <a:pos x="57" y="2"/>
              </a:cxn>
              <a:cxn ang="0">
                <a:pos x="54" y="7"/>
              </a:cxn>
              <a:cxn ang="0">
                <a:pos x="51" y="14"/>
              </a:cxn>
              <a:cxn ang="0">
                <a:pos x="50" y="22"/>
              </a:cxn>
              <a:cxn ang="0">
                <a:pos x="50" y="22"/>
              </a:cxn>
              <a:cxn ang="0">
                <a:pos x="47" y="22"/>
              </a:cxn>
              <a:cxn ang="0">
                <a:pos x="43" y="19"/>
              </a:cxn>
              <a:cxn ang="0">
                <a:pos x="35" y="15"/>
              </a:cxn>
              <a:cxn ang="0">
                <a:pos x="35" y="15"/>
              </a:cxn>
              <a:cxn ang="0">
                <a:pos x="35" y="15"/>
              </a:cxn>
            </a:cxnLst>
            <a:rect l="0" t="0" r="r" b="b"/>
            <a:pathLst>
              <a:path w="77" h="52">
                <a:moveTo>
                  <a:pt x="35" y="15"/>
                </a:moveTo>
                <a:lnTo>
                  <a:pt x="0" y="15"/>
                </a:lnTo>
                <a:lnTo>
                  <a:pt x="0" y="15"/>
                </a:lnTo>
                <a:lnTo>
                  <a:pt x="0" y="22"/>
                </a:lnTo>
                <a:lnTo>
                  <a:pt x="0" y="22"/>
                </a:lnTo>
                <a:lnTo>
                  <a:pt x="0" y="27"/>
                </a:lnTo>
                <a:lnTo>
                  <a:pt x="2" y="33"/>
                </a:lnTo>
                <a:lnTo>
                  <a:pt x="4" y="38"/>
                </a:lnTo>
                <a:lnTo>
                  <a:pt x="6" y="42"/>
                </a:lnTo>
                <a:lnTo>
                  <a:pt x="11" y="46"/>
                </a:lnTo>
                <a:lnTo>
                  <a:pt x="14" y="49"/>
                </a:lnTo>
                <a:lnTo>
                  <a:pt x="20" y="50"/>
                </a:lnTo>
                <a:lnTo>
                  <a:pt x="25" y="52"/>
                </a:lnTo>
                <a:lnTo>
                  <a:pt x="25" y="52"/>
                </a:lnTo>
                <a:lnTo>
                  <a:pt x="29" y="50"/>
                </a:lnTo>
                <a:lnTo>
                  <a:pt x="33" y="48"/>
                </a:lnTo>
                <a:lnTo>
                  <a:pt x="35" y="46"/>
                </a:lnTo>
                <a:lnTo>
                  <a:pt x="38" y="42"/>
                </a:lnTo>
                <a:lnTo>
                  <a:pt x="40" y="35"/>
                </a:lnTo>
                <a:lnTo>
                  <a:pt x="41" y="33"/>
                </a:lnTo>
                <a:lnTo>
                  <a:pt x="43" y="33"/>
                </a:lnTo>
                <a:lnTo>
                  <a:pt x="43" y="33"/>
                </a:lnTo>
                <a:lnTo>
                  <a:pt x="65" y="33"/>
                </a:lnTo>
                <a:lnTo>
                  <a:pt x="65" y="33"/>
                </a:lnTo>
                <a:lnTo>
                  <a:pt x="69" y="32"/>
                </a:lnTo>
                <a:lnTo>
                  <a:pt x="72" y="31"/>
                </a:lnTo>
                <a:lnTo>
                  <a:pt x="74" y="28"/>
                </a:lnTo>
                <a:lnTo>
                  <a:pt x="75" y="26"/>
                </a:lnTo>
                <a:lnTo>
                  <a:pt x="75" y="23"/>
                </a:lnTo>
                <a:lnTo>
                  <a:pt x="77" y="18"/>
                </a:lnTo>
                <a:lnTo>
                  <a:pt x="77" y="18"/>
                </a:lnTo>
                <a:lnTo>
                  <a:pt x="75" y="10"/>
                </a:lnTo>
                <a:lnTo>
                  <a:pt x="72" y="4"/>
                </a:lnTo>
                <a:lnTo>
                  <a:pt x="67" y="1"/>
                </a:lnTo>
                <a:lnTo>
                  <a:pt x="64" y="0"/>
                </a:lnTo>
                <a:lnTo>
                  <a:pt x="62" y="0"/>
                </a:lnTo>
                <a:lnTo>
                  <a:pt x="62" y="0"/>
                </a:lnTo>
                <a:lnTo>
                  <a:pt x="59" y="0"/>
                </a:lnTo>
                <a:lnTo>
                  <a:pt x="57" y="2"/>
                </a:lnTo>
                <a:lnTo>
                  <a:pt x="54" y="7"/>
                </a:lnTo>
                <a:lnTo>
                  <a:pt x="51" y="14"/>
                </a:lnTo>
                <a:lnTo>
                  <a:pt x="50" y="22"/>
                </a:lnTo>
                <a:lnTo>
                  <a:pt x="50" y="22"/>
                </a:lnTo>
                <a:lnTo>
                  <a:pt x="47" y="22"/>
                </a:lnTo>
                <a:lnTo>
                  <a:pt x="43" y="19"/>
                </a:lnTo>
                <a:lnTo>
                  <a:pt x="35" y="15"/>
                </a:lnTo>
                <a:lnTo>
                  <a:pt x="35" y="15"/>
                </a:lnTo>
                <a:lnTo>
                  <a:pt x="35" y="1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49" name="Freeform 44"/>
          <p:cNvSpPr>
            <a:spLocks/>
          </p:cNvSpPr>
          <p:nvPr/>
        </p:nvSpPr>
        <p:spPr bwMode="auto">
          <a:xfrm>
            <a:off x="3870325" y="1728788"/>
            <a:ext cx="36513" cy="23812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0" y="3"/>
              </a:cxn>
              <a:cxn ang="0">
                <a:pos x="2" y="7"/>
              </a:cxn>
              <a:cxn ang="0">
                <a:pos x="2" y="7"/>
              </a:cxn>
              <a:cxn ang="0">
                <a:pos x="2" y="12"/>
              </a:cxn>
              <a:cxn ang="0">
                <a:pos x="4" y="16"/>
              </a:cxn>
              <a:cxn ang="0">
                <a:pos x="5" y="19"/>
              </a:cxn>
              <a:cxn ang="0">
                <a:pos x="9" y="22"/>
              </a:cxn>
              <a:cxn ang="0">
                <a:pos x="12" y="23"/>
              </a:cxn>
              <a:cxn ang="0">
                <a:pos x="18" y="25"/>
              </a:cxn>
              <a:cxn ang="0">
                <a:pos x="24" y="25"/>
              </a:cxn>
              <a:cxn ang="0">
                <a:pos x="24" y="25"/>
              </a:cxn>
              <a:cxn ang="0">
                <a:pos x="32" y="24"/>
              </a:cxn>
              <a:cxn ang="0">
                <a:pos x="38" y="20"/>
              </a:cxn>
              <a:cxn ang="0">
                <a:pos x="41" y="16"/>
              </a:cxn>
              <a:cxn ang="0">
                <a:pos x="42" y="10"/>
              </a:cxn>
              <a:cxn ang="0">
                <a:pos x="42" y="10"/>
              </a:cxn>
              <a:cxn ang="0">
                <a:pos x="41" y="5"/>
              </a:cxn>
              <a:cxn ang="0">
                <a:pos x="41" y="2"/>
              </a:cxn>
              <a:cxn ang="0">
                <a:pos x="42" y="0"/>
              </a:cxn>
              <a:cxn ang="0">
                <a:pos x="4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</a:cxnLst>
            <a:rect l="0" t="0" r="r" b="b"/>
            <a:pathLst>
              <a:path w="42" h="25">
                <a:moveTo>
                  <a:pt x="2" y="0"/>
                </a:move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2" y="7"/>
                </a:lnTo>
                <a:lnTo>
                  <a:pt x="2" y="7"/>
                </a:lnTo>
                <a:lnTo>
                  <a:pt x="2" y="12"/>
                </a:lnTo>
                <a:lnTo>
                  <a:pt x="4" y="16"/>
                </a:lnTo>
                <a:lnTo>
                  <a:pt x="5" y="19"/>
                </a:lnTo>
                <a:lnTo>
                  <a:pt x="9" y="22"/>
                </a:lnTo>
                <a:lnTo>
                  <a:pt x="12" y="23"/>
                </a:lnTo>
                <a:lnTo>
                  <a:pt x="18" y="25"/>
                </a:lnTo>
                <a:lnTo>
                  <a:pt x="24" y="25"/>
                </a:lnTo>
                <a:lnTo>
                  <a:pt x="24" y="25"/>
                </a:lnTo>
                <a:lnTo>
                  <a:pt x="32" y="24"/>
                </a:lnTo>
                <a:lnTo>
                  <a:pt x="38" y="20"/>
                </a:lnTo>
                <a:lnTo>
                  <a:pt x="41" y="16"/>
                </a:lnTo>
                <a:lnTo>
                  <a:pt x="42" y="10"/>
                </a:lnTo>
                <a:lnTo>
                  <a:pt x="42" y="10"/>
                </a:lnTo>
                <a:lnTo>
                  <a:pt x="41" y="5"/>
                </a:lnTo>
                <a:lnTo>
                  <a:pt x="41" y="2"/>
                </a:lnTo>
                <a:lnTo>
                  <a:pt x="42" y="0"/>
                </a:lnTo>
                <a:lnTo>
                  <a:pt x="4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0" name="Freeform 45"/>
          <p:cNvSpPr>
            <a:spLocks/>
          </p:cNvSpPr>
          <p:nvPr/>
        </p:nvSpPr>
        <p:spPr bwMode="auto">
          <a:xfrm>
            <a:off x="3957638" y="1652588"/>
            <a:ext cx="19050" cy="36512"/>
          </a:xfrm>
          <a:custGeom>
            <a:avLst/>
            <a:gdLst/>
            <a:ahLst/>
            <a:cxnLst>
              <a:cxn ang="0">
                <a:pos x="26" y="12"/>
              </a:cxn>
              <a:cxn ang="0">
                <a:pos x="9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15"/>
              </a:cxn>
              <a:cxn ang="0">
                <a:pos x="0" y="15"/>
              </a:cxn>
              <a:cxn ang="0">
                <a:pos x="2" y="24"/>
              </a:cxn>
              <a:cxn ang="0">
                <a:pos x="4" y="32"/>
              </a:cxn>
              <a:cxn ang="0">
                <a:pos x="7" y="39"/>
              </a:cxn>
              <a:cxn ang="0">
                <a:pos x="10" y="40"/>
              </a:cxn>
              <a:cxn ang="0">
                <a:pos x="12" y="41"/>
              </a:cxn>
              <a:cxn ang="0">
                <a:pos x="12" y="41"/>
              </a:cxn>
              <a:cxn ang="0">
                <a:pos x="17" y="40"/>
              </a:cxn>
              <a:cxn ang="0">
                <a:pos x="20" y="37"/>
              </a:cxn>
              <a:cxn ang="0">
                <a:pos x="22" y="32"/>
              </a:cxn>
              <a:cxn ang="0">
                <a:pos x="25" y="28"/>
              </a:cxn>
              <a:cxn ang="0">
                <a:pos x="26" y="17"/>
              </a:cxn>
              <a:cxn ang="0">
                <a:pos x="26" y="12"/>
              </a:cxn>
              <a:cxn ang="0">
                <a:pos x="26" y="12"/>
              </a:cxn>
              <a:cxn ang="0">
                <a:pos x="26" y="12"/>
              </a:cxn>
            </a:cxnLst>
            <a:rect l="0" t="0" r="r" b="b"/>
            <a:pathLst>
              <a:path w="26" h="41">
                <a:moveTo>
                  <a:pt x="26" y="12"/>
                </a:moveTo>
                <a:lnTo>
                  <a:pt x="9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15"/>
                </a:lnTo>
                <a:lnTo>
                  <a:pt x="0" y="15"/>
                </a:lnTo>
                <a:lnTo>
                  <a:pt x="2" y="24"/>
                </a:lnTo>
                <a:lnTo>
                  <a:pt x="4" y="32"/>
                </a:lnTo>
                <a:lnTo>
                  <a:pt x="7" y="39"/>
                </a:lnTo>
                <a:lnTo>
                  <a:pt x="10" y="40"/>
                </a:lnTo>
                <a:lnTo>
                  <a:pt x="12" y="41"/>
                </a:lnTo>
                <a:lnTo>
                  <a:pt x="12" y="41"/>
                </a:lnTo>
                <a:lnTo>
                  <a:pt x="17" y="40"/>
                </a:lnTo>
                <a:lnTo>
                  <a:pt x="20" y="37"/>
                </a:lnTo>
                <a:lnTo>
                  <a:pt x="22" y="32"/>
                </a:lnTo>
                <a:lnTo>
                  <a:pt x="25" y="28"/>
                </a:lnTo>
                <a:lnTo>
                  <a:pt x="26" y="17"/>
                </a:lnTo>
                <a:lnTo>
                  <a:pt x="26" y="12"/>
                </a:lnTo>
                <a:lnTo>
                  <a:pt x="26" y="12"/>
                </a:lnTo>
                <a:lnTo>
                  <a:pt x="26" y="1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1" name="Freeform 46"/>
          <p:cNvSpPr>
            <a:spLocks/>
          </p:cNvSpPr>
          <p:nvPr/>
        </p:nvSpPr>
        <p:spPr bwMode="auto">
          <a:xfrm>
            <a:off x="3879850" y="1601788"/>
            <a:ext cx="26988" cy="23812"/>
          </a:xfrm>
          <a:custGeom>
            <a:avLst/>
            <a:gdLst/>
            <a:ahLst/>
            <a:cxnLst>
              <a:cxn ang="0">
                <a:pos x="26" y="4"/>
              </a:cxn>
              <a:cxn ang="0">
                <a:pos x="26" y="4"/>
              </a:cxn>
              <a:cxn ang="0">
                <a:pos x="23" y="4"/>
              </a:cxn>
              <a:cxn ang="0">
                <a:pos x="21" y="3"/>
              </a:cxn>
              <a:cxn ang="0">
                <a:pos x="17" y="2"/>
              </a:cxn>
              <a:cxn ang="0">
                <a:pos x="15" y="0"/>
              </a:cxn>
              <a:cxn ang="0">
                <a:pos x="15" y="0"/>
              </a:cxn>
              <a:cxn ang="0">
                <a:pos x="8" y="2"/>
              </a:cxn>
              <a:cxn ang="0">
                <a:pos x="6" y="3"/>
              </a:cxn>
              <a:cxn ang="0">
                <a:pos x="3" y="4"/>
              </a:cxn>
              <a:cxn ang="0">
                <a:pos x="2" y="6"/>
              </a:cxn>
              <a:cxn ang="0">
                <a:pos x="1" y="8"/>
              </a:cxn>
              <a:cxn ang="0">
                <a:pos x="0" y="15"/>
              </a:cxn>
              <a:cxn ang="0">
                <a:pos x="0" y="15"/>
              </a:cxn>
              <a:cxn ang="0">
                <a:pos x="1" y="16"/>
              </a:cxn>
              <a:cxn ang="0">
                <a:pos x="2" y="19"/>
              </a:cxn>
              <a:cxn ang="0">
                <a:pos x="8" y="22"/>
              </a:cxn>
              <a:cxn ang="0">
                <a:pos x="14" y="26"/>
              </a:cxn>
              <a:cxn ang="0">
                <a:pos x="18" y="27"/>
              </a:cxn>
              <a:cxn ang="0">
                <a:pos x="18" y="27"/>
              </a:cxn>
              <a:cxn ang="0">
                <a:pos x="24" y="26"/>
              </a:cxn>
              <a:cxn ang="0">
                <a:pos x="29" y="23"/>
              </a:cxn>
              <a:cxn ang="0">
                <a:pos x="32" y="20"/>
              </a:cxn>
              <a:cxn ang="0">
                <a:pos x="33" y="15"/>
              </a:cxn>
              <a:cxn ang="0">
                <a:pos x="33" y="15"/>
              </a:cxn>
              <a:cxn ang="0">
                <a:pos x="32" y="12"/>
              </a:cxn>
              <a:cxn ang="0">
                <a:pos x="31" y="8"/>
              </a:cxn>
              <a:cxn ang="0">
                <a:pos x="29" y="5"/>
              </a:cxn>
              <a:cxn ang="0">
                <a:pos x="26" y="4"/>
              </a:cxn>
              <a:cxn ang="0">
                <a:pos x="26" y="4"/>
              </a:cxn>
              <a:cxn ang="0">
                <a:pos x="26" y="4"/>
              </a:cxn>
            </a:cxnLst>
            <a:rect l="0" t="0" r="r" b="b"/>
            <a:pathLst>
              <a:path w="33" h="27">
                <a:moveTo>
                  <a:pt x="26" y="4"/>
                </a:moveTo>
                <a:lnTo>
                  <a:pt x="26" y="4"/>
                </a:lnTo>
                <a:lnTo>
                  <a:pt x="23" y="4"/>
                </a:lnTo>
                <a:lnTo>
                  <a:pt x="21" y="3"/>
                </a:lnTo>
                <a:lnTo>
                  <a:pt x="17" y="2"/>
                </a:lnTo>
                <a:lnTo>
                  <a:pt x="15" y="0"/>
                </a:lnTo>
                <a:lnTo>
                  <a:pt x="15" y="0"/>
                </a:lnTo>
                <a:lnTo>
                  <a:pt x="8" y="2"/>
                </a:lnTo>
                <a:lnTo>
                  <a:pt x="6" y="3"/>
                </a:lnTo>
                <a:lnTo>
                  <a:pt x="3" y="4"/>
                </a:lnTo>
                <a:lnTo>
                  <a:pt x="2" y="6"/>
                </a:lnTo>
                <a:lnTo>
                  <a:pt x="1" y="8"/>
                </a:lnTo>
                <a:lnTo>
                  <a:pt x="0" y="15"/>
                </a:lnTo>
                <a:lnTo>
                  <a:pt x="0" y="15"/>
                </a:lnTo>
                <a:lnTo>
                  <a:pt x="1" y="16"/>
                </a:lnTo>
                <a:lnTo>
                  <a:pt x="2" y="19"/>
                </a:lnTo>
                <a:lnTo>
                  <a:pt x="8" y="22"/>
                </a:lnTo>
                <a:lnTo>
                  <a:pt x="14" y="26"/>
                </a:lnTo>
                <a:lnTo>
                  <a:pt x="18" y="27"/>
                </a:lnTo>
                <a:lnTo>
                  <a:pt x="18" y="27"/>
                </a:lnTo>
                <a:lnTo>
                  <a:pt x="24" y="26"/>
                </a:lnTo>
                <a:lnTo>
                  <a:pt x="29" y="23"/>
                </a:lnTo>
                <a:lnTo>
                  <a:pt x="32" y="20"/>
                </a:lnTo>
                <a:lnTo>
                  <a:pt x="33" y="15"/>
                </a:lnTo>
                <a:lnTo>
                  <a:pt x="33" y="15"/>
                </a:lnTo>
                <a:lnTo>
                  <a:pt x="32" y="12"/>
                </a:lnTo>
                <a:lnTo>
                  <a:pt x="31" y="8"/>
                </a:lnTo>
                <a:lnTo>
                  <a:pt x="29" y="5"/>
                </a:lnTo>
                <a:lnTo>
                  <a:pt x="26" y="4"/>
                </a:lnTo>
                <a:lnTo>
                  <a:pt x="26" y="4"/>
                </a:lnTo>
                <a:lnTo>
                  <a:pt x="26" y="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2" name="Freeform 47"/>
          <p:cNvSpPr>
            <a:spLocks/>
          </p:cNvSpPr>
          <p:nvPr/>
        </p:nvSpPr>
        <p:spPr bwMode="auto">
          <a:xfrm>
            <a:off x="7867650" y="4144963"/>
            <a:ext cx="61913" cy="46037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33" y="0"/>
              </a:cxn>
              <a:cxn ang="0">
                <a:pos x="15" y="7"/>
              </a:cxn>
              <a:cxn ang="0">
                <a:pos x="10" y="11"/>
              </a:cxn>
              <a:cxn ang="0">
                <a:pos x="5" y="14"/>
              </a:cxn>
              <a:cxn ang="0">
                <a:pos x="3" y="19"/>
              </a:cxn>
              <a:cxn ang="0">
                <a:pos x="2" y="26"/>
              </a:cxn>
              <a:cxn ang="0">
                <a:pos x="0" y="34"/>
              </a:cxn>
              <a:cxn ang="0">
                <a:pos x="0" y="45"/>
              </a:cxn>
              <a:cxn ang="0">
                <a:pos x="0" y="45"/>
              </a:cxn>
              <a:cxn ang="0">
                <a:pos x="27" y="50"/>
              </a:cxn>
              <a:cxn ang="0">
                <a:pos x="37" y="52"/>
              </a:cxn>
              <a:cxn ang="0">
                <a:pos x="45" y="53"/>
              </a:cxn>
              <a:cxn ang="0">
                <a:pos x="53" y="53"/>
              </a:cxn>
              <a:cxn ang="0">
                <a:pos x="60" y="50"/>
              </a:cxn>
              <a:cxn ang="0">
                <a:pos x="68" y="45"/>
              </a:cxn>
              <a:cxn ang="0">
                <a:pos x="78" y="37"/>
              </a:cxn>
              <a:cxn ang="0">
                <a:pos x="78" y="37"/>
              </a:cxn>
              <a:cxn ang="0">
                <a:pos x="72" y="33"/>
              </a:cxn>
              <a:cxn ang="0">
                <a:pos x="66" y="28"/>
              </a:cxn>
              <a:cxn ang="0">
                <a:pos x="53" y="20"/>
              </a:cxn>
              <a:cxn ang="0">
                <a:pos x="43" y="12"/>
              </a:cxn>
              <a:cxn ang="0">
                <a:pos x="37" y="7"/>
              </a:cxn>
              <a:cxn ang="0">
                <a:pos x="33" y="0"/>
              </a:cxn>
              <a:cxn ang="0">
                <a:pos x="33" y="0"/>
              </a:cxn>
              <a:cxn ang="0">
                <a:pos x="33" y="0"/>
              </a:cxn>
            </a:cxnLst>
            <a:rect l="0" t="0" r="r" b="b"/>
            <a:pathLst>
              <a:path w="78" h="53">
                <a:moveTo>
                  <a:pt x="33" y="0"/>
                </a:moveTo>
                <a:lnTo>
                  <a:pt x="33" y="0"/>
                </a:lnTo>
                <a:lnTo>
                  <a:pt x="15" y="7"/>
                </a:lnTo>
                <a:lnTo>
                  <a:pt x="10" y="11"/>
                </a:lnTo>
                <a:lnTo>
                  <a:pt x="5" y="14"/>
                </a:lnTo>
                <a:lnTo>
                  <a:pt x="3" y="19"/>
                </a:lnTo>
                <a:lnTo>
                  <a:pt x="2" y="26"/>
                </a:lnTo>
                <a:lnTo>
                  <a:pt x="0" y="34"/>
                </a:lnTo>
                <a:lnTo>
                  <a:pt x="0" y="45"/>
                </a:lnTo>
                <a:lnTo>
                  <a:pt x="0" y="45"/>
                </a:lnTo>
                <a:lnTo>
                  <a:pt x="27" y="50"/>
                </a:lnTo>
                <a:lnTo>
                  <a:pt x="37" y="52"/>
                </a:lnTo>
                <a:lnTo>
                  <a:pt x="45" y="53"/>
                </a:lnTo>
                <a:lnTo>
                  <a:pt x="53" y="53"/>
                </a:lnTo>
                <a:lnTo>
                  <a:pt x="60" y="50"/>
                </a:lnTo>
                <a:lnTo>
                  <a:pt x="68" y="45"/>
                </a:lnTo>
                <a:lnTo>
                  <a:pt x="78" y="37"/>
                </a:lnTo>
                <a:lnTo>
                  <a:pt x="78" y="37"/>
                </a:lnTo>
                <a:lnTo>
                  <a:pt x="72" y="33"/>
                </a:lnTo>
                <a:lnTo>
                  <a:pt x="66" y="28"/>
                </a:lnTo>
                <a:lnTo>
                  <a:pt x="53" y="20"/>
                </a:lnTo>
                <a:lnTo>
                  <a:pt x="43" y="12"/>
                </a:lnTo>
                <a:lnTo>
                  <a:pt x="37" y="7"/>
                </a:lnTo>
                <a:lnTo>
                  <a:pt x="33" y="0"/>
                </a:lnTo>
                <a:lnTo>
                  <a:pt x="33" y="0"/>
                </a:lnTo>
                <a:lnTo>
                  <a:pt x="33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3" name="Freeform 48"/>
          <p:cNvSpPr>
            <a:spLocks/>
          </p:cNvSpPr>
          <p:nvPr/>
        </p:nvSpPr>
        <p:spPr bwMode="auto">
          <a:xfrm>
            <a:off x="8305800" y="2514600"/>
            <a:ext cx="41275" cy="112713"/>
          </a:xfrm>
          <a:custGeom>
            <a:avLst/>
            <a:gdLst/>
            <a:ahLst/>
            <a:cxnLst>
              <a:cxn ang="0">
                <a:pos x="10" y="73"/>
              </a:cxn>
              <a:cxn ang="0">
                <a:pos x="3" y="28"/>
              </a:cxn>
              <a:cxn ang="0">
                <a:pos x="3" y="28"/>
              </a:cxn>
              <a:cxn ang="0">
                <a:pos x="3" y="28"/>
              </a:cxn>
              <a:cxn ang="0">
                <a:pos x="1" y="27"/>
              </a:cxn>
              <a:cxn ang="0">
                <a:pos x="0" y="25"/>
              </a:cxn>
              <a:cxn ang="0">
                <a:pos x="0" y="14"/>
              </a:cxn>
              <a:cxn ang="0">
                <a:pos x="0" y="14"/>
              </a:cxn>
              <a:cxn ang="0">
                <a:pos x="1" y="9"/>
              </a:cxn>
              <a:cxn ang="0">
                <a:pos x="3" y="4"/>
              </a:cxn>
              <a:cxn ang="0">
                <a:pos x="7" y="1"/>
              </a:cxn>
              <a:cxn ang="0">
                <a:pos x="10" y="0"/>
              </a:cxn>
              <a:cxn ang="0">
                <a:pos x="10" y="0"/>
              </a:cxn>
              <a:cxn ang="0">
                <a:pos x="40" y="14"/>
              </a:cxn>
              <a:cxn ang="0">
                <a:pos x="40" y="14"/>
              </a:cxn>
              <a:cxn ang="0">
                <a:pos x="40" y="14"/>
              </a:cxn>
              <a:cxn ang="0">
                <a:pos x="40" y="51"/>
              </a:cxn>
              <a:cxn ang="0">
                <a:pos x="40" y="51"/>
              </a:cxn>
              <a:cxn ang="0">
                <a:pos x="41" y="60"/>
              </a:cxn>
              <a:cxn ang="0">
                <a:pos x="42" y="70"/>
              </a:cxn>
              <a:cxn ang="0">
                <a:pos x="47" y="93"/>
              </a:cxn>
              <a:cxn ang="0">
                <a:pos x="50" y="113"/>
              </a:cxn>
              <a:cxn ang="0">
                <a:pos x="51" y="121"/>
              </a:cxn>
              <a:cxn ang="0">
                <a:pos x="50" y="128"/>
              </a:cxn>
              <a:cxn ang="0">
                <a:pos x="50" y="128"/>
              </a:cxn>
              <a:cxn ang="0">
                <a:pos x="48" y="127"/>
              </a:cxn>
              <a:cxn ang="0">
                <a:pos x="46" y="124"/>
              </a:cxn>
              <a:cxn ang="0">
                <a:pos x="40" y="113"/>
              </a:cxn>
              <a:cxn ang="0">
                <a:pos x="40" y="113"/>
              </a:cxn>
              <a:cxn ang="0">
                <a:pos x="38" y="107"/>
              </a:cxn>
              <a:cxn ang="0">
                <a:pos x="33" y="102"/>
              </a:cxn>
              <a:cxn ang="0">
                <a:pos x="24" y="92"/>
              </a:cxn>
              <a:cxn ang="0">
                <a:pos x="19" y="87"/>
              </a:cxn>
              <a:cxn ang="0">
                <a:pos x="15" y="82"/>
              </a:cxn>
              <a:cxn ang="0">
                <a:pos x="11" y="78"/>
              </a:cxn>
              <a:cxn ang="0">
                <a:pos x="10" y="73"/>
              </a:cxn>
              <a:cxn ang="0">
                <a:pos x="10" y="73"/>
              </a:cxn>
              <a:cxn ang="0">
                <a:pos x="10" y="73"/>
              </a:cxn>
            </a:cxnLst>
            <a:rect l="0" t="0" r="r" b="b"/>
            <a:pathLst>
              <a:path w="51" h="128">
                <a:moveTo>
                  <a:pt x="10" y="73"/>
                </a:moveTo>
                <a:lnTo>
                  <a:pt x="3" y="28"/>
                </a:lnTo>
                <a:lnTo>
                  <a:pt x="3" y="28"/>
                </a:lnTo>
                <a:lnTo>
                  <a:pt x="3" y="28"/>
                </a:lnTo>
                <a:lnTo>
                  <a:pt x="1" y="27"/>
                </a:lnTo>
                <a:lnTo>
                  <a:pt x="0" y="25"/>
                </a:lnTo>
                <a:lnTo>
                  <a:pt x="0" y="14"/>
                </a:lnTo>
                <a:lnTo>
                  <a:pt x="0" y="14"/>
                </a:lnTo>
                <a:lnTo>
                  <a:pt x="1" y="9"/>
                </a:lnTo>
                <a:lnTo>
                  <a:pt x="3" y="4"/>
                </a:lnTo>
                <a:lnTo>
                  <a:pt x="7" y="1"/>
                </a:lnTo>
                <a:lnTo>
                  <a:pt x="10" y="0"/>
                </a:lnTo>
                <a:lnTo>
                  <a:pt x="10" y="0"/>
                </a:lnTo>
                <a:lnTo>
                  <a:pt x="40" y="14"/>
                </a:lnTo>
                <a:lnTo>
                  <a:pt x="40" y="14"/>
                </a:lnTo>
                <a:lnTo>
                  <a:pt x="40" y="14"/>
                </a:lnTo>
                <a:lnTo>
                  <a:pt x="40" y="51"/>
                </a:lnTo>
                <a:lnTo>
                  <a:pt x="40" y="51"/>
                </a:lnTo>
                <a:lnTo>
                  <a:pt x="41" y="60"/>
                </a:lnTo>
                <a:lnTo>
                  <a:pt x="42" y="70"/>
                </a:lnTo>
                <a:lnTo>
                  <a:pt x="47" y="93"/>
                </a:lnTo>
                <a:lnTo>
                  <a:pt x="50" y="113"/>
                </a:lnTo>
                <a:lnTo>
                  <a:pt x="51" y="121"/>
                </a:lnTo>
                <a:lnTo>
                  <a:pt x="50" y="128"/>
                </a:lnTo>
                <a:lnTo>
                  <a:pt x="50" y="128"/>
                </a:lnTo>
                <a:lnTo>
                  <a:pt x="48" y="127"/>
                </a:lnTo>
                <a:lnTo>
                  <a:pt x="46" y="124"/>
                </a:lnTo>
                <a:lnTo>
                  <a:pt x="40" y="113"/>
                </a:lnTo>
                <a:lnTo>
                  <a:pt x="40" y="113"/>
                </a:lnTo>
                <a:lnTo>
                  <a:pt x="38" y="107"/>
                </a:lnTo>
                <a:lnTo>
                  <a:pt x="33" y="102"/>
                </a:lnTo>
                <a:lnTo>
                  <a:pt x="24" y="92"/>
                </a:lnTo>
                <a:lnTo>
                  <a:pt x="19" y="87"/>
                </a:lnTo>
                <a:lnTo>
                  <a:pt x="15" y="82"/>
                </a:lnTo>
                <a:lnTo>
                  <a:pt x="11" y="78"/>
                </a:lnTo>
                <a:lnTo>
                  <a:pt x="10" y="73"/>
                </a:lnTo>
                <a:lnTo>
                  <a:pt x="10" y="73"/>
                </a:lnTo>
                <a:lnTo>
                  <a:pt x="10" y="7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4" name="Freeform 49"/>
          <p:cNvSpPr>
            <a:spLocks/>
          </p:cNvSpPr>
          <p:nvPr/>
        </p:nvSpPr>
        <p:spPr bwMode="auto">
          <a:xfrm>
            <a:off x="2424113" y="4167188"/>
            <a:ext cx="617537" cy="803275"/>
          </a:xfrm>
          <a:custGeom>
            <a:avLst/>
            <a:gdLst/>
            <a:ahLst/>
            <a:cxnLst>
              <a:cxn ang="0">
                <a:pos x="442" y="145"/>
              </a:cxn>
              <a:cxn ang="0">
                <a:pos x="392" y="238"/>
              </a:cxn>
              <a:cxn ang="0">
                <a:pos x="359" y="276"/>
              </a:cxn>
              <a:cxn ang="0">
                <a:pos x="296" y="299"/>
              </a:cxn>
              <a:cxn ang="0">
                <a:pos x="282" y="323"/>
              </a:cxn>
              <a:cxn ang="0">
                <a:pos x="293" y="361"/>
              </a:cxn>
              <a:cxn ang="0">
                <a:pos x="304" y="390"/>
              </a:cxn>
              <a:cxn ang="0">
                <a:pos x="289" y="416"/>
              </a:cxn>
              <a:cxn ang="0">
                <a:pos x="283" y="438"/>
              </a:cxn>
              <a:cxn ang="0">
                <a:pos x="297" y="467"/>
              </a:cxn>
              <a:cxn ang="0">
                <a:pos x="290" y="489"/>
              </a:cxn>
              <a:cxn ang="0">
                <a:pos x="251" y="514"/>
              </a:cxn>
              <a:cxn ang="0">
                <a:pos x="214" y="521"/>
              </a:cxn>
              <a:cxn ang="0">
                <a:pos x="199" y="547"/>
              </a:cxn>
              <a:cxn ang="0">
                <a:pos x="185" y="576"/>
              </a:cxn>
              <a:cxn ang="0">
                <a:pos x="156" y="570"/>
              </a:cxn>
              <a:cxn ang="0">
                <a:pos x="130" y="574"/>
              </a:cxn>
              <a:cxn ang="0">
                <a:pos x="101" y="612"/>
              </a:cxn>
              <a:cxn ang="0">
                <a:pos x="82" y="634"/>
              </a:cxn>
              <a:cxn ang="0">
                <a:pos x="50" y="633"/>
              </a:cxn>
              <a:cxn ang="0">
                <a:pos x="23" y="656"/>
              </a:cxn>
              <a:cxn ang="0">
                <a:pos x="0" y="720"/>
              </a:cxn>
              <a:cxn ang="0">
                <a:pos x="11" y="744"/>
              </a:cxn>
              <a:cxn ang="0">
                <a:pos x="92" y="795"/>
              </a:cxn>
              <a:cxn ang="0">
                <a:pos x="111" y="796"/>
              </a:cxn>
              <a:cxn ang="0">
                <a:pos x="136" y="786"/>
              </a:cxn>
              <a:cxn ang="0">
                <a:pos x="186" y="806"/>
              </a:cxn>
              <a:cxn ang="0">
                <a:pos x="232" y="847"/>
              </a:cxn>
              <a:cxn ang="0">
                <a:pos x="290" y="854"/>
              </a:cxn>
              <a:cxn ang="0">
                <a:pos x="320" y="874"/>
              </a:cxn>
              <a:cxn ang="0">
                <a:pos x="345" y="889"/>
              </a:cxn>
              <a:cxn ang="0">
                <a:pos x="377" y="872"/>
              </a:cxn>
              <a:cxn ang="0">
                <a:pos x="404" y="864"/>
              </a:cxn>
              <a:cxn ang="0">
                <a:pos x="464" y="893"/>
              </a:cxn>
              <a:cxn ang="0">
                <a:pos x="521" y="923"/>
              </a:cxn>
              <a:cxn ang="0">
                <a:pos x="543" y="910"/>
              </a:cxn>
              <a:cxn ang="0">
                <a:pos x="565" y="896"/>
              </a:cxn>
              <a:cxn ang="0">
                <a:pos x="599" y="908"/>
              </a:cxn>
              <a:cxn ang="0">
                <a:pos x="613" y="895"/>
              </a:cxn>
              <a:cxn ang="0">
                <a:pos x="609" y="847"/>
              </a:cxn>
              <a:cxn ang="0">
                <a:pos x="630" y="794"/>
              </a:cxn>
              <a:cxn ang="0">
                <a:pos x="734" y="775"/>
              </a:cxn>
              <a:cxn ang="0">
                <a:pos x="750" y="738"/>
              </a:cxn>
              <a:cxn ang="0">
                <a:pos x="749" y="627"/>
              </a:cxn>
              <a:cxn ang="0">
                <a:pos x="732" y="556"/>
              </a:cxn>
              <a:cxn ang="0">
                <a:pos x="695" y="531"/>
              </a:cxn>
              <a:cxn ang="0">
                <a:pos x="659" y="506"/>
              </a:cxn>
              <a:cxn ang="0">
                <a:pos x="659" y="478"/>
              </a:cxn>
              <a:cxn ang="0">
                <a:pos x="664" y="397"/>
              </a:cxn>
              <a:cxn ang="0">
                <a:pos x="653" y="298"/>
              </a:cxn>
              <a:cxn ang="0">
                <a:pos x="658" y="254"/>
              </a:cxn>
              <a:cxn ang="0">
                <a:pos x="663" y="215"/>
              </a:cxn>
              <a:cxn ang="0">
                <a:pos x="635" y="172"/>
              </a:cxn>
              <a:cxn ang="0">
                <a:pos x="615" y="134"/>
              </a:cxn>
              <a:cxn ang="0">
                <a:pos x="557" y="75"/>
              </a:cxn>
              <a:cxn ang="0">
                <a:pos x="528" y="23"/>
              </a:cxn>
              <a:cxn ang="0">
                <a:pos x="513" y="7"/>
              </a:cxn>
              <a:cxn ang="0">
                <a:pos x="506" y="8"/>
              </a:cxn>
            </a:cxnLst>
            <a:rect l="0" t="0" r="r" b="b"/>
            <a:pathLst>
              <a:path w="756" h="923">
                <a:moveTo>
                  <a:pt x="506" y="8"/>
                </a:moveTo>
                <a:lnTo>
                  <a:pt x="506" y="8"/>
                </a:lnTo>
                <a:lnTo>
                  <a:pt x="487" y="53"/>
                </a:lnTo>
                <a:lnTo>
                  <a:pt x="465" y="99"/>
                </a:lnTo>
                <a:lnTo>
                  <a:pt x="442" y="145"/>
                </a:lnTo>
                <a:lnTo>
                  <a:pt x="430" y="167"/>
                </a:lnTo>
                <a:lnTo>
                  <a:pt x="418" y="187"/>
                </a:lnTo>
                <a:lnTo>
                  <a:pt x="418" y="187"/>
                </a:lnTo>
                <a:lnTo>
                  <a:pt x="405" y="214"/>
                </a:lnTo>
                <a:lnTo>
                  <a:pt x="392" y="238"/>
                </a:lnTo>
                <a:lnTo>
                  <a:pt x="386" y="248"/>
                </a:lnTo>
                <a:lnTo>
                  <a:pt x="378" y="259"/>
                </a:lnTo>
                <a:lnTo>
                  <a:pt x="369" y="268"/>
                </a:lnTo>
                <a:lnTo>
                  <a:pt x="359" y="276"/>
                </a:lnTo>
                <a:lnTo>
                  <a:pt x="359" y="276"/>
                </a:lnTo>
                <a:lnTo>
                  <a:pt x="350" y="280"/>
                </a:lnTo>
                <a:lnTo>
                  <a:pt x="338" y="284"/>
                </a:lnTo>
                <a:lnTo>
                  <a:pt x="313" y="292"/>
                </a:lnTo>
                <a:lnTo>
                  <a:pt x="300" y="297"/>
                </a:lnTo>
                <a:lnTo>
                  <a:pt x="296" y="299"/>
                </a:lnTo>
                <a:lnTo>
                  <a:pt x="291" y="302"/>
                </a:lnTo>
                <a:lnTo>
                  <a:pt x="288" y="307"/>
                </a:lnTo>
                <a:lnTo>
                  <a:pt x="284" y="312"/>
                </a:lnTo>
                <a:lnTo>
                  <a:pt x="283" y="317"/>
                </a:lnTo>
                <a:lnTo>
                  <a:pt x="282" y="323"/>
                </a:lnTo>
                <a:lnTo>
                  <a:pt x="282" y="323"/>
                </a:lnTo>
                <a:lnTo>
                  <a:pt x="283" y="336"/>
                </a:lnTo>
                <a:lnTo>
                  <a:pt x="285" y="346"/>
                </a:lnTo>
                <a:lnTo>
                  <a:pt x="289" y="354"/>
                </a:lnTo>
                <a:lnTo>
                  <a:pt x="293" y="361"/>
                </a:lnTo>
                <a:lnTo>
                  <a:pt x="297" y="367"/>
                </a:lnTo>
                <a:lnTo>
                  <a:pt x="300" y="374"/>
                </a:lnTo>
                <a:lnTo>
                  <a:pt x="302" y="381"/>
                </a:lnTo>
                <a:lnTo>
                  <a:pt x="304" y="390"/>
                </a:lnTo>
                <a:lnTo>
                  <a:pt x="304" y="390"/>
                </a:lnTo>
                <a:lnTo>
                  <a:pt x="302" y="397"/>
                </a:lnTo>
                <a:lnTo>
                  <a:pt x="300" y="401"/>
                </a:lnTo>
                <a:lnTo>
                  <a:pt x="297" y="407"/>
                </a:lnTo>
                <a:lnTo>
                  <a:pt x="293" y="412"/>
                </a:lnTo>
                <a:lnTo>
                  <a:pt x="289" y="416"/>
                </a:lnTo>
                <a:lnTo>
                  <a:pt x="285" y="422"/>
                </a:lnTo>
                <a:lnTo>
                  <a:pt x="283" y="428"/>
                </a:lnTo>
                <a:lnTo>
                  <a:pt x="282" y="434"/>
                </a:lnTo>
                <a:lnTo>
                  <a:pt x="282" y="434"/>
                </a:lnTo>
                <a:lnTo>
                  <a:pt x="283" y="438"/>
                </a:lnTo>
                <a:lnTo>
                  <a:pt x="284" y="442"/>
                </a:lnTo>
                <a:lnTo>
                  <a:pt x="290" y="448"/>
                </a:lnTo>
                <a:lnTo>
                  <a:pt x="294" y="457"/>
                </a:lnTo>
                <a:lnTo>
                  <a:pt x="297" y="461"/>
                </a:lnTo>
                <a:lnTo>
                  <a:pt x="297" y="467"/>
                </a:lnTo>
                <a:lnTo>
                  <a:pt x="297" y="467"/>
                </a:lnTo>
                <a:lnTo>
                  <a:pt x="297" y="473"/>
                </a:lnTo>
                <a:lnTo>
                  <a:pt x="296" y="478"/>
                </a:lnTo>
                <a:lnTo>
                  <a:pt x="293" y="484"/>
                </a:lnTo>
                <a:lnTo>
                  <a:pt x="290" y="489"/>
                </a:lnTo>
                <a:lnTo>
                  <a:pt x="286" y="493"/>
                </a:lnTo>
                <a:lnTo>
                  <a:pt x="283" y="498"/>
                </a:lnTo>
                <a:lnTo>
                  <a:pt x="273" y="505"/>
                </a:lnTo>
                <a:lnTo>
                  <a:pt x="262" y="511"/>
                </a:lnTo>
                <a:lnTo>
                  <a:pt x="251" y="514"/>
                </a:lnTo>
                <a:lnTo>
                  <a:pt x="238" y="518"/>
                </a:lnTo>
                <a:lnTo>
                  <a:pt x="227" y="518"/>
                </a:lnTo>
                <a:lnTo>
                  <a:pt x="227" y="518"/>
                </a:lnTo>
                <a:lnTo>
                  <a:pt x="220" y="519"/>
                </a:lnTo>
                <a:lnTo>
                  <a:pt x="214" y="521"/>
                </a:lnTo>
                <a:lnTo>
                  <a:pt x="209" y="523"/>
                </a:lnTo>
                <a:lnTo>
                  <a:pt x="206" y="527"/>
                </a:lnTo>
                <a:lnTo>
                  <a:pt x="204" y="531"/>
                </a:lnTo>
                <a:lnTo>
                  <a:pt x="201" y="537"/>
                </a:lnTo>
                <a:lnTo>
                  <a:pt x="199" y="547"/>
                </a:lnTo>
                <a:lnTo>
                  <a:pt x="198" y="558"/>
                </a:lnTo>
                <a:lnTo>
                  <a:pt x="194" y="568"/>
                </a:lnTo>
                <a:lnTo>
                  <a:pt x="192" y="572"/>
                </a:lnTo>
                <a:lnTo>
                  <a:pt x="189" y="574"/>
                </a:lnTo>
                <a:lnTo>
                  <a:pt x="185" y="576"/>
                </a:lnTo>
                <a:lnTo>
                  <a:pt x="179" y="576"/>
                </a:lnTo>
                <a:lnTo>
                  <a:pt x="179" y="576"/>
                </a:lnTo>
                <a:lnTo>
                  <a:pt x="172" y="576"/>
                </a:lnTo>
                <a:lnTo>
                  <a:pt x="166" y="573"/>
                </a:lnTo>
                <a:lnTo>
                  <a:pt x="156" y="570"/>
                </a:lnTo>
                <a:lnTo>
                  <a:pt x="146" y="569"/>
                </a:lnTo>
                <a:lnTo>
                  <a:pt x="146" y="569"/>
                </a:lnTo>
                <a:lnTo>
                  <a:pt x="140" y="570"/>
                </a:lnTo>
                <a:lnTo>
                  <a:pt x="134" y="572"/>
                </a:lnTo>
                <a:lnTo>
                  <a:pt x="130" y="574"/>
                </a:lnTo>
                <a:lnTo>
                  <a:pt x="125" y="576"/>
                </a:lnTo>
                <a:lnTo>
                  <a:pt x="118" y="583"/>
                </a:lnTo>
                <a:lnTo>
                  <a:pt x="111" y="592"/>
                </a:lnTo>
                <a:lnTo>
                  <a:pt x="106" y="602"/>
                </a:lnTo>
                <a:lnTo>
                  <a:pt x="101" y="612"/>
                </a:lnTo>
                <a:lnTo>
                  <a:pt x="96" y="621"/>
                </a:lnTo>
                <a:lnTo>
                  <a:pt x="91" y="629"/>
                </a:lnTo>
                <a:lnTo>
                  <a:pt x="91" y="629"/>
                </a:lnTo>
                <a:lnTo>
                  <a:pt x="87" y="631"/>
                </a:lnTo>
                <a:lnTo>
                  <a:pt x="82" y="634"/>
                </a:lnTo>
                <a:lnTo>
                  <a:pt x="77" y="634"/>
                </a:lnTo>
                <a:lnTo>
                  <a:pt x="72" y="634"/>
                </a:lnTo>
                <a:lnTo>
                  <a:pt x="62" y="631"/>
                </a:lnTo>
                <a:lnTo>
                  <a:pt x="56" y="631"/>
                </a:lnTo>
                <a:lnTo>
                  <a:pt x="50" y="633"/>
                </a:lnTo>
                <a:lnTo>
                  <a:pt x="50" y="633"/>
                </a:lnTo>
                <a:lnTo>
                  <a:pt x="46" y="634"/>
                </a:lnTo>
                <a:lnTo>
                  <a:pt x="41" y="637"/>
                </a:lnTo>
                <a:lnTo>
                  <a:pt x="32" y="645"/>
                </a:lnTo>
                <a:lnTo>
                  <a:pt x="23" y="656"/>
                </a:lnTo>
                <a:lnTo>
                  <a:pt x="15" y="668"/>
                </a:lnTo>
                <a:lnTo>
                  <a:pt x="9" y="681"/>
                </a:lnTo>
                <a:lnTo>
                  <a:pt x="3" y="695"/>
                </a:lnTo>
                <a:lnTo>
                  <a:pt x="1" y="709"/>
                </a:lnTo>
                <a:lnTo>
                  <a:pt x="0" y="720"/>
                </a:lnTo>
                <a:lnTo>
                  <a:pt x="0" y="720"/>
                </a:lnTo>
                <a:lnTo>
                  <a:pt x="0" y="726"/>
                </a:lnTo>
                <a:lnTo>
                  <a:pt x="2" y="732"/>
                </a:lnTo>
                <a:lnTo>
                  <a:pt x="7" y="738"/>
                </a:lnTo>
                <a:lnTo>
                  <a:pt x="11" y="744"/>
                </a:lnTo>
                <a:lnTo>
                  <a:pt x="24" y="758"/>
                </a:lnTo>
                <a:lnTo>
                  <a:pt x="40" y="770"/>
                </a:lnTo>
                <a:lnTo>
                  <a:pt x="57" y="781"/>
                </a:lnTo>
                <a:lnTo>
                  <a:pt x="76" y="789"/>
                </a:lnTo>
                <a:lnTo>
                  <a:pt x="92" y="795"/>
                </a:lnTo>
                <a:lnTo>
                  <a:pt x="99" y="797"/>
                </a:lnTo>
                <a:lnTo>
                  <a:pt x="106" y="797"/>
                </a:lnTo>
                <a:lnTo>
                  <a:pt x="106" y="797"/>
                </a:lnTo>
                <a:lnTo>
                  <a:pt x="108" y="797"/>
                </a:lnTo>
                <a:lnTo>
                  <a:pt x="111" y="796"/>
                </a:lnTo>
                <a:lnTo>
                  <a:pt x="117" y="791"/>
                </a:lnTo>
                <a:lnTo>
                  <a:pt x="125" y="788"/>
                </a:lnTo>
                <a:lnTo>
                  <a:pt x="130" y="787"/>
                </a:lnTo>
                <a:lnTo>
                  <a:pt x="136" y="786"/>
                </a:lnTo>
                <a:lnTo>
                  <a:pt x="136" y="786"/>
                </a:lnTo>
                <a:lnTo>
                  <a:pt x="143" y="787"/>
                </a:lnTo>
                <a:lnTo>
                  <a:pt x="148" y="788"/>
                </a:lnTo>
                <a:lnTo>
                  <a:pt x="162" y="793"/>
                </a:lnTo>
                <a:lnTo>
                  <a:pt x="174" y="798"/>
                </a:lnTo>
                <a:lnTo>
                  <a:pt x="186" y="806"/>
                </a:lnTo>
                <a:lnTo>
                  <a:pt x="197" y="816"/>
                </a:lnTo>
                <a:lnTo>
                  <a:pt x="207" y="825"/>
                </a:lnTo>
                <a:lnTo>
                  <a:pt x="223" y="841"/>
                </a:lnTo>
                <a:lnTo>
                  <a:pt x="223" y="841"/>
                </a:lnTo>
                <a:lnTo>
                  <a:pt x="232" y="847"/>
                </a:lnTo>
                <a:lnTo>
                  <a:pt x="240" y="850"/>
                </a:lnTo>
                <a:lnTo>
                  <a:pt x="250" y="851"/>
                </a:lnTo>
                <a:lnTo>
                  <a:pt x="259" y="851"/>
                </a:lnTo>
                <a:lnTo>
                  <a:pt x="279" y="851"/>
                </a:lnTo>
                <a:lnTo>
                  <a:pt x="290" y="854"/>
                </a:lnTo>
                <a:lnTo>
                  <a:pt x="300" y="856"/>
                </a:lnTo>
                <a:lnTo>
                  <a:pt x="300" y="856"/>
                </a:lnTo>
                <a:lnTo>
                  <a:pt x="306" y="858"/>
                </a:lnTo>
                <a:lnTo>
                  <a:pt x="311" y="863"/>
                </a:lnTo>
                <a:lnTo>
                  <a:pt x="320" y="874"/>
                </a:lnTo>
                <a:lnTo>
                  <a:pt x="324" y="880"/>
                </a:lnTo>
                <a:lnTo>
                  <a:pt x="330" y="885"/>
                </a:lnTo>
                <a:lnTo>
                  <a:pt x="337" y="888"/>
                </a:lnTo>
                <a:lnTo>
                  <a:pt x="345" y="889"/>
                </a:lnTo>
                <a:lnTo>
                  <a:pt x="345" y="889"/>
                </a:lnTo>
                <a:lnTo>
                  <a:pt x="354" y="888"/>
                </a:lnTo>
                <a:lnTo>
                  <a:pt x="362" y="885"/>
                </a:lnTo>
                <a:lnTo>
                  <a:pt x="368" y="881"/>
                </a:lnTo>
                <a:lnTo>
                  <a:pt x="373" y="877"/>
                </a:lnTo>
                <a:lnTo>
                  <a:pt x="377" y="872"/>
                </a:lnTo>
                <a:lnTo>
                  <a:pt x="383" y="867"/>
                </a:lnTo>
                <a:lnTo>
                  <a:pt x="389" y="865"/>
                </a:lnTo>
                <a:lnTo>
                  <a:pt x="396" y="864"/>
                </a:lnTo>
                <a:lnTo>
                  <a:pt x="396" y="864"/>
                </a:lnTo>
                <a:lnTo>
                  <a:pt x="404" y="864"/>
                </a:lnTo>
                <a:lnTo>
                  <a:pt x="412" y="866"/>
                </a:lnTo>
                <a:lnTo>
                  <a:pt x="420" y="870"/>
                </a:lnTo>
                <a:lnTo>
                  <a:pt x="429" y="873"/>
                </a:lnTo>
                <a:lnTo>
                  <a:pt x="446" y="882"/>
                </a:lnTo>
                <a:lnTo>
                  <a:pt x="464" y="893"/>
                </a:lnTo>
                <a:lnTo>
                  <a:pt x="481" y="904"/>
                </a:lnTo>
                <a:lnTo>
                  <a:pt x="496" y="913"/>
                </a:lnTo>
                <a:lnTo>
                  <a:pt x="510" y="920"/>
                </a:lnTo>
                <a:lnTo>
                  <a:pt x="515" y="921"/>
                </a:lnTo>
                <a:lnTo>
                  <a:pt x="521" y="923"/>
                </a:lnTo>
                <a:lnTo>
                  <a:pt x="521" y="923"/>
                </a:lnTo>
                <a:lnTo>
                  <a:pt x="527" y="921"/>
                </a:lnTo>
                <a:lnTo>
                  <a:pt x="533" y="918"/>
                </a:lnTo>
                <a:lnTo>
                  <a:pt x="538" y="915"/>
                </a:lnTo>
                <a:lnTo>
                  <a:pt x="543" y="910"/>
                </a:lnTo>
                <a:lnTo>
                  <a:pt x="548" y="905"/>
                </a:lnTo>
                <a:lnTo>
                  <a:pt x="553" y="901"/>
                </a:lnTo>
                <a:lnTo>
                  <a:pt x="559" y="897"/>
                </a:lnTo>
                <a:lnTo>
                  <a:pt x="565" y="896"/>
                </a:lnTo>
                <a:lnTo>
                  <a:pt x="565" y="896"/>
                </a:lnTo>
                <a:lnTo>
                  <a:pt x="571" y="897"/>
                </a:lnTo>
                <a:lnTo>
                  <a:pt x="575" y="898"/>
                </a:lnTo>
                <a:lnTo>
                  <a:pt x="584" y="902"/>
                </a:lnTo>
                <a:lnTo>
                  <a:pt x="595" y="906"/>
                </a:lnTo>
                <a:lnTo>
                  <a:pt x="599" y="908"/>
                </a:lnTo>
                <a:lnTo>
                  <a:pt x="605" y="908"/>
                </a:lnTo>
                <a:lnTo>
                  <a:pt x="605" y="908"/>
                </a:lnTo>
                <a:lnTo>
                  <a:pt x="609" y="904"/>
                </a:lnTo>
                <a:lnTo>
                  <a:pt x="611" y="900"/>
                </a:lnTo>
                <a:lnTo>
                  <a:pt x="613" y="895"/>
                </a:lnTo>
                <a:lnTo>
                  <a:pt x="614" y="889"/>
                </a:lnTo>
                <a:lnTo>
                  <a:pt x="614" y="878"/>
                </a:lnTo>
                <a:lnTo>
                  <a:pt x="613" y="866"/>
                </a:lnTo>
                <a:lnTo>
                  <a:pt x="611" y="855"/>
                </a:lnTo>
                <a:lnTo>
                  <a:pt x="609" y="847"/>
                </a:lnTo>
                <a:lnTo>
                  <a:pt x="605" y="837"/>
                </a:lnTo>
                <a:lnTo>
                  <a:pt x="605" y="837"/>
                </a:lnTo>
                <a:lnTo>
                  <a:pt x="617" y="818"/>
                </a:lnTo>
                <a:lnTo>
                  <a:pt x="626" y="802"/>
                </a:lnTo>
                <a:lnTo>
                  <a:pt x="630" y="794"/>
                </a:lnTo>
                <a:lnTo>
                  <a:pt x="636" y="788"/>
                </a:lnTo>
                <a:lnTo>
                  <a:pt x="642" y="781"/>
                </a:lnTo>
                <a:lnTo>
                  <a:pt x="649" y="775"/>
                </a:lnTo>
                <a:lnTo>
                  <a:pt x="649" y="775"/>
                </a:lnTo>
                <a:lnTo>
                  <a:pt x="734" y="775"/>
                </a:lnTo>
                <a:lnTo>
                  <a:pt x="734" y="775"/>
                </a:lnTo>
                <a:lnTo>
                  <a:pt x="734" y="775"/>
                </a:lnTo>
                <a:lnTo>
                  <a:pt x="741" y="763"/>
                </a:lnTo>
                <a:lnTo>
                  <a:pt x="747" y="751"/>
                </a:lnTo>
                <a:lnTo>
                  <a:pt x="750" y="738"/>
                </a:lnTo>
                <a:lnTo>
                  <a:pt x="751" y="726"/>
                </a:lnTo>
                <a:lnTo>
                  <a:pt x="754" y="699"/>
                </a:lnTo>
                <a:lnTo>
                  <a:pt x="756" y="669"/>
                </a:lnTo>
                <a:lnTo>
                  <a:pt x="756" y="669"/>
                </a:lnTo>
                <a:lnTo>
                  <a:pt x="749" y="627"/>
                </a:lnTo>
                <a:lnTo>
                  <a:pt x="742" y="591"/>
                </a:lnTo>
                <a:lnTo>
                  <a:pt x="737" y="575"/>
                </a:lnTo>
                <a:lnTo>
                  <a:pt x="734" y="562"/>
                </a:lnTo>
                <a:lnTo>
                  <a:pt x="734" y="562"/>
                </a:lnTo>
                <a:lnTo>
                  <a:pt x="732" y="556"/>
                </a:lnTo>
                <a:lnTo>
                  <a:pt x="727" y="551"/>
                </a:lnTo>
                <a:lnTo>
                  <a:pt x="724" y="546"/>
                </a:lnTo>
                <a:lnTo>
                  <a:pt x="719" y="542"/>
                </a:lnTo>
                <a:lnTo>
                  <a:pt x="708" y="536"/>
                </a:lnTo>
                <a:lnTo>
                  <a:pt x="695" y="531"/>
                </a:lnTo>
                <a:lnTo>
                  <a:pt x="683" y="527"/>
                </a:lnTo>
                <a:lnTo>
                  <a:pt x="672" y="520"/>
                </a:lnTo>
                <a:lnTo>
                  <a:pt x="667" y="516"/>
                </a:lnTo>
                <a:lnTo>
                  <a:pt x="663" y="512"/>
                </a:lnTo>
                <a:lnTo>
                  <a:pt x="659" y="506"/>
                </a:lnTo>
                <a:lnTo>
                  <a:pt x="657" y="500"/>
                </a:lnTo>
                <a:lnTo>
                  <a:pt x="657" y="500"/>
                </a:lnTo>
                <a:lnTo>
                  <a:pt x="656" y="495"/>
                </a:lnTo>
                <a:lnTo>
                  <a:pt x="657" y="489"/>
                </a:lnTo>
                <a:lnTo>
                  <a:pt x="659" y="478"/>
                </a:lnTo>
                <a:lnTo>
                  <a:pt x="663" y="470"/>
                </a:lnTo>
                <a:lnTo>
                  <a:pt x="664" y="463"/>
                </a:lnTo>
                <a:lnTo>
                  <a:pt x="664" y="463"/>
                </a:lnTo>
                <a:lnTo>
                  <a:pt x="664" y="397"/>
                </a:lnTo>
                <a:lnTo>
                  <a:pt x="664" y="397"/>
                </a:lnTo>
                <a:lnTo>
                  <a:pt x="664" y="382"/>
                </a:lnTo>
                <a:lnTo>
                  <a:pt x="663" y="368"/>
                </a:lnTo>
                <a:lnTo>
                  <a:pt x="658" y="340"/>
                </a:lnTo>
                <a:lnTo>
                  <a:pt x="655" y="312"/>
                </a:lnTo>
                <a:lnTo>
                  <a:pt x="653" y="298"/>
                </a:lnTo>
                <a:lnTo>
                  <a:pt x="653" y="283"/>
                </a:lnTo>
                <a:lnTo>
                  <a:pt x="653" y="283"/>
                </a:lnTo>
                <a:lnTo>
                  <a:pt x="653" y="275"/>
                </a:lnTo>
                <a:lnTo>
                  <a:pt x="655" y="268"/>
                </a:lnTo>
                <a:lnTo>
                  <a:pt x="658" y="254"/>
                </a:lnTo>
                <a:lnTo>
                  <a:pt x="663" y="240"/>
                </a:lnTo>
                <a:lnTo>
                  <a:pt x="664" y="232"/>
                </a:lnTo>
                <a:lnTo>
                  <a:pt x="664" y="224"/>
                </a:lnTo>
                <a:lnTo>
                  <a:pt x="664" y="224"/>
                </a:lnTo>
                <a:lnTo>
                  <a:pt x="663" y="215"/>
                </a:lnTo>
                <a:lnTo>
                  <a:pt x="660" y="207"/>
                </a:lnTo>
                <a:lnTo>
                  <a:pt x="656" y="200"/>
                </a:lnTo>
                <a:lnTo>
                  <a:pt x="651" y="192"/>
                </a:lnTo>
                <a:lnTo>
                  <a:pt x="641" y="179"/>
                </a:lnTo>
                <a:lnTo>
                  <a:pt x="635" y="172"/>
                </a:lnTo>
                <a:lnTo>
                  <a:pt x="630" y="165"/>
                </a:lnTo>
                <a:lnTo>
                  <a:pt x="630" y="165"/>
                </a:lnTo>
                <a:lnTo>
                  <a:pt x="626" y="154"/>
                </a:lnTo>
                <a:lnTo>
                  <a:pt x="621" y="144"/>
                </a:lnTo>
                <a:lnTo>
                  <a:pt x="615" y="134"/>
                </a:lnTo>
                <a:lnTo>
                  <a:pt x="609" y="126"/>
                </a:lnTo>
                <a:lnTo>
                  <a:pt x="595" y="110"/>
                </a:lnTo>
                <a:lnTo>
                  <a:pt x="580" y="96"/>
                </a:lnTo>
                <a:lnTo>
                  <a:pt x="565" y="83"/>
                </a:lnTo>
                <a:lnTo>
                  <a:pt x="557" y="75"/>
                </a:lnTo>
                <a:lnTo>
                  <a:pt x="550" y="66"/>
                </a:lnTo>
                <a:lnTo>
                  <a:pt x="544" y="57"/>
                </a:lnTo>
                <a:lnTo>
                  <a:pt x="538" y="47"/>
                </a:lnTo>
                <a:lnTo>
                  <a:pt x="533" y="35"/>
                </a:lnTo>
                <a:lnTo>
                  <a:pt x="528" y="23"/>
                </a:lnTo>
                <a:lnTo>
                  <a:pt x="528" y="23"/>
                </a:lnTo>
                <a:lnTo>
                  <a:pt x="527" y="20"/>
                </a:lnTo>
                <a:lnTo>
                  <a:pt x="525" y="18"/>
                </a:lnTo>
                <a:lnTo>
                  <a:pt x="519" y="12"/>
                </a:lnTo>
                <a:lnTo>
                  <a:pt x="513" y="7"/>
                </a:lnTo>
                <a:lnTo>
                  <a:pt x="511" y="3"/>
                </a:lnTo>
                <a:lnTo>
                  <a:pt x="510" y="0"/>
                </a:lnTo>
                <a:lnTo>
                  <a:pt x="510" y="0"/>
                </a:lnTo>
                <a:lnTo>
                  <a:pt x="506" y="8"/>
                </a:lnTo>
                <a:lnTo>
                  <a:pt x="506" y="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5" name="Freeform 50"/>
          <p:cNvSpPr>
            <a:spLocks/>
          </p:cNvSpPr>
          <p:nvPr/>
        </p:nvSpPr>
        <p:spPr bwMode="auto">
          <a:xfrm>
            <a:off x="1897063" y="2376488"/>
            <a:ext cx="501650" cy="698500"/>
          </a:xfrm>
          <a:custGeom>
            <a:avLst/>
            <a:gdLst/>
            <a:ahLst/>
            <a:cxnLst>
              <a:cxn ang="0">
                <a:pos x="95" y="429"/>
              </a:cxn>
              <a:cxn ang="0">
                <a:pos x="101" y="443"/>
              </a:cxn>
              <a:cxn ang="0">
                <a:pos x="137" y="454"/>
              </a:cxn>
              <a:cxn ang="0">
                <a:pos x="161" y="426"/>
              </a:cxn>
              <a:cxn ang="0">
                <a:pos x="174" y="365"/>
              </a:cxn>
              <a:cxn ang="0">
                <a:pos x="181" y="370"/>
              </a:cxn>
              <a:cxn ang="0">
                <a:pos x="202" y="470"/>
              </a:cxn>
              <a:cxn ang="0">
                <a:pos x="227" y="540"/>
              </a:cxn>
              <a:cxn ang="0">
                <a:pos x="249" y="617"/>
              </a:cxn>
              <a:cxn ang="0">
                <a:pos x="293" y="705"/>
              </a:cxn>
              <a:cxn ang="0">
                <a:pos x="354" y="769"/>
              </a:cxn>
              <a:cxn ang="0">
                <a:pos x="432" y="800"/>
              </a:cxn>
              <a:cxn ang="0">
                <a:pos x="477" y="800"/>
              </a:cxn>
              <a:cxn ang="0">
                <a:pos x="548" y="774"/>
              </a:cxn>
              <a:cxn ang="0">
                <a:pos x="593" y="722"/>
              </a:cxn>
              <a:cxn ang="0">
                <a:pos x="612" y="649"/>
              </a:cxn>
              <a:cxn ang="0">
                <a:pos x="608" y="583"/>
              </a:cxn>
              <a:cxn ang="0">
                <a:pos x="588" y="513"/>
              </a:cxn>
              <a:cxn ang="0">
                <a:pos x="566" y="437"/>
              </a:cxn>
              <a:cxn ang="0">
                <a:pos x="560" y="347"/>
              </a:cxn>
              <a:cxn ang="0">
                <a:pos x="537" y="288"/>
              </a:cxn>
              <a:cxn ang="0">
                <a:pos x="519" y="239"/>
              </a:cxn>
              <a:cxn ang="0">
                <a:pos x="443" y="199"/>
              </a:cxn>
              <a:cxn ang="0">
                <a:pos x="415" y="191"/>
              </a:cxn>
              <a:cxn ang="0">
                <a:pos x="431" y="184"/>
              </a:cxn>
              <a:cxn ang="0">
                <a:pos x="470" y="169"/>
              </a:cxn>
              <a:cxn ang="0">
                <a:pos x="469" y="158"/>
              </a:cxn>
              <a:cxn ang="0">
                <a:pos x="455" y="147"/>
              </a:cxn>
              <a:cxn ang="0">
                <a:pos x="456" y="84"/>
              </a:cxn>
              <a:cxn ang="0">
                <a:pos x="462" y="84"/>
              </a:cxn>
              <a:cxn ang="0">
                <a:pos x="492" y="130"/>
              </a:cxn>
              <a:cxn ang="0">
                <a:pos x="506" y="139"/>
              </a:cxn>
              <a:cxn ang="0">
                <a:pos x="506" y="128"/>
              </a:cxn>
              <a:cxn ang="0">
                <a:pos x="489" y="75"/>
              </a:cxn>
              <a:cxn ang="0">
                <a:pos x="474" y="54"/>
              </a:cxn>
              <a:cxn ang="0">
                <a:pos x="444" y="47"/>
              </a:cxn>
              <a:cxn ang="0">
                <a:pos x="424" y="50"/>
              </a:cxn>
              <a:cxn ang="0">
                <a:pos x="386" y="36"/>
              </a:cxn>
              <a:cxn ang="0">
                <a:pos x="330" y="3"/>
              </a:cxn>
              <a:cxn ang="0">
                <a:pos x="268" y="0"/>
              </a:cxn>
              <a:cxn ang="0">
                <a:pos x="209" y="17"/>
              </a:cxn>
              <a:cxn ang="0">
                <a:pos x="176" y="56"/>
              </a:cxn>
              <a:cxn ang="0">
                <a:pos x="164" y="120"/>
              </a:cxn>
              <a:cxn ang="0">
                <a:pos x="163" y="170"/>
              </a:cxn>
              <a:cxn ang="0">
                <a:pos x="140" y="202"/>
              </a:cxn>
              <a:cxn ang="0">
                <a:pos x="99" y="213"/>
              </a:cxn>
              <a:cxn ang="0">
                <a:pos x="42" y="223"/>
              </a:cxn>
              <a:cxn ang="0">
                <a:pos x="21" y="239"/>
              </a:cxn>
              <a:cxn ang="0">
                <a:pos x="0" y="286"/>
              </a:cxn>
              <a:cxn ang="0">
                <a:pos x="65" y="338"/>
              </a:cxn>
              <a:cxn ang="0">
                <a:pos x="90" y="374"/>
              </a:cxn>
              <a:cxn ang="0">
                <a:pos x="95" y="392"/>
              </a:cxn>
            </a:cxnLst>
            <a:rect l="0" t="0" r="r" b="b"/>
            <a:pathLst>
              <a:path w="613" h="801">
                <a:moveTo>
                  <a:pt x="95" y="392"/>
                </a:moveTo>
                <a:lnTo>
                  <a:pt x="95" y="392"/>
                </a:lnTo>
                <a:lnTo>
                  <a:pt x="95" y="429"/>
                </a:lnTo>
                <a:lnTo>
                  <a:pt x="95" y="429"/>
                </a:lnTo>
                <a:lnTo>
                  <a:pt x="95" y="434"/>
                </a:lnTo>
                <a:lnTo>
                  <a:pt x="96" y="437"/>
                </a:lnTo>
                <a:lnTo>
                  <a:pt x="99" y="441"/>
                </a:lnTo>
                <a:lnTo>
                  <a:pt x="101" y="443"/>
                </a:lnTo>
                <a:lnTo>
                  <a:pt x="107" y="447"/>
                </a:lnTo>
                <a:lnTo>
                  <a:pt x="116" y="451"/>
                </a:lnTo>
                <a:lnTo>
                  <a:pt x="125" y="453"/>
                </a:lnTo>
                <a:lnTo>
                  <a:pt x="137" y="454"/>
                </a:lnTo>
                <a:lnTo>
                  <a:pt x="161" y="456"/>
                </a:lnTo>
                <a:lnTo>
                  <a:pt x="161" y="456"/>
                </a:lnTo>
                <a:lnTo>
                  <a:pt x="161" y="426"/>
                </a:lnTo>
                <a:lnTo>
                  <a:pt x="161" y="426"/>
                </a:lnTo>
                <a:lnTo>
                  <a:pt x="165" y="399"/>
                </a:lnTo>
                <a:lnTo>
                  <a:pt x="169" y="380"/>
                </a:lnTo>
                <a:lnTo>
                  <a:pt x="172" y="368"/>
                </a:lnTo>
                <a:lnTo>
                  <a:pt x="174" y="365"/>
                </a:lnTo>
                <a:lnTo>
                  <a:pt x="176" y="363"/>
                </a:lnTo>
                <a:lnTo>
                  <a:pt x="177" y="363"/>
                </a:lnTo>
                <a:lnTo>
                  <a:pt x="179" y="365"/>
                </a:lnTo>
                <a:lnTo>
                  <a:pt x="181" y="370"/>
                </a:lnTo>
                <a:lnTo>
                  <a:pt x="185" y="381"/>
                </a:lnTo>
                <a:lnTo>
                  <a:pt x="187" y="395"/>
                </a:lnTo>
                <a:lnTo>
                  <a:pt x="194" y="430"/>
                </a:lnTo>
                <a:lnTo>
                  <a:pt x="202" y="470"/>
                </a:lnTo>
                <a:lnTo>
                  <a:pt x="207" y="490"/>
                </a:lnTo>
                <a:lnTo>
                  <a:pt x="212" y="508"/>
                </a:lnTo>
                <a:lnTo>
                  <a:pt x="219" y="526"/>
                </a:lnTo>
                <a:lnTo>
                  <a:pt x="227" y="540"/>
                </a:lnTo>
                <a:lnTo>
                  <a:pt x="227" y="540"/>
                </a:lnTo>
                <a:lnTo>
                  <a:pt x="233" y="566"/>
                </a:lnTo>
                <a:lnTo>
                  <a:pt x="240" y="592"/>
                </a:lnTo>
                <a:lnTo>
                  <a:pt x="249" y="617"/>
                </a:lnTo>
                <a:lnTo>
                  <a:pt x="258" y="641"/>
                </a:lnTo>
                <a:lnTo>
                  <a:pt x="269" y="664"/>
                </a:lnTo>
                <a:lnTo>
                  <a:pt x="280" y="686"/>
                </a:lnTo>
                <a:lnTo>
                  <a:pt x="293" y="705"/>
                </a:lnTo>
                <a:lnTo>
                  <a:pt x="307" y="724"/>
                </a:lnTo>
                <a:lnTo>
                  <a:pt x="322" y="741"/>
                </a:lnTo>
                <a:lnTo>
                  <a:pt x="338" y="756"/>
                </a:lnTo>
                <a:lnTo>
                  <a:pt x="354" y="769"/>
                </a:lnTo>
                <a:lnTo>
                  <a:pt x="372" y="780"/>
                </a:lnTo>
                <a:lnTo>
                  <a:pt x="391" y="789"/>
                </a:lnTo>
                <a:lnTo>
                  <a:pt x="412" y="795"/>
                </a:lnTo>
                <a:lnTo>
                  <a:pt x="432" y="800"/>
                </a:lnTo>
                <a:lnTo>
                  <a:pt x="444" y="801"/>
                </a:lnTo>
                <a:lnTo>
                  <a:pt x="455" y="801"/>
                </a:lnTo>
                <a:lnTo>
                  <a:pt x="455" y="801"/>
                </a:lnTo>
                <a:lnTo>
                  <a:pt x="477" y="800"/>
                </a:lnTo>
                <a:lnTo>
                  <a:pt x="497" y="796"/>
                </a:lnTo>
                <a:lnTo>
                  <a:pt x="515" y="792"/>
                </a:lnTo>
                <a:lnTo>
                  <a:pt x="532" y="783"/>
                </a:lnTo>
                <a:lnTo>
                  <a:pt x="548" y="774"/>
                </a:lnTo>
                <a:lnTo>
                  <a:pt x="562" y="764"/>
                </a:lnTo>
                <a:lnTo>
                  <a:pt x="574" y="751"/>
                </a:lnTo>
                <a:lnTo>
                  <a:pt x="584" y="737"/>
                </a:lnTo>
                <a:lnTo>
                  <a:pt x="593" y="722"/>
                </a:lnTo>
                <a:lnTo>
                  <a:pt x="600" y="705"/>
                </a:lnTo>
                <a:lnTo>
                  <a:pt x="606" y="688"/>
                </a:lnTo>
                <a:lnTo>
                  <a:pt x="609" y="668"/>
                </a:lnTo>
                <a:lnTo>
                  <a:pt x="612" y="649"/>
                </a:lnTo>
                <a:lnTo>
                  <a:pt x="613" y="628"/>
                </a:lnTo>
                <a:lnTo>
                  <a:pt x="612" y="606"/>
                </a:lnTo>
                <a:lnTo>
                  <a:pt x="608" y="583"/>
                </a:lnTo>
                <a:lnTo>
                  <a:pt x="608" y="583"/>
                </a:lnTo>
                <a:lnTo>
                  <a:pt x="607" y="572"/>
                </a:lnTo>
                <a:lnTo>
                  <a:pt x="604" y="560"/>
                </a:lnTo>
                <a:lnTo>
                  <a:pt x="597" y="537"/>
                </a:lnTo>
                <a:lnTo>
                  <a:pt x="588" y="513"/>
                </a:lnTo>
                <a:lnTo>
                  <a:pt x="578" y="485"/>
                </a:lnTo>
                <a:lnTo>
                  <a:pt x="574" y="472"/>
                </a:lnTo>
                <a:lnTo>
                  <a:pt x="569" y="454"/>
                </a:lnTo>
                <a:lnTo>
                  <a:pt x="566" y="437"/>
                </a:lnTo>
                <a:lnTo>
                  <a:pt x="563" y="418"/>
                </a:lnTo>
                <a:lnTo>
                  <a:pt x="561" y="397"/>
                </a:lnTo>
                <a:lnTo>
                  <a:pt x="560" y="373"/>
                </a:lnTo>
                <a:lnTo>
                  <a:pt x="560" y="347"/>
                </a:lnTo>
                <a:lnTo>
                  <a:pt x="561" y="319"/>
                </a:lnTo>
                <a:lnTo>
                  <a:pt x="561" y="319"/>
                </a:lnTo>
                <a:lnTo>
                  <a:pt x="546" y="301"/>
                </a:lnTo>
                <a:lnTo>
                  <a:pt x="537" y="288"/>
                </a:lnTo>
                <a:lnTo>
                  <a:pt x="531" y="275"/>
                </a:lnTo>
                <a:lnTo>
                  <a:pt x="528" y="263"/>
                </a:lnTo>
                <a:lnTo>
                  <a:pt x="524" y="252"/>
                </a:lnTo>
                <a:lnTo>
                  <a:pt x="519" y="239"/>
                </a:lnTo>
                <a:lnTo>
                  <a:pt x="512" y="224"/>
                </a:lnTo>
                <a:lnTo>
                  <a:pt x="499" y="206"/>
                </a:lnTo>
                <a:lnTo>
                  <a:pt x="499" y="206"/>
                </a:lnTo>
                <a:lnTo>
                  <a:pt x="443" y="199"/>
                </a:lnTo>
                <a:lnTo>
                  <a:pt x="426" y="195"/>
                </a:lnTo>
                <a:lnTo>
                  <a:pt x="418" y="193"/>
                </a:lnTo>
                <a:lnTo>
                  <a:pt x="416" y="192"/>
                </a:lnTo>
                <a:lnTo>
                  <a:pt x="415" y="191"/>
                </a:lnTo>
                <a:lnTo>
                  <a:pt x="416" y="190"/>
                </a:lnTo>
                <a:lnTo>
                  <a:pt x="417" y="189"/>
                </a:lnTo>
                <a:lnTo>
                  <a:pt x="423" y="186"/>
                </a:lnTo>
                <a:lnTo>
                  <a:pt x="431" y="184"/>
                </a:lnTo>
                <a:lnTo>
                  <a:pt x="451" y="179"/>
                </a:lnTo>
                <a:lnTo>
                  <a:pt x="460" y="176"/>
                </a:lnTo>
                <a:lnTo>
                  <a:pt x="467" y="171"/>
                </a:lnTo>
                <a:lnTo>
                  <a:pt x="470" y="169"/>
                </a:lnTo>
                <a:lnTo>
                  <a:pt x="471" y="167"/>
                </a:lnTo>
                <a:lnTo>
                  <a:pt x="473" y="164"/>
                </a:lnTo>
                <a:lnTo>
                  <a:pt x="471" y="161"/>
                </a:lnTo>
                <a:lnTo>
                  <a:pt x="469" y="158"/>
                </a:lnTo>
                <a:lnTo>
                  <a:pt x="467" y="154"/>
                </a:lnTo>
                <a:lnTo>
                  <a:pt x="461" y="151"/>
                </a:lnTo>
                <a:lnTo>
                  <a:pt x="455" y="147"/>
                </a:lnTo>
                <a:lnTo>
                  <a:pt x="455" y="147"/>
                </a:lnTo>
                <a:lnTo>
                  <a:pt x="453" y="122"/>
                </a:lnTo>
                <a:lnTo>
                  <a:pt x="453" y="103"/>
                </a:lnTo>
                <a:lnTo>
                  <a:pt x="454" y="91"/>
                </a:lnTo>
                <a:lnTo>
                  <a:pt x="456" y="84"/>
                </a:lnTo>
                <a:lnTo>
                  <a:pt x="458" y="83"/>
                </a:lnTo>
                <a:lnTo>
                  <a:pt x="459" y="83"/>
                </a:lnTo>
                <a:lnTo>
                  <a:pt x="461" y="83"/>
                </a:lnTo>
                <a:lnTo>
                  <a:pt x="462" y="84"/>
                </a:lnTo>
                <a:lnTo>
                  <a:pt x="467" y="88"/>
                </a:lnTo>
                <a:lnTo>
                  <a:pt x="471" y="95"/>
                </a:lnTo>
                <a:lnTo>
                  <a:pt x="482" y="113"/>
                </a:lnTo>
                <a:lnTo>
                  <a:pt x="492" y="130"/>
                </a:lnTo>
                <a:lnTo>
                  <a:pt x="497" y="136"/>
                </a:lnTo>
                <a:lnTo>
                  <a:pt x="501" y="139"/>
                </a:lnTo>
                <a:lnTo>
                  <a:pt x="504" y="140"/>
                </a:lnTo>
                <a:lnTo>
                  <a:pt x="506" y="139"/>
                </a:lnTo>
                <a:lnTo>
                  <a:pt x="508" y="138"/>
                </a:lnTo>
                <a:lnTo>
                  <a:pt x="510" y="136"/>
                </a:lnTo>
                <a:lnTo>
                  <a:pt x="510" y="136"/>
                </a:lnTo>
                <a:lnTo>
                  <a:pt x="506" y="128"/>
                </a:lnTo>
                <a:lnTo>
                  <a:pt x="504" y="120"/>
                </a:lnTo>
                <a:lnTo>
                  <a:pt x="498" y="105"/>
                </a:lnTo>
                <a:lnTo>
                  <a:pt x="493" y="88"/>
                </a:lnTo>
                <a:lnTo>
                  <a:pt x="489" y="75"/>
                </a:lnTo>
                <a:lnTo>
                  <a:pt x="486" y="69"/>
                </a:lnTo>
                <a:lnTo>
                  <a:pt x="483" y="63"/>
                </a:lnTo>
                <a:lnTo>
                  <a:pt x="479" y="59"/>
                </a:lnTo>
                <a:lnTo>
                  <a:pt x="474" y="54"/>
                </a:lnTo>
                <a:lnTo>
                  <a:pt x="468" y="50"/>
                </a:lnTo>
                <a:lnTo>
                  <a:pt x="461" y="48"/>
                </a:lnTo>
                <a:lnTo>
                  <a:pt x="453" y="47"/>
                </a:lnTo>
                <a:lnTo>
                  <a:pt x="444" y="47"/>
                </a:lnTo>
                <a:lnTo>
                  <a:pt x="444" y="47"/>
                </a:lnTo>
                <a:lnTo>
                  <a:pt x="438" y="50"/>
                </a:lnTo>
                <a:lnTo>
                  <a:pt x="431" y="50"/>
                </a:lnTo>
                <a:lnTo>
                  <a:pt x="424" y="50"/>
                </a:lnTo>
                <a:lnTo>
                  <a:pt x="417" y="49"/>
                </a:lnTo>
                <a:lnTo>
                  <a:pt x="410" y="47"/>
                </a:lnTo>
                <a:lnTo>
                  <a:pt x="402" y="44"/>
                </a:lnTo>
                <a:lnTo>
                  <a:pt x="386" y="36"/>
                </a:lnTo>
                <a:lnTo>
                  <a:pt x="356" y="16"/>
                </a:lnTo>
                <a:lnTo>
                  <a:pt x="342" y="8"/>
                </a:lnTo>
                <a:lnTo>
                  <a:pt x="336" y="6"/>
                </a:lnTo>
                <a:lnTo>
                  <a:pt x="330" y="3"/>
                </a:lnTo>
                <a:lnTo>
                  <a:pt x="330" y="3"/>
                </a:lnTo>
                <a:lnTo>
                  <a:pt x="308" y="1"/>
                </a:lnTo>
                <a:lnTo>
                  <a:pt x="287" y="0"/>
                </a:lnTo>
                <a:lnTo>
                  <a:pt x="268" y="0"/>
                </a:lnTo>
                <a:lnTo>
                  <a:pt x="250" y="2"/>
                </a:lnTo>
                <a:lnTo>
                  <a:pt x="235" y="6"/>
                </a:lnTo>
                <a:lnTo>
                  <a:pt x="222" y="10"/>
                </a:lnTo>
                <a:lnTo>
                  <a:pt x="209" y="17"/>
                </a:lnTo>
                <a:lnTo>
                  <a:pt x="199" y="24"/>
                </a:lnTo>
                <a:lnTo>
                  <a:pt x="189" y="33"/>
                </a:lnTo>
                <a:lnTo>
                  <a:pt x="183" y="45"/>
                </a:lnTo>
                <a:lnTo>
                  <a:pt x="176" y="56"/>
                </a:lnTo>
                <a:lnTo>
                  <a:pt x="171" y="70"/>
                </a:lnTo>
                <a:lnTo>
                  <a:pt x="168" y="85"/>
                </a:lnTo>
                <a:lnTo>
                  <a:pt x="165" y="102"/>
                </a:lnTo>
                <a:lnTo>
                  <a:pt x="164" y="120"/>
                </a:lnTo>
                <a:lnTo>
                  <a:pt x="164" y="139"/>
                </a:lnTo>
                <a:lnTo>
                  <a:pt x="164" y="139"/>
                </a:lnTo>
                <a:lnTo>
                  <a:pt x="164" y="156"/>
                </a:lnTo>
                <a:lnTo>
                  <a:pt x="163" y="170"/>
                </a:lnTo>
                <a:lnTo>
                  <a:pt x="160" y="182"/>
                </a:lnTo>
                <a:lnTo>
                  <a:pt x="154" y="191"/>
                </a:lnTo>
                <a:lnTo>
                  <a:pt x="147" y="198"/>
                </a:lnTo>
                <a:lnTo>
                  <a:pt x="140" y="202"/>
                </a:lnTo>
                <a:lnTo>
                  <a:pt x="131" y="207"/>
                </a:lnTo>
                <a:lnTo>
                  <a:pt x="120" y="209"/>
                </a:lnTo>
                <a:lnTo>
                  <a:pt x="110" y="212"/>
                </a:lnTo>
                <a:lnTo>
                  <a:pt x="99" y="213"/>
                </a:lnTo>
                <a:lnTo>
                  <a:pt x="76" y="215"/>
                </a:lnTo>
                <a:lnTo>
                  <a:pt x="64" y="217"/>
                </a:lnTo>
                <a:lnTo>
                  <a:pt x="53" y="220"/>
                </a:lnTo>
                <a:lnTo>
                  <a:pt x="42" y="223"/>
                </a:lnTo>
                <a:lnTo>
                  <a:pt x="32" y="228"/>
                </a:lnTo>
                <a:lnTo>
                  <a:pt x="32" y="228"/>
                </a:lnTo>
                <a:lnTo>
                  <a:pt x="27" y="233"/>
                </a:lnTo>
                <a:lnTo>
                  <a:pt x="21" y="239"/>
                </a:lnTo>
                <a:lnTo>
                  <a:pt x="13" y="254"/>
                </a:lnTo>
                <a:lnTo>
                  <a:pt x="5" y="270"/>
                </a:lnTo>
                <a:lnTo>
                  <a:pt x="0" y="286"/>
                </a:lnTo>
                <a:lnTo>
                  <a:pt x="0" y="286"/>
                </a:lnTo>
                <a:lnTo>
                  <a:pt x="15" y="296"/>
                </a:lnTo>
                <a:lnTo>
                  <a:pt x="30" y="307"/>
                </a:lnTo>
                <a:lnTo>
                  <a:pt x="47" y="321"/>
                </a:lnTo>
                <a:lnTo>
                  <a:pt x="65" y="338"/>
                </a:lnTo>
                <a:lnTo>
                  <a:pt x="73" y="346"/>
                </a:lnTo>
                <a:lnTo>
                  <a:pt x="80" y="355"/>
                </a:lnTo>
                <a:lnTo>
                  <a:pt x="86" y="365"/>
                </a:lnTo>
                <a:lnTo>
                  <a:pt x="90" y="374"/>
                </a:lnTo>
                <a:lnTo>
                  <a:pt x="94" y="383"/>
                </a:lnTo>
                <a:lnTo>
                  <a:pt x="95" y="392"/>
                </a:lnTo>
                <a:lnTo>
                  <a:pt x="95" y="392"/>
                </a:lnTo>
                <a:lnTo>
                  <a:pt x="95" y="39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6" name="Freeform 51"/>
          <p:cNvSpPr>
            <a:spLocks/>
          </p:cNvSpPr>
          <p:nvPr/>
        </p:nvSpPr>
        <p:spPr bwMode="auto">
          <a:xfrm>
            <a:off x="3049588" y="2655888"/>
            <a:ext cx="258762" cy="396875"/>
          </a:xfrm>
          <a:custGeom>
            <a:avLst/>
            <a:gdLst/>
            <a:ahLst/>
            <a:cxnLst>
              <a:cxn ang="0">
                <a:pos x="218" y="8"/>
              </a:cxn>
              <a:cxn ang="0">
                <a:pos x="199" y="0"/>
              </a:cxn>
              <a:cxn ang="0">
                <a:pos x="185" y="40"/>
              </a:cxn>
              <a:cxn ang="0">
                <a:pos x="176" y="50"/>
              </a:cxn>
              <a:cxn ang="0">
                <a:pos x="154" y="39"/>
              </a:cxn>
              <a:cxn ang="0">
                <a:pos x="144" y="38"/>
              </a:cxn>
              <a:cxn ang="0">
                <a:pos x="119" y="55"/>
              </a:cxn>
              <a:cxn ang="0">
                <a:pos x="130" y="73"/>
              </a:cxn>
              <a:cxn ang="0">
                <a:pos x="144" y="88"/>
              </a:cxn>
              <a:cxn ang="0">
                <a:pos x="114" y="94"/>
              </a:cxn>
              <a:cxn ang="0">
                <a:pos x="100" y="103"/>
              </a:cxn>
              <a:cxn ang="0">
                <a:pos x="95" y="115"/>
              </a:cxn>
              <a:cxn ang="0">
                <a:pos x="86" y="137"/>
              </a:cxn>
              <a:cxn ang="0">
                <a:pos x="74" y="140"/>
              </a:cxn>
              <a:cxn ang="0">
                <a:pos x="61" y="133"/>
              </a:cxn>
              <a:cxn ang="0">
                <a:pos x="49" y="118"/>
              </a:cxn>
              <a:cxn ang="0">
                <a:pos x="39" y="118"/>
              </a:cxn>
              <a:cxn ang="0">
                <a:pos x="26" y="124"/>
              </a:cxn>
              <a:cxn ang="0">
                <a:pos x="7" y="150"/>
              </a:cxn>
              <a:cxn ang="0">
                <a:pos x="0" y="184"/>
              </a:cxn>
              <a:cxn ang="0">
                <a:pos x="2" y="199"/>
              </a:cxn>
              <a:cxn ang="0">
                <a:pos x="13" y="217"/>
              </a:cxn>
              <a:cxn ang="0">
                <a:pos x="40" y="238"/>
              </a:cxn>
              <a:cxn ang="0">
                <a:pos x="70" y="250"/>
              </a:cxn>
              <a:cxn ang="0">
                <a:pos x="68" y="270"/>
              </a:cxn>
              <a:cxn ang="0">
                <a:pos x="70" y="285"/>
              </a:cxn>
              <a:cxn ang="0">
                <a:pos x="70" y="298"/>
              </a:cxn>
              <a:cxn ang="0">
                <a:pos x="61" y="313"/>
              </a:cxn>
              <a:cxn ang="0">
                <a:pos x="46" y="325"/>
              </a:cxn>
              <a:cxn ang="0">
                <a:pos x="42" y="338"/>
              </a:cxn>
              <a:cxn ang="0">
                <a:pos x="45" y="360"/>
              </a:cxn>
              <a:cxn ang="0">
                <a:pos x="62" y="387"/>
              </a:cxn>
              <a:cxn ang="0">
                <a:pos x="90" y="410"/>
              </a:cxn>
              <a:cxn ang="0">
                <a:pos x="153" y="446"/>
              </a:cxn>
              <a:cxn ang="0">
                <a:pos x="191" y="455"/>
              </a:cxn>
              <a:cxn ang="0">
                <a:pos x="185" y="423"/>
              </a:cxn>
              <a:cxn ang="0">
                <a:pos x="175" y="362"/>
              </a:cxn>
              <a:cxn ang="0">
                <a:pos x="174" y="323"/>
              </a:cxn>
              <a:cxn ang="0">
                <a:pos x="179" y="261"/>
              </a:cxn>
              <a:cxn ang="0">
                <a:pos x="194" y="216"/>
              </a:cxn>
              <a:cxn ang="0">
                <a:pos x="217" y="183"/>
              </a:cxn>
              <a:cxn ang="0">
                <a:pos x="265" y="138"/>
              </a:cxn>
              <a:cxn ang="0">
                <a:pos x="282" y="115"/>
              </a:cxn>
              <a:cxn ang="0">
                <a:pos x="276" y="107"/>
              </a:cxn>
              <a:cxn ang="0">
                <a:pos x="310" y="95"/>
              </a:cxn>
              <a:cxn ang="0">
                <a:pos x="310" y="84"/>
              </a:cxn>
              <a:cxn ang="0">
                <a:pos x="284" y="55"/>
              </a:cxn>
              <a:cxn ang="0">
                <a:pos x="273" y="26"/>
              </a:cxn>
              <a:cxn ang="0">
                <a:pos x="258" y="24"/>
              </a:cxn>
              <a:cxn ang="0">
                <a:pos x="227" y="13"/>
              </a:cxn>
              <a:cxn ang="0">
                <a:pos x="226" y="11"/>
              </a:cxn>
            </a:cxnLst>
            <a:rect l="0" t="0" r="r" b="b"/>
            <a:pathLst>
              <a:path w="317" h="455">
                <a:moveTo>
                  <a:pt x="226" y="11"/>
                </a:moveTo>
                <a:lnTo>
                  <a:pt x="226" y="11"/>
                </a:lnTo>
                <a:lnTo>
                  <a:pt x="218" y="8"/>
                </a:lnTo>
                <a:lnTo>
                  <a:pt x="212" y="4"/>
                </a:lnTo>
                <a:lnTo>
                  <a:pt x="199" y="0"/>
                </a:lnTo>
                <a:lnTo>
                  <a:pt x="199" y="0"/>
                </a:lnTo>
                <a:lnTo>
                  <a:pt x="195" y="15"/>
                </a:lnTo>
                <a:lnTo>
                  <a:pt x="190" y="27"/>
                </a:lnTo>
                <a:lnTo>
                  <a:pt x="185" y="40"/>
                </a:lnTo>
                <a:lnTo>
                  <a:pt x="181" y="51"/>
                </a:lnTo>
                <a:lnTo>
                  <a:pt x="181" y="51"/>
                </a:lnTo>
                <a:lnTo>
                  <a:pt x="176" y="50"/>
                </a:lnTo>
                <a:lnTo>
                  <a:pt x="172" y="48"/>
                </a:lnTo>
                <a:lnTo>
                  <a:pt x="162" y="43"/>
                </a:lnTo>
                <a:lnTo>
                  <a:pt x="154" y="39"/>
                </a:lnTo>
                <a:lnTo>
                  <a:pt x="150" y="38"/>
                </a:lnTo>
                <a:lnTo>
                  <a:pt x="144" y="38"/>
                </a:lnTo>
                <a:lnTo>
                  <a:pt x="144" y="38"/>
                </a:lnTo>
                <a:lnTo>
                  <a:pt x="119" y="38"/>
                </a:lnTo>
                <a:lnTo>
                  <a:pt x="119" y="55"/>
                </a:lnTo>
                <a:lnTo>
                  <a:pt x="119" y="55"/>
                </a:lnTo>
                <a:lnTo>
                  <a:pt x="119" y="55"/>
                </a:lnTo>
                <a:lnTo>
                  <a:pt x="124" y="65"/>
                </a:lnTo>
                <a:lnTo>
                  <a:pt x="130" y="73"/>
                </a:lnTo>
                <a:lnTo>
                  <a:pt x="136" y="80"/>
                </a:lnTo>
                <a:lnTo>
                  <a:pt x="144" y="88"/>
                </a:lnTo>
                <a:lnTo>
                  <a:pt x="144" y="88"/>
                </a:lnTo>
                <a:lnTo>
                  <a:pt x="135" y="89"/>
                </a:lnTo>
                <a:lnTo>
                  <a:pt x="121" y="92"/>
                </a:lnTo>
                <a:lnTo>
                  <a:pt x="114" y="94"/>
                </a:lnTo>
                <a:lnTo>
                  <a:pt x="107" y="96"/>
                </a:lnTo>
                <a:lnTo>
                  <a:pt x="103" y="100"/>
                </a:lnTo>
                <a:lnTo>
                  <a:pt x="100" y="103"/>
                </a:lnTo>
                <a:lnTo>
                  <a:pt x="100" y="103"/>
                </a:lnTo>
                <a:lnTo>
                  <a:pt x="97" y="109"/>
                </a:lnTo>
                <a:lnTo>
                  <a:pt x="95" y="115"/>
                </a:lnTo>
                <a:lnTo>
                  <a:pt x="91" y="127"/>
                </a:lnTo>
                <a:lnTo>
                  <a:pt x="89" y="132"/>
                </a:lnTo>
                <a:lnTo>
                  <a:pt x="86" y="137"/>
                </a:lnTo>
                <a:lnTo>
                  <a:pt x="81" y="139"/>
                </a:lnTo>
                <a:lnTo>
                  <a:pt x="74" y="140"/>
                </a:lnTo>
                <a:lnTo>
                  <a:pt x="74" y="140"/>
                </a:lnTo>
                <a:lnTo>
                  <a:pt x="69" y="139"/>
                </a:lnTo>
                <a:lnTo>
                  <a:pt x="65" y="137"/>
                </a:lnTo>
                <a:lnTo>
                  <a:pt x="61" y="133"/>
                </a:lnTo>
                <a:lnTo>
                  <a:pt x="58" y="128"/>
                </a:lnTo>
                <a:lnTo>
                  <a:pt x="52" y="122"/>
                </a:lnTo>
                <a:lnTo>
                  <a:pt x="49" y="118"/>
                </a:lnTo>
                <a:lnTo>
                  <a:pt x="45" y="118"/>
                </a:lnTo>
                <a:lnTo>
                  <a:pt x="45" y="118"/>
                </a:lnTo>
                <a:lnTo>
                  <a:pt x="39" y="118"/>
                </a:lnTo>
                <a:lnTo>
                  <a:pt x="35" y="119"/>
                </a:lnTo>
                <a:lnTo>
                  <a:pt x="30" y="122"/>
                </a:lnTo>
                <a:lnTo>
                  <a:pt x="26" y="124"/>
                </a:lnTo>
                <a:lnTo>
                  <a:pt x="17" y="131"/>
                </a:lnTo>
                <a:lnTo>
                  <a:pt x="12" y="140"/>
                </a:lnTo>
                <a:lnTo>
                  <a:pt x="7" y="150"/>
                </a:lnTo>
                <a:lnTo>
                  <a:pt x="4" y="162"/>
                </a:lnTo>
                <a:lnTo>
                  <a:pt x="1" y="173"/>
                </a:lnTo>
                <a:lnTo>
                  <a:pt x="0" y="184"/>
                </a:lnTo>
                <a:lnTo>
                  <a:pt x="0" y="184"/>
                </a:lnTo>
                <a:lnTo>
                  <a:pt x="1" y="192"/>
                </a:lnTo>
                <a:lnTo>
                  <a:pt x="2" y="199"/>
                </a:lnTo>
                <a:lnTo>
                  <a:pt x="6" y="204"/>
                </a:lnTo>
                <a:lnTo>
                  <a:pt x="9" y="211"/>
                </a:lnTo>
                <a:lnTo>
                  <a:pt x="13" y="217"/>
                </a:lnTo>
                <a:lnTo>
                  <a:pt x="17" y="222"/>
                </a:lnTo>
                <a:lnTo>
                  <a:pt x="29" y="231"/>
                </a:lnTo>
                <a:lnTo>
                  <a:pt x="40" y="238"/>
                </a:lnTo>
                <a:lnTo>
                  <a:pt x="52" y="244"/>
                </a:lnTo>
                <a:lnTo>
                  <a:pt x="62" y="248"/>
                </a:lnTo>
                <a:lnTo>
                  <a:pt x="70" y="250"/>
                </a:lnTo>
                <a:lnTo>
                  <a:pt x="70" y="250"/>
                </a:lnTo>
                <a:lnTo>
                  <a:pt x="68" y="267"/>
                </a:lnTo>
                <a:lnTo>
                  <a:pt x="68" y="270"/>
                </a:lnTo>
                <a:lnTo>
                  <a:pt x="68" y="273"/>
                </a:lnTo>
                <a:lnTo>
                  <a:pt x="69" y="279"/>
                </a:lnTo>
                <a:lnTo>
                  <a:pt x="70" y="285"/>
                </a:lnTo>
                <a:lnTo>
                  <a:pt x="70" y="294"/>
                </a:lnTo>
                <a:lnTo>
                  <a:pt x="70" y="294"/>
                </a:lnTo>
                <a:lnTo>
                  <a:pt x="70" y="298"/>
                </a:lnTo>
                <a:lnTo>
                  <a:pt x="69" y="301"/>
                </a:lnTo>
                <a:lnTo>
                  <a:pt x="66" y="307"/>
                </a:lnTo>
                <a:lnTo>
                  <a:pt x="61" y="313"/>
                </a:lnTo>
                <a:lnTo>
                  <a:pt x="55" y="316"/>
                </a:lnTo>
                <a:lnTo>
                  <a:pt x="51" y="321"/>
                </a:lnTo>
                <a:lnTo>
                  <a:pt x="46" y="325"/>
                </a:lnTo>
                <a:lnTo>
                  <a:pt x="43" y="331"/>
                </a:lnTo>
                <a:lnTo>
                  <a:pt x="42" y="334"/>
                </a:lnTo>
                <a:lnTo>
                  <a:pt x="42" y="338"/>
                </a:lnTo>
                <a:lnTo>
                  <a:pt x="42" y="338"/>
                </a:lnTo>
                <a:lnTo>
                  <a:pt x="43" y="349"/>
                </a:lnTo>
                <a:lnTo>
                  <a:pt x="45" y="360"/>
                </a:lnTo>
                <a:lnTo>
                  <a:pt x="50" y="370"/>
                </a:lnTo>
                <a:lnTo>
                  <a:pt x="55" y="379"/>
                </a:lnTo>
                <a:lnTo>
                  <a:pt x="62" y="387"/>
                </a:lnTo>
                <a:lnTo>
                  <a:pt x="72" y="395"/>
                </a:lnTo>
                <a:lnTo>
                  <a:pt x="81" y="403"/>
                </a:lnTo>
                <a:lnTo>
                  <a:pt x="90" y="410"/>
                </a:lnTo>
                <a:lnTo>
                  <a:pt x="112" y="423"/>
                </a:lnTo>
                <a:lnTo>
                  <a:pt x="133" y="436"/>
                </a:lnTo>
                <a:lnTo>
                  <a:pt x="153" y="446"/>
                </a:lnTo>
                <a:lnTo>
                  <a:pt x="170" y="455"/>
                </a:lnTo>
                <a:lnTo>
                  <a:pt x="170" y="455"/>
                </a:lnTo>
                <a:lnTo>
                  <a:pt x="191" y="455"/>
                </a:lnTo>
                <a:lnTo>
                  <a:pt x="191" y="455"/>
                </a:lnTo>
                <a:lnTo>
                  <a:pt x="191" y="455"/>
                </a:lnTo>
                <a:lnTo>
                  <a:pt x="185" y="423"/>
                </a:lnTo>
                <a:lnTo>
                  <a:pt x="180" y="394"/>
                </a:lnTo>
                <a:lnTo>
                  <a:pt x="177" y="378"/>
                </a:lnTo>
                <a:lnTo>
                  <a:pt x="175" y="362"/>
                </a:lnTo>
                <a:lnTo>
                  <a:pt x="174" y="344"/>
                </a:lnTo>
                <a:lnTo>
                  <a:pt x="174" y="323"/>
                </a:lnTo>
                <a:lnTo>
                  <a:pt x="174" y="323"/>
                </a:lnTo>
                <a:lnTo>
                  <a:pt x="174" y="300"/>
                </a:lnTo>
                <a:lnTo>
                  <a:pt x="176" y="279"/>
                </a:lnTo>
                <a:lnTo>
                  <a:pt x="179" y="261"/>
                </a:lnTo>
                <a:lnTo>
                  <a:pt x="183" y="244"/>
                </a:lnTo>
                <a:lnTo>
                  <a:pt x="188" y="229"/>
                </a:lnTo>
                <a:lnTo>
                  <a:pt x="194" y="216"/>
                </a:lnTo>
                <a:lnTo>
                  <a:pt x="200" y="203"/>
                </a:lnTo>
                <a:lnTo>
                  <a:pt x="208" y="193"/>
                </a:lnTo>
                <a:lnTo>
                  <a:pt x="217" y="183"/>
                </a:lnTo>
                <a:lnTo>
                  <a:pt x="226" y="173"/>
                </a:lnTo>
                <a:lnTo>
                  <a:pt x="244" y="156"/>
                </a:lnTo>
                <a:lnTo>
                  <a:pt x="265" y="138"/>
                </a:lnTo>
                <a:lnTo>
                  <a:pt x="287" y="118"/>
                </a:lnTo>
                <a:lnTo>
                  <a:pt x="287" y="118"/>
                </a:lnTo>
                <a:lnTo>
                  <a:pt x="282" y="115"/>
                </a:lnTo>
                <a:lnTo>
                  <a:pt x="279" y="112"/>
                </a:lnTo>
                <a:lnTo>
                  <a:pt x="278" y="110"/>
                </a:lnTo>
                <a:lnTo>
                  <a:pt x="276" y="107"/>
                </a:lnTo>
                <a:lnTo>
                  <a:pt x="276" y="107"/>
                </a:lnTo>
                <a:lnTo>
                  <a:pt x="301" y="100"/>
                </a:lnTo>
                <a:lnTo>
                  <a:pt x="310" y="95"/>
                </a:lnTo>
                <a:lnTo>
                  <a:pt x="317" y="93"/>
                </a:lnTo>
                <a:lnTo>
                  <a:pt x="317" y="93"/>
                </a:lnTo>
                <a:lnTo>
                  <a:pt x="310" y="84"/>
                </a:lnTo>
                <a:lnTo>
                  <a:pt x="303" y="76"/>
                </a:lnTo>
                <a:lnTo>
                  <a:pt x="290" y="62"/>
                </a:lnTo>
                <a:lnTo>
                  <a:pt x="284" y="55"/>
                </a:lnTo>
                <a:lnTo>
                  <a:pt x="280" y="47"/>
                </a:lnTo>
                <a:lnTo>
                  <a:pt x="276" y="38"/>
                </a:lnTo>
                <a:lnTo>
                  <a:pt x="273" y="26"/>
                </a:lnTo>
                <a:lnTo>
                  <a:pt x="273" y="26"/>
                </a:lnTo>
                <a:lnTo>
                  <a:pt x="266" y="25"/>
                </a:lnTo>
                <a:lnTo>
                  <a:pt x="258" y="24"/>
                </a:lnTo>
                <a:lnTo>
                  <a:pt x="242" y="20"/>
                </a:lnTo>
                <a:lnTo>
                  <a:pt x="230" y="15"/>
                </a:lnTo>
                <a:lnTo>
                  <a:pt x="227" y="13"/>
                </a:lnTo>
                <a:lnTo>
                  <a:pt x="226" y="11"/>
                </a:lnTo>
                <a:lnTo>
                  <a:pt x="226" y="11"/>
                </a:lnTo>
                <a:lnTo>
                  <a:pt x="226" y="1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7" name="Freeform 52"/>
          <p:cNvSpPr>
            <a:spLocks/>
          </p:cNvSpPr>
          <p:nvPr/>
        </p:nvSpPr>
        <p:spPr bwMode="auto">
          <a:xfrm>
            <a:off x="3260725" y="2378075"/>
            <a:ext cx="622300" cy="344488"/>
          </a:xfrm>
          <a:custGeom>
            <a:avLst/>
            <a:gdLst/>
            <a:ahLst/>
            <a:cxnLst>
              <a:cxn ang="0">
                <a:pos x="665" y="22"/>
              </a:cxn>
              <a:cxn ang="0">
                <a:pos x="642" y="49"/>
              </a:cxn>
              <a:cxn ang="0">
                <a:pos x="605" y="46"/>
              </a:cxn>
              <a:cxn ang="0">
                <a:pos x="550" y="62"/>
              </a:cxn>
              <a:cxn ang="0">
                <a:pos x="518" y="63"/>
              </a:cxn>
              <a:cxn ang="0">
                <a:pos x="460" y="33"/>
              </a:cxn>
              <a:cxn ang="0">
                <a:pos x="433" y="46"/>
              </a:cxn>
              <a:cxn ang="0">
                <a:pos x="316" y="64"/>
              </a:cxn>
              <a:cxn ang="0">
                <a:pos x="283" y="82"/>
              </a:cxn>
              <a:cxn ang="0">
                <a:pos x="272" y="105"/>
              </a:cxn>
              <a:cxn ang="0">
                <a:pos x="245" y="91"/>
              </a:cxn>
              <a:cxn ang="0">
                <a:pos x="213" y="113"/>
              </a:cxn>
              <a:cxn ang="0">
                <a:pos x="204" y="101"/>
              </a:cxn>
              <a:cxn ang="0">
                <a:pos x="186" y="128"/>
              </a:cxn>
              <a:cxn ang="0">
                <a:pos x="201" y="142"/>
              </a:cxn>
              <a:cxn ang="0">
                <a:pos x="176" y="162"/>
              </a:cxn>
              <a:cxn ang="0">
                <a:pos x="169" y="177"/>
              </a:cxn>
              <a:cxn ang="0">
                <a:pos x="143" y="168"/>
              </a:cxn>
              <a:cxn ang="0">
                <a:pos x="143" y="200"/>
              </a:cxn>
              <a:cxn ang="0">
                <a:pos x="124" y="200"/>
              </a:cxn>
              <a:cxn ang="0">
                <a:pos x="113" y="205"/>
              </a:cxn>
              <a:cxn ang="0">
                <a:pos x="102" y="249"/>
              </a:cxn>
              <a:cxn ang="0">
                <a:pos x="72" y="227"/>
              </a:cxn>
              <a:cxn ang="0">
                <a:pos x="36" y="234"/>
              </a:cxn>
              <a:cxn ang="0">
                <a:pos x="1" y="260"/>
              </a:cxn>
              <a:cxn ang="0">
                <a:pos x="23" y="283"/>
              </a:cxn>
              <a:cxn ang="0">
                <a:pos x="25" y="304"/>
              </a:cxn>
              <a:cxn ang="0">
                <a:pos x="1" y="312"/>
              </a:cxn>
              <a:cxn ang="0">
                <a:pos x="7" y="330"/>
              </a:cxn>
              <a:cxn ang="0">
                <a:pos x="29" y="337"/>
              </a:cxn>
              <a:cxn ang="0">
                <a:pos x="41" y="362"/>
              </a:cxn>
              <a:cxn ang="0">
                <a:pos x="52" y="383"/>
              </a:cxn>
              <a:cxn ang="0">
                <a:pos x="102" y="396"/>
              </a:cxn>
              <a:cxn ang="0">
                <a:pos x="113" y="390"/>
              </a:cxn>
              <a:cxn ang="0">
                <a:pos x="113" y="344"/>
              </a:cxn>
              <a:cxn ang="0">
                <a:pos x="146" y="356"/>
              </a:cxn>
              <a:cxn ang="0">
                <a:pos x="138" y="315"/>
              </a:cxn>
              <a:cxn ang="0">
                <a:pos x="154" y="331"/>
              </a:cxn>
              <a:cxn ang="0">
                <a:pos x="169" y="336"/>
              </a:cxn>
              <a:cxn ang="0">
                <a:pos x="179" y="314"/>
              </a:cxn>
              <a:cxn ang="0">
                <a:pos x="175" y="295"/>
              </a:cxn>
              <a:cxn ang="0">
                <a:pos x="183" y="291"/>
              </a:cxn>
              <a:cxn ang="0">
                <a:pos x="201" y="303"/>
              </a:cxn>
              <a:cxn ang="0">
                <a:pos x="236" y="257"/>
              </a:cxn>
              <a:cxn ang="0">
                <a:pos x="260" y="258"/>
              </a:cxn>
              <a:cxn ang="0">
                <a:pos x="274" y="257"/>
              </a:cxn>
              <a:cxn ang="0">
                <a:pos x="285" y="241"/>
              </a:cxn>
              <a:cxn ang="0">
                <a:pos x="341" y="234"/>
              </a:cxn>
              <a:cxn ang="0">
                <a:pos x="350" y="213"/>
              </a:cxn>
              <a:cxn ang="0">
                <a:pos x="379" y="196"/>
              </a:cxn>
              <a:cxn ang="0">
                <a:pos x="518" y="165"/>
              </a:cxn>
              <a:cxn ang="0">
                <a:pos x="679" y="147"/>
              </a:cxn>
              <a:cxn ang="0">
                <a:pos x="735" y="114"/>
              </a:cxn>
              <a:cxn ang="0">
                <a:pos x="759" y="63"/>
              </a:cxn>
              <a:cxn ang="0">
                <a:pos x="752" y="26"/>
              </a:cxn>
              <a:cxn ang="0">
                <a:pos x="723" y="5"/>
              </a:cxn>
              <a:cxn ang="0">
                <a:pos x="686" y="2"/>
              </a:cxn>
            </a:cxnLst>
            <a:rect l="0" t="0" r="r" b="b"/>
            <a:pathLst>
              <a:path w="759" h="396">
                <a:moveTo>
                  <a:pt x="686" y="2"/>
                </a:moveTo>
                <a:lnTo>
                  <a:pt x="686" y="2"/>
                </a:lnTo>
                <a:lnTo>
                  <a:pt x="678" y="7"/>
                </a:lnTo>
                <a:lnTo>
                  <a:pt x="671" y="14"/>
                </a:lnTo>
                <a:lnTo>
                  <a:pt x="665" y="22"/>
                </a:lnTo>
                <a:lnTo>
                  <a:pt x="660" y="29"/>
                </a:lnTo>
                <a:lnTo>
                  <a:pt x="651" y="43"/>
                </a:lnTo>
                <a:lnTo>
                  <a:pt x="647" y="47"/>
                </a:lnTo>
                <a:lnTo>
                  <a:pt x="642" y="49"/>
                </a:lnTo>
                <a:lnTo>
                  <a:pt x="642" y="49"/>
                </a:lnTo>
                <a:lnTo>
                  <a:pt x="637" y="51"/>
                </a:lnTo>
                <a:lnTo>
                  <a:pt x="633" y="51"/>
                </a:lnTo>
                <a:lnTo>
                  <a:pt x="622" y="49"/>
                </a:lnTo>
                <a:lnTo>
                  <a:pt x="613" y="47"/>
                </a:lnTo>
                <a:lnTo>
                  <a:pt x="605" y="46"/>
                </a:lnTo>
                <a:lnTo>
                  <a:pt x="605" y="46"/>
                </a:lnTo>
                <a:lnTo>
                  <a:pt x="595" y="47"/>
                </a:lnTo>
                <a:lnTo>
                  <a:pt x="586" y="49"/>
                </a:lnTo>
                <a:lnTo>
                  <a:pt x="567" y="55"/>
                </a:lnTo>
                <a:lnTo>
                  <a:pt x="550" y="62"/>
                </a:lnTo>
                <a:lnTo>
                  <a:pt x="542" y="63"/>
                </a:lnTo>
                <a:lnTo>
                  <a:pt x="533" y="64"/>
                </a:lnTo>
                <a:lnTo>
                  <a:pt x="533" y="64"/>
                </a:lnTo>
                <a:lnTo>
                  <a:pt x="525" y="64"/>
                </a:lnTo>
                <a:lnTo>
                  <a:pt x="518" y="63"/>
                </a:lnTo>
                <a:lnTo>
                  <a:pt x="505" y="59"/>
                </a:lnTo>
                <a:lnTo>
                  <a:pt x="494" y="53"/>
                </a:lnTo>
                <a:lnTo>
                  <a:pt x="482" y="46"/>
                </a:lnTo>
                <a:lnTo>
                  <a:pt x="472" y="40"/>
                </a:lnTo>
                <a:lnTo>
                  <a:pt x="460" y="33"/>
                </a:lnTo>
                <a:lnTo>
                  <a:pt x="448" y="30"/>
                </a:lnTo>
                <a:lnTo>
                  <a:pt x="441" y="29"/>
                </a:lnTo>
                <a:lnTo>
                  <a:pt x="433" y="29"/>
                </a:lnTo>
                <a:lnTo>
                  <a:pt x="433" y="29"/>
                </a:lnTo>
                <a:lnTo>
                  <a:pt x="433" y="46"/>
                </a:lnTo>
                <a:lnTo>
                  <a:pt x="349" y="46"/>
                </a:lnTo>
                <a:lnTo>
                  <a:pt x="349" y="46"/>
                </a:lnTo>
                <a:lnTo>
                  <a:pt x="349" y="46"/>
                </a:lnTo>
                <a:lnTo>
                  <a:pt x="331" y="55"/>
                </a:lnTo>
                <a:lnTo>
                  <a:pt x="316" y="64"/>
                </a:lnTo>
                <a:lnTo>
                  <a:pt x="301" y="72"/>
                </a:lnTo>
                <a:lnTo>
                  <a:pt x="293" y="76"/>
                </a:lnTo>
                <a:lnTo>
                  <a:pt x="285" y="79"/>
                </a:lnTo>
                <a:lnTo>
                  <a:pt x="285" y="79"/>
                </a:lnTo>
                <a:lnTo>
                  <a:pt x="283" y="82"/>
                </a:lnTo>
                <a:lnTo>
                  <a:pt x="282" y="85"/>
                </a:lnTo>
                <a:lnTo>
                  <a:pt x="278" y="94"/>
                </a:lnTo>
                <a:lnTo>
                  <a:pt x="276" y="98"/>
                </a:lnTo>
                <a:lnTo>
                  <a:pt x="274" y="101"/>
                </a:lnTo>
                <a:lnTo>
                  <a:pt x="272" y="105"/>
                </a:lnTo>
                <a:lnTo>
                  <a:pt x="268" y="105"/>
                </a:lnTo>
                <a:lnTo>
                  <a:pt x="268" y="105"/>
                </a:lnTo>
                <a:lnTo>
                  <a:pt x="262" y="102"/>
                </a:lnTo>
                <a:lnTo>
                  <a:pt x="255" y="98"/>
                </a:lnTo>
                <a:lnTo>
                  <a:pt x="245" y="91"/>
                </a:lnTo>
                <a:lnTo>
                  <a:pt x="245" y="91"/>
                </a:lnTo>
                <a:lnTo>
                  <a:pt x="236" y="100"/>
                </a:lnTo>
                <a:lnTo>
                  <a:pt x="229" y="106"/>
                </a:lnTo>
                <a:lnTo>
                  <a:pt x="222" y="109"/>
                </a:lnTo>
                <a:lnTo>
                  <a:pt x="213" y="113"/>
                </a:lnTo>
                <a:lnTo>
                  <a:pt x="213" y="113"/>
                </a:lnTo>
                <a:lnTo>
                  <a:pt x="211" y="108"/>
                </a:lnTo>
                <a:lnTo>
                  <a:pt x="209" y="105"/>
                </a:lnTo>
                <a:lnTo>
                  <a:pt x="206" y="102"/>
                </a:lnTo>
                <a:lnTo>
                  <a:pt x="204" y="101"/>
                </a:lnTo>
                <a:lnTo>
                  <a:pt x="197" y="101"/>
                </a:lnTo>
                <a:lnTo>
                  <a:pt x="186" y="101"/>
                </a:lnTo>
                <a:lnTo>
                  <a:pt x="186" y="101"/>
                </a:lnTo>
                <a:lnTo>
                  <a:pt x="186" y="128"/>
                </a:lnTo>
                <a:lnTo>
                  <a:pt x="186" y="128"/>
                </a:lnTo>
                <a:lnTo>
                  <a:pt x="186" y="128"/>
                </a:lnTo>
                <a:lnTo>
                  <a:pt x="191" y="130"/>
                </a:lnTo>
                <a:lnTo>
                  <a:pt x="196" y="133"/>
                </a:lnTo>
                <a:lnTo>
                  <a:pt x="198" y="137"/>
                </a:lnTo>
                <a:lnTo>
                  <a:pt x="201" y="142"/>
                </a:lnTo>
                <a:lnTo>
                  <a:pt x="201" y="142"/>
                </a:lnTo>
                <a:lnTo>
                  <a:pt x="168" y="142"/>
                </a:lnTo>
                <a:lnTo>
                  <a:pt x="168" y="142"/>
                </a:lnTo>
                <a:lnTo>
                  <a:pt x="171" y="153"/>
                </a:lnTo>
                <a:lnTo>
                  <a:pt x="176" y="162"/>
                </a:lnTo>
                <a:lnTo>
                  <a:pt x="181" y="170"/>
                </a:lnTo>
                <a:lnTo>
                  <a:pt x="186" y="182"/>
                </a:lnTo>
                <a:lnTo>
                  <a:pt x="186" y="182"/>
                </a:lnTo>
                <a:lnTo>
                  <a:pt x="177" y="181"/>
                </a:lnTo>
                <a:lnTo>
                  <a:pt x="169" y="177"/>
                </a:lnTo>
                <a:lnTo>
                  <a:pt x="164" y="173"/>
                </a:lnTo>
                <a:lnTo>
                  <a:pt x="161" y="168"/>
                </a:lnTo>
                <a:lnTo>
                  <a:pt x="161" y="168"/>
                </a:lnTo>
                <a:lnTo>
                  <a:pt x="143" y="168"/>
                </a:lnTo>
                <a:lnTo>
                  <a:pt x="143" y="168"/>
                </a:lnTo>
                <a:lnTo>
                  <a:pt x="143" y="168"/>
                </a:lnTo>
                <a:lnTo>
                  <a:pt x="143" y="178"/>
                </a:lnTo>
                <a:lnTo>
                  <a:pt x="144" y="186"/>
                </a:lnTo>
                <a:lnTo>
                  <a:pt x="144" y="193"/>
                </a:lnTo>
                <a:lnTo>
                  <a:pt x="143" y="200"/>
                </a:lnTo>
                <a:lnTo>
                  <a:pt x="143" y="200"/>
                </a:lnTo>
                <a:lnTo>
                  <a:pt x="139" y="201"/>
                </a:lnTo>
                <a:lnTo>
                  <a:pt x="137" y="203"/>
                </a:lnTo>
                <a:lnTo>
                  <a:pt x="131" y="203"/>
                </a:lnTo>
                <a:lnTo>
                  <a:pt x="124" y="200"/>
                </a:lnTo>
                <a:lnTo>
                  <a:pt x="124" y="200"/>
                </a:lnTo>
                <a:lnTo>
                  <a:pt x="121" y="200"/>
                </a:lnTo>
                <a:lnTo>
                  <a:pt x="117" y="201"/>
                </a:lnTo>
                <a:lnTo>
                  <a:pt x="115" y="204"/>
                </a:lnTo>
                <a:lnTo>
                  <a:pt x="113" y="205"/>
                </a:lnTo>
                <a:lnTo>
                  <a:pt x="110" y="211"/>
                </a:lnTo>
                <a:lnTo>
                  <a:pt x="109" y="217"/>
                </a:lnTo>
                <a:lnTo>
                  <a:pt x="107" y="234"/>
                </a:lnTo>
                <a:lnTo>
                  <a:pt x="106" y="242"/>
                </a:lnTo>
                <a:lnTo>
                  <a:pt x="102" y="249"/>
                </a:lnTo>
                <a:lnTo>
                  <a:pt x="102" y="249"/>
                </a:lnTo>
                <a:lnTo>
                  <a:pt x="94" y="241"/>
                </a:lnTo>
                <a:lnTo>
                  <a:pt x="85" y="234"/>
                </a:lnTo>
                <a:lnTo>
                  <a:pt x="77" y="228"/>
                </a:lnTo>
                <a:lnTo>
                  <a:pt x="72" y="227"/>
                </a:lnTo>
                <a:lnTo>
                  <a:pt x="69" y="227"/>
                </a:lnTo>
                <a:lnTo>
                  <a:pt x="69" y="227"/>
                </a:lnTo>
                <a:lnTo>
                  <a:pt x="59" y="227"/>
                </a:lnTo>
                <a:lnTo>
                  <a:pt x="47" y="229"/>
                </a:lnTo>
                <a:lnTo>
                  <a:pt x="36" y="234"/>
                </a:lnTo>
                <a:lnTo>
                  <a:pt x="25" y="238"/>
                </a:lnTo>
                <a:lnTo>
                  <a:pt x="15" y="243"/>
                </a:lnTo>
                <a:lnTo>
                  <a:pt x="7" y="250"/>
                </a:lnTo>
                <a:lnTo>
                  <a:pt x="2" y="257"/>
                </a:lnTo>
                <a:lnTo>
                  <a:pt x="1" y="260"/>
                </a:lnTo>
                <a:lnTo>
                  <a:pt x="0" y="264"/>
                </a:lnTo>
                <a:lnTo>
                  <a:pt x="0" y="264"/>
                </a:lnTo>
                <a:lnTo>
                  <a:pt x="2" y="267"/>
                </a:lnTo>
                <a:lnTo>
                  <a:pt x="7" y="272"/>
                </a:lnTo>
                <a:lnTo>
                  <a:pt x="23" y="283"/>
                </a:lnTo>
                <a:lnTo>
                  <a:pt x="40" y="295"/>
                </a:lnTo>
                <a:lnTo>
                  <a:pt x="51" y="304"/>
                </a:lnTo>
                <a:lnTo>
                  <a:pt x="51" y="304"/>
                </a:lnTo>
                <a:lnTo>
                  <a:pt x="25" y="304"/>
                </a:lnTo>
                <a:lnTo>
                  <a:pt x="25" y="304"/>
                </a:lnTo>
                <a:lnTo>
                  <a:pt x="18" y="303"/>
                </a:lnTo>
                <a:lnTo>
                  <a:pt x="10" y="304"/>
                </a:lnTo>
                <a:lnTo>
                  <a:pt x="7" y="305"/>
                </a:lnTo>
                <a:lnTo>
                  <a:pt x="3" y="308"/>
                </a:lnTo>
                <a:lnTo>
                  <a:pt x="1" y="312"/>
                </a:lnTo>
                <a:lnTo>
                  <a:pt x="0" y="318"/>
                </a:lnTo>
                <a:lnTo>
                  <a:pt x="0" y="318"/>
                </a:lnTo>
                <a:lnTo>
                  <a:pt x="1" y="325"/>
                </a:lnTo>
                <a:lnTo>
                  <a:pt x="3" y="328"/>
                </a:lnTo>
                <a:lnTo>
                  <a:pt x="7" y="330"/>
                </a:lnTo>
                <a:lnTo>
                  <a:pt x="10" y="331"/>
                </a:lnTo>
                <a:lnTo>
                  <a:pt x="20" y="334"/>
                </a:lnTo>
                <a:lnTo>
                  <a:pt x="24" y="335"/>
                </a:lnTo>
                <a:lnTo>
                  <a:pt x="29" y="337"/>
                </a:lnTo>
                <a:lnTo>
                  <a:pt x="29" y="337"/>
                </a:lnTo>
                <a:lnTo>
                  <a:pt x="33" y="339"/>
                </a:lnTo>
                <a:lnTo>
                  <a:pt x="37" y="343"/>
                </a:lnTo>
                <a:lnTo>
                  <a:pt x="39" y="348"/>
                </a:lnTo>
                <a:lnTo>
                  <a:pt x="40" y="352"/>
                </a:lnTo>
                <a:lnTo>
                  <a:pt x="41" y="362"/>
                </a:lnTo>
                <a:lnTo>
                  <a:pt x="44" y="373"/>
                </a:lnTo>
                <a:lnTo>
                  <a:pt x="44" y="373"/>
                </a:lnTo>
                <a:lnTo>
                  <a:pt x="45" y="376"/>
                </a:lnTo>
                <a:lnTo>
                  <a:pt x="46" y="379"/>
                </a:lnTo>
                <a:lnTo>
                  <a:pt x="52" y="383"/>
                </a:lnTo>
                <a:lnTo>
                  <a:pt x="59" y="387"/>
                </a:lnTo>
                <a:lnTo>
                  <a:pt x="67" y="390"/>
                </a:lnTo>
                <a:lnTo>
                  <a:pt x="76" y="392"/>
                </a:lnTo>
                <a:lnTo>
                  <a:pt x="86" y="395"/>
                </a:lnTo>
                <a:lnTo>
                  <a:pt x="102" y="396"/>
                </a:lnTo>
                <a:lnTo>
                  <a:pt x="102" y="396"/>
                </a:lnTo>
                <a:lnTo>
                  <a:pt x="106" y="396"/>
                </a:lnTo>
                <a:lnTo>
                  <a:pt x="109" y="395"/>
                </a:lnTo>
                <a:lnTo>
                  <a:pt x="112" y="392"/>
                </a:lnTo>
                <a:lnTo>
                  <a:pt x="113" y="390"/>
                </a:lnTo>
                <a:lnTo>
                  <a:pt x="115" y="384"/>
                </a:lnTo>
                <a:lnTo>
                  <a:pt x="116" y="376"/>
                </a:lnTo>
                <a:lnTo>
                  <a:pt x="114" y="360"/>
                </a:lnTo>
                <a:lnTo>
                  <a:pt x="113" y="344"/>
                </a:lnTo>
                <a:lnTo>
                  <a:pt x="113" y="344"/>
                </a:lnTo>
                <a:lnTo>
                  <a:pt x="123" y="348"/>
                </a:lnTo>
                <a:lnTo>
                  <a:pt x="131" y="351"/>
                </a:lnTo>
                <a:lnTo>
                  <a:pt x="138" y="354"/>
                </a:lnTo>
                <a:lnTo>
                  <a:pt x="146" y="356"/>
                </a:lnTo>
                <a:lnTo>
                  <a:pt x="146" y="356"/>
                </a:lnTo>
                <a:lnTo>
                  <a:pt x="147" y="349"/>
                </a:lnTo>
                <a:lnTo>
                  <a:pt x="146" y="342"/>
                </a:lnTo>
                <a:lnTo>
                  <a:pt x="143" y="330"/>
                </a:lnTo>
                <a:lnTo>
                  <a:pt x="139" y="320"/>
                </a:lnTo>
                <a:lnTo>
                  <a:pt x="138" y="315"/>
                </a:lnTo>
                <a:lnTo>
                  <a:pt x="139" y="311"/>
                </a:lnTo>
                <a:lnTo>
                  <a:pt x="139" y="311"/>
                </a:lnTo>
                <a:lnTo>
                  <a:pt x="145" y="320"/>
                </a:lnTo>
                <a:lnTo>
                  <a:pt x="151" y="328"/>
                </a:lnTo>
                <a:lnTo>
                  <a:pt x="154" y="331"/>
                </a:lnTo>
                <a:lnTo>
                  <a:pt x="156" y="335"/>
                </a:lnTo>
                <a:lnTo>
                  <a:pt x="161" y="336"/>
                </a:lnTo>
                <a:lnTo>
                  <a:pt x="164" y="337"/>
                </a:lnTo>
                <a:lnTo>
                  <a:pt x="164" y="337"/>
                </a:lnTo>
                <a:lnTo>
                  <a:pt x="169" y="336"/>
                </a:lnTo>
                <a:lnTo>
                  <a:pt x="174" y="335"/>
                </a:lnTo>
                <a:lnTo>
                  <a:pt x="176" y="331"/>
                </a:lnTo>
                <a:lnTo>
                  <a:pt x="177" y="329"/>
                </a:lnTo>
                <a:lnTo>
                  <a:pt x="179" y="321"/>
                </a:lnTo>
                <a:lnTo>
                  <a:pt x="179" y="314"/>
                </a:lnTo>
                <a:lnTo>
                  <a:pt x="179" y="314"/>
                </a:lnTo>
                <a:lnTo>
                  <a:pt x="179" y="308"/>
                </a:lnTo>
                <a:lnTo>
                  <a:pt x="178" y="304"/>
                </a:lnTo>
                <a:lnTo>
                  <a:pt x="175" y="297"/>
                </a:lnTo>
                <a:lnTo>
                  <a:pt x="175" y="295"/>
                </a:lnTo>
                <a:lnTo>
                  <a:pt x="175" y="292"/>
                </a:lnTo>
                <a:lnTo>
                  <a:pt x="176" y="289"/>
                </a:lnTo>
                <a:lnTo>
                  <a:pt x="179" y="285"/>
                </a:lnTo>
                <a:lnTo>
                  <a:pt x="179" y="285"/>
                </a:lnTo>
                <a:lnTo>
                  <a:pt x="183" y="291"/>
                </a:lnTo>
                <a:lnTo>
                  <a:pt x="189" y="297"/>
                </a:lnTo>
                <a:lnTo>
                  <a:pt x="193" y="301"/>
                </a:lnTo>
                <a:lnTo>
                  <a:pt x="198" y="304"/>
                </a:lnTo>
                <a:lnTo>
                  <a:pt x="198" y="304"/>
                </a:lnTo>
                <a:lnTo>
                  <a:pt x="201" y="303"/>
                </a:lnTo>
                <a:lnTo>
                  <a:pt x="205" y="301"/>
                </a:lnTo>
                <a:lnTo>
                  <a:pt x="212" y="296"/>
                </a:lnTo>
                <a:lnTo>
                  <a:pt x="217" y="287"/>
                </a:lnTo>
                <a:lnTo>
                  <a:pt x="224" y="277"/>
                </a:lnTo>
                <a:lnTo>
                  <a:pt x="236" y="257"/>
                </a:lnTo>
                <a:lnTo>
                  <a:pt x="240" y="250"/>
                </a:lnTo>
                <a:lnTo>
                  <a:pt x="245" y="244"/>
                </a:lnTo>
                <a:lnTo>
                  <a:pt x="245" y="244"/>
                </a:lnTo>
                <a:lnTo>
                  <a:pt x="255" y="254"/>
                </a:lnTo>
                <a:lnTo>
                  <a:pt x="260" y="258"/>
                </a:lnTo>
                <a:lnTo>
                  <a:pt x="263" y="259"/>
                </a:lnTo>
                <a:lnTo>
                  <a:pt x="268" y="259"/>
                </a:lnTo>
                <a:lnTo>
                  <a:pt x="268" y="259"/>
                </a:lnTo>
                <a:lnTo>
                  <a:pt x="272" y="259"/>
                </a:lnTo>
                <a:lnTo>
                  <a:pt x="274" y="257"/>
                </a:lnTo>
                <a:lnTo>
                  <a:pt x="277" y="250"/>
                </a:lnTo>
                <a:lnTo>
                  <a:pt x="280" y="244"/>
                </a:lnTo>
                <a:lnTo>
                  <a:pt x="282" y="242"/>
                </a:lnTo>
                <a:lnTo>
                  <a:pt x="285" y="241"/>
                </a:lnTo>
                <a:lnTo>
                  <a:pt x="285" y="241"/>
                </a:lnTo>
                <a:lnTo>
                  <a:pt x="296" y="241"/>
                </a:lnTo>
                <a:lnTo>
                  <a:pt x="311" y="241"/>
                </a:lnTo>
                <a:lnTo>
                  <a:pt x="328" y="238"/>
                </a:lnTo>
                <a:lnTo>
                  <a:pt x="335" y="236"/>
                </a:lnTo>
                <a:lnTo>
                  <a:pt x="341" y="234"/>
                </a:lnTo>
                <a:lnTo>
                  <a:pt x="341" y="234"/>
                </a:lnTo>
                <a:lnTo>
                  <a:pt x="344" y="230"/>
                </a:lnTo>
                <a:lnTo>
                  <a:pt x="346" y="227"/>
                </a:lnTo>
                <a:lnTo>
                  <a:pt x="349" y="217"/>
                </a:lnTo>
                <a:lnTo>
                  <a:pt x="350" y="213"/>
                </a:lnTo>
                <a:lnTo>
                  <a:pt x="352" y="209"/>
                </a:lnTo>
                <a:lnTo>
                  <a:pt x="354" y="206"/>
                </a:lnTo>
                <a:lnTo>
                  <a:pt x="359" y="205"/>
                </a:lnTo>
                <a:lnTo>
                  <a:pt x="359" y="205"/>
                </a:lnTo>
                <a:lnTo>
                  <a:pt x="379" y="196"/>
                </a:lnTo>
                <a:lnTo>
                  <a:pt x="397" y="190"/>
                </a:lnTo>
                <a:lnTo>
                  <a:pt x="414" y="184"/>
                </a:lnTo>
                <a:lnTo>
                  <a:pt x="431" y="181"/>
                </a:lnTo>
                <a:lnTo>
                  <a:pt x="469" y="173"/>
                </a:lnTo>
                <a:lnTo>
                  <a:pt x="518" y="165"/>
                </a:lnTo>
                <a:lnTo>
                  <a:pt x="518" y="165"/>
                </a:lnTo>
                <a:lnTo>
                  <a:pt x="639" y="165"/>
                </a:lnTo>
                <a:lnTo>
                  <a:pt x="639" y="165"/>
                </a:lnTo>
                <a:lnTo>
                  <a:pt x="639" y="165"/>
                </a:lnTo>
                <a:lnTo>
                  <a:pt x="679" y="147"/>
                </a:lnTo>
                <a:lnTo>
                  <a:pt x="700" y="138"/>
                </a:lnTo>
                <a:lnTo>
                  <a:pt x="709" y="133"/>
                </a:lnTo>
                <a:lnTo>
                  <a:pt x="718" y="128"/>
                </a:lnTo>
                <a:lnTo>
                  <a:pt x="727" y="121"/>
                </a:lnTo>
                <a:lnTo>
                  <a:pt x="735" y="114"/>
                </a:lnTo>
                <a:lnTo>
                  <a:pt x="742" y="106"/>
                </a:lnTo>
                <a:lnTo>
                  <a:pt x="748" y="98"/>
                </a:lnTo>
                <a:lnTo>
                  <a:pt x="752" y="87"/>
                </a:lnTo>
                <a:lnTo>
                  <a:pt x="757" y="76"/>
                </a:lnTo>
                <a:lnTo>
                  <a:pt x="759" y="63"/>
                </a:lnTo>
                <a:lnTo>
                  <a:pt x="759" y="49"/>
                </a:lnTo>
                <a:lnTo>
                  <a:pt x="759" y="49"/>
                </a:lnTo>
                <a:lnTo>
                  <a:pt x="759" y="41"/>
                </a:lnTo>
                <a:lnTo>
                  <a:pt x="757" y="33"/>
                </a:lnTo>
                <a:lnTo>
                  <a:pt x="752" y="26"/>
                </a:lnTo>
                <a:lnTo>
                  <a:pt x="748" y="20"/>
                </a:lnTo>
                <a:lnTo>
                  <a:pt x="742" y="15"/>
                </a:lnTo>
                <a:lnTo>
                  <a:pt x="736" y="10"/>
                </a:lnTo>
                <a:lnTo>
                  <a:pt x="729" y="7"/>
                </a:lnTo>
                <a:lnTo>
                  <a:pt x="723" y="5"/>
                </a:lnTo>
                <a:lnTo>
                  <a:pt x="710" y="1"/>
                </a:lnTo>
                <a:lnTo>
                  <a:pt x="697" y="0"/>
                </a:lnTo>
                <a:lnTo>
                  <a:pt x="689" y="0"/>
                </a:lnTo>
                <a:lnTo>
                  <a:pt x="687" y="1"/>
                </a:lnTo>
                <a:lnTo>
                  <a:pt x="686" y="2"/>
                </a:lnTo>
                <a:lnTo>
                  <a:pt x="686" y="2"/>
                </a:lnTo>
                <a:lnTo>
                  <a:pt x="686" y="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8" name="Freeform 53"/>
          <p:cNvSpPr>
            <a:spLocks/>
          </p:cNvSpPr>
          <p:nvPr/>
        </p:nvSpPr>
        <p:spPr bwMode="auto">
          <a:xfrm>
            <a:off x="887413" y="3209925"/>
            <a:ext cx="279400" cy="474663"/>
          </a:xfrm>
          <a:custGeom>
            <a:avLst/>
            <a:gdLst/>
            <a:ahLst/>
            <a:cxnLst>
              <a:cxn ang="0">
                <a:pos x="253" y="0"/>
              </a:cxn>
              <a:cxn ang="0">
                <a:pos x="222" y="37"/>
              </a:cxn>
              <a:cxn ang="0">
                <a:pos x="191" y="67"/>
              </a:cxn>
              <a:cxn ang="0">
                <a:pos x="174" y="102"/>
              </a:cxn>
              <a:cxn ang="0">
                <a:pos x="160" y="116"/>
              </a:cxn>
              <a:cxn ang="0">
                <a:pos x="123" y="116"/>
              </a:cxn>
              <a:cxn ang="0">
                <a:pos x="107" y="123"/>
              </a:cxn>
              <a:cxn ang="0">
                <a:pos x="103" y="140"/>
              </a:cxn>
              <a:cxn ang="0">
                <a:pos x="110" y="179"/>
              </a:cxn>
              <a:cxn ang="0">
                <a:pos x="86" y="191"/>
              </a:cxn>
              <a:cxn ang="0">
                <a:pos x="57" y="208"/>
              </a:cxn>
              <a:cxn ang="0">
                <a:pos x="34" y="270"/>
              </a:cxn>
              <a:cxn ang="0">
                <a:pos x="23" y="298"/>
              </a:cxn>
              <a:cxn ang="0">
                <a:pos x="3" y="318"/>
              </a:cxn>
              <a:cxn ang="0">
                <a:pos x="0" y="337"/>
              </a:cxn>
              <a:cxn ang="0">
                <a:pos x="16" y="367"/>
              </a:cxn>
              <a:cxn ang="0">
                <a:pos x="32" y="392"/>
              </a:cxn>
              <a:cxn ang="0">
                <a:pos x="29" y="408"/>
              </a:cxn>
              <a:cxn ang="0">
                <a:pos x="11" y="426"/>
              </a:cxn>
              <a:cxn ang="0">
                <a:pos x="8" y="438"/>
              </a:cxn>
              <a:cxn ang="0">
                <a:pos x="46" y="460"/>
              </a:cxn>
              <a:cxn ang="0">
                <a:pos x="65" y="477"/>
              </a:cxn>
              <a:cxn ang="0">
                <a:pos x="71" y="515"/>
              </a:cxn>
              <a:cxn ang="0">
                <a:pos x="82" y="534"/>
              </a:cxn>
              <a:cxn ang="0">
                <a:pos x="91" y="535"/>
              </a:cxn>
              <a:cxn ang="0">
                <a:pos x="103" y="526"/>
              </a:cxn>
              <a:cxn ang="0">
                <a:pos x="112" y="528"/>
              </a:cxn>
              <a:cxn ang="0">
                <a:pos x="129" y="543"/>
              </a:cxn>
              <a:cxn ang="0">
                <a:pos x="147" y="537"/>
              </a:cxn>
              <a:cxn ang="0">
                <a:pos x="190" y="502"/>
              </a:cxn>
              <a:cxn ang="0">
                <a:pos x="198" y="484"/>
              </a:cxn>
              <a:cxn ang="0">
                <a:pos x="202" y="434"/>
              </a:cxn>
              <a:cxn ang="0">
                <a:pos x="215" y="404"/>
              </a:cxn>
              <a:cxn ang="0">
                <a:pos x="231" y="404"/>
              </a:cxn>
              <a:cxn ang="0">
                <a:pos x="235" y="366"/>
              </a:cxn>
              <a:cxn ang="0">
                <a:pos x="271" y="327"/>
              </a:cxn>
              <a:cxn ang="0">
                <a:pos x="308" y="285"/>
              </a:cxn>
              <a:cxn ang="0">
                <a:pos x="312" y="267"/>
              </a:cxn>
              <a:cxn ang="0">
                <a:pos x="298" y="238"/>
              </a:cxn>
              <a:cxn ang="0">
                <a:pos x="299" y="211"/>
              </a:cxn>
              <a:cxn ang="0">
                <a:pos x="317" y="190"/>
              </a:cxn>
              <a:cxn ang="0">
                <a:pos x="331" y="181"/>
              </a:cxn>
              <a:cxn ang="0">
                <a:pos x="331" y="146"/>
              </a:cxn>
              <a:cxn ang="0">
                <a:pos x="341" y="107"/>
              </a:cxn>
              <a:cxn ang="0">
                <a:pos x="337" y="77"/>
              </a:cxn>
              <a:cxn ang="0">
                <a:pos x="320" y="49"/>
              </a:cxn>
              <a:cxn ang="0">
                <a:pos x="316" y="9"/>
              </a:cxn>
              <a:cxn ang="0">
                <a:pos x="315" y="0"/>
              </a:cxn>
            </a:cxnLst>
            <a:rect l="0" t="0" r="r" b="b"/>
            <a:pathLst>
              <a:path w="342" h="543">
                <a:moveTo>
                  <a:pt x="315" y="0"/>
                </a:moveTo>
                <a:lnTo>
                  <a:pt x="253" y="0"/>
                </a:lnTo>
                <a:lnTo>
                  <a:pt x="253" y="0"/>
                </a:lnTo>
                <a:lnTo>
                  <a:pt x="253" y="0"/>
                </a:lnTo>
                <a:lnTo>
                  <a:pt x="246" y="13"/>
                </a:lnTo>
                <a:lnTo>
                  <a:pt x="238" y="22"/>
                </a:lnTo>
                <a:lnTo>
                  <a:pt x="230" y="30"/>
                </a:lnTo>
                <a:lnTo>
                  <a:pt x="222" y="37"/>
                </a:lnTo>
                <a:lnTo>
                  <a:pt x="206" y="51"/>
                </a:lnTo>
                <a:lnTo>
                  <a:pt x="198" y="57"/>
                </a:lnTo>
                <a:lnTo>
                  <a:pt x="191" y="67"/>
                </a:lnTo>
                <a:lnTo>
                  <a:pt x="191" y="67"/>
                </a:lnTo>
                <a:lnTo>
                  <a:pt x="187" y="71"/>
                </a:lnTo>
                <a:lnTo>
                  <a:pt x="184" y="78"/>
                </a:lnTo>
                <a:lnTo>
                  <a:pt x="179" y="90"/>
                </a:lnTo>
                <a:lnTo>
                  <a:pt x="174" y="102"/>
                </a:lnTo>
                <a:lnTo>
                  <a:pt x="170" y="108"/>
                </a:lnTo>
                <a:lnTo>
                  <a:pt x="166" y="114"/>
                </a:lnTo>
                <a:lnTo>
                  <a:pt x="166" y="114"/>
                </a:lnTo>
                <a:lnTo>
                  <a:pt x="160" y="116"/>
                </a:lnTo>
                <a:lnTo>
                  <a:pt x="154" y="116"/>
                </a:lnTo>
                <a:lnTo>
                  <a:pt x="139" y="116"/>
                </a:lnTo>
                <a:lnTo>
                  <a:pt x="131" y="116"/>
                </a:lnTo>
                <a:lnTo>
                  <a:pt x="123" y="116"/>
                </a:lnTo>
                <a:lnTo>
                  <a:pt x="116" y="117"/>
                </a:lnTo>
                <a:lnTo>
                  <a:pt x="110" y="121"/>
                </a:lnTo>
                <a:lnTo>
                  <a:pt x="110" y="121"/>
                </a:lnTo>
                <a:lnTo>
                  <a:pt x="107" y="123"/>
                </a:lnTo>
                <a:lnTo>
                  <a:pt x="105" y="127"/>
                </a:lnTo>
                <a:lnTo>
                  <a:pt x="103" y="130"/>
                </a:lnTo>
                <a:lnTo>
                  <a:pt x="102" y="133"/>
                </a:lnTo>
                <a:lnTo>
                  <a:pt x="103" y="140"/>
                </a:lnTo>
                <a:lnTo>
                  <a:pt x="105" y="147"/>
                </a:lnTo>
                <a:lnTo>
                  <a:pt x="109" y="163"/>
                </a:lnTo>
                <a:lnTo>
                  <a:pt x="110" y="171"/>
                </a:lnTo>
                <a:lnTo>
                  <a:pt x="110" y="179"/>
                </a:lnTo>
                <a:lnTo>
                  <a:pt x="110" y="179"/>
                </a:lnTo>
                <a:lnTo>
                  <a:pt x="107" y="182"/>
                </a:lnTo>
                <a:lnTo>
                  <a:pt x="101" y="184"/>
                </a:lnTo>
                <a:lnTo>
                  <a:pt x="86" y="191"/>
                </a:lnTo>
                <a:lnTo>
                  <a:pt x="65" y="198"/>
                </a:lnTo>
                <a:lnTo>
                  <a:pt x="65" y="198"/>
                </a:lnTo>
                <a:lnTo>
                  <a:pt x="61" y="202"/>
                </a:lnTo>
                <a:lnTo>
                  <a:pt x="57" y="208"/>
                </a:lnTo>
                <a:lnTo>
                  <a:pt x="51" y="219"/>
                </a:lnTo>
                <a:lnTo>
                  <a:pt x="46" y="231"/>
                </a:lnTo>
                <a:lnTo>
                  <a:pt x="41" y="244"/>
                </a:lnTo>
                <a:lnTo>
                  <a:pt x="34" y="270"/>
                </a:lnTo>
                <a:lnTo>
                  <a:pt x="31" y="283"/>
                </a:lnTo>
                <a:lnTo>
                  <a:pt x="26" y="293"/>
                </a:lnTo>
                <a:lnTo>
                  <a:pt x="26" y="293"/>
                </a:lnTo>
                <a:lnTo>
                  <a:pt x="23" y="298"/>
                </a:lnTo>
                <a:lnTo>
                  <a:pt x="18" y="303"/>
                </a:lnTo>
                <a:lnTo>
                  <a:pt x="10" y="309"/>
                </a:lnTo>
                <a:lnTo>
                  <a:pt x="6" y="313"/>
                </a:lnTo>
                <a:lnTo>
                  <a:pt x="3" y="318"/>
                </a:lnTo>
                <a:lnTo>
                  <a:pt x="1" y="323"/>
                </a:lnTo>
                <a:lnTo>
                  <a:pt x="0" y="330"/>
                </a:lnTo>
                <a:lnTo>
                  <a:pt x="0" y="330"/>
                </a:lnTo>
                <a:lnTo>
                  <a:pt x="0" y="337"/>
                </a:lnTo>
                <a:lnTo>
                  <a:pt x="1" y="343"/>
                </a:lnTo>
                <a:lnTo>
                  <a:pt x="6" y="353"/>
                </a:lnTo>
                <a:lnTo>
                  <a:pt x="10" y="361"/>
                </a:lnTo>
                <a:lnTo>
                  <a:pt x="16" y="367"/>
                </a:lnTo>
                <a:lnTo>
                  <a:pt x="23" y="374"/>
                </a:lnTo>
                <a:lnTo>
                  <a:pt x="28" y="381"/>
                </a:lnTo>
                <a:lnTo>
                  <a:pt x="31" y="388"/>
                </a:lnTo>
                <a:lnTo>
                  <a:pt x="32" y="392"/>
                </a:lnTo>
                <a:lnTo>
                  <a:pt x="33" y="397"/>
                </a:lnTo>
                <a:lnTo>
                  <a:pt x="33" y="397"/>
                </a:lnTo>
                <a:lnTo>
                  <a:pt x="32" y="403"/>
                </a:lnTo>
                <a:lnTo>
                  <a:pt x="29" y="408"/>
                </a:lnTo>
                <a:lnTo>
                  <a:pt x="25" y="413"/>
                </a:lnTo>
                <a:lnTo>
                  <a:pt x="19" y="416"/>
                </a:lnTo>
                <a:lnTo>
                  <a:pt x="15" y="421"/>
                </a:lnTo>
                <a:lnTo>
                  <a:pt x="11" y="426"/>
                </a:lnTo>
                <a:lnTo>
                  <a:pt x="8" y="431"/>
                </a:lnTo>
                <a:lnTo>
                  <a:pt x="7" y="437"/>
                </a:lnTo>
                <a:lnTo>
                  <a:pt x="7" y="437"/>
                </a:lnTo>
                <a:lnTo>
                  <a:pt x="8" y="438"/>
                </a:lnTo>
                <a:lnTo>
                  <a:pt x="9" y="441"/>
                </a:lnTo>
                <a:lnTo>
                  <a:pt x="16" y="444"/>
                </a:lnTo>
                <a:lnTo>
                  <a:pt x="36" y="454"/>
                </a:lnTo>
                <a:lnTo>
                  <a:pt x="46" y="460"/>
                </a:lnTo>
                <a:lnTo>
                  <a:pt x="55" y="466"/>
                </a:lnTo>
                <a:lnTo>
                  <a:pt x="62" y="472"/>
                </a:lnTo>
                <a:lnTo>
                  <a:pt x="64" y="475"/>
                </a:lnTo>
                <a:lnTo>
                  <a:pt x="65" y="477"/>
                </a:lnTo>
                <a:lnTo>
                  <a:pt x="65" y="477"/>
                </a:lnTo>
                <a:lnTo>
                  <a:pt x="68" y="487"/>
                </a:lnTo>
                <a:lnTo>
                  <a:pt x="69" y="496"/>
                </a:lnTo>
                <a:lnTo>
                  <a:pt x="71" y="515"/>
                </a:lnTo>
                <a:lnTo>
                  <a:pt x="74" y="524"/>
                </a:lnTo>
                <a:lnTo>
                  <a:pt x="76" y="529"/>
                </a:lnTo>
                <a:lnTo>
                  <a:pt x="78" y="533"/>
                </a:lnTo>
                <a:lnTo>
                  <a:pt x="82" y="534"/>
                </a:lnTo>
                <a:lnTo>
                  <a:pt x="84" y="535"/>
                </a:lnTo>
                <a:lnTo>
                  <a:pt x="88" y="536"/>
                </a:lnTo>
                <a:lnTo>
                  <a:pt x="88" y="536"/>
                </a:lnTo>
                <a:lnTo>
                  <a:pt x="91" y="535"/>
                </a:lnTo>
                <a:lnTo>
                  <a:pt x="93" y="534"/>
                </a:lnTo>
                <a:lnTo>
                  <a:pt x="98" y="530"/>
                </a:lnTo>
                <a:lnTo>
                  <a:pt x="101" y="527"/>
                </a:lnTo>
                <a:lnTo>
                  <a:pt x="103" y="526"/>
                </a:lnTo>
                <a:lnTo>
                  <a:pt x="107" y="526"/>
                </a:lnTo>
                <a:lnTo>
                  <a:pt x="107" y="526"/>
                </a:lnTo>
                <a:lnTo>
                  <a:pt x="109" y="526"/>
                </a:lnTo>
                <a:lnTo>
                  <a:pt x="112" y="528"/>
                </a:lnTo>
                <a:lnTo>
                  <a:pt x="116" y="534"/>
                </a:lnTo>
                <a:lnTo>
                  <a:pt x="122" y="541"/>
                </a:lnTo>
                <a:lnTo>
                  <a:pt x="125" y="543"/>
                </a:lnTo>
                <a:lnTo>
                  <a:pt x="129" y="543"/>
                </a:lnTo>
                <a:lnTo>
                  <a:pt x="129" y="543"/>
                </a:lnTo>
                <a:lnTo>
                  <a:pt x="132" y="543"/>
                </a:lnTo>
                <a:lnTo>
                  <a:pt x="137" y="542"/>
                </a:lnTo>
                <a:lnTo>
                  <a:pt x="147" y="537"/>
                </a:lnTo>
                <a:lnTo>
                  <a:pt x="159" y="529"/>
                </a:lnTo>
                <a:lnTo>
                  <a:pt x="170" y="521"/>
                </a:lnTo>
                <a:lnTo>
                  <a:pt x="181" y="511"/>
                </a:lnTo>
                <a:lnTo>
                  <a:pt x="190" y="502"/>
                </a:lnTo>
                <a:lnTo>
                  <a:pt x="196" y="492"/>
                </a:lnTo>
                <a:lnTo>
                  <a:pt x="198" y="488"/>
                </a:lnTo>
                <a:lnTo>
                  <a:pt x="198" y="484"/>
                </a:lnTo>
                <a:lnTo>
                  <a:pt x="198" y="484"/>
                </a:lnTo>
                <a:lnTo>
                  <a:pt x="198" y="459"/>
                </a:lnTo>
                <a:lnTo>
                  <a:pt x="198" y="459"/>
                </a:lnTo>
                <a:lnTo>
                  <a:pt x="199" y="448"/>
                </a:lnTo>
                <a:lnTo>
                  <a:pt x="202" y="434"/>
                </a:lnTo>
                <a:lnTo>
                  <a:pt x="206" y="420"/>
                </a:lnTo>
                <a:lnTo>
                  <a:pt x="209" y="404"/>
                </a:lnTo>
                <a:lnTo>
                  <a:pt x="209" y="404"/>
                </a:lnTo>
                <a:lnTo>
                  <a:pt x="215" y="404"/>
                </a:lnTo>
                <a:lnTo>
                  <a:pt x="221" y="403"/>
                </a:lnTo>
                <a:lnTo>
                  <a:pt x="225" y="403"/>
                </a:lnTo>
                <a:lnTo>
                  <a:pt x="231" y="404"/>
                </a:lnTo>
                <a:lnTo>
                  <a:pt x="231" y="404"/>
                </a:lnTo>
                <a:lnTo>
                  <a:pt x="231" y="379"/>
                </a:lnTo>
                <a:lnTo>
                  <a:pt x="231" y="379"/>
                </a:lnTo>
                <a:lnTo>
                  <a:pt x="232" y="372"/>
                </a:lnTo>
                <a:lnTo>
                  <a:pt x="235" y="366"/>
                </a:lnTo>
                <a:lnTo>
                  <a:pt x="239" y="359"/>
                </a:lnTo>
                <a:lnTo>
                  <a:pt x="244" y="353"/>
                </a:lnTo>
                <a:lnTo>
                  <a:pt x="258" y="339"/>
                </a:lnTo>
                <a:lnTo>
                  <a:pt x="271" y="327"/>
                </a:lnTo>
                <a:lnTo>
                  <a:pt x="286" y="313"/>
                </a:lnTo>
                <a:lnTo>
                  <a:pt x="299" y="299"/>
                </a:lnTo>
                <a:lnTo>
                  <a:pt x="305" y="292"/>
                </a:lnTo>
                <a:lnTo>
                  <a:pt x="308" y="285"/>
                </a:lnTo>
                <a:lnTo>
                  <a:pt x="312" y="278"/>
                </a:lnTo>
                <a:lnTo>
                  <a:pt x="312" y="272"/>
                </a:lnTo>
                <a:lnTo>
                  <a:pt x="312" y="272"/>
                </a:lnTo>
                <a:lnTo>
                  <a:pt x="312" y="267"/>
                </a:lnTo>
                <a:lnTo>
                  <a:pt x="309" y="262"/>
                </a:lnTo>
                <a:lnTo>
                  <a:pt x="305" y="253"/>
                </a:lnTo>
                <a:lnTo>
                  <a:pt x="300" y="243"/>
                </a:lnTo>
                <a:lnTo>
                  <a:pt x="298" y="238"/>
                </a:lnTo>
                <a:lnTo>
                  <a:pt x="298" y="231"/>
                </a:lnTo>
                <a:lnTo>
                  <a:pt x="298" y="231"/>
                </a:lnTo>
                <a:lnTo>
                  <a:pt x="298" y="220"/>
                </a:lnTo>
                <a:lnTo>
                  <a:pt x="299" y="211"/>
                </a:lnTo>
                <a:lnTo>
                  <a:pt x="303" y="202"/>
                </a:lnTo>
                <a:lnTo>
                  <a:pt x="306" y="197"/>
                </a:lnTo>
                <a:lnTo>
                  <a:pt x="312" y="192"/>
                </a:lnTo>
                <a:lnTo>
                  <a:pt x="317" y="190"/>
                </a:lnTo>
                <a:lnTo>
                  <a:pt x="326" y="188"/>
                </a:lnTo>
                <a:lnTo>
                  <a:pt x="334" y="188"/>
                </a:lnTo>
                <a:lnTo>
                  <a:pt x="334" y="188"/>
                </a:lnTo>
                <a:lnTo>
                  <a:pt x="331" y="181"/>
                </a:lnTo>
                <a:lnTo>
                  <a:pt x="331" y="171"/>
                </a:lnTo>
                <a:lnTo>
                  <a:pt x="330" y="154"/>
                </a:lnTo>
                <a:lnTo>
                  <a:pt x="330" y="154"/>
                </a:lnTo>
                <a:lnTo>
                  <a:pt x="331" y="146"/>
                </a:lnTo>
                <a:lnTo>
                  <a:pt x="332" y="139"/>
                </a:lnTo>
                <a:lnTo>
                  <a:pt x="336" y="127"/>
                </a:lnTo>
                <a:lnTo>
                  <a:pt x="339" y="114"/>
                </a:lnTo>
                <a:lnTo>
                  <a:pt x="341" y="107"/>
                </a:lnTo>
                <a:lnTo>
                  <a:pt x="342" y="99"/>
                </a:lnTo>
                <a:lnTo>
                  <a:pt x="342" y="99"/>
                </a:lnTo>
                <a:lnTo>
                  <a:pt x="341" y="87"/>
                </a:lnTo>
                <a:lnTo>
                  <a:pt x="337" y="77"/>
                </a:lnTo>
                <a:lnTo>
                  <a:pt x="334" y="70"/>
                </a:lnTo>
                <a:lnTo>
                  <a:pt x="329" y="63"/>
                </a:lnTo>
                <a:lnTo>
                  <a:pt x="324" y="56"/>
                </a:lnTo>
                <a:lnTo>
                  <a:pt x="320" y="49"/>
                </a:lnTo>
                <a:lnTo>
                  <a:pt x="316" y="39"/>
                </a:lnTo>
                <a:lnTo>
                  <a:pt x="315" y="25"/>
                </a:lnTo>
                <a:lnTo>
                  <a:pt x="315" y="25"/>
                </a:lnTo>
                <a:lnTo>
                  <a:pt x="316" y="9"/>
                </a:lnTo>
                <a:lnTo>
                  <a:pt x="317" y="3"/>
                </a:lnTo>
                <a:lnTo>
                  <a:pt x="319" y="0"/>
                </a:lnTo>
                <a:lnTo>
                  <a:pt x="319" y="0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59" name="Freeform 54"/>
          <p:cNvSpPr>
            <a:spLocks/>
          </p:cNvSpPr>
          <p:nvPr/>
        </p:nvSpPr>
        <p:spPr bwMode="auto">
          <a:xfrm>
            <a:off x="1077913" y="3359150"/>
            <a:ext cx="385762" cy="325438"/>
          </a:xfrm>
          <a:custGeom>
            <a:avLst/>
            <a:gdLst/>
            <a:ahLst/>
            <a:cxnLst>
              <a:cxn ang="0">
                <a:pos x="469" y="354"/>
              </a:cxn>
              <a:cxn ang="0">
                <a:pos x="471" y="306"/>
              </a:cxn>
              <a:cxn ang="0">
                <a:pos x="465" y="295"/>
              </a:cxn>
              <a:cxn ang="0">
                <a:pos x="436" y="286"/>
              </a:cxn>
              <a:cxn ang="0">
                <a:pos x="431" y="279"/>
              </a:cxn>
              <a:cxn ang="0">
                <a:pos x="441" y="247"/>
              </a:cxn>
              <a:cxn ang="0">
                <a:pos x="446" y="220"/>
              </a:cxn>
              <a:cxn ang="0">
                <a:pos x="419" y="199"/>
              </a:cxn>
              <a:cxn ang="0">
                <a:pos x="404" y="169"/>
              </a:cxn>
              <a:cxn ang="0">
                <a:pos x="391" y="113"/>
              </a:cxn>
              <a:cxn ang="0">
                <a:pos x="379" y="100"/>
              </a:cxn>
              <a:cxn ang="0">
                <a:pos x="368" y="95"/>
              </a:cxn>
              <a:cxn ang="0">
                <a:pos x="357" y="99"/>
              </a:cxn>
              <a:cxn ang="0">
                <a:pos x="341" y="93"/>
              </a:cxn>
              <a:cxn ang="0">
                <a:pos x="332" y="64"/>
              </a:cxn>
              <a:cxn ang="0">
                <a:pos x="319" y="35"/>
              </a:cxn>
              <a:cxn ang="0">
                <a:pos x="298" y="29"/>
              </a:cxn>
              <a:cxn ang="0">
                <a:pos x="280" y="39"/>
              </a:cxn>
              <a:cxn ang="0">
                <a:pos x="266" y="40"/>
              </a:cxn>
              <a:cxn ang="0">
                <a:pos x="243" y="26"/>
              </a:cxn>
              <a:cxn ang="0">
                <a:pos x="227" y="19"/>
              </a:cxn>
              <a:cxn ang="0">
                <a:pos x="177" y="20"/>
              </a:cxn>
              <a:cxn ang="0">
                <a:pos x="165" y="13"/>
              </a:cxn>
              <a:cxn ang="0">
                <a:pos x="153" y="1"/>
              </a:cxn>
              <a:cxn ang="0">
                <a:pos x="141" y="3"/>
              </a:cxn>
              <a:cxn ang="0">
                <a:pos x="122" y="20"/>
              </a:cxn>
              <a:cxn ang="0">
                <a:pos x="111" y="19"/>
              </a:cxn>
              <a:cxn ang="0">
                <a:pos x="86" y="17"/>
              </a:cxn>
              <a:cxn ang="0">
                <a:pos x="68" y="38"/>
              </a:cxn>
              <a:cxn ang="0">
                <a:pos x="67" y="65"/>
              </a:cxn>
              <a:cxn ang="0">
                <a:pos x="81" y="94"/>
              </a:cxn>
              <a:cxn ang="0">
                <a:pos x="77" y="112"/>
              </a:cxn>
              <a:cxn ang="0">
                <a:pos x="40" y="154"/>
              </a:cxn>
              <a:cxn ang="0">
                <a:pos x="4" y="193"/>
              </a:cxn>
              <a:cxn ang="0">
                <a:pos x="0" y="227"/>
              </a:cxn>
              <a:cxn ang="0">
                <a:pos x="13" y="234"/>
              </a:cxn>
              <a:cxn ang="0">
                <a:pos x="29" y="262"/>
              </a:cxn>
              <a:cxn ang="0">
                <a:pos x="70" y="272"/>
              </a:cxn>
              <a:cxn ang="0">
                <a:pos x="124" y="277"/>
              </a:cxn>
              <a:cxn ang="0">
                <a:pos x="160" y="290"/>
              </a:cxn>
              <a:cxn ang="0">
                <a:pos x="179" y="309"/>
              </a:cxn>
              <a:cxn ang="0">
                <a:pos x="195" y="311"/>
              </a:cxn>
              <a:cxn ang="0">
                <a:pos x="241" y="293"/>
              </a:cxn>
              <a:cxn ang="0">
                <a:pos x="279" y="276"/>
              </a:cxn>
              <a:cxn ang="0">
                <a:pos x="297" y="278"/>
              </a:cxn>
              <a:cxn ang="0">
                <a:pos x="313" y="293"/>
              </a:cxn>
              <a:cxn ang="0">
                <a:pos x="326" y="325"/>
              </a:cxn>
              <a:cxn ang="0">
                <a:pos x="335" y="330"/>
              </a:cxn>
              <a:cxn ang="0">
                <a:pos x="355" y="321"/>
              </a:cxn>
              <a:cxn ang="0">
                <a:pos x="364" y="329"/>
              </a:cxn>
              <a:cxn ang="0">
                <a:pos x="379" y="344"/>
              </a:cxn>
              <a:cxn ang="0">
                <a:pos x="387" y="342"/>
              </a:cxn>
              <a:cxn ang="0">
                <a:pos x="401" y="333"/>
              </a:cxn>
              <a:cxn ang="0">
                <a:pos x="428" y="348"/>
              </a:cxn>
              <a:cxn ang="0">
                <a:pos x="464" y="363"/>
              </a:cxn>
            </a:cxnLst>
            <a:rect l="0" t="0" r="r" b="b"/>
            <a:pathLst>
              <a:path w="473" h="370">
                <a:moveTo>
                  <a:pt x="467" y="370"/>
                </a:moveTo>
                <a:lnTo>
                  <a:pt x="467" y="370"/>
                </a:lnTo>
                <a:lnTo>
                  <a:pt x="467" y="363"/>
                </a:lnTo>
                <a:lnTo>
                  <a:pt x="469" y="354"/>
                </a:lnTo>
                <a:lnTo>
                  <a:pt x="472" y="336"/>
                </a:lnTo>
                <a:lnTo>
                  <a:pt x="473" y="325"/>
                </a:lnTo>
                <a:lnTo>
                  <a:pt x="473" y="315"/>
                </a:lnTo>
                <a:lnTo>
                  <a:pt x="471" y="306"/>
                </a:lnTo>
                <a:lnTo>
                  <a:pt x="470" y="301"/>
                </a:lnTo>
                <a:lnTo>
                  <a:pt x="467" y="298"/>
                </a:lnTo>
                <a:lnTo>
                  <a:pt x="467" y="298"/>
                </a:lnTo>
                <a:lnTo>
                  <a:pt x="465" y="295"/>
                </a:lnTo>
                <a:lnTo>
                  <a:pt x="462" y="294"/>
                </a:lnTo>
                <a:lnTo>
                  <a:pt x="449" y="291"/>
                </a:lnTo>
                <a:lnTo>
                  <a:pt x="442" y="288"/>
                </a:lnTo>
                <a:lnTo>
                  <a:pt x="436" y="286"/>
                </a:lnTo>
                <a:lnTo>
                  <a:pt x="432" y="283"/>
                </a:lnTo>
                <a:lnTo>
                  <a:pt x="431" y="280"/>
                </a:lnTo>
                <a:lnTo>
                  <a:pt x="431" y="279"/>
                </a:lnTo>
                <a:lnTo>
                  <a:pt x="431" y="279"/>
                </a:lnTo>
                <a:lnTo>
                  <a:pt x="431" y="272"/>
                </a:lnTo>
                <a:lnTo>
                  <a:pt x="433" y="267"/>
                </a:lnTo>
                <a:lnTo>
                  <a:pt x="437" y="254"/>
                </a:lnTo>
                <a:lnTo>
                  <a:pt x="441" y="247"/>
                </a:lnTo>
                <a:lnTo>
                  <a:pt x="443" y="239"/>
                </a:lnTo>
                <a:lnTo>
                  <a:pt x="444" y="230"/>
                </a:lnTo>
                <a:lnTo>
                  <a:pt x="446" y="220"/>
                </a:lnTo>
                <a:lnTo>
                  <a:pt x="446" y="220"/>
                </a:lnTo>
                <a:lnTo>
                  <a:pt x="437" y="216"/>
                </a:lnTo>
                <a:lnTo>
                  <a:pt x="431" y="210"/>
                </a:lnTo>
                <a:lnTo>
                  <a:pt x="425" y="204"/>
                </a:lnTo>
                <a:lnTo>
                  <a:pt x="419" y="199"/>
                </a:lnTo>
                <a:lnTo>
                  <a:pt x="414" y="192"/>
                </a:lnTo>
                <a:lnTo>
                  <a:pt x="411" y="184"/>
                </a:lnTo>
                <a:lnTo>
                  <a:pt x="404" y="169"/>
                </a:lnTo>
                <a:lnTo>
                  <a:pt x="404" y="169"/>
                </a:lnTo>
                <a:lnTo>
                  <a:pt x="401" y="157"/>
                </a:lnTo>
                <a:lnTo>
                  <a:pt x="398" y="145"/>
                </a:lnTo>
                <a:lnTo>
                  <a:pt x="394" y="123"/>
                </a:lnTo>
                <a:lnTo>
                  <a:pt x="391" y="113"/>
                </a:lnTo>
                <a:lnTo>
                  <a:pt x="387" y="105"/>
                </a:lnTo>
                <a:lnTo>
                  <a:pt x="385" y="103"/>
                </a:lnTo>
                <a:lnTo>
                  <a:pt x="382" y="101"/>
                </a:lnTo>
                <a:lnTo>
                  <a:pt x="379" y="100"/>
                </a:lnTo>
                <a:lnTo>
                  <a:pt x="375" y="99"/>
                </a:lnTo>
                <a:lnTo>
                  <a:pt x="375" y="99"/>
                </a:lnTo>
                <a:lnTo>
                  <a:pt x="370" y="96"/>
                </a:lnTo>
                <a:lnTo>
                  <a:pt x="368" y="95"/>
                </a:lnTo>
                <a:lnTo>
                  <a:pt x="367" y="96"/>
                </a:lnTo>
                <a:lnTo>
                  <a:pt x="365" y="97"/>
                </a:lnTo>
                <a:lnTo>
                  <a:pt x="362" y="99"/>
                </a:lnTo>
                <a:lnTo>
                  <a:pt x="357" y="99"/>
                </a:lnTo>
                <a:lnTo>
                  <a:pt x="357" y="99"/>
                </a:lnTo>
                <a:lnTo>
                  <a:pt x="350" y="99"/>
                </a:lnTo>
                <a:lnTo>
                  <a:pt x="345" y="96"/>
                </a:lnTo>
                <a:lnTo>
                  <a:pt x="341" y="93"/>
                </a:lnTo>
                <a:lnTo>
                  <a:pt x="337" y="88"/>
                </a:lnTo>
                <a:lnTo>
                  <a:pt x="336" y="82"/>
                </a:lnTo>
                <a:lnTo>
                  <a:pt x="334" y="77"/>
                </a:lnTo>
                <a:lnTo>
                  <a:pt x="332" y="64"/>
                </a:lnTo>
                <a:lnTo>
                  <a:pt x="328" y="51"/>
                </a:lnTo>
                <a:lnTo>
                  <a:pt x="326" y="46"/>
                </a:lnTo>
                <a:lnTo>
                  <a:pt x="324" y="40"/>
                </a:lnTo>
                <a:lnTo>
                  <a:pt x="319" y="35"/>
                </a:lnTo>
                <a:lnTo>
                  <a:pt x="313" y="32"/>
                </a:lnTo>
                <a:lnTo>
                  <a:pt x="306" y="29"/>
                </a:lnTo>
                <a:lnTo>
                  <a:pt x="298" y="29"/>
                </a:lnTo>
                <a:lnTo>
                  <a:pt x="298" y="29"/>
                </a:lnTo>
                <a:lnTo>
                  <a:pt x="295" y="29"/>
                </a:lnTo>
                <a:lnTo>
                  <a:pt x="292" y="31"/>
                </a:lnTo>
                <a:lnTo>
                  <a:pt x="287" y="34"/>
                </a:lnTo>
                <a:lnTo>
                  <a:pt x="280" y="39"/>
                </a:lnTo>
                <a:lnTo>
                  <a:pt x="276" y="40"/>
                </a:lnTo>
                <a:lnTo>
                  <a:pt x="272" y="40"/>
                </a:lnTo>
                <a:lnTo>
                  <a:pt x="272" y="40"/>
                </a:lnTo>
                <a:lnTo>
                  <a:pt x="266" y="40"/>
                </a:lnTo>
                <a:lnTo>
                  <a:pt x="260" y="38"/>
                </a:lnTo>
                <a:lnTo>
                  <a:pt x="256" y="35"/>
                </a:lnTo>
                <a:lnTo>
                  <a:pt x="251" y="32"/>
                </a:lnTo>
                <a:lnTo>
                  <a:pt x="243" y="26"/>
                </a:lnTo>
                <a:lnTo>
                  <a:pt x="240" y="24"/>
                </a:lnTo>
                <a:lnTo>
                  <a:pt x="235" y="21"/>
                </a:lnTo>
                <a:lnTo>
                  <a:pt x="235" y="21"/>
                </a:lnTo>
                <a:lnTo>
                  <a:pt x="227" y="19"/>
                </a:lnTo>
                <a:lnTo>
                  <a:pt x="219" y="19"/>
                </a:lnTo>
                <a:lnTo>
                  <a:pt x="203" y="20"/>
                </a:lnTo>
                <a:lnTo>
                  <a:pt x="185" y="20"/>
                </a:lnTo>
                <a:lnTo>
                  <a:pt x="177" y="20"/>
                </a:lnTo>
                <a:lnTo>
                  <a:pt x="169" y="18"/>
                </a:lnTo>
                <a:lnTo>
                  <a:pt x="169" y="18"/>
                </a:lnTo>
                <a:lnTo>
                  <a:pt x="167" y="16"/>
                </a:lnTo>
                <a:lnTo>
                  <a:pt x="165" y="13"/>
                </a:lnTo>
                <a:lnTo>
                  <a:pt x="162" y="8"/>
                </a:lnTo>
                <a:lnTo>
                  <a:pt x="160" y="4"/>
                </a:lnTo>
                <a:lnTo>
                  <a:pt x="158" y="2"/>
                </a:lnTo>
                <a:lnTo>
                  <a:pt x="153" y="1"/>
                </a:lnTo>
                <a:lnTo>
                  <a:pt x="147" y="0"/>
                </a:lnTo>
                <a:lnTo>
                  <a:pt x="147" y="0"/>
                </a:lnTo>
                <a:lnTo>
                  <a:pt x="143" y="1"/>
                </a:lnTo>
                <a:lnTo>
                  <a:pt x="141" y="3"/>
                </a:lnTo>
                <a:lnTo>
                  <a:pt x="134" y="10"/>
                </a:lnTo>
                <a:lnTo>
                  <a:pt x="130" y="15"/>
                </a:lnTo>
                <a:lnTo>
                  <a:pt x="127" y="18"/>
                </a:lnTo>
                <a:lnTo>
                  <a:pt x="122" y="20"/>
                </a:lnTo>
                <a:lnTo>
                  <a:pt x="118" y="21"/>
                </a:lnTo>
                <a:lnTo>
                  <a:pt x="118" y="21"/>
                </a:lnTo>
                <a:lnTo>
                  <a:pt x="114" y="20"/>
                </a:lnTo>
                <a:lnTo>
                  <a:pt x="111" y="19"/>
                </a:lnTo>
                <a:lnTo>
                  <a:pt x="103" y="15"/>
                </a:lnTo>
                <a:lnTo>
                  <a:pt x="103" y="15"/>
                </a:lnTo>
                <a:lnTo>
                  <a:pt x="95" y="15"/>
                </a:lnTo>
                <a:lnTo>
                  <a:pt x="86" y="17"/>
                </a:lnTo>
                <a:lnTo>
                  <a:pt x="81" y="19"/>
                </a:lnTo>
                <a:lnTo>
                  <a:pt x="75" y="24"/>
                </a:lnTo>
                <a:lnTo>
                  <a:pt x="72" y="29"/>
                </a:lnTo>
                <a:lnTo>
                  <a:pt x="68" y="38"/>
                </a:lnTo>
                <a:lnTo>
                  <a:pt x="67" y="47"/>
                </a:lnTo>
                <a:lnTo>
                  <a:pt x="67" y="58"/>
                </a:lnTo>
                <a:lnTo>
                  <a:pt x="67" y="58"/>
                </a:lnTo>
                <a:lnTo>
                  <a:pt x="67" y="65"/>
                </a:lnTo>
                <a:lnTo>
                  <a:pt x="69" y="70"/>
                </a:lnTo>
                <a:lnTo>
                  <a:pt x="74" y="80"/>
                </a:lnTo>
                <a:lnTo>
                  <a:pt x="78" y="89"/>
                </a:lnTo>
                <a:lnTo>
                  <a:pt x="81" y="94"/>
                </a:lnTo>
                <a:lnTo>
                  <a:pt x="81" y="99"/>
                </a:lnTo>
                <a:lnTo>
                  <a:pt x="81" y="99"/>
                </a:lnTo>
                <a:lnTo>
                  <a:pt x="81" y="105"/>
                </a:lnTo>
                <a:lnTo>
                  <a:pt x="77" y="112"/>
                </a:lnTo>
                <a:lnTo>
                  <a:pt x="74" y="119"/>
                </a:lnTo>
                <a:lnTo>
                  <a:pt x="68" y="126"/>
                </a:lnTo>
                <a:lnTo>
                  <a:pt x="55" y="140"/>
                </a:lnTo>
                <a:lnTo>
                  <a:pt x="40" y="154"/>
                </a:lnTo>
                <a:lnTo>
                  <a:pt x="27" y="166"/>
                </a:lnTo>
                <a:lnTo>
                  <a:pt x="13" y="180"/>
                </a:lnTo>
                <a:lnTo>
                  <a:pt x="8" y="186"/>
                </a:lnTo>
                <a:lnTo>
                  <a:pt x="4" y="193"/>
                </a:lnTo>
                <a:lnTo>
                  <a:pt x="1" y="199"/>
                </a:lnTo>
                <a:lnTo>
                  <a:pt x="0" y="206"/>
                </a:lnTo>
                <a:lnTo>
                  <a:pt x="0" y="206"/>
                </a:lnTo>
                <a:lnTo>
                  <a:pt x="0" y="227"/>
                </a:lnTo>
                <a:lnTo>
                  <a:pt x="0" y="227"/>
                </a:lnTo>
                <a:lnTo>
                  <a:pt x="5" y="229"/>
                </a:lnTo>
                <a:lnTo>
                  <a:pt x="8" y="230"/>
                </a:lnTo>
                <a:lnTo>
                  <a:pt x="13" y="234"/>
                </a:lnTo>
                <a:lnTo>
                  <a:pt x="16" y="240"/>
                </a:lnTo>
                <a:lnTo>
                  <a:pt x="20" y="246"/>
                </a:lnTo>
                <a:lnTo>
                  <a:pt x="26" y="257"/>
                </a:lnTo>
                <a:lnTo>
                  <a:pt x="29" y="262"/>
                </a:lnTo>
                <a:lnTo>
                  <a:pt x="34" y="264"/>
                </a:lnTo>
                <a:lnTo>
                  <a:pt x="34" y="264"/>
                </a:lnTo>
                <a:lnTo>
                  <a:pt x="53" y="270"/>
                </a:lnTo>
                <a:lnTo>
                  <a:pt x="70" y="272"/>
                </a:lnTo>
                <a:lnTo>
                  <a:pt x="85" y="275"/>
                </a:lnTo>
                <a:lnTo>
                  <a:pt x="98" y="275"/>
                </a:lnTo>
                <a:lnTo>
                  <a:pt x="111" y="276"/>
                </a:lnTo>
                <a:lnTo>
                  <a:pt x="124" y="277"/>
                </a:lnTo>
                <a:lnTo>
                  <a:pt x="138" y="280"/>
                </a:lnTo>
                <a:lnTo>
                  <a:pt x="154" y="286"/>
                </a:lnTo>
                <a:lnTo>
                  <a:pt x="154" y="286"/>
                </a:lnTo>
                <a:lnTo>
                  <a:pt x="160" y="290"/>
                </a:lnTo>
                <a:lnTo>
                  <a:pt x="164" y="293"/>
                </a:lnTo>
                <a:lnTo>
                  <a:pt x="172" y="302"/>
                </a:lnTo>
                <a:lnTo>
                  <a:pt x="175" y="306"/>
                </a:lnTo>
                <a:lnTo>
                  <a:pt x="179" y="309"/>
                </a:lnTo>
                <a:lnTo>
                  <a:pt x="182" y="311"/>
                </a:lnTo>
                <a:lnTo>
                  <a:pt x="188" y="311"/>
                </a:lnTo>
                <a:lnTo>
                  <a:pt x="188" y="311"/>
                </a:lnTo>
                <a:lnTo>
                  <a:pt x="195" y="311"/>
                </a:lnTo>
                <a:lnTo>
                  <a:pt x="203" y="310"/>
                </a:lnTo>
                <a:lnTo>
                  <a:pt x="217" y="306"/>
                </a:lnTo>
                <a:lnTo>
                  <a:pt x="229" y="300"/>
                </a:lnTo>
                <a:lnTo>
                  <a:pt x="241" y="293"/>
                </a:lnTo>
                <a:lnTo>
                  <a:pt x="252" y="287"/>
                </a:lnTo>
                <a:lnTo>
                  <a:pt x="264" y="281"/>
                </a:lnTo>
                <a:lnTo>
                  <a:pt x="274" y="277"/>
                </a:lnTo>
                <a:lnTo>
                  <a:pt x="279" y="276"/>
                </a:lnTo>
                <a:lnTo>
                  <a:pt x="283" y="276"/>
                </a:lnTo>
                <a:lnTo>
                  <a:pt x="283" y="276"/>
                </a:lnTo>
                <a:lnTo>
                  <a:pt x="291" y="276"/>
                </a:lnTo>
                <a:lnTo>
                  <a:pt x="297" y="278"/>
                </a:lnTo>
                <a:lnTo>
                  <a:pt x="303" y="280"/>
                </a:lnTo>
                <a:lnTo>
                  <a:pt x="307" y="284"/>
                </a:lnTo>
                <a:lnTo>
                  <a:pt x="311" y="288"/>
                </a:lnTo>
                <a:lnTo>
                  <a:pt x="313" y="293"/>
                </a:lnTo>
                <a:lnTo>
                  <a:pt x="318" y="302"/>
                </a:lnTo>
                <a:lnTo>
                  <a:pt x="320" y="313"/>
                </a:lnTo>
                <a:lnTo>
                  <a:pt x="324" y="322"/>
                </a:lnTo>
                <a:lnTo>
                  <a:pt x="326" y="325"/>
                </a:lnTo>
                <a:lnTo>
                  <a:pt x="328" y="327"/>
                </a:lnTo>
                <a:lnTo>
                  <a:pt x="330" y="330"/>
                </a:lnTo>
                <a:lnTo>
                  <a:pt x="335" y="330"/>
                </a:lnTo>
                <a:lnTo>
                  <a:pt x="335" y="330"/>
                </a:lnTo>
                <a:lnTo>
                  <a:pt x="337" y="330"/>
                </a:lnTo>
                <a:lnTo>
                  <a:pt x="341" y="329"/>
                </a:lnTo>
                <a:lnTo>
                  <a:pt x="348" y="324"/>
                </a:lnTo>
                <a:lnTo>
                  <a:pt x="355" y="321"/>
                </a:lnTo>
                <a:lnTo>
                  <a:pt x="357" y="319"/>
                </a:lnTo>
                <a:lnTo>
                  <a:pt x="360" y="318"/>
                </a:lnTo>
                <a:lnTo>
                  <a:pt x="360" y="318"/>
                </a:lnTo>
                <a:lnTo>
                  <a:pt x="364" y="329"/>
                </a:lnTo>
                <a:lnTo>
                  <a:pt x="368" y="337"/>
                </a:lnTo>
                <a:lnTo>
                  <a:pt x="372" y="340"/>
                </a:lnTo>
                <a:lnTo>
                  <a:pt x="375" y="342"/>
                </a:lnTo>
                <a:lnTo>
                  <a:pt x="379" y="344"/>
                </a:lnTo>
                <a:lnTo>
                  <a:pt x="382" y="345"/>
                </a:lnTo>
                <a:lnTo>
                  <a:pt x="382" y="345"/>
                </a:lnTo>
                <a:lnTo>
                  <a:pt x="385" y="344"/>
                </a:lnTo>
                <a:lnTo>
                  <a:pt x="387" y="342"/>
                </a:lnTo>
                <a:lnTo>
                  <a:pt x="391" y="339"/>
                </a:lnTo>
                <a:lnTo>
                  <a:pt x="396" y="336"/>
                </a:lnTo>
                <a:lnTo>
                  <a:pt x="398" y="334"/>
                </a:lnTo>
                <a:lnTo>
                  <a:pt x="401" y="333"/>
                </a:lnTo>
                <a:lnTo>
                  <a:pt x="401" y="333"/>
                </a:lnTo>
                <a:lnTo>
                  <a:pt x="408" y="334"/>
                </a:lnTo>
                <a:lnTo>
                  <a:pt x="414" y="338"/>
                </a:lnTo>
                <a:lnTo>
                  <a:pt x="428" y="348"/>
                </a:lnTo>
                <a:lnTo>
                  <a:pt x="435" y="354"/>
                </a:lnTo>
                <a:lnTo>
                  <a:pt x="444" y="359"/>
                </a:lnTo>
                <a:lnTo>
                  <a:pt x="454" y="362"/>
                </a:lnTo>
                <a:lnTo>
                  <a:pt x="464" y="363"/>
                </a:lnTo>
                <a:lnTo>
                  <a:pt x="464" y="363"/>
                </a:lnTo>
                <a:lnTo>
                  <a:pt x="467" y="370"/>
                </a:lnTo>
                <a:lnTo>
                  <a:pt x="467" y="370"/>
                </a:lnTo>
                <a:close/>
              </a:path>
            </a:pathLst>
          </a:custGeom>
          <a:noFill/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0" name="Freeform 55"/>
          <p:cNvSpPr>
            <a:spLocks/>
          </p:cNvSpPr>
          <p:nvPr/>
        </p:nvSpPr>
        <p:spPr bwMode="auto">
          <a:xfrm>
            <a:off x="5889625" y="4660900"/>
            <a:ext cx="849313" cy="1392238"/>
          </a:xfrm>
          <a:custGeom>
            <a:avLst/>
            <a:gdLst/>
            <a:ahLst/>
            <a:cxnLst>
              <a:cxn ang="0">
                <a:pos x="568" y="72"/>
              </a:cxn>
              <a:cxn ang="0">
                <a:pos x="672" y="166"/>
              </a:cxn>
              <a:cxn ang="0">
                <a:pos x="675" y="213"/>
              </a:cxn>
              <a:cxn ang="0">
                <a:pos x="719" y="231"/>
              </a:cxn>
              <a:cxn ang="0">
                <a:pos x="734" y="266"/>
              </a:cxn>
              <a:cxn ang="0">
                <a:pos x="748" y="298"/>
              </a:cxn>
              <a:cxn ang="0">
                <a:pos x="802" y="265"/>
              </a:cxn>
              <a:cxn ang="0">
                <a:pos x="848" y="296"/>
              </a:cxn>
              <a:cxn ang="0">
                <a:pos x="888" y="291"/>
              </a:cxn>
              <a:cxn ang="0">
                <a:pos x="934" y="352"/>
              </a:cxn>
              <a:cxn ang="0">
                <a:pos x="936" y="396"/>
              </a:cxn>
              <a:cxn ang="0">
                <a:pos x="980" y="442"/>
              </a:cxn>
              <a:cxn ang="0">
                <a:pos x="957" y="473"/>
              </a:cxn>
              <a:cxn ang="0">
                <a:pos x="1007" y="526"/>
              </a:cxn>
              <a:cxn ang="0">
                <a:pos x="996" y="597"/>
              </a:cxn>
              <a:cxn ang="0">
                <a:pos x="926" y="720"/>
              </a:cxn>
              <a:cxn ang="0">
                <a:pos x="939" y="763"/>
              </a:cxn>
              <a:cxn ang="0">
                <a:pos x="1015" y="759"/>
              </a:cxn>
              <a:cxn ang="0">
                <a:pos x="1017" y="846"/>
              </a:cxn>
              <a:cxn ang="0">
                <a:pos x="999" y="1057"/>
              </a:cxn>
              <a:cxn ang="0">
                <a:pos x="1039" y="1138"/>
              </a:cxn>
              <a:cxn ang="0">
                <a:pos x="984" y="1213"/>
              </a:cxn>
              <a:cxn ang="0">
                <a:pos x="878" y="1278"/>
              </a:cxn>
              <a:cxn ang="0">
                <a:pos x="772" y="1252"/>
              </a:cxn>
              <a:cxn ang="0">
                <a:pos x="703" y="1291"/>
              </a:cxn>
              <a:cxn ang="0">
                <a:pos x="595" y="1277"/>
              </a:cxn>
              <a:cxn ang="0">
                <a:pos x="538" y="1329"/>
              </a:cxn>
              <a:cxn ang="0">
                <a:pos x="354" y="1529"/>
              </a:cxn>
              <a:cxn ang="0">
                <a:pos x="190" y="1594"/>
              </a:cxn>
              <a:cxn ang="0">
                <a:pos x="44" y="1575"/>
              </a:cxn>
              <a:cxn ang="0">
                <a:pos x="2" y="1516"/>
              </a:cxn>
              <a:cxn ang="0">
                <a:pos x="59" y="1439"/>
              </a:cxn>
              <a:cxn ang="0">
                <a:pos x="11" y="1407"/>
              </a:cxn>
              <a:cxn ang="0">
                <a:pos x="27" y="1350"/>
              </a:cxn>
              <a:cxn ang="0">
                <a:pos x="15" y="1304"/>
              </a:cxn>
              <a:cxn ang="0">
                <a:pos x="84" y="1278"/>
              </a:cxn>
              <a:cxn ang="0">
                <a:pos x="129" y="1240"/>
              </a:cxn>
              <a:cxn ang="0">
                <a:pos x="200" y="1230"/>
              </a:cxn>
              <a:cxn ang="0">
                <a:pos x="220" y="1193"/>
              </a:cxn>
              <a:cxn ang="0">
                <a:pos x="292" y="1093"/>
              </a:cxn>
              <a:cxn ang="0">
                <a:pos x="366" y="1039"/>
              </a:cxn>
              <a:cxn ang="0">
                <a:pos x="444" y="947"/>
              </a:cxn>
              <a:cxn ang="0">
                <a:pos x="412" y="882"/>
              </a:cxn>
              <a:cxn ang="0">
                <a:pos x="378" y="833"/>
              </a:cxn>
              <a:cxn ang="0">
                <a:pos x="422" y="794"/>
              </a:cxn>
              <a:cxn ang="0">
                <a:pos x="503" y="644"/>
              </a:cxn>
              <a:cxn ang="0">
                <a:pos x="559" y="598"/>
              </a:cxn>
              <a:cxn ang="0">
                <a:pos x="542" y="541"/>
              </a:cxn>
              <a:cxn ang="0">
                <a:pos x="456" y="511"/>
              </a:cxn>
              <a:cxn ang="0">
                <a:pos x="372" y="363"/>
              </a:cxn>
              <a:cxn ang="0">
                <a:pos x="352" y="322"/>
              </a:cxn>
              <a:cxn ang="0">
                <a:pos x="388" y="305"/>
              </a:cxn>
              <a:cxn ang="0">
                <a:pos x="436" y="305"/>
              </a:cxn>
              <a:cxn ang="0">
                <a:pos x="482" y="233"/>
              </a:cxn>
              <a:cxn ang="0">
                <a:pos x="489" y="191"/>
              </a:cxn>
              <a:cxn ang="0">
                <a:pos x="415" y="156"/>
              </a:cxn>
              <a:cxn ang="0">
                <a:pos x="435" y="37"/>
              </a:cxn>
              <a:cxn ang="0">
                <a:pos x="525" y="18"/>
              </a:cxn>
            </a:cxnLst>
            <a:rect l="0" t="0" r="r" b="b"/>
            <a:pathLst>
              <a:path w="1039" h="1597">
                <a:moveTo>
                  <a:pt x="521" y="0"/>
                </a:moveTo>
                <a:lnTo>
                  <a:pt x="521" y="0"/>
                </a:lnTo>
                <a:lnTo>
                  <a:pt x="521" y="0"/>
                </a:lnTo>
                <a:lnTo>
                  <a:pt x="521" y="0"/>
                </a:lnTo>
                <a:lnTo>
                  <a:pt x="531" y="10"/>
                </a:lnTo>
                <a:lnTo>
                  <a:pt x="540" y="22"/>
                </a:lnTo>
                <a:lnTo>
                  <a:pt x="548" y="33"/>
                </a:lnTo>
                <a:lnTo>
                  <a:pt x="554" y="46"/>
                </a:lnTo>
                <a:lnTo>
                  <a:pt x="568" y="72"/>
                </a:lnTo>
                <a:lnTo>
                  <a:pt x="582" y="98"/>
                </a:lnTo>
                <a:lnTo>
                  <a:pt x="589" y="110"/>
                </a:lnTo>
                <a:lnTo>
                  <a:pt x="597" y="122"/>
                </a:lnTo>
                <a:lnTo>
                  <a:pt x="606" y="132"/>
                </a:lnTo>
                <a:lnTo>
                  <a:pt x="617" y="143"/>
                </a:lnTo>
                <a:lnTo>
                  <a:pt x="627" y="151"/>
                </a:lnTo>
                <a:lnTo>
                  <a:pt x="641" y="158"/>
                </a:lnTo>
                <a:lnTo>
                  <a:pt x="656" y="162"/>
                </a:lnTo>
                <a:lnTo>
                  <a:pt x="672" y="166"/>
                </a:lnTo>
                <a:lnTo>
                  <a:pt x="672" y="166"/>
                </a:lnTo>
                <a:lnTo>
                  <a:pt x="670" y="171"/>
                </a:lnTo>
                <a:lnTo>
                  <a:pt x="667" y="177"/>
                </a:lnTo>
                <a:lnTo>
                  <a:pt x="665" y="184"/>
                </a:lnTo>
                <a:lnTo>
                  <a:pt x="664" y="192"/>
                </a:lnTo>
                <a:lnTo>
                  <a:pt x="666" y="201"/>
                </a:lnTo>
                <a:lnTo>
                  <a:pt x="668" y="205"/>
                </a:lnTo>
                <a:lnTo>
                  <a:pt x="671" y="209"/>
                </a:lnTo>
                <a:lnTo>
                  <a:pt x="675" y="213"/>
                </a:lnTo>
                <a:lnTo>
                  <a:pt x="680" y="216"/>
                </a:lnTo>
                <a:lnTo>
                  <a:pt x="680" y="216"/>
                </a:lnTo>
                <a:lnTo>
                  <a:pt x="690" y="221"/>
                </a:lnTo>
                <a:lnTo>
                  <a:pt x="697" y="223"/>
                </a:lnTo>
                <a:lnTo>
                  <a:pt x="704" y="224"/>
                </a:lnTo>
                <a:lnTo>
                  <a:pt x="706" y="224"/>
                </a:lnTo>
                <a:lnTo>
                  <a:pt x="709" y="225"/>
                </a:lnTo>
                <a:lnTo>
                  <a:pt x="719" y="231"/>
                </a:lnTo>
                <a:lnTo>
                  <a:pt x="719" y="231"/>
                </a:lnTo>
                <a:lnTo>
                  <a:pt x="728" y="236"/>
                </a:lnTo>
                <a:lnTo>
                  <a:pt x="735" y="238"/>
                </a:lnTo>
                <a:lnTo>
                  <a:pt x="745" y="242"/>
                </a:lnTo>
                <a:lnTo>
                  <a:pt x="748" y="244"/>
                </a:lnTo>
                <a:lnTo>
                  <a:pt x="748" y="247"/>
                </a:lnTo>
                <a:lnTo>
                  <a:pt x="744" y="253"/>
                </a:lnTo>
                <a:lnTo>
                  <a:pt x="737" y="261"/>
                </a:lnTo>
                <a:lnTo>
                  <a:pt x="737" y="261"/>
                </a:lnTo>
                <a:lnTo>
                  <a:pt x="734" y="266"/>
                </a:lnTo>
                <a:lnTo>
                  <a:pt x="732" y="271"/>
                </a:lnTo>
                <a:lnTo>
                  <a:pt x="731" y="276"/>
                </a:lnTo>
                <a:lnTo>
                  <a:pt x="731" y="282"/>
                </a:lnTo>
                <a:lnTo>
                  <a:pt x="732" y="285"/>
                </a:lnTo>
                <a:lnTo>
                  <a:pt x="734" y="290"/>
                </a:lnTo>
                <a:lnTo>
                  <a:pt x="736" y="292"/>
                </a:lnTo>
                <a:lnTo>
                  <a:pt x="740" y="296"/>
                </a:lnTo>
                <a:lnTo>
                  <a:pt x="743" y="297"/>
                </a:lnTo>
                <a:lnTo>
                  <a:pt x="748" y="298"/>
                </a:lnTo>
                <a:lnTo>
                  <a:pt x="752" y="298"/>
                </a:lnTo>
                <a:lnTo>
                  <a:pt x="758" y="298"/>
                </a:lnTo>
                <a:lnTo>
                  <a:pt x="764" y="296"/>
                </a:lnTo>
                <a:lnTo>
                  <a:pt x="770" y="293"/>
                </a:lnTo>
                <a:lnTo>
                  <a:pt x="775" y="289"/>
                </a:lnTo>
                <a:lnTo>
                  <a:pt x="782" y="283"/>
                </a:lnTo>
                <a:lnTo>
                  <a:pt x="782" y="283"/>
                </a:lnTo>
                <a:lnTo>
                  <a:pt x="793" y="273"/>
                </a:lnTo>
                <a:lnTo>
                  <a:pt x="802" y="265"/>
                </a:lnTo>
                <a:lnTo>
                  <a:pt x="809" y="260"/>
                </a:lnTo>
                <a:lnTo>
                  <a:pt x="817" y="259"/>
                </a:lnTo>
                <a:lnTo>
                  <a:pt x="819" y="259"/>
                </a:lnTo>
                <a:lnTo>
                  <a:pt x="823" y="260"/>
                </a:lnTo>
                <a:lnTo>
                  <a:pt x="828" y="265"/>
                </a:lnTo>
                <a:lnTo>
                  <a:pt x="833" y="270"/>
                </a:lnTo>
                <a:lnTo>
                  <a:pt x="838" y="278"/>
                </a:lnTo>
                <a:lnTo>
                  <a:pt x="838" y="278"/>
                </a:lnTo>
                <a:lnTo>
                  <a:pt x="848" y="296"/>
                </a:lnTo>
                <a:lnTo>
                  <a:pt x="852" y="301"/>
                </a:lnTo>
                <a:lnTo>
                  <a:pt x="857" y="305"/>
                </a:lnTo>
                <a:lnTo>
                  <a:pt x="863" y="307"/>
                </a:lnTo>
                <a:lnTo>
                  <a:pt x="867" y="306"/>
                </a:lnTo>
                <a:lnTo>
                  <a:pt x="872" y="304"/>
                </a:lnTo>
                <a:lnTo>
                  <a:pt x="878" y="298"/>
                </a:lnTo>
                <a:lnTo>
                  <a:pt x="878" y="298"/>
                </a:lnTo>
                <a:lnTo>
                  <a:pt x="884" y="293"/>
                </a:lnTo>
                <a:lnTo>
                  <a:pt x="888" y="291"/>
                </a:lnTo>
                <a:lnTo>
                  <a:pt x="893" y="291"/>
                </a:lnTo>
                <a:lnTo>
                  <a:pt x="899" y="292"/>
                </a:lnTo>
                <a:lnTo>
                  <a:pt x="903" y="297"/>
                </a:lnTo>
                <a:lnTo>
                  <a:pt x="908" y="304"/>
                </a:lnTo>
                <a:lnTo>
                  <a:pt x="913" y="312"/>
                </a:lnTo>
                <a:lnTo>
                  <a:pt x="918" y="323"/>
                </a:lnTo>
                <a:lnTo>
                  <a:pt x="918" y="323"/>
                </a:lnTo>
                <a:lnTo>
                  <a:pt x="930" y="343"/>
                </a:lnTo>
                <a:lnTo>
                  <a:pt x="934" y="352"/>
                </a:lnTo>
                <a:lnTo>
                  <a:pt x="936" y="360"/>
                </a:lnTo>
                <a:lnTo>
                  <a:pt x="939" y="367"/>
                </a:lnTo>
                <a:lnTo>
                  <a:pt x="939" y="374"/>
                </a:lnTo>
                <a:lnTo>
                  <a:pt x="939" y="381"/>
                </a:lnTo>
                <a:lnTo>
                  <a:pt x="936" y="386"/>
                </a:lnTo>
                <a:lnTo>
                  <a:pt x="936" y="386"/>
                </a:lnTo>
                <a:lnTo>
                  <a:pt x="934" y="390"/>
                </a:lnTo>
                <a:lnTo>
                  <a:pt x="934" y="393"/>
                </a:lnTo>
                <a:lnTo>
                  <a:pt x="936" y="396"/>
                </a:lnTo>
                <a:lnTo>
                  <a:pt x="940" y="399"/>
                </a:lnTo>
                <a:lnTo>
                  <a:pt x="949" y="406"/>
                </a:lnTo>
                <a:lnTo>
                  <a:pt x="963" y="415"/>
                </a:lnTo>
                <a:lnTo>
                  <a:pt x="963" y="415"/>
                </a:lnTo>
                <a:lnTo>
                  <a:pt x="974" y="426"/>
                </a:lnTo>
                <a:lnTo>
                  <a:pt x="979" y="430"/>
                </a:lnTo>
                <a:lnTo>
                  <a:pt x="981" y="435"/>
                </a:lnTo>
                <a:lnTo>
                  <a:pt x="981" y="438"/>
                </a:lnTo>
                <a:lnTo>
                  <a:pt x="980" y="442"/>
                </a:lnTo>
                <a:lnTo>
                  <a:pt x="977" y="445"/>
                </a:lnTo>
                <a:lnTo>
                  <a:pt x="970" y="449"/>
                </a:lnTo>
                <a:lnTo>
                  <a:pt x="970" y="449"/>
                </a:lnTo>
                <a:lnTo>
                  <a:pt x="962" y="451"/>
                </a:lnTo>
                <a:lnTo>
                  <a:pt x="957" y="454"/>
                </a:lnTo>
                <a:lnTo>
                  <a:pt x="954" y="458"/>
                </a:lnTo>
                <a:lnTo>
                  <a:pt x="954" y="462"/>
                </a:lnTo>
                <a:lnTo>
                  <a:pt x="954" y="467"/>
                </a:lnTo>
                <a:lnTo>
                  <a:pt x="957" y="473"/>
                </a:lnTo>
                <a:lnTo>
                  <a:pt x="962" y="479"/>
                </a:lnTo>
                <a:lnTo>
                  <a:pt x="970" y="484"/>
                </a:lnTo>
                <a:lnTo>
                  <a:pt x="970" y="484"/>
                </a:lnTo>
                <a:lnTo>
                  <a:pt x="980" y="497"/>
                </a:lnTo>
                <a:lnTo>
                  <a:pt x="988" y="507"/>
                </a:lnTo>
                <a:lnTo>
                  <a:pt x="995" y="517"/>
                </a:lnTo>
                <a:lnTo>
                  <a:pt x="1000" y="521"/>
                </a:lnTo>
                <a:lnTo>
                  <a:pt x="1007" y="526"/>
                </a:lnTo>
                <a:lnTo>
                  <a:pt x="1007" y="526"/>
                </a:lnTo>
                <a:lnTo>
                  <a:pt x="1014" y="530"/>
                </a:lnTo>
                <a:lnTo>
                  <a:pt x="1019" y="536"/>
                </a:lnTo>
                <a:lnTo>
                  <a:pt x="1024" y="542"/>
                </a:lnTo>
                <a:lnTo>
                  <a:pt x="1029" y="548"/>
                </a:lnTo>
                <a:lnTo>
                  <a:pt x="1034" y="558"/>
                </a:lnTo>
                <a:lnTo>
                  <a:pt x="1035" y="563"/>
                </a:lnTo>
                <a:lnTo>
                  <a:pt x="1035" y="563"/>
                </a:lnTo>
                <a:lnTo>
                  <a:pt x="1016" y="579"/>
                </a:lnTo>
                <a:lnTo>
                  <a:pt x="996" y="597"/>
                </a:lnTo>
                <a:lnTo>
                  <a:pt x="978" y="618"/>
                </a:lnTo>
                <a:lnTo>
                  <a:pt x="969" y="629"/>
                </a:lnTo>
                <a:lnTo>
                  <a:pt x="961" y="641"/>
                </a:lnTo>
                <a:lnTo>
                  <a:pt x="954" y="652"/>
                </a:lnTo>
                <a:lnTo>
                  <a:pt x="947" y="665"/>
                </a:lnTo>
                <a:lnTo>
                  <a:pt x="940" y="679"/>
                </a:lnTo>
                <a:lnTo>
                  <a:pt x="935" y="691"/>
                </a:lnTo>
                <a:lnTo>
                  <a:pt x="931" y="705"/>
                </a:lnTo>
                <a:lnTo>
                  <a:pt x="926" y="720"/>
                </a:lnTo>
                <a:lnTo>
                  <a:pt x="924" y="734"/>
                </a:lnTo>
                <a:lnTo>
                  <a:pt x="922" y="749"/>
                </a:lnTo>
                <a:lnTo>
                  <a:pt x="922" y="749"/>
                </a:lnTo>
                <a:lnTo>
                  <a:pt x="923" y="754"/>
                </a:lnTo>
                <a:lnTo>
                  <a:pt x="925" y="757"/>
                </a:lnTo>
                <a:lnTo>
                  <a:pt x="927" y="759"/>
                </a:lnTo>
                <a:lnTo>
                  <a:pt x="931" y="762"/>
                </a:lnTo>
                <a:lnTo>
                  <a:pt x="934" y="763"/>
                </a:lnTo>
                <a:lnTo>
                  <a:pt x="939" y="763"/>
                </a:lnTo>
                <a:lnTo>
                  <a:pt x="947" y="763"/>
                </a:lnTo>
                <a:lnTo>
                  <a:pt x="957" y="762"/>
                </a:lnTo>
                <a:lnTo>
                  <a:pt x="968" y="758"/>
                </a:lnTo>
                <a:lnTo>
                  <a:pt x="978" y="756"/>
                </a:lnTo>
                <a:lnTo>
                  <a:pt x="989" y="755"/>
                </a:lnTo>
                <a:lnTo>
                  <a:pt x="999" y="754"/>
                </a:lnTo>
                <a:lnTo>
                  <a:pt x="1008" y="756"/>
                </a:lnTo>
                <a:lnTo>
                  <a:pt x="1011" y="757"/>
                </a:lnTo>
                <a:lnTo>
                  <a:pt x="1015" y="759"/>
                </a:lnTo>
                <a:lnTo>
                  <a:pt x="1018" y="763"/>
                </a:lnTo>
                <a:lnTo>
                  <a:pt x="1020" y="767"/>
                </a:lnTo>
                <a:lnTo>
                  <a:pt x="1023" y="773"/>
                </a:lnTo>
                <a:lnTo>
                  <a:pt x="1024" y="779"/>
                </a:lnTo>
                <a:lnTo>
                  <a:pt x="1025" y="787"/>
                </a:lnTo>
                <a:lnTo>
                  <a:pt x="1025" y="795"/>
                </a:lnTo>
                <a:lnTo>
                  <a:pt x="1023" y="817"/>
                </a:lnTo>
                <a:lnTo>
                  <a:pt x="1017" y="846"/>
                </a:lnTo>
                <a:lnTo>
                  <a:pt x="1017" y="846"/>
                </a:lnTo>
                <a:lnTo>
                  <a:pt x="1004" y="900"/>
                </a:lnTo>
                <a:lnTo>
                  <a:pt x="1001" y="920"/>
                </a:lnTo>
                <a:lnTo>
                  <a:pt x="999" y="940"/>
                </a:lnTo>
                <a:lnTo>
                  <a:pt x="996" y="960"/>
                </a:lnTo>
                <a:lnTo>
                  <a:pt x="995" y="980"/>
                </a:lnTo>
                <a:lnTo>
                  <a:pt x="995" y="1032"/>
                </a:lnTo>
                <a:lnTo>
                  <a:pt x="995" y="1032"/>
                </a:lnTo>
                <a:lnTo>
                  <a:pt x="996" y="1045"/>
                </a:lnTo>
                <a:lnTo>
                  <a:pt x="999" y="1057"/>
                </a:lnTo>
                <a:lnTo>
                  <a:pt x="1001" y="1069"/>
                </a:lnTo>
                <a:lnTo>
                  <a:pt x="1006" y="1078"/>
                </a:lnTo>
                <a:lnTo>
                  <a:pt x="1010" y="1087"/>
                </a:lnTo>
                <a:lnTo>
                  <a:pt x="1015" y="1096"/>
                </a:lnTo>
                <a:lnTo>
                  <a:pt x="1025" y="1111"/>
                </a:lnTo>
                <a:lnTo>
                  <a:pt x="1033" y="1123"/>
                </a:lnTo>
                <a:lnTo>
                  <a:pt x="1037" y="1129"/>
                </a:lnTo>
                <a:lnTo>
                  <a:pt x="1039" y="1133"/>
                </a:lnTo>
                <a:lnTo>
                  <a:pt x="1039" y="1138"/>
                </a:lnTo>
                <a:lnTo>
                  <a:pt x="1039" y="1141"/>
                </a:lnTo>
                <a:lnTo>
                  <a:pt x="1037" y="1146"/>
                </a:lnTo>
                <a:lnTo>
                  <a:pt x="1032" y="1149"/>
                </a:lnTo>
                <a:lnTo>
                  <a:pt x="1032" y="1149"/>
                </a:lnTo>
                <a:lnTo>
                  <a:pt x="1022" y="1157"/>
                </a:lnTo>
                <a:lnTo>
                  <a:pt x="1012" y="1167"/>
                </a:lnTo>
                <a:lnTo>
                  <a:pt x="1004" y="1177"/>
                </a:lnTo>
                <a:lnTo>
                  <a:pt x="996" y="1189"/>
                </a:lnTo>
                <a:lnTo>
                  <a:pt x="984" y="1213"/>
                </a:lnTo>
                <a:lnTo>
                  <a:pt x="970" y="1236"/>
                </a:lnTo>
                <a:lnTo>
                  <a:pt x="963" y="1246"/>
                </a:lnTo>
                <a:lnTo>
                  <a:pt x="955" y="1255"/>
                </a:lnTo>
                <a:lnTo>
                  <a:pt x="946" y="1264"/>
                </a:lnTo>
                <a:lnTo>
                  <a:pt x="935" y="1271"/>
                </a:lnTo>
                <a:lnTo>
                  <a:pt x="924" y="1276"/>
                </a:lnTo>
                <a:lnTo>
                  <a:pt x="910" y="1279"/>
                </a:lnTo>
                <a:lnTo>
                  <a:pt x="895" y="1279"/>
                </a:lnTo>
                <a:lnTo>
                  <a:pt x="878" y="1278"/>
                </a:lnTo>
                <a:lnTo>
                  <a:pt x="878" y="1278"/>
                </a:lnTo>
                <a:lnTo>
                  <a:pt x="859" y="1275"/>
                </a:lnTo>
                <a:lnTo>
                  <a:pt x="844" y="1270"/>
                </a:lnTo>
                <a:lnTo>
                  <a:pt x="820" y="1262"/>
                </a:lnTo>
                <a:lnTo>
                  <a:pt x="809" y="1258"/>
                </a:lnTo>
                <a:lnTo>
                  <a:pt x="797" y="1255"/>
                </a:lnTo>
                <a:lnTo>
                  <a:pt x="786" y="1253"/>
                </a:lnTo>
                <a:lnTo>
                  <a:pt x="772" y="1252"/>
                </a:lnTo>
                <a:lnTo>
                  <a:pt x="772" y="1252"/>
                </a:lnTo>
                <a:lnTo>
                  <a:pt x="767" y="1252"/>
                </a:lnTo>
                <a:lnTo>
                  <a:pt x="763" y="1253"/>
                </a:lnTo>
                <a:lnTo>
                  <a:pt x="754" y="1258"/>
                </a:lnTo>
                <a:lnTo>
                  <a:pt x="745" y="1263"/>
                </a:lnTo>
                <a:lnTo>
                  <a:pt x="736" y="1271"/>
                </a:lnTo>
                <a:lnTo>
                  <a:pt x="727" y="1278"/>
                </a:lnTo>
                <a:lnTo>
                  <a:pt x="717" y="1285"/>
                </a:lnTo>
                <a:lnTo>
                  <a:pt x="708" y="1290"/>
                </a:lnTo>
                <a:lnTo>
                  <a:pt x="703" y="1291"/>
                </a:lnTo>
                <a:lnTo>
                  <a:pt x="698" y="1292"/>
                </a:lnTo>
                <a:lnTo>
                  <a:pt x="698" y="1292"/>
                </a:lnTo>
                <a:lnTo>
                  <a:pt x="689" y="1294"/>
                </a:lnTo>
                <a:lnTo>
                  <a:pt x="679" y="1294"/>
                </a:lnTo>
                <a:lnTo>
                  <a:pt x="668" y="1293"/>
                </a:lnTo>
                <a:lnTo>
                  <a:pt x="658" y="1292"/>
                </a:lnTo>
                <a:lnTo>
                  <a:pt x="636" y="1286"/>
                </a:lnTo>
                <a:lnTo>
                  <a:pt x="615" y="1282"/>
                </a:lnTo>
                <a:lnTo>
                  <a:pt x="595" y="1277"/>
                </a:lnTo>
                <a:lnTo>
                  <a:pt x="587" y="1277"/>
                </a:lnTo>
                <a:lnTo>
                  <a:pt x="577" y="1277"/>
                </a:lnTo>
                <a:lnTo>
                  <a:pt x="571" y="1278"/>
                </a:lnTo>
                <a:lnTo>
                  <a:pt x="564" y="1282"/>
                </a:lnTo>
                <a:lnTo>
                  <a:pt x="558" y="1286"/>
                </a:lnTo>
                <a:lnTo>
                  <a:pt x="554" y="1292"/>
                </a:lnTo>
                <a:lnTo>
                  <a:pt x="554" y="1292"/>
                </a:lnTo>
                <a:lnTo>
                  <a:pt x="548" y="1309"/>
                </a:lnTo>
                <a:lnTo>
                  <a:pt x="538" y="1329"/>
                </a:lnTo>
                <a:lnTo>
                  <a:pt x="526" y="1350"/>
                </a:lnTo>
                <a:lnTo>
                  <a:pt x="511" y="1373"/>
                </a:lnTo>
                <a:lnTo>
                  <a:pt x="493" y="1398"/>
                </a:lnTo>
                <a:lnTo>
                  <a:pt x="474" y="1422"/>
                </a:lnTo>
                <a:lnTo>
                  <a:pt x="451" y="1447"/>
                </a:lnTo>
                <a:lnTo>
                  <a:pt x="427" y="1473"/>
                </a:lnTo>
                <a:lnTo>
                  <a:pt x="399" y="1496"/>
                </a:lnTo>
                <a:lnTo>
                  <a:pt x="369" y="1519"/>
                </a:lnTo>
                <a:lnTo>
                  <a:pt x="354" y="1529"/>
                </a:lnTo>
                <a:lnTo>
                  <a:pt x="338" y="1540"/>
                </a:lnTo>
                <a:lnTo>
                  <a:pt x="321" y="1549"/>
                </a:lnTo>
                <a:lnTo>
                  <a:pt x="304" y="1558"/>
                </a:lnTo>
                <a:lnTo>
                  <a:pt x="286" y="1566"/>
                </a:lnTo>
                <a:lnTo>
                  <a:pt x="268" y="1573"/>
                </a:lnTo>
                <a:lnTo>
                  <a:pt x="250" y="1580"/>
                </a:lnTo>
                <a:lnTo>
                  <a:pt x="230" y="1586"/>
                </a:lnTo>
                <a:lnTo>
                  <a:pt x="209" y="1590"/>
                </a:lnTo>
                <a:lnTo>
                  <a:pt x="190" y="1594"/>
                </a:lnTo>
                <a:lnTo>
                  <a:pt x="168" y="1596"/>
                </a:lnTo>
                <a:lnTo>
                  <a:pt x="147" y="1597"/>
                </a:lnTo>
                <a:lnTo>
                  <a:pt x="147" y="1597"/>
                </a:lnTo>
                <a:lnTo>
                  <a:pt x="124" y="1597"/>
                </a:lnTo>
                <a:lnTo>
                  <a:pt x="103" y="1595"/>
                </a:lnTo>
                <a:lnTo>
                  <a:pt x="86" y="1591"/>
                </a:lnTo>
                <a:lnTo>
                  <a:pt x="70" y="1588"/>
                </a:lnTo>
                <a:lnTo>
                  <a:pt x="56" y="1582"/>
                </a:lnTo>
                <a:lnTo>
                  <a:pt x="44" y="1575"/>
                </a:lnTo>
                <a:lnTo>
                  <a:pt x="33" y="1569"/>
                </a:lnTo>
                <a:lnTo>
                  <a:pt x="25" y="1561"/>
                </a:lnTo>
                <a:lnTo>
                  <a:pt x="18" y="1554"/>
                </a:lnTo>
                <a:lnTo>
                  <a:pt x="12" y="1548"/>
                </a:lnTo>
                <a:lnTo>
                  <a:pt x="4" y="1536"/>
                </a:lnTo>
                <a:lnTo>
                  <a:pt x="1" y="1527"/>
                </a:lnTo>
                <a:lnTo>
                  <a:pt x="0" y="1523"/>
                </a:lnTo>
                <a:lnTo>
                  <a:pt x="0" y="1523"/>
                </a:lnTo>
                <a:lnTo>
                  <a:pt x="2" y="1516"/>
                </a:lnTo>
                <a:lnTo>
                  <a:pt x="4" y="1510"/>
                </a:lnTo>
                <a:lnTo>
                  <a:pt x="8" y="1503"/>
                </a:lnTo>
                <a:lnTo>
                  <a:pt x="12" y="1497"/>
                </a:lnTo>
                <a:lnTo>
                  <a:pt x="22" y="1485"/>
                </a:lnTo>
                <a:lnTo>
                  <a:pt x="32" y="1474"/>
                </a:lnTo>
                <a:lnTo>
                  <a:pt x="42" y="1464"/>
                </a:lnTo>
                <a:lnTo>
                  <a:pt x="52" y="1452"/>
                </a:lnTo>
                <a:lnTo>
                  <a:pt x="56" y="1445"/>
                </a:lnTo>
                <a:lnTo>
                  <a:pt x="59" y="1439"/>
                </a:lnTo>
                <a:lnTo>
                  <a:pt x="61" y="1432"/>
                </a:lnTo>
                <a:lnTo>
                  <a:pt x="62" y="1424"/>
                </a:lnTo>
                <a:lnTo>
                  <a:pt x="62" y="1424"/>
                </a:lnTo>
                <a:lnTo>
                  <a:pt x="49" y="1422"/>
                </a:lnTo>
                <a:lnTo>
                  <a:pt x="40" y="1421"/>
                </a:lnTo>
                <a:lnTo>
                  <a:pt x="31" y="1419"/>
                </a:lnTo>
                <a:lnTo>
                  <a:pt x="22" y="1415"/>
                </a:lnTo>
                <a:lnTo>
                  <a:pt x="14" y="1411"/>
                </a:lnTo>
                <a:lnTo>
                  <a:pt x="11" y="1407"/>
                </a:lnTo>
                <a:lnTo>
                  <a:pt x="9" y="1404"/>
                </a:lnTo>
                <a:lnTo>
                  <a:pt x="8" y="1400"/>
                </a:lnTo>
                <a:lnTo>
                  <a:pt x="7" y="1396"/>
                </a:lnTo>
                <a:lnTo>
                  <a:pt x="7" y="1396"/>
                </a:lnTo>
                <a:lnTo>
                  <a:pt x="8" y="1386"/>
                </a:lnTo>
                <a:lnTo>
                  <a:pt x="10" y="1378"/>
                </a:lnTo>
                <a:lnTo>
                  <a:pt x="14" y="1370"/>
                </a:lnTo>
                <a:lnTo>
                  <a:pt x="17" y="1363"/>
                </a:lnTo>
                <a:lnTo>
                  <a:pt x="27" y="1350"/>
                </a:lnTo>
                <a:lnTo>
                  <a:pt x="37" y="1337"/>
                </a:lnTo>
                <a:lnTo>
                  <a:pt x="37" y="1337"/>
                </a:lnTo>
                <a:lnTo>
                  <a:pt x="30" y="1331"/>
                </a:lnTo>
                <a:lnTo>
                  <a:pt x="23" y="1324"/>
                </a:lnTo>
                <a:lnTo>
                  <a:pt x="19" y="1320"/>
                </a:lnTo>
                <a:lnTo>
                  <a:pt x="17" y="1315"/>
                </a:lnTo>
                <a:lnTo>
                  <a:pt x="15" y="1311"/>
                </a:lnTo>
                <a:lnTo>
                  <a:pt x="15" y="1304"/>
                </a:lnTo>
                <a:lnTo>
                  <a:pt x="15" y="1304"/>
                </a:lnTo>
                <a:lnTo>
                  <a:pt x="15" y="1300"/>
                </a:lnTo>
                <a:lnTo>
                  <a:pt x="16" y="1297"/>
                </a:lnTo>
                <a:lnTo>
                  <a:pt x="18" y="1293"/>
                </a:lnTo>
                <a:lnTo>
                  <a:pt x="22" y="1290"/>
                </a:lnTo>
                <a:lnTo>
                  <a:pt x="29" y="1285"/>
                </a:lnTo>
                <a:lnTo>
                  <a:pt x="38" y="1283"/>
                </a:lnTo>
                <a:lnTo>
                  <a:pt x="49" y="1281"/>
                </a:lnTo>
                <a:lnTo>
                  <a:pt x="61" y="1278"/>
                </a:lnTo>
                <a:lnTo>
                  <a:pt x="84" y="1278"/>
                </a:lnTo>
                <a:lnTo>
                  <a:pt x="84" y="1278"/>
                </a:lnTo>
                <a:lnTo>
                  <a:pt x="90" y="1277"/>
                </a:lnTo>
                <a:lnTo>
                  <a:pt x="95" y="1276"/>
                </a:lnTo>
                <a:lnTo>
                  <a:pt x="100" y="1274"/>
                </a:lnTo>
                <a:lnTo>
                  <a:pt x="103" y="1271"/>
                </a:lnTo>
                <a:lnTo>
                  <a:pt x="110" y="1263"/>
                </a:lnTo>
                <a:lnTo>
                  <a:pt x="116" y="1255"/>
                </a:lnTo>
                <a:lnTo>
                  <a:pt x="122" y="1247"/>
                </a:lnTo>
                <a:lnTo>
                  <a:pt x="129" y="1240"/>
                </a:lnTo>
                <a:lnTo>
                  <a:pt x="133" y="1238"/>
                </a:lnTo>
                <a:lnTo>
                  <a:pt x="138" y="1236"/>
                </a:lnTo>
                <a:lnTo>
                  <a:pt x="144" y="1235"/>
                </a:lnTo>
                <a:lnTo>
                  <a:pt x="151" y="1233"/>
                </a:lnTo>
                <a:lnTo>
                  <a:pt x="151" y="1233"/>
                </a:lnTo>
                <a:lnTo>
                  <a:pt x="168" y="1235"/>
                </a:lnTo>
                <a:lnTo>
                  <a:pt x="184" y="1233"/>
                </a:lnTo>
                <a:lnTo>
                  <a:pt x="192" y="1232"/>
                </a:lnTo>
                <a:lnTo>
                  <a:pt x="200" y="1230"/>
                </a:lnTo>
                <a:lnTo>
                  <a:pt x="207" y="1228"/>
                </a:lnTo>
                <a:lnTo>
                  <a:pt x="213" y="1223"/>
                </a:lnTo>
                <a:lnTo>
                  <a:pt x="213" y="1223"/>
                </a:lnTo>
                <a:lnTo>
                  <a:pt x="216" y="1218"/>
                </a:lnTo>
                <a:lnTo>
                  <a:pt x="217" y="1214"/>
                </a:lnTo>
                <a:lnTo>
                  <a:pt x="218" y="1208"/>
                </a:lnTo>
                <a:lnTo>
                  <a:pt x="218" y="1203"/>
                </a:lnTo>
                <a:lnTo>
                  <a:pt x="218" y="1198"/>
                </a:lnTo>
                <a:lnTo>
                  <a:pt x="220" y="1193"/>
                </a:lnTo>
                <a:lnTo>
                  <a:pt x="221" y="1187"/>
                </a:lnTo>
                <a:lnTo>
                  <a:pt x="224" y="1182"/>
                </a:lnTo>
                <a:lnTo>
                  <a:pt x="224" y="1182"/>
                </a:lnTo>
                <a:lnTo>
                  <a:pt x="248" y="1159"/>
                </a:lnTo>
                <a:lnTo>
                  <a:pt x="260" y="1147"/>
                </a:lnTo>
                <a:lnTo>
                  <a:pt x="269" y="1137"/>
                </a:lnTo>
                <a:lnTo>
                  <a:pt x="277" y="1124"/>
                </a:lnTo>
                <a:lnTo>
                  <a:pt x="285" y="1110"/>
                </a:lnTo>
                <a:lnTo>
                  <a:pt x="292" y="1093"/>
                </a:lnTo>
                <a:lnTo>
                  <a:pt x="298" y="1072"/>
                </a:lnTo>
                <a:lnTo>
                  <a:pt x="298" y="1072"/>
                </a:lnTo>
                <a:lnTo>
                  <a:pt x="305" y="1071"/>
                </a:lnTo>
                <a:lnTo>
                  <a:pt x="313" y="1070"/>
                </a:lnTo>
                <a:lnTo>
                  <a:pt x="320" y="1068"/>
                </a:lnTo>
                <a:lnTo>
                  <a:pt x="327" y="1065"/>
                </a:lnTo>
                <a:lnTo>
                  <a:pt x="340" y="1059"/>
                </a:lnTo>
                <a:lnTo>
                  <a:pt x="353" y="1049"/>
                </a:lnTo>
                <a:lnTo>
                  <a:pt x="366" y="1039"/>
                </a:lnTo>
                <a:lnTo>
                  <a:pt x="377" y="1027"/>
                </a:lnTo>
                <a:lnTo>
                  <a:pt x="396" y="1007"/>
                </a:lnTo>
                <a:lnTo>
                  <a:pt x="396" y="1007"/>
                </a:lnTo>
                <a:lnTo>
                  <a:pt x="414" y="992"/>
                </a:lnTo>
                <a:lnTo>
                  <a:pt x="423" y="985"/>
                </a:lnTo>
                <a:lnTo>
                  <a:pt x="430" y="977"/>
                </a:lnTo>
                <a:lnTo>
                  <a:pt x="436" y="969"/>
                </a:lnTo>
                <a:lnTo>
                  <a:pt x="441" y="958"/>
                </a:lnTo>
                <a:lnTo>
                  <a:pt x="444" y="947"/>
                </a:lnTo>
                <a:lnTo>
                  <a:pt x="444" y="933"/>
                </a:lnTo>
                <a:lnTo>
                  <a:pt x="444" y="933"/>
                </a:lnTo>
                <a:lnTo>
                  <a:pt x="444" y="924"/>
                </a:lnTo>
                <a:lnTo>
                  <a:pt x="442" y="916"/>
                </a:lnTo>
                <a:lnTo>
                  <a:pt x="438" y="909"/>
                </a:lnTo>
                <a:lnTo>
                  <a:pt x="434" y="903"/>
                </a:lnTo>
                <a:lnTo>
                  <a:pt x="429" y="897"/>
                </a:lnTo>
                <a:lnTo>
                  <a:pt x="423" y="892"/>
                </a:lnTo>
                <a:lnTo>
                  <a:pt x="412" y="882"/>
                </a:lnTo>
                <a:lnTo>
                  <a:pt x="399" y="873"/>
                </a:lnTo>
                <a:lnTo>
                  <a:pt x="393" y="869"/>
                </a:lnTo>
                <a:lnTo>
                  <a:pt x="389" y="864"/>
                </a:lnTo>
                <a:lnTo>
                  <a:pt x="384" y="858"/>
                </a:lnTo>
                <a:lnTo>
                  <a:pt x="381" y="853"/>
                </a:lnTo>
                <a:lnTo>
                  <a:pt x="378" y="846"/>
                </a:lnTo>
                <a:lnTo>
                  <a:pt x="378" y="838"/>
                </a:lnTo>
                <a:lnTo>
                  <a:pt x="378" y="838"/>
                </a:lnTo>
                <a:lnTo>
                  <a:pt x="378" y="833"/>
                </a:lnTo>
                <a:lnTo>
                  <a:pt x="380" y="828"/>
                </a:lnTo>
                <a:lnTo>
                  <a:pt x="381" y="825"/>
                </a:lnTo>
                <a:lnTo>
                  <a:pt x="383" y="823"/>
                </a:lnTo>
                <a:lnTo>
                  <a:pt x="389" y="817"/>
                </a:lnTo>
                <a:lnTo>
                  <a:pt x="396" y="812"/>
                </a:lnTo>
                <a:lnTo>
                  <a:pt x="411" y="804"/>
                </a:lnTo>
                <a:lnTo>
                  <a:pt x="418" y="800"/>
                </a:lnTo>
                <a:lnTo>
                  <a:pt x="422" y="794"/>
                </a:lnTo>
                <a:lnTo>
                  <a:pt x="422" y="794"/>
                </a:lnTo>
                <a:lnTo>
                  <a:pt x="430" y="774"/>
                </a:lnTo>
                <a:lnTo>
                  <a:pt x="439" y="752"/>
                </a:lnTo>
                <a:lnTo>
                  <a:pt x="449" y="731"/>
                </a:lnTo>
                <a:lnTo>
                  <a:pt x="458" y="708"/>
                </a:lnTo>
                <a:lnTo>
                  <a:pt x="469" y="687"/>
                </a:lnTo>
                <a:lnTo>
                  <a:pt x="481" y="667"/>
                </a:lnTo>
                <a:lnTo>
                  <a:pt x="488" y="659"/>
                </a:lnTo>
                <a:lnTo>
                  <a:pt x="495" y="651"/>
                </a:lnTo>
                <a:lnTo>
                  <a:pt x="503" y="644"/>
                </a:lnTo>
                <a:lnTo>
                  <a:pt x="511" y="640"/>
                </a:lnTo>
                <a:lnTo>
                  <a:pt x="511" y="640"/>
                </a:lnTo>
                <a:lnTo>
                  <a:pt x="519" y="634"/>
                </a:lnTo>
                <a:lnTo>
                  <a:pt x="528" y="629"/>
                </a:lnTo>
                <a:lnTo>
                  <a:pt x="536" y="625"/>
                </a:lnTo>
                <a:lnTo>
                  <a:pt x="544" y="619"/>
                </a:lnTo>
                <a:lnTo>
                  <a:pt x="552" y="612"/>
                </a:lnTo>
                <a:lnTo>
                  <a:pt x="557" y="603"/>
                </a:lnTo>
                <a:lnTo>
                  <a:pt x="559" y="598"/>
                </a:lnTo>
                <a:lnTo>
                  <a:pt x="560" y="591"/>
                </a:lnTo>
                <a:lnTo>
                  <a:pt x="561" y="584"/>
                </a:lnTo>
                <a:lnTo>
                  <a:pt x="563" y="578"/>
                </a:lnTo>
                <a:lnTo>
                  <a:pt x="563" y="578"/>
                </a:lnTo>
                <a:lnTo>
                  <a:pt x="561" y="567"/>
                </a:lnTo>
                <a:lnTo>
                  <a:pt x="558" y="559"/>
                </a:lnTo>
                <a:lnTo>
                  <a:pt x="553" y="552"/>
                </a:lnTo>
                <a:lnTo>
                  <a:pt x="549" y="545"/>
                </a:lnTo>
                <a:lnTo>
                  <a:pt x="542" y="541"/>
                </a:lnTo>
                <a:lnTo>
                  <a:pt x="534" y="535"/>
                </a:lnTo>
                <a:lnTo>
                  <a:pt x="518" y="526"/>
                </a:lnTo>
                <a:lnTo>
                  <a:pt x="518" y="526"/>
                </a:lnTo>
                <a:lnTo>
                  <a:pt x="508" y="519"/>
                </a:lnTo>
                <a:lnTo>
                  <a:pt x="500" y="515"/>
                </a:lnTo>
                <a:lnTo>
                  <a:pt x="492" y="513"/>
                </a:lnTo>
                <a:lnTo>
                  <a:pt x="484" y="512"/>
                </a:lnTo>
                <a:lnTo>
                  <a:pt x="466" y="512"/>
                </a:lnTo>
                <a:lnTo>
                  <a:pt x="456" y="511"/>
                </a:lnTo>
                <a:lnTo>
                  <a:pt x="444" y="507"/>
                </a:lnTo>
                <a:lnTo>
                  <a:pt x="444" y="507"/>
                </a:lnTo>
                <a:lnTo>
                  <a:pt x="431" y="479"/>
                </a:lnTo>
                <a:lnTo>
                  <a:pt x="421" y="456"/>
                </a:lnTo>
                <a:lnTo>
                  <a:pt x="415" y="441"/>
                </a:lnTo>
                <a:lnTo>
                  <a:pt x="415" y="441"/>
                </a:lnTo>
                <a:lnTo>
                  <a:pt x="406" y="420"/>
                </a:lnTo>
                <a:lnTo>
                  <a:pt x="396" y="403"/>
                </a:lnTo>
                <a:lnTo>
                  <a:pt x="372" y="363"/>
                </a:lnTo>
                <a:lnTo>
                  <a:pt x="372" y="363"/>
                </a:lnTo>
                <a:lnTo>
                  <a:pt x="366" y="359"/>
                </a:lnTo>
                <a:lnTo>
                  <a:pt x="360" y="353"/>
                </a:lnTo>
                <a:lnTo>
                  <a:pt x="357" y="350"/>
                </a:lnTo>
                <a:lnTo>
                  <a:pt x="354" y="345"/>
                </a:lnTo>
                <a:lnTo>
                  <a:pt x="353" y="340"/>
                </a:lnTo>
                <a:lnTo>
                  <a:pt x="352" y="335"/>
                </a:lnTo>
                <a:lnTo>
                  <a:pt x="352" y="335"/>
                </a:lnTo>
                <a:lnTo>
                  <a:pt x="352" y="322"/>
                </a:lnTo>
                <a:lnTo>
                  <a:pt x="353" y="311"/>
                </a:lnTo>
                <a:lnTo>
                  <a:pt x="354" y="306"/>
                </a:lnTo>
                <a:lnTo>
                  <a:pt x="357" y="301"/>
                </a:lnTo>
                <a:lnTo>
                  <a:pt x="361" y="299"/>
                </a:lnTo>
                <a:lnTo>
                  <a:pt x="367" y="298"/>
                </a:lnTo>
                <a:lnTo>
                  <a:pt x="367" y="298"/>
                </a:lnTo>
                <a:lnTo>
                  <a:pt x="373" y="298"/>
                </a:lnTo>
                <a:lnTo>
                  <a:pt x="378" y="300"/>
                </a:lnTo>
                <a:lnTo>
                  <a:pt x="388" y="305"/>
                </a:lnTo>
                <a:lnTo>
                  <a:pt x="392" y="308"/>
                </a:lnTo>
                <a:lnTo>
                  <a:pt x="398" y="311"/>
                </a:lnTo>
                <a:lnTo>
                  <a:pt x="404" y="312"/>
                </a:lnTo>
                <a:lnTo>
                  <a:pt x="411" y="313"/>
                </a:lnTo>
                <a:lnTo>
                  <a:pt x="411" y="313"/>
                </a:lnTo>
                <a:lnTo>
                  <a:pt x="419" y="312"/>
                </a:lnTo>
                <a:lnTo>
                  <a:pt x="424" y="311"/>
                </a:lnTo>
                <a:lnTo>
                  <a:pt x="431" y="307"/>
                </a:lnTo>
                <a:lnTo>
                  <a:pt x="436" y="305"/>
                </a:lnTo>
                <a:lnTo>
                  <a:pt x="446" y="296"/>
                </a:lnTo>
                <a:lnTo>
                  <a:pt x="456" y="285"/>
                </a:lnTo>
                <a:lnTo>
                  <a:pt x="464" y="275"/>
                </a:lnTo>
                <a:lnTo>
                  <a:pt x="472" y="266"/>
                </a:lnTo>
                <a:lnTo>
                  <a:pt x="480" y="259"/>
                </a:lnTo>
                <a:lnTo>
                  <a:pt x="484" y="255"/>
                </a:lnTo>
                <a:lnTo>
                  <a:pt x="489" y="254"/>
                </a:lnTo>
                <a:lnTo>
                  <a:pt x="489" y="254"/>
                </a:lnTo>
                <a:lnTo>
                  <a:pt x="482" y="233"/>
                </a:lnTo>
                <a:lnTo>
                  <a:pt x="479" y="224"/>
                </a:lnTo>
                <a:lnTo>
                  <a:pt x="477" y="216"/>
                </a:lnTo>
                <a:lnTo>
                  <a:pt x="477" y="216"/>
                </a:lnTo>
                <a:lnTo>
                  <a:pt x="477" y="212"/>
                </a:lnTo>
                <a:lnTo>
                  <a:pt x="479" y="208"/>
                </a:lnTo>
                <a:lnTo>
                  <a:pt x="482" y="202"/>
                </a:lnTo>
                <a:lnTo>
                  <a:pt x="485" y="198"/>
                </a:lnTo>
                <a:lnTo>
                  <a:pt x="489" y="191"/>
                </a:lnTo>
                <a:lnTo>
                  <a:pt x="489" y="191"/>
                </a:lnTo>
                <a:lnTo>
                  <a:pt x="462" y="185"/>
                </a:lnTo>
                <a:lnTo>
                  <a:pt x="451" y="183"/>
                </a:lnTo>
                <a:lnTo>
                  <a:pt x="439" y="179"/>
                </a:lnTo>
                <a:lnTo>
                  <a:pt x="429" y="175"/>
                </a:lnTo>
                <a:lnTo>
                  <a:pt x="426" y="171"/>
                </a:lnTo>
                <a:lnTo>
                  <a:pt x="422" y="168"/>
                </a:lnTo>
                <a:lnTo>
                  <a:pt x="419" y="164"/>
                </a:lnTo>
                <a:lnTo>
                  <a:pt x="416" y="161"/>
                </a:lnTo>
                <a:lnTo>
                  <a:pt x="415" y="156"/>
                </a:lnTo>
                <a:lnTo>
                  <a:pt x="415" y="151"/>
                </a:lnTo>
                <a:lnTo>
                  <a:pt x="415" y="151"/>
                </a:lnTo>
                <a:lnTo>
                  <a:pt x="415" y="52"/>
                </a:lnTo>
                <a:lnTo>
                  <a:pt x="415" y="52"/>
                </a:lnTo>
                <a:lnTo>
                  <a:pt x="416" y="47"/>
                </a:lnTo>
                <a:lnTo>
                  <a:pt x="419" y="42"/>
                </a:lnTo>
                <a:lnTo>
                  <a:pt x="422" y="40"/>
                </a:lnTo>
                <a:lnTo>
                  <a:pt x="427" y="39"/>
                </a:lnTo>
                <a:lnTo>
                  <a:pt x="435" y="37"/>
                </a:lnTo>
                <a:lnTo>
                  <a:pt x="441" y="37"/>
                </a:lnTo>
                <a:lnTo>
                  <a:pt x="441" y="37"/>
                </a:lnTo>
                <a:lnTo>
                  <a:pt x="484" y="37"/>
                </a:lnTo>
                <a:lnTo>
                  <a:pt x="484" y="37"/>
                </a:lnTo>
                <a:lnTo>
                  <a:pt x="493" y="36"/>
                </a:lnTo>
                <a:lnTo>
                  <a:pt x="500" y="34"/>
                </a:lnTo>
                <a:lnTo>
                  <a:pt x="507" y="31"/>
                </a:lnTo>
                <a:lnTo>
                  <a:pt x="513" y="27"/>
                </a:lnTo>
                <a:lnTo>
                  <a:pt x="525" y="18"/>
                </a:lnTo>
                <a:lnTo>
                  <a:pt x="536" y="7"/>
                </a:lnTo>
                <a:lnTo>
                  <a:pt x="536" y="7"/>
                </a:lnTo>
                <a:lnTo>
                  <a:pt x="521" y="0"/>
                </a:lnTo>
                <a:lnTo>
                  <a:pt x="521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1" name="Freeform 56"/>
          <p:cNvSpPr>
            <a:spLocks/>
          </p:cNvSpPr>
          <p:nvPr/>
        </p:nvSpPr>
        <p:spPr bwMode="auto">
          <a:xfrm>
            <a:off x="3213100" y="4872038"/>
            <a:ext cx="417513" cy="687387"/>
          </a:xfrm>
          <a:custGeom>
            <a:avLst/>
            <a:gdLst/>
            <a:ahLst/>
            <a:cxnLst>
              <a:cxn ang="0">
                <a:pos x="484" y="65"/>
              </a:cxn>
              <a:cxn ang="0">
                <a:pos x="472" y="106"/>
              </a:cxn>
              <a:cxn ang="0">
                <a:pos x="459" y="140"/>
              </a:cxn>
              <a:cxn ang="0">
                <a:pos x="488" y="194"/>
              </a:cxn>
              <a:cxn ang="0">
                <a:pos x="505" y="286"/>
              </a:cxn>
              <a:cxn ang="0">
                <a:pos x="509" y="322"/>
              </a:cxn>
              <a:cxn ang="0">
                <a:pos x="479" y="386"/>
              </a:cxn>
              <a:cxn ang="0">
                <a:pos x="482" y="406"/>
              </a:cxn>
              <a:cxn ang="0">
                <a:pos x="486" y="430"/>
              </a:cxn>
              <a:cxn ang="0">
                <a:pos x="442" y="443"/>
              </a:cxn>
              <a:cxn ang="0">
                <a:pos x="415" y="454"/>
              </a:cxn>
              <a:cxn ang="0">
                <a:pos x="396" y="514"/>
              </a:cxn>
              <a:cxn ang="0">
                <a:pos x="374" y="560"/>
              </a:cxn>
              <a:cxn ang="0">
                <a:pos x="383" y="611"/>
              </a:cxn>
              <a:cxn ang="0">
                <a:pos x="404" y="665"/>
              </a:cxn>
              <a:cxn ang="0">
                <a:pos x="390" y="681"/>
              </a:cxn>
              <a:cxn ang="0">
                <a:pos x="357" y="740"/>
              </a:cxn>
              <a:cxn ang="0">
                <a:pos x="283" y="769"/>
              </a:cxn>
              <a:cxn ang="0">
                <a:pos x="238" y="789"/>
              </a:cxn>
              <a:cxn ang="0">
                <a:pos x="204" y="772"/>
              </a:cxn>
              <a:cxn ang="0">
                <a:pos x="173" y="769"/>
              </a:cxn>
              <a:cxn ang="0">
                <a:pos x="165" y="751"/>
              </a:cxn>
              <a:cxn ang="0">
                <a:pos x="190" y="732"/>
              </a:cxn>
              <a:cxn ang="0">
                <a:pos x="202" y="715"/>
              </a:cxn>
              <a:cxn ang="0">
                <a:pos x="168" y="708"/>
              </a:cxn>
              <a:cxn ang="0">
                <a:pos x="139" y="676"/>
              </a:cxn>
              <a:cxn ang="0">
                <a:pos x="113" y="690"/>
              </a:cxn>
              <a:cxn ang="0">
                <a:pos x="97" y="652"/>
              </a:cxn>
              <a:cxn ang="0">
                <a:pos x="77" y="635"/>
              </a:cxn>
              <a:cxn ang="0">
                <a:pos x="41" y="650"/>
              </a:cxn>
              <a:cxn ang="0">
                <a:pos x="7" y="639"/>
              </a:cxn>
              <a:cxn ang="0">
                <a:pos x="8" y="612"/>
              </a:cxn>
              <a:cxn ang="0">
                <a:pos x="32" y="566"/>
              </a:cxn>
              <a:cxn ang="0">
                <a:pos x="3" y="462"/>
              </a:cxn>
              <a:cxn ang="0">
                <a:pos x="15" y="423"/>
              </a:cxn>
              <a:cxn ang="0">
                <a:pos x="27" y="362"/>
              </a:cxn>
              <a:cxn ang="0">
                <a:pos x="54" y="351"/>
              </a:cxn>
              <a:cxn ang="0">
                <a:pos x="62" y="297"/>
              </a:cxn>
              <a:cxn ang="0">
                <a:pos x="104" y="274"/>
              </a:cxn>
              <a:cxn ang="0">
                <a:pos x="150" y="248"/>
              </a:cxn>
              <a:cxn ang="0">
                <a:pos x="130" y="191"/>
              </a:cxn>
              <a:cxn ang="0">
                <a:pos x="106" y="168"/>
              </a:cxn>
              <a:cxn ang="0">
                <a:pos x="91" y="180"/>
              </a:cxn>
              <a:cxn ang="0">
                <a:pos x="76" y="177"/>
              </a:cxn>
              <a:cxn ang="0">
                <a:pos x="72" y="149"/>
              </a:cxn>
              <a:cxn ang="0">
                <a:pos x="95" y="107"/>
              </a:cxn>
              <a:cxn ang="0">
                <a:pos x="99" y="59"/>
              </a:cxn>
              <a:cxn ang="0">
                <a:pos x="150" y="2"/>
              </a:cxn>
              <a:cxn ang="0">
                <a:pos x="171" y="4"/>
              </a:cxn>
              <a:cxn ang="0">
                <a:pos x="174" y="34"/>
              </a:cxn>
              <a:cxn ang="0">
                <a:pos x="161" y="50"/>
              </a:cxn>
              <a:cxn ang="0">
                <a:pos x="237" y="92"/>
              </a:cxn>
              <a:cxn ang="0">
                <a:pos x="296" y="104"/>
              </a:cxn>
              <a:cxn ang="0">
                <a:pos x="339" y="96"/>
              </a:cxn>
              <a:cxn ang="0">
                <a:pos x="396" y="115"/>
              </a:cxn>
              <a:cxn ang="0">
                <a:pos x="447" y="95"/>
              </a:cxn>
              <a:cxn ang="0">
                <a:pos x="473" y="55"/>
              </a:cxn>
            </a:cxnLst>
            <a:rect l="0" t="0" r="r" b="b"/>
            <a:pathLst>
              <a:path w="510" h="789">
                <a:moveTo>
                  <a:pt x="473" y="55"/>
                </a:moveTo>
                <a:lnTo>
                  <a:pt x="473" y="55"/>
                </a:lnTo>
                <a:lnTo>
                  <a:pt x="478" y="56"/>
                </a:lnTo>
                <a:lnTo>
                  <a:pt x="480" y="58"/>
                </a:lnTo>
                <a:lnTo>
                  <a:pt x="482" y="62"/>
                </a:lnTo>
                <a:lnTo>
                  <a:pt x="484" y="65"/>
                </a:lnTo>
                <a:lnTo>
                  <a:pt x="485" y="77"/>
                </a:lnTo>
                <a:lnTo>
                  <a:pt x="485" y="87"/>
                </a:lnTo>
                <a:lnTo>
                  <a:pt x="485" y="87"/>
                </a:lnTo>
                <a:lnTo>
                  <a:pt x="484" y="93"/>
                </a:lnTo>
                <a:lnTo>
                  <a:pt x="481" y="97"/>
                </a:lnTo>
                <a:lnTo>
                  <a:pt x="472" y="106"/>
                </a:lnTo>
                <a:lnTo>
                  <a:pt x="467" y="110"/>
                </a:lnTo>
                <a:lnTo>
                  <a:pt x="463" y="116"/>
                </a:lnTo>
                <a:lnTo>
                  <a:pt x="461" y="123"/>
                </a:lnTo>
                <a:lnTo>
                  <a:pt x="459" y="132"/>
                </a:lnTo>
                <a:lnTo>
                  <a:pt x="459" y="132"/>
                </a:lnTo>
                <a:lnTo>
                  <a:pt x="459" y="140"/>
                </a:lnTo>
                <a:lnTo>
                  <a:pt x="463" y="148"/>
                </a:lnTo>
                <a:lnTo>
                  <a:pt x="466" y="157"/>
                </a:lnTo>
                <a:lnTo>
                  <a:pt x="471" y="165"/>
                </a:lnTo>
                <a:lnTo>
                  <a:pt x="480" y="181"/>
                </a:lnTo>
                <a:lnTo>
                  <a:pt x="488" y="194"/>
                </a:lnTo>
                <a:lnTo>
                  <a:pt x="488" y="194"/>
                </a:lnTo>
                <a:lnTo>
                  <a:pt x="488" y="256"/>
                </a:lnTo>
                <a:lnTo>
                  <a:pt x="488" y="256"/>
                </a:lnTo>
                <a:lnTo>
                  <a:pt x="488" y="256"/>
                </a:lnTo>
                <a:lnTo>
                  <a:pt x="496" y="268"/>
                </a:lnTo>
                <a:lnTo>
                  <a:pt x="503" y="279"/>
                </a:lnTo>
                <a:lnTo>
                  <a:pt x="505" y="286"/>
                </a:lnTo>
                <a:lnTo>
                  <a:pt x="508" y="293"/>
                </a:lnTo>
                <a:lnTo>
                  <a:pt x="510" y="300"/>
                </a:lnTo>
                <a:lnTo>
                  <a:pt x="510" y="308"/>
                </a:lnTo>
                <a:lnTo>
                  <a:pt x="510" y="308"/>
                </a:lnTo>
                <a:lnTo>
                  <a:pt x="510" y="315"/>
                </a:lnTo>
                <a:lnTo>
                  <a:pt x="509" y="322"/>
                </a:lnTo>
                <a:lnTo>
                  <a:pt x="505" y="335"/>
                </a:lnTo>
                <a:lnTo>
                  <a:pt x="500" y="346"/>
                </a:lnTo>
                <a:lnTo>
                  <a:pt x="494" y="356"/>
                </a:lnTo>
                <a:lnTo>
                  <a:pt x="487" y="366"/>
                </a:lnTo>
                <a:lnTo>
                  <a:pt x="482" y="376"/>
                </a:lnTo>
                <a:lnTo>
                  <a:pt x="479" y="386"/>
                </a:lnTo>
                <a:lnTo>
                  <a:pt x="478" y="391"/>
                </a:lnTo>
                <a:lnTo>
                  <a:pt x="477" y="397"/>
                </a:lnTo>
                <a:lnTo>
                  <a:pt x="477" y="397"/>
                </a:lnTo>
                <a:lnTo>
                  <a:pt x="478" y="399"/>
                </a:lnTo>
                <a:lnTo>
                  <a:pt x="479" y="401"/>
                </a:lnTo>
                <a:lnTo>
                  <a:pt x="482" y="406"/>
                </a:lnTo>
                <a:lnTo>
                  <a:pt x="487" y="410"/>
                </a:lnTo>
                <a:lnTo>
                  <a:pt x="488" y="414"/>
                </a:lnTo>
                <a:lnTo>
                  <a:pt x="488" y="419"/>
                </a:lnTo>
                <a:lnTo>
                  <a:pt x="488" y="419"/>
                </a:lnTo>
                <a:lnTo>
                  <a:pt x="488" y="425"/>
                </a:lnTo>
                <a:lnTo>
                  <a:pt x="486" y="430"/>
                </a:lnTo>
                <a:lnTo>
                  <a:pt x="484" y="435"/>
                </a:lnTo>
                <a:lnTo>
                  <a:pt x="481" y="438"/>
                </a:lnTo>
                <a:lnTo>
                  <a:pt x="478" y="440"/>
                </a:lnTo>
                <a:lnTo>
                  <a:pt x="473" y="442"/>
                </a:lnTo>
                <a:lnTo>
                  <a:pt x="464" y="443"/>
                </a:lnTo>
                <a:lnTo>
                  <a:pt x="442" y="443"/>
                </a:lnTo>
                <a:lnTo>
                  <a:pt x="431" y="444"/>
                </a:lnTo>
                <a:lnTo>
                  <a:pt x="426" y="445"/>
                </a:lnTo>
                <a:lnTo>
                  <a:pt x="421" y="447"/>
                </a:lnTo>
                <a:lnTo>
                  <a:pt x="421" y="447"/>
                </a:lnTo>
                <a:lnTo>
                  <a:pt x="418" y="451"/>
                </a:lnTo>
                <a:lnTo>
                  <a:pt x="415" y="454"/>
                </a:lnTo>
                <a:lnTo>
                  <a:pt x="409" y="462"/>
                </a:lnTo>
                <a:lnTo>
                  <a:pt x="406" y="470"/>
                </a:lnTo>
                <a:lnTo>
                  <a:pt x="405" y="480"/>
                </a:lnTo>
                <a:lnTo>
                  <a:pt x="403" y="497"/>
                </a:lnTo>
                <a:lnTo>
                  <a:pt x="401" y="506"/>
                </a:lnTo>
                <a:lnTo>
                  <a:pt x="396" y="514"/>
                </a:lnTo>
                <a:lnTo>
                  <a:pt x="396" y="514"/>
                </a:lnTo>
                <a:lnTo>
                  <a:pt x="388" y="526"/>
                </a:lnTo>
                <a:lnTo>
                  <a:pt x="381" y="538"/>
                </a:lnTo>
                <a:lnTo>
                  <a:pt x="379" y="545"/>
                </a:lnTo>
                <a:lnTo>
                  <a:pt x="377" y="553"/>
                </a:lnTo>
                <a:lnTo>
                  <a:pt x="374" y="560"/>
                </a:lnTo>
                <a:lnTo>
                  <a:pt x="374" y="568"/>
                </a:lnTo>
                <a:lnTo>
                  <a:pt x="374" y="568"/>
                </a:lnTo>
                <a:lnTo>
                  <a:pt x="374" y="577"/>
                </a:lnTo>
                <a:lnTo>
                  <a:pt x="375" y="585"/>
                </a:lnTo>
                <a:lnTo>
                  <a:pt x="379" y="599"/>
                </a:lnTo>
                <a:lnTo>
                  <a:pt x="383" y="611"/>
                </a:lnTo>
                <a:lnTo>
                  <a:pt x="389" y="621"/>
                </a:lnTo>
                <a:lnTo>
                  <a:pt x="394" y="630"/>
                </a:lnTo>
                <a:lnTo>
                  <a:pt x="400" y="641"/>
                </a:lnTo>
                <a:lnTo>
                  <a:pt x="402" y="652"/>
                </a:lnTo>
                <a:lnTo>
                  <a:pt x="404" y="665"/>
                </a:lnTo>
                <a:lnTo>
                  <a:pt x="404" y="665"/>
                </a:lnTo>
                <a:lnTo>
                  <a:pt x="403" y="669"/>
                </a:lnTo>
                <a:lnTo>
                  <a:pt x="402" y="673"/>
                </a:lnTo>
                <a:lnTo>
                  <a:pt x="400" y="675"/>
                </a:lnTo>
                <a:lnTo>
                  <a:pt x="397" y="676"/>
                </a:lnTo>
                <a:lnTo>
                  <a:pt x="393" y="679"/>
                </a:lnTo>
                <a:lnTo>
                  <a:pt x="390" y="681"/>
                </a:lnTo>
                <a:lnTo>
                  <a:pt x="389" y="683"/>
                </a:lnTo>
                <a:lnTo>
                  <a:pt x="389" y="683"/>
                </a:lnTo>
                <a:lnTo>
                  <a:pt x="380" y="704"/>
                </a:lnTo>
                <a:lnTo>
                  <a:pt x="372" y="720"/>
                </a:lnTo>
                <a:lnTo>
                  <a:pt x="365" y="732"/>
                </a:lnTo>
                <a:lnTo>
                  <a:pt x="357" y="740"/>
                </a:lnTo>
                <a:lnTo>
                  <a:pt x="348" y="746"/>
                </a:lnTo>
                <a:lnTo>
                  <a:pt x="335" y="751"/>
                </a:lnTo>
                <a:lnTo>
                  <a:pt x="301" y="764"/>
                </a:lnTo>
                <a:lnTo>
                  <a:pt x="301" y="764"/>
                </a:lnTo>
                <a:lnTo>
                  <a:pt x="291" y="766"/>
                </a:lnTo>
                <a:lnTo>
                  <a:pt x="283" y="769"/>
                </a:lnTo>
                <a:lnTo>
                  <a:pt x="270" y="778"/>
                </a:lnTo>
                <a:lnTo>
                  <a:pt x="263" y="782"/>
                </a:lnTo>
                <a:lnTo>
                  <a:pt x="256" y="786"/>
                </a:lnTo>
                <a:lnTo>
                  <a:pt x="248" y="788"/>
                </a:lnTo>
                <a:lnTo>
                  <a:pt x="238" y="789"/>
                </a:lnTo>
                <a:lnTo>
                  <a:pt x="238" y="789"/>
                </a:lnTo>
                <a:lnTo>
                  <a:pt x="233" y="788"/>
                </a:lnTo>
                <a:lnTo>
                  <a:pt x="228" y="787"/>
                </a:lnTo>
                <a:lnTo>
                  <a:pt x="219" y="780"/>
                </a:lnTo>
                <a:lnTo>
                  <a:pt x="214" y="776"/>
                </a:lnTo>
                <a:lnTo>
                  <a:pt x="210" y="774"/>
                </a:lnTo>
                <a:lnTo>
                  <a:pt x="204" y="772"/>
                </a:lnTo>
                <a:lnTo>
                  <a:pt x="198" y="771"/>
                </a:lnTo>
                <a:lnTo>
                  <a:pt x="198" y="771"/>
                </a:lnTo>
                <a:lnTo>
                  <a:pt x="183" y="771"/>
                </a:lnTo>
                <a:lnTo>
                  <a:pt x="183" y="771"/>
                </a:lnTo>
                <a:lnTo>
                  <a:pt x="179" y="771"/>
                </a:lnTo>
                <a:lnTo>
                  <a:pt x="173" y="769"/>
                </a:lnTo>
                <a:lnTo>
                  <a:pt x="169" y="767"/>
                </a:lnTo>
                <a:lnTo>
                  <a:pt x="167" y="765"/>
                </a:lnTo>
                <a:lnTo>
                  <a:pt x="166" y="761"/>
                </a:lnTo>
                <a:lnTo>
                  <a:pt x="165" y="756"/>
                </a:lnTo>
                <a:lnTo>
                  <a:pt x="165" y="756"/>
                </a:lnTo>
                <a:lnTo>
                  <a:pt x="165" y="751"/>
                </a:lnTo>
                <a:lnTo>
                  <a:pt x="166" y="748"/>
                </a:lnTo>
                <a:lnTo>
                  <a:pt x="168" y="744"/>
                </a:lnTo>
                <a:lnTo>
                  <a:pt x="171" y="741"/>
                </a:lnTo>
                <a:lnTo>
                  <a:pt x="176" y="737"/>
                </a:lnTo>
                <a:lnTo>
                  <a:pt x="183" y="735"/>
                </a:lnTo>
                <a:lnTo>
                  <a:pt x="190" y="732"/>
                </a:lnTo>
                <a:lnTo>
                  <a:pt x="196" y="729"/>
                </a:lnTo>
                <a:lnTo>
                  <a:pt x="198" y="727"/>
                </a:lnTo>
                <a:lnTo>
                  <a:pt x="199" y="723"/>
                </a:lnTo>
                <a:lnTo>
                  <a:pt x="200" y="720"/>
                </a:lnTo>
                <a:lnTo>
                  <a:pt x="202" y="715"/>
                </a:lnTo>
                <a:lnTo>
                  <a:pt x="202" y="715"/>
                </a:lnTo>
                <a:lnTo>
                  <a:pt x="200" y="712"/>
                </a:lnTo>
                <a:lnTo>
                  <a:pt x="197" y="710"/>
                </a:lnTo>
                <a:lnTo>
                  <a:pt x="192" y="708"/>
                </a:lnTo>
                <a:lnTo>
                  <a:pt x="188" y="708"/>
                </a:lnTo>
                <a:lnTo>
                  <a:pt x="176" y="708"/>
                </a:lnTo>
                <a:lnTo>
                  <a:pt x="168" y="708"/>
                </a:lnTo>
                <a:lnTo>
                  <a:pt x="168" y="708"/>
                </a:lnTo>
                <a:lnTo>
                  <a:pt x="166" y="707"/>
                </a:lnTo>
                <a:lnTo>
                  <a:pt x="163" y="704"/>
                </a:lnTo>
                <a:lnTo>
                  <a:pt x="152" y="692"/>
                </a:lnTo>
                <a:lnTo>
                  <a:pt x="139" y="676"/>
                </a:lnTo>
                <a:lnTo>
                  <a:pt x="139" y="676"/>
                </a:lnTo>
                <a:lnTo>
                  <a:pt x="134" y="682"/>
                </a:lnTo>
                <a:lnTo>
                  <a:pt x="129" y="687"/>
                </a:lnTo>
                <a:lnTo>
                  <a:pt x="125" y="690"/>
                </a:lnTo>
                <a:lnTo>
                  <a:pt x="118" y="690"/>
                </a:lnTo>
                <a:lnTo>
                  <a:pt x="118" y="690"/>
                </a:lnTo>
                <a:lnTo>
                  <a:pt x="113" y="690"/>
                </a:lnTo>
                <a:lnTo>
                  <a:pt x="111" y="688"/>
                </a:lnTo>
                <a:lnTo>
                  <a:pt x="107" y="685"/>
                </a:lnTo>
                <a:lnTo>
                  <a:pt x="106" y="682"/>
                </a:lnTo>
                <a:lnTo>
                  <a:pt x="103" y="673"/>
                </a:lnTo>
                <a:lnTo>
                  <a:pt x="99" y="662"/>
                </a:lnTo>
                <a:lnTo>
                  <a:pt x="97" y="652"/>
                </a:lnTo>
                <a:lnTo>
                  <a:pt x="92" y="644"/>
                </a:lnTo>
                <a:lnTo>
                  <a:pt x="90" y="641"/>
                </a:lnTo>
                <a:lnTo>
                  <a:pt x="87" y="637"/>
                </a:lnTo>
                <a:lnTo>
                  <a:pt x="82" y="636"/>
                </a:lnTo>
                <a:lnTo>
                  <a:pt x="77" y="635"/>
                </a:lnTo>
                <a:lnTo>
                  <a:pt x="77" y="635"/>
                </a:lnTo>
                <a:lnTo>
                  <a:pt x="73" y="636"/>
                </a:lnTo>
                <a:lnTo>
                  <a:pt x="67" y="637"/>
                </a:lnTo>
                <a:lnTo>
                  <a:pt x="59" y="643"/>
                </a:lnTo>
                <a:lnTo>
                  <a:pt x="51" y="648"/>
                </a:lnTo>
                <a:lnTo>
                  <a:pt x="46" y="649"/>
                </a:lnTo>
                <a:lnTo>
                  <a:pt x="41" y="650"/>
                </a:lnTo>
                <a:lnTo>
                  <a:pt x="41" y="650"/>
                </a:lnTo>
                <a:lnTo>
                  <a:pt x="37" y="650"/>
                </a:lnTo>
                <a:lnTo>
                  <a:pt x="32" y="648"/>
                </a:lnTo>
                <a:lnTo>
                  <a:pt x="23" y="644"/>
                </a:lnTo>
                <a:lnTo>
                  <a:pt x="13" y="641"/>
                </a:lnTo>
                <a:lnTo>
                  <a:pt x="7" y="639"/>
                </a:lnTo>
                <a:lnTo>
                  <a:pt x="0" y="638"/>
                </a:lnTo>
                <a:lnTo>
                  <a:pt x="0" y="638"/>
                </a:lnTo>
                <a:lnTo>
                  <a:pt x="0" y="616"/>
                </a:lnTo>
                <a:lnTo>
                  <a:pt x="0" y="616"/>
                </a:lnTo>
                <a:lnTo>
                  <a:pt x="0" y="616"/>
                </a:lnTo>
                <a:lnTo>
                  <a:pt x="8" y="612"/>
                </a:lnTo>
                <a:lnTo>
                  <a:pt x="15" y="606"/>
                </a:lnTo>
                <a:lnTo>
                  <a:pt x="20" y="599"/>
                </a:lnTo>
                <a:lnTo>
                  <a:pt x="24" y="592"/>
                </a:lnTo>
                <a:lnTo>
                  <a:pt x="29" y="584"/>
                </a:lnTo>
                <a:lnTo>
                  <a:pt x="31" y="576"/>
                </a:lnTo>
                <a:lnTo>
                  <a:pt x="32" y="566"/>
                </a:lnTo>
                <a:lnTo>
                  <a:pt x="34" y="554"/>
                </a:lnTo>
                <a:lnTo>
                  <a:pt x="34" y="554"/>
                </a:lnTo>
                <a:lnTo>
                  <a:pt x="29" y="536"/>
                </a:lnTo>
                <a:lnTo>
                  <a:pt x="19" y="504"/>
                </a:lnTo>
                <a:lnTo>
                  <a:pt x="7" y="473"/>
                </a:lnTo>
                <a:lnTo>
                  <a:pt x="3" y="462"/>
                </a:lnTo>
                <a:lnTo>
                  <a:pt x="0" y="459"/>
                </a:lnTo>
                <a:lnTo>
                  <a:pt x="0" y="459"/>
                </a:lnTo>
                <a:lnTo>
                  <a:pt x="5" y="451"/>
                </a:lnTo>
                <a:lnTo>
                  <a:pt x="9" y="443"/>
                </a:lnTo>
                <a:lnTo>
                  <a:pt x="13" y="433"/>
                </a:lnTo>
                <a:lnTo>
                  <a:pt x="15" y="423"/>
                </a:lnTo>
                <a:lnTo>
                  <a:pt x="18" y="401"/>
                </a:lnTo>
                <a:lnTo>
                  <a:pt x="19" y="382"/>
                </a:lnTo>
                <a:lnTo>
                  <a:pt x="19" y="382"/>
                </a:lnTo>
                <a:lnTo>
                  <a:pt x="20" y="372"/>
                </a:lnTo>
                <a:lnTo>
                  <a:pt x="22" y="367"/>
                </a:lnTo>
                <a:lnTo>
                  <a:pt x="27" y="362"/>
                </a:lnTo>
                <a:lnTo>
                  <a:pt x="31" y="360"/>
                </a:lnTo>
                <a:lnTo>
                  <a:pt x="42" y="359"/>
                </a:lnTo>
                <a:lnTo>
                  <a:pt x="47" y="358"/>
                </a:lnTo>
                <a:lnTo>
                  <a:pt x="52" y="355"/>
                </a:lnTo>
                <a:lnTo>
                  <a:pt x="52" y="355"/>
                </a:lnTo>
                <a:lnTo>
                  <a:pt x="54" y="351"/>
                </a:lnTo>
                <a:lnTo>
                  <a:pt x="57" y="344"/>
                </a:lnTo>
                <a:lnTo>
                  <a:pt x="58" y="336"/>
                </a:lnTo>
                <a:lnTo>
                  <a:pt x="59" y="326"/>
                </a:lnTo>
                <a:lnTo>
                  <a:pt x="59" y="309"/>
                </a:lnTo>
                <a:lnTo>
                  <a:pt x="60" y="302"/>
                </a:lnTo>
                <a:lnTo>
                  <a:pt x="62" y="297"/>
                </a:lnTo>
                <a:lnTo>
                  <a:pt x="62" y="297"/>
                </a:lnTo>
                <a:lnTo>
                  <a:pt x="67" y="291"/>
                </a:lnTo>
                <a:lnTo>
                  <a:pt x="73" y="286"/>
                </a:lnTo>
                <a:lnTo>
                  <a:pt x="80" y="283"/>
                </a:lnTo>
                <a:lnTo>
                  <a:pt x="88" y="279"/>
                </a:lnTo>
                <a:lnTo>
                  <a:pt x="104" y="274"/>
                </a:lnTo>
                <a:lnTo>
                  <a:pt x="121" y="269"/>
                </a:lnTo>
                <a:lnTo>
                  <a:pt x="135" y="263"/>
                </a:lnTo>
                <a:lnTo>
                  <a:pt x="141" y="261"/>
                </a:lnTo>
                <a:lnTo>
                  <a:pt x="145" y="257"/>
                </a:lnTo>
                <a:lnTo>
                  <a:pt x="149" y="253"/>
                </a:lnTo>
                <a:lnTo>
                  <a:pt x="150" y="248"/>
                </a:lnTo>
                <a:lnTo>
                  <a:pt x="150" y="241"/>
                </a:lnTo>
                <a:lnTo>
                  <a:pt x="146" y="234"/>
                </a:lnTo>
                <a:lnTo>
                  <a:pt x="146" y="234"/>
                </a:lnTo>
                <a:lnTo>
                  <a:pt x="142" y="223"/>
                </a:lnTo>
                <a:lnTo>
                  <a:pt x="138" y="211"/>
                </a:lnTo>
                <a:lnTo>
                  <a:pt x="130" y="191"/>
                </a:lnTo>
                <a:lnTo>
                  <a:pt x="127" y="181"/>
                </a:lnTo>
                <a:lnTo>
                  <a:pt x="121" y="175"/>
                </a:lnTo>
                <a:lnTo>
                  <a:pt x="119" y="172"/>
                </a:lnTo>
                <a:lnTo>
                  <a:pt x="114" y="170"/>
                </a:lnTo>
                <a:lnTo>
                  <a:pt x="111" y="169"/>
                </a:lnTo>
                <a:lnTo>
                  <a:pt x="106" y="168"/>
                </a:lnTo>
                <a:lnTo>
                  <a:pt x="106" y="168"/>
                </a:lnTo>
                <a:lnTo>
                  <a:pt x="102" y="169"/>
                </a:lnTo>
                <a:lnTo>
                  <a:pt x="98" y="170"/>
                </a:lnTo>
                <a:lnTo>
                  <a:pt x="96" y="172"/>
                </a:lnTo>
                <a:lnTo>
                  <a:pt x="95" y="176"/>
                </a:lnTo>
                <a:lnTo>
                  <a:pt x="91" y="180"/>
                </a:lnTo>
                <a:lnTo>
                  <a:pt x="90" y="183"/>
                </a:lnTo>
                <a:lnTo>
                  <a:pt x="88" y="183"/>
                </a:lnTo>
                <a:lnTo>
                  <a:pt x="88" y="183"/>
                </a:lnTo>
                <a:lnTo>
                  <a:pt x="83" y="183"/>
                </a:lnTo>
                <a:lnTo>
                  <a:pt x="80" y="180"/>
                </a:lnTo>
                <a:lnTo>
                  <a:pt x="76" y="177"/>
                </a:lnTo>
                <a:lnTo>
                  <a:pt x="74" y="173"/>
                </a:lnTo>
                <a:lnTo>
                  <a:pt x="70" y="164"/>
                </a:lnTo>
                <a:lnTo>
                  <a:pt x="69" y="157"/>
                </a:lnTo>
                <a:lnTo>
                  <a:pt x="69" y="157"/>
                </a:lnTo>
                <a:lnTo>
                  <a:pt x="70" y="153"/>
                </a:lnTo>
                <a:lnTo>
                  <a:pt x="72" y="149"/>
                </a:lnTo>
                <a:lnTo>
                  <a:pt x="75" y="142"/>
                </a:lnTo>
                <a:lnTo>
                  <a:pt x="87" y="129"/>
                </a:lnTo>
                <a:lnTo>
                  <a:pt x="91" y="122"/>
                </a:lnTo>
                <a:lnTo>
                  <a:pt x="93" y="117"/>
                </a:lnTo>
                <a:lnTo>
                  <a:pt x="95" y="112"/>
                </a:lnTo>
                <a:lnTo>
                  <a:pt x="95" y="107"/>
                </a:lnTo>
                <a:lnTo>
                  <a:pt x="93" y="100"/>
                </a:lnTo>
                <a:lnTo>
                  <a:pt x="91" y="93"/>
                </a:lnTo>
                <a:lnTo>
                  <a:pt x="88" y="84"/>
                </a:lnTo>
                <a:lnTo>
                  <a:pt x="88" y="84"/>
                </a:lnTo>
                <a:lnTo>
                  <a:pt x="92" y="73"/>
                </a:lnTo>
                <a:lnTo>
                  <a:pt x="99" y="59"/>
                </a:lnTo>
                <a:lnTo>
                  <a:pt x="108" y="46"/>
                </a:lnTo>
                <a:lnTo>
                  <a:pt x="118" y="32"/>
                </a:lnTo>
                <a:lnTo>
                  <a:pt x="128" y="19"/>
                </a:lnTo>
                <a:lnTo>
                  <a:pt x="139" y="9"/>
                </a:lnTo>
                <a:lnTo>
                  <a:pt x="144" y="5"/>
                </a:lnTo>
                <a:lnTo>
                  <a:pt x="150" y="2"/>
                </a:lnTo>
                <a:lnTo>
                  <a:pt x="156" y="0"/>
                </a:lnTo>
                <a:lnTo>
                  <a:pt x="161" y="0"/>
                </a:lnTo>
                <a:lnTo>
                  <a:pt x="161" y="0"/>
                </a:lnTo>
                <a:lnTo>
                  <a:pt x="165" y="0"/>
                </a:lnTo>
                <a:lnTo>
                  <a:pt x="168" y="2"/>
                </a:lnTo>
                <a:lnTo>
                  <a:pt x="171" y="4"/>
                </a:lnTo>
                <a:lnTo>
                  <a:pt x="173" y="8"/>
                </a:lnTo>
                <a:lnTo>
                  <a:pt x="175" y="17"/>
                </a:lnTo>
                <a:lnTo>
                  <a:pt x="176" y="25"/>
                </a:lnTo>
                <a:lnTo>
                  <a:pt x="176" y="25"/>
                </a:lnTo>
                <a:lnTo>
                  <a:pt x="175" y="31"/>
                </a:lnTo>
                <a:lnTo>
                  <a:pt x="174" y="34"/>
                </a:lnTo>
                <a:lnTo>
                  <a:pt x="172" y="38"/>
                </a:lnTo>
                <a:lnTo>
                  <a:pt x="168" y="41"/>
                </a:lnTo>
                <a:lnTo>
                  <a:pt x="164" y="46"/>
                </a:lnTo>
                <a:lnTo>
                  <a:pt x="163" y="48"/>
                </a:lnTo>
                <a:lnTo>
                  <a:pt x="161" y="50"/>
                </a:lnTo>
                <a:lnTo>
                  <a:pt x="161" y="50"/>
                </a:lnTo>
                <a:lnTo>
                  <a:pt x="163" y="54"/>
                </a:lnTo>
                <a:lnTo>
                  <a:pt x="166" y="57"/>
                </a:lnTo>
                <a:lnTo>
                  <a:pt x="177" y="65"/>
                </a:lnTo>
                <a:lnTo>
                  <a:pt x="195" y="74"/>
                </a:lnTo>
                <a:lnTo>
                  <a:pt x="215" y="84"/>
                </a:lnTo>
                <a:lnTo>
                  <a:pt x="237" y="92"/>
                </a:lnTo>
                <a:lnTo>
                  <a:pt x="257" y="100"/>
                </a:lnTo>
                <a:lnTo>
                  <a:pt x="274" y="104"/>
                </a:lnTo>
                <a:lnTo>
                  <a:pt x="286" y="106"/>
                </a:lnTo>
                <a:lnTo>
                  <a:pt x="286" y="106"/>
                </a:lnTo>
                <a:lnTo>
                  <a:pt x="291" y="106"/>
                </a:lnTo>
                <a:lnTo>
                  <a:pt x="296" y="104"/>
                </a:lnTo>
                <a:lnTo>
                  <a:pt x="306" y="100"/>
                </a:lnTo>
                <a:lnTo>
                  <a:pt x="317" y="96"/>
                </a:lnTo>
                <a:lnTo>
                  <a:pt x="321" y="95"/>
                </a:lnTo>
                <a:lnTo>
                  <a:pt x="327" y="95"/>
                </a:lnTo>
                <a:lnTo>
                  <a:pt x="327" y="95"/>
                </a:lnTo>
                <a:lnTo>
                  <a:pt x="339" y="96"/>
                </a:lnTo>
                <a:lnTo>
                  <a:pt x="349" y="99"/>
                </a:lnTo>
                <a:lnTo>
                  <a:pt x="359" y="102"/>
                </a:lnTo>
                <a:lnTo>
                  <a:pt x="368" y="107"/>
                </a:lnTo>
                <a:lnTo>
                  <a:pt x="378" y="110"/>
                </a:lnTo>
                <a:lnTo>
                  <a:pt x="387" y="114"/>
                </a:lnTo>
                <a:lnTo>
                  <a:pt x="396" y="115"/>
                </a:lnTo>
                <a:lnTo>
                  <a:pt x="408" y="114"/>
                </a:lnTo>
                <a:lnTo>
                  <a:pt x="408" y="114"/>
                </a:lnTo>
                <a:lnTo>
                  <a:pt x="428" y="107"/>
                </a:lnTo>
                <a:lnTo>
                  <a:pt x="435" y="103"/>
                </a:lnTo>
                <a:lnTo>
                  <a:pt x="441" y="100"/>
                </a:lnTo>
                <a:lnTo>
                  <a:pt x="447" y="95"/>
                </a:lnTo>
                <a:lnTo>
                  <a:pt x="451" y="91"/>
                </a:lnTo>
                <a:lnTo>
                  <a:pt x="455" y="84"/>
                </a:lnTo>
                <a:lnTo>
                  <a:pt x="459" y="77"/>
                </a:lnTo>
                <a:lnTo>
                  <a:pt x="459" y="77"/>
                </a:lnTo>
                <a:lnTo>
                  <a:pt x="473" y="55"/>
                </a:lnTo>
                <a:lnTo>
                  <a:pt x="473" y="5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2" name="Freeform 57"/>
          <p:cNvSpPr>
            <a:spLocks/>
          </p:cNvSpPr>
          <p:nvPr/>
        </p:nvSpPr>
        <p:spPr bwMode="auto">
          <a:xfrm>
            <a:off x="2632075" y="4919663"/>
            <a:ext cx="455613" cy="346075"/>
          </a:xfrm>
          <a:custGeom>
            <a:avLst/>
            <a:gdLst/>
            <a:ahLst/>
            <a:cxnLst>
              <a:cxn ang="0">
                <a:pos x="542" y="361"/>
              </a:cxn>
              <a:cxn ang="0">
                <a:pos x="518" y="366"/>
              </a:cxn>
              <a:cxn ang="0">
                <a:pos x="503" y="364"/>
              </a:cxn>
              <a:cxn ang="0">
                <a:pos x="495" y="380"/>
              </a:cxn>
              <a:cxn ang="0">
                <a:pos x="483" y="385"/>
              </a:cxn>
              <a:cxn ang="0">
                <a:pos x="339" y="385"/>
              </a:cxn>
              <a:cxn ang="0">
                <a:pos x="321" y="390"/>
              </a:cxn>
              <a:cxn ang="0">
                <a:pos x="312" y="396"/>
              </a:cxn>
              <a:cxn ang="0">
                <a:pos x="295" y="374"/>
              </a:cxn>
              <a:cxn ang="0">
                <a:pos x="277" y="367"/>
              </a:cxn>
              <a:cxn ang="0">
                <a:pos x="263" y="370"/>
              </a:cxn>
              <a:cxn ang="0">
                <a:pos x="247" y="382"/>
              </a:cxn>
              <a:cxn ang="0">
                <a:pos x="228" y="389"/>
              </a:cxn>
              <a:cxn ang="0">
                <a:pos x="223" y="387"/>
              </a:cxn>
              <a:cxn ang="0">
                <a:pos x="220" y="381"/>
              </a:cxn>
              <a:cxn ang="0">
                <a:pos x="191" y="381"/>
              </a:cxn>
              <a:cxn ang="0">
                <a:pos x="167" y="384"/>
              </a:cxn>
              <a:cxn ang="0">
                <a:pos x="130" y="376"/>
              </a:cxn>
              <a:cxn ang="0">
                <a:pos x="87" y="361"/>
              </a:cxn>
              <a:cxn ang="0">
                <a:pos x="71" y="360"/>
              </a:cxn>
              <a:cxn ang="0">
                <a:pos x="66" y="334"/>
              </a:cxn>
              <a:cxn ang="0">
                <a:pos x="81" y="290"/>
              </a:cxn>
              <a:cxn ang="0">
                <a:pos x="81" y="271"/>
              </a:cxn>
              <a:cxn ang="0">
                <a:pos x="48" y="269"/>
              </a:cxn>
              <a:cxn ang="0">
                <a:pos x="34" y="255"/>
              </a:cxn>
              <a:cxn ang="0">
                <a:pos x="26" y="247"/>
              </a:cxn>
              <a:cxn ang="0">
                <a:pos x="0" y="245"/>
              </a:cxn>
              <a:cxn ang="0">
                <a:pos x="7" y="225"/>
              </a:cxn>
              <a:cxn ang="0">
                <a:pos x="33" y="191"/>
              </a:cxn>
              <a:cxn ang="0">
                <a:pos x="71" y="151"/>
              </a:cxn>
              <a:cxn ang="0">
                <a:pos x="86" y="122"/>
              </a:cxn>
              <a:cxn ang="0">
                <a:pos x="89" y="99"/>
              </a:cxn>
              <a:cxn ang="0">
                <a:pos x="83" y="40"/>
              </a:cxn>
              <a:cxn ang="0">
                <a:pos x="89" y="25"/>
              </a:cxn>
              <a:cxn ang="0">
                <a:pos x="112" y="17"/>
              </a:cxn>
              <a:cxn ang="0">
                <a:pos x="127" y="3"/>
              </a:cxn>
              <a:cxn ang="0">
                <a:pos x="140" y="0"/>
              </a:cxn>
              <a:cxn ang="0">
                <a:pos x="164" y="6"/>
              </a:cxn>
              <a:cxn ang="0">
                <a:pos x="208" y="29"/>
              </a:cxn>
              <a:cxn ang="0">
                <a:pos x="254" y="56"/>
              </a:cxn>
              <a:cxn ang="0">
                <a:pos x="265" y="59"/>
              </a:cxn>
              <a:cxn ang="0">
                <a:pos x="282" y="51"/>
              </a:cxn>
              <a:cxn ang="0">
                <a:pos x="297" y="37"/>
              </a:cxn>
              <a:cxn ang="0">
                <a:pos x="309" y="32"/>
              </a:cxn>
              <a:cxn ang="0">
                <a:pos x="339" y="40"/>
              </a:cxn>
              <a:cxn ang="0">
                <a:pos x="339" y="88"/>
              </a:cxn>
              <a:cxn ang="0">
                <a:pos x="343" y="109"/>
              </a:cxn>
              <a:cxn ang="0">
                <a:pos x="362" y="130"/>
              </a:cxn>
              <a:cxn ang="0">
                <a:pos x="370" y="145"/>
              </a:cxn>
              <a:cxn ang="0">
                <a:pos x="368" y="168"/>
              </a:cxn>
              <a:cxn ang="0">
                <a:pos x="374" y="179"/>
              </a:cxn>
              <a:cxn ang="0">
                <a:pos x="393" y="189"/>
              </a:cxn>
              <a:cxn ang="0">
                <a:pos x="428" y="190"/>
              </a:cxn>
              <a:cxn ang="0">
                <a:pos x="448" y="194"/>
              </a:cxn>
              <a:cxn ang="0">
                <a:pos x="471" y="214"/>
              </a:cxn>
              <a:cxn ang="0">
                <a:pos x="491" y="252"/>
              </a:cxn>
              <a:cxn ang="0">
                <a:pos x="501" y="265"/>
              </a:cxn>
              <a:cxn ang="0">
                <a:pos x="529" y="280"/>
              </a:cxn>
              <a:cxn ang="0">
                <a:pos x="537" y="286"/>
              </a:cxn>
              <a:cxn ang="0">
                <a:pos x="541" y="320"/>
              </a:cxn>
              <a:cxn ang="0">
                <a:pos x="549" y="343"/>
              </a:cxn>
              <a:cxn ang="0">
                <a:pos x="555" y="349"/>
              </a:cxn>
            </a:cxnLst>
            <a:rect l="0" t="0" r="r" b="b"/>
            <a:pathLst>
              <a:path w="555" h="396">
                <a:moveTo>
                  <a:pt x="555" y="357"/>
                </a:moveTo>
                <a:lnTo>
                  <a:pt x="555" y="357"/>
                </a:lnTo>
                <a:lnTo>
                  <a:pt x="542" y="361"/>
                </a:lnTo>
                <a:lnTo>
                  <a:pt x="531" y="365"/>
                </a:lnTo>
                <a:lnTo>
                  <a:pt x="524" y="366"/>
                </a:lnTo>
                <a:lnTo>
                  <a:pt x="518" y="366"/>
                </a:lnTo>
                <a:lnTo>
                  <a:pt x="511" y="366"/>
                </a:lnTo>
                <a:lnTo>
                  <a:pt x="503" y="364"/>
                </a:lnTo>
                <a:lnTo>
                  <a:pt x="503" y="364"/>
                </a:lnTo>
                <a:lnTo>
                  <a:pt x="500" y="373"/>
                </a:lnTo>
                <a:lnTo>
                  <a:pt x="498" y="376"/>
                </a:lnTo>
                <a:lnTo>
                  <a:pt x="495" y="380"/>
                </a:lnTo>
                <a:lnTo>
                  <a:pt x="492" y="382"/>
                </a:lnTo>
                <a:lnTo>
                  <a:pt x="487" y="384"/>
                </a:lnTo>
                <a:lnTo>
                  <a:pt x="483" y="385"/>
                </a:lnTo>
                <a:lnTo>
                  <a:pt x="478" y="385"/>
                </a:lnTo>
                <a:lnTo>
                  <a:pt x="478" y="385"/>
                </a:lnTo>
                <a:lnTo>
                  <a:pt x="339" y="385"/>
                </a:lnTo>
                <a:lnTo>
                  <a:pt x="339" y="385"/>
                </a:lnTo>
                <a:lnTo>
                  <a:pt x="328" y="387"/>
                </a:lnTo>
                <a:lnTo>
                  <a:pt x="321" y="390"/>
                </a:lnTo>
                <a:lnTo>
                  <a:pt x="316" y="393"/>
                </a:lnTo>
                <a:lnTo>
                  <a:pt x="312" y="396"/>
                </a:lnTo>
                <a:lnTo>
                  <a:pt x="312" y="396"/>
                </a:lnTo>
                <a:lnTo>
                  <a:pt x="307" y="389"/>
                </a:lnTo>
                <a:lnTo>
                  <a:pt x="300" y="378"/>
                </a:lnTo>
                <a:lnTo>
                  <a:pt x="295" y="374"/>
                </a:lnTo>
                <a:lnTo>
                  <a:pt x="290" y="370"/>
                </a:lnTo>
                <a:lnTo>
                  <a:pt x="284" y="368"/>
                </a:lnTo>
                <a:lnTo>
                  <a:pt x="277" y="367"/>
                </a:lnTo>
                <a:lnTo>
                  <a:pt x="277" y="367"/>
                </a:lnTo>
                <a:lnTo>
                  <a:pt x="270" y="368"/>
                </a:lnTo>
                <a:lnTo>
                  <a:pt x="263" y="370"/>
                </a:lnTo>
                <a:lnTo>
                  <a:pt x="257" y="374"/>
                </a:lnTo>
                <a:lnTo>
                  <a:pt x="252" y="377"/>
                </a:lnTo>
                <a:lnTo>
                  <a:pt x="247" y="382"/>
                </a:lnTo>
                <a:lnTo>
                  <a:pt x="241" y="385"/>
                </a:lnTo>
                <a:lnTo>
                  <a:pt x="234" y="388"/>
                </a:lnTo>
                <a:lnTo>
                  <a:pt x="228" y="389"/>
                </a:lnTo>
                <a:lnTo>
                  <a:pt x="228" y="389"/>
                </a:lnTo>
                <a:lnTo>
                  <a:pt x="225" y="389"/>
                </a:lnTo>
                <a:lnTo>
                  <a:pt x="223" y="387"/>
                </a:lnTo>
                <a:lnTo>
                  <a:pt x="221" y="384"/>
                </a:lnTo>
                <a:lnTo>
                  <a:pt x="220" y="381"/>
                </a:lnTo>
                <a:lnTo>
                  <a:pt x="220" y="381"/>
                </a:lnTo>
                <a:lnTo>
                  <a:pt x="191" y="381"/>
                </a:lnTo>
                <a:lnTo>
                  <a:pt x="191" y="381"/>
                </a:lnTo>
                <a:lnTo>
                  <a:pt x="191" y="381"/>
                </a:lnTo>
                <a:lnTo>
                  <a:pt x="183" y="383"/>
                </a:lnTo>
                <a:lnTo>
                  <a:pt x="175" y="384"/>
                </a:lnTo>
                <a:lnTo>
                  <a:pt x="167" y="384"/>
                </a:lnTo>
                <a:lnTo>
                  <a:pt x="160" y="384"/>
                </a:lnTo>
                <a:lnTo>
                  <a:pt x="145" y="381"/>
                </a:lnTo>
                <a:lnTo>
                  <a:pt x="130" y="376"/>
                </a:lnTo>
                <a:lnTo>
                  <a:pt x="117" y="370"/>
                </a:lnTo>
                <a:lnTo>
                  <a:pt x="102" y="365"/>
                </a:lnTo>
                <a:lnTo>
                  <a:pt x="87" y="361"/>
                </a:lnTo>
                <a:lnTo>
                  <a:pt x="79" y="360"/>
                </a:lnTo>
                <a:lnTo>
                  <a:pt x="71" y="360"/>
                </a:lnTo>
                <a:lnTo>
                  <a:pt x="71" y="360"/>
                </a:lnTo>
                <a:lnTo>
                  <a:pt x="66" y="334"/>
                </a:lnTo>
                <a:lnTo>
                  <a:pt x="66" y="334"/>
                </a:lnTo>
                <a:lnTo>
                  <a:pt x="66" y="334"/>
                </a:lnTo>
                <a:lnTo>
                  <a:pt x="76" y="312"/>
                </a:lnTo>
                <a:lnTo>
                  <a:pt x="80" y="301"/>
                </a:lnTo>
                <a:lnTo>
                  <a:pt x="81" y="290"/>
                </a:lnTo>
                <a:lnTo>
                  <a:pt x="81" y="290"/>
                </a:lnTo>
                <a:lnTo>
                  <a:pt x="81" y="271"/>
                </a:lnTo>
                <a:lnTo>
                  <a:pt x="81" y="271"/>
                </a:lnTo>
                <a:lnTo>
                  <a:pt x="63" y="271"/>
                </a:lnTo>
                <a:lnTo>
                  <a:pt x="55" y="271"/>
                </a:lnTo>
                <a:lnTo>
                  <a:pt x="48" y="269"/>
                </a:lnTo>
                <a:lnTo>
                  <a:pt x="42" y="267"/>
                </a:lnTo>
                <a:lnTo>
                  <a:pt x="37" y="262"/>
                </a:lnTo>
                <a:lnTo>
                  <a:pt x="34" y="255"/>
                </a:lnTo>
                <a:lnTo>
                  <a:pt x="33" y="245"/>
                </a:lnTo>
                <a:lnTo>
                  <a:pt x="33" y="245"/>
                </a:lnTo>
                <a:lnTo>
                  <a:pt x="26" y="247"/>
                </a:lnTo>
                <a:lnTo>
                  <a:pt x="18" y="248"/>
                </a:lnTo>
                <a:lnTo>
                  <a:pt x="10" y="247"/>
                </a:lnTo>
                <a:lnTo>
                  <a:pt x="0" y="245"/>
                </a:lnTo>
                <a:lnTo>
                  <a:pt x="0" y="245"/>
                </a:lnTo>
                <a:lnTo>
                  <a:pt x="3" y="235"/>
                </a:lnTo>
                <a:lnTo>
                  <a:pt x="7" y="225"/>
                </a:lnTo>
                <a:lnTo>
                  <a:pt x="13" y="216"/>
                </a:lnTo>
                <a:lnTo>
                  <a:pt x="19" y="207"/>
                </a:lnTo>
                <a:lnTo>
                  <a:pt x="33" y="191"/>
                </a:lnTo>
                <a:lnTo>
                  <a:pt x="49" y="175"/>
                </a:lnTo>
                <a:lnTo>
                  <a:pt x="64" y="159"/>
                </a:lnTo>
                <a:lnTo>
                  <a:pt x="71" y="151"/>
                </a:lnTo>
                <a:lnTo>
                  <a:pt x="76" y="141"/>
                </a:lnTo>
                <a:lnTo>
                  <a:pt x="81" y="132"/>
                </a:lnTo>
                <a:lnTo>
                  <a:pt x="86" y="122"/>
                </a:lnTo>
                <a:lnTo>
                  <a:pt x="88" y="110"/>
                </a:lnTo>
                <a:lnTo>
                  <a:pt x="89" y="99"/>
                </a:lnTo>
                <a:lnTo>
                  <a:pt x="89" y="99"/>
                </a:lnTo>
                <a:lnTo>
                  <a:pt x="88" y="80"/>
                </a:lnTo>
                <a:lnTo>
                  <a:pt x="87" y="60"/>
                </a:lnTo>
                <a:lnTo>
                  <a:pt x="83" y="40"/>
                </a:lnTo>
                <a:lnTo>
                  <a:pt x="81" y="22"/>
                </a:lnTo>
                <a:lnTo>
                  <a:pt x="89" y="25"/>
                </a:lnTo>
                <a:lnTo>
                  <a:pt x="89" y="25"/>
                </a:lnTo>
                <a:lnTo>
                  <a:pt x="98" y="24"/>
                </a:lnTo>
                <a:lnTo>
                  <a:pt x="106" y="21"/>
                </a:lnTo>
                <a:lnTo>
                  <a:pt x="112" y="17"/>
                </a:lnTo>
                <a:lnTo>
                  <a:pt x="117" y="13"/>
                </a:lnTo>
                <a:lnTo>
                  <a:pt x="121" y="8"/>
                </a:lnTo>
                <a:lnTo>
                  <a:pt x="127" y="3"/>
                </a:lnTo>
                <a:lnTo>
                  <a:pt x="133" y="1"/>
                </a:lnTo>
                <a:lnTo>
                  <a:pt x="140" y="0"/>
                </a:lnTo>
                <a:lnTo>
                  <a:pt x="140" y="0"/>
                </a:lnTo>
                <a:lnTo>
                  <a:pt x="148" y="0"/>
                </a:lnTo>
                <a:lnTo>
                  <a:pt x="156" y="2"/>
                </a:lnTo>
                <a:lnTo>
                  <a:pt x="164" y="6"/>
                </a:lnTo>
                <a:lnTo>
                  <a:pt x="173" y="9"/>
                </a:lnTo>
                <a:lnTo>
                  <a:pt x="190" y="18"/>
                </a:lnTo>
                <a:lnTo>
                  <a:pt x="208" y="29"/>
                </a:lnTo>
                <a:lnTo>
                  <a:pt x="225" y="40"/>
                </a:lnTo>
                <a:lnTo>
                  <a:pt x="240" y="49"/>
                </a:lnTo>
                <a:lnTo>
                  <a:pt x="254" y="56"/>
                </a:lnTo>
                <a:lnTo>
                  <a:pt x="259" y="57"/>
                </a:lnTo>
                <a:lnTo>
                  <a:pt x="265" y="59"/>
                </a:lnTo>
                <a:lnTo>
                  <a:pt x="265" y="59"/>
                </a:lnTo>
                <a:lnTo>
                  <a:pt x="271" y="57"/>
                </a:lnTo>
                <a:lnTo>
                  <a:pt x="277" y="54"/>
                </a:lnTo>
                <a:lnTo>
                  <a:pt x="282" y="51"/>
                </a:lnTo>
                <a:lnTo>
                  <a:pt x="287" y="46"/>
                </a:lnTo>
                <a:lnTo>
                  <a:pt x="292" y="41"/>
                </a:lnTo>
                <a:lnTo>
                  <a:pt x="297" y="37"/>
                </a:lnTo>
                <a:lnTo>
                  <a:pt x="303" y="33"/>
                </a:lnTo>
                <a:lnTo>
                  <a:pt x="309" y="32"/>
                </a:lnTo>
                <a:lnTo>
                  <a:pt x="309" y="32"/>
                </a:lnTo>
                <a:lnTo>
                  <a:pt x="317" y="33"/>
                </a:lnTo>
                <a:lnTo>
                  <a:pt x="324" y="34"/>
                </a:lnTo>
                <a:lnTo>
                  <a:pt x="339" y="40"/>
                </a:lnTo>
                <a:lnTo>
                  <a:pt x="339" y="40"/>
                </a:lnTo>
                <a:lnTo>
                  <a:pt x="339" y="88"/>
                </a:lnTo>
                <a:lnTo>
                  <a:pt x="339" y="88"/>
                </a:lnTo>
                <a:lnTo>
                  <a:pt x="339" y="98"/>
                </a:lnTo>
                <a:lnTo>
                  <a:pt x="341" y="105"/>
                </a:lnTo>
                <a:lnTo>
                  <a:pt x="343" y="109"/>
                </a:lnTo>
                <a:lnTo>
                  <a:pt x="348" y="114"/>
                </a:lnTo>
                <a:lnTo>
                  <a:pt x="357" y="123"/>
                </a:lnTo>
                <a:lnTo>
                  <a:pt x="362" y="130"/>
                </a:lnTo>
                <a:lnTo>
                  <a:pt x="368" y="139"/>
                </a:lnTo>
                <a:lnTo>
                  <a:pt x="368" y="139"/>
                </a:lnTo>
                <a:lnTo>
                  <a:pt x="370" y="145"/>
                </a:lnTo>
                <a:lnTo>
                  <a:pt x="370" y="151"/>
                </a:lnTo>
                <a:lnTo>
                  <a:pt x="369" y="162"/>
                </a:lnTo>
                <a:lnTo>
                  <a:pt x="368" y="168"/>
                </a:lnTo>
                <a:lnTo>
                  <a:pt x="369" y="172"/>
                </a:lnTo>
                <a:lnTo>
                  <a:pt x="371" y="176"/>
                </a:lnTo>
                <a:lnTo>
                  <a:pt x="374" y="179"/>
                </a:lnTo>
                <a:lnTo>
                  <a:pt x="374" y="179"/>
                </a:lnTo>
                <a:lnTo>
                  <a:pt x="384" y="185"/>
                </a:lnTo>
                <a:lnTo>
                  <a:pt x="393" y="189"/>
                </a:lnTo>
                <a:lnTo>
                  <a:pt x="402" y="190"/>
                </a:lnTo>
                <a:lnTo>
                  <a:pt x="410" y="190"/>
                </a:lnTo>
                <a:lnTo>
                  <a:pt x="428" y="190"/>
                </a:lnTo>
                <a:lnTo>
                  <a:pt x="438" y="191"/>
                </a:lnTo>
                <a:lnTo>
                  <a:pt x="448" y="194"/>
                </a:lnTo>
                <a:lnTo>
                  <a:pt x="448" y="194"/>
                </a:lnTo>
                <a:lnTo>
                  <a:pt x="457" y="200"/>
                </a:lnTo>
                <a:lnTo>
                  <a:pt x="464" y="206"/>
                </a:lnTo>
                <a:lnTo>
                  <a:pt x="471" y="214"/>
                </a:lnTo>
                <a:lnTo>
                  <a:pt x="477" y="223"/>
                </a:lnTo>
                <a:lnTo>
                  <a:pt x="486" y="243"/>
                </a:lnTo>
                <a:lnTo>
                  <a:pt x="491" y="252"/>
                </a:lnTo>
                <a:lnTo>
                  <a:pt x="496" y="260"/>
                </a:lnTo>
                <a:lnTo>
                  <a:pt x="496" y="260"/>
                </a:lnTo>
                <a:lnTo>
                  <a:pt x="501" y="265"/>
                </a:lnTo>
                <a:lnTo>
                  <a:pt x="506" y="269"/>
                </a:lnTo>
                <a:lnTo>
                  <a:pt x="518" y="275"/>
                </a:lnTo>
                <a:lnTo>
                  <a:pt x="529" y="280"/>
                </a:lnTo>
                <a:lnTo>
                  <a:pt x="533" y="282"/>
                </a:lnTo>
                <a:lnTo>
                  <a:pt x="537" y="286"/>
                </a:lnTo>
                <a:lnTo>
                  <a:pt x="537" y="286"/>
                </a:lnTo>
                <a:lnTo>
                  <a:pt x="539" y="293"/>
                </a:lnTo>
                <a:lnTo>
                  <a:pt x="540" y="301"/>
                </a:lnTo>
                <a:lnTo>
                  <a:pt x="541" y="320"/>
                </a:lnTo>
                <a:lnTo>
                  <a:pt x="542" y="329"/>
                </a:lnTo>
                <a:lnTo>
                  <a:pt x="545" y="337"/>
                </a:lnTo>
                <a:lnTo>
                  <a:pt x="549" y="343"/>
                </a:lnTo>
                <a:lnTo>
                  <a:pt x="552" y="346"/>
                </a:lnTo>
                <a:lnTo>
                  <a:pt x="555" y="349"/>
                </a:lnTo>
                <a:lnTo>
                  <a:pt x="555" y="349"/>
                </a:lnTo>
                <a:lnTo>
                  <a:pt x="555" y="357"/>
                </a:lnTo>
                <a:lnTo>
                  <a:pt x="555" y="35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3" name="Freeform 58"/>
          <p:cNvSpPr>
            <a:spLocks/>
          </p:cNvSpPr>
          <p:nvPr/>
        </p:nvSpPr>
        <p:spPr bwMode="auto">
          <a:xfrm>
            <a:off x="1428750" y="3411538"/>
            <a:ext cx="714375" cy="627062"/>
          </a:xfrm>
          <a:custGeom>
            <a:avLst/>
            <a:gdLst/>
            <a:ahLst/>
            <a:cxnLst>
              <a:cxn ang="0">
                <a:pos x="828" y="480"/>
              </a:cxn>
              <a:cxn ang="0">
                <a:pos x="823" y="463"/>
              </a:cxn>
              <a:cxn ang="0">
                <a:pos x="794" y="458"/>
              </a:cxn>
              <a:cxn ang="0">
                <a:pos x="764" y="477"/>
              </a:cxn>
              <a:cxn ang="0">
                <a:pos x="747" y="461"/>
              </a:cxn>
              <a:cxn ang="0">
                <a:pos x="638" y="411"/>
              </a:cxn>
              <a:cxn ang="0">
                <a:pos x="628" y="371"/>
              </a:cxn>
              <a:cxn ang="0">
                <a:pos x="576" y="340"/>
              </a:cxn>
              <a:cxn ang="0">
                <a:pos x="521" y="326"/>
              </a:cxn>
              <a:cxn ang="0">
                <a:pos x="507" y="313"/>
              </a:cxn>
              <a:cxn ang="0">
                <a:pos x="492" y="279"/>
              </a:cxn>
              <a:cxn ang="0">
                <a:pos x="452" y="273"/>
              </a:cxn>
              <a:cxn ang="0">
                <a:pos x="447" y="251"/>
              </a:cxn>
              <a:cxn ang="0">
                <a:pos x="416" y="218"/>
              </a:cxn>
              <a:cxn ang="0">
                <a:pos x="386" y="179"/>
              </a:cxn>
              <a:cxn ang="0">
                <a:pos x="397" y="109"/>
              </a:cxn>
              <a:cxn ang="0">
                <a:pos x="413" y="54"/>
              </a:cxn>
              <a:cxn ang="0">
                <a:pos x="380" y="6"/>
              </a:cxn>
              <a:cxn ang="0">
                <a:pos x="317" y="13"/>
              </a:cxn>
              <a:cxn ang="0">
                <a:pos x="286" y="33"/>
              </a:cxn>
              <a:cxn ang="0">
                <a:pos x="232" y="19"/>
              </a:cxn>
              <a:cxn ang="0">
                <a:pos x="202" y="27"/>
              </a:cxn>
              <a:cxn ang="0">
                <a:pos x="123" y="87"/>
              </a:cxn>
              <a:cxn ang="0">
                <a:pos x="124" y="138"/>
              </a:cxn>
              <a:cxn ang="0">
                <a:pos x="70" y="171"/>
              </a:cxn>
              <a:cxn ang="0">
                <a:pos x="26" y="167"/>
              </a:cxn>
              <a:cxn ang="0">
                <a:pos x="10" y="188"/>
              </a:cxn>
              <a:cxn ang="0">
                <a:pos x="0" y="221"/>
              </a:cxn>
              <a:cxn ang="0">
                <a:pos x="34" y="236"/>
              </a:cxn>
              <a:cxn ang="0">
                <a:pos x="42" y="266"/>
              </a:cxn>
              <a:cxn ang="0">
                <a:pos x="36" y="319"/>
              </a:cxn>
              <a:cxn ang="0">
                <a:pos x="54" y="329"/>
              </a:cxn>
              <a:cxn ang="0">
                <a:pos x="87" y="311"/>
              </a:cxn>
              <a:cxn ang="0">
                <a:pos x="103" y="325"/>
              </a:cxn>
              <a:cxn ang="0">
                <a:pos x="107" y="377"/>
              </a:cxn>
              <a:cxn ang="0">
                <a:pos x="139" y="385"/>
              </a:cxn>
              <a:cxn ang="0">
                <a:pos x="164" y="397"/>
              </a:cxn>
              <a:cxn ang="0">
                <a:pos x="196" y="425"/>
              </a:cxn>
              <a:cxn ang="0">
                <a:pos x="211" y="413"/>
              </a:cxn>
              <a:cxn ang="0">
                <a:pos x="231" y="415"/>
              </a:cxn>
              <a:cxn ang="0">
                <a:pos x="262" y="480"/>
              </a:cxn>
              <a:cxn ang="0">
                <a:pos x="291" y="545"/>
              </a:cxn>
              <a:cxn ang="0">
                <a:pos x="322" y="549"/>
              </a:cxn>
              <a:cxn ang="0">
                <a:pos x="362" y="530"/>
              </a:cxn>
              <a:cxn ang="0">
                <a:pos x="408" y="544"/>
              </a:cxn>
              <a:cxn ang="0">
                <a:pos x="433" y="539"/>
              </a:cxn>
              <a:cxn ang="0">
                <a:pos x="452" y="523"/>
              </a:cxn>
              <a:cxn ang="0">
                <a:pos x="466" y="562"/>
              </a:cxn>
              <a:cxn ang="0">
                <a:pos x="553" y="634"/>
              </a:cxn>
              <a:cxn ang="0">
                <a:pos x="596" y="679"/>
              </a:cxn>
              <a:cxn ang="0">
                <a:pos x="666" y="716"/>
              </a:cxn>
              <a:cxn ang="0">
                <a:pos x="714" y="712"/>
              </a:cxn>
              <a:cxn ang="0">
                <a:pos x="795" y="642"/>
              </a:cxn>
              <a:cxn ang="0">
                <a:pos x="872" y="547"/>
              </a:cxn>
              <a:cxn ang="0">
                <a:pos x="830" y="518"/>
              </a:cxn>
            </a:cxnLst>
            <a:rect l="0" t="0" r="r" b="b"/>
            <a:pathLst>
              <a:path w="874" h="717">
                <a:moveTo>
                  <a:pt x="822" y="502"/>
                </a:moveTo>
                <a:lnTo>
                  <a:pt x="822" y="502"/>
                </a:lnTo>
                <a:lnTo>
                  <a:pt x="822" y="497"/>
                </a:lnTo>
                <a:lnTo>
                  <a:pt x="823" y="493"/>
                </a:lnTo>
                <a:lnTo>
                  <a:pt x="827" y="484"/>
                </a:lnTo>
                <a:lnTo>
                  <a:pt x="828" y="480"/>
                </a:lnTo>
                <a:lnTo>
                  <a:pt x="828" y="476"/>
                </a:lnTo>
                <a:lnTo>
                  <a:pt x="828" y="471"/>
                </a:lnTo>
                <a:lnTo>
                  <a:pt x="826" y="465"/>
                </a:lnTo>
                <a:lnTo>
                  <a:pt x="826" y="465"/>
                </a:lnTo>
                <a:lnTo>
                  <a:pt x="825" y="464"/>
                </a:lnTo>
                <a:lnTo>
                  <a:pt x="823" y="463"/>
                </a:lnTo>
                <a:lnTo>
                  <a:pt x="818" y="460"/>
                </a:lnTo>
                <a:lnTo>
                  <a:pt x="810" y="456"/>
                </a:lnTo>
                <a:lnTo>
                  <a:pt x="804" y="455"/>
                </a:lnTo>
                <a:lnTo>
                  <a:pt x="804" y="455"/>
                </a:lnTo>
                <a:lnTo>
                  <a:pt x="798" y="456"/>
                </a:lnTo>
                <a:lnTo>
                  <a:pt x="794" y="458"/>
                </a:lnTo>
                <a:lnTo>
                  <a:pt x="790" y="462"/>
                </a:lnTo>
                <a:lnTo>
                  <a:pt x="787" y="466"/>
                </a:lnTo>
                <a:lnTo>
                  <a:pt x="783" y="470"/>
                </a:lnTo>
                <a:lnTo>
                  <a:pt x="777" y="473"/>
                </a:lnTo>
                <a:lnTo>
                  <a:pt x="772" y="476"/>
                </a:lnTo>
                <a:lnTo>
                  <a:pt x="764" y="477"/>
                </a:lnTo>
                <a:lnTo>
                  <a:pt x="764" y="477"/>
                </a:lnTo>
                <a:lnTo>
                  <a:pt x="758" y="477"/>
                </a:lnTo>
                <a:lnTo>
                  <a:pt x="754" y="474"/>
                </a:lnTo>
                <a:lnTo>
                  <a:pt x="752" y="472"/>
                </a:lnTo>
                <a:lnTo>
                  <a:pt x="750" y="470"/>
                </a:lnTo>
                <a:lnTo>
                  <a:pt x="747" y="461"/>
                </a:lnTo>
                <a:lnTo>
                  <a:pt x="745" y="450"/>
                </a:lnTo>
                <a:lnTo>
                  <a:pt x="745" y="450"/>
                </a:lnTo>
                <a:lnTo>
                  <a:pt x="726" y="431"/>
                </a:lnTo>
                <a:lnTo>
                  <a:pt x="715" y="422"/>
                </a:lnTo>
                <a:lnTo>
                  <a:pt x="700" y="411"/>
                </a:lnTo>
                <a:lnTo>
                  <a:pt x="638" y="411"/>
                </a:lnTo>
                <a:lnTo>
                  <a:pt x="638" y="411"/>
                </a:lnTo>
                <a:lnTo>
                  <a:pt x="634" y="403"/>
                </a:lnTo>
                <a:lnTo>
                  <a:pt x="630" y="395"/>
                </a:lnTo>
                <a:lnTo>
                  <a:pt x="628" y="385"/>
                </a:lnTo>
                <a:lnTo>
                  <a:pt x="628" y="371"/>
                </a:lnTo>
                <a:lnTo>
                  <a:pt x="628" y="371"/>
                </a:lnTo>
                <a:lnTo>
                  <a:pt x="621" y="370"/>
                </a:lnTo>
                <a:lnTo>
                  <a:pt x="614" y="367"/>
                </a:lnTo>
                <a:lnTo>
                  <a:pt x="604" y="362"/>
                </a:lnTo>
                <a:lnTo>
                  <a:pt x="593" y="355"/>
                </a:lnTo>
                <a:lnTo>
                  <a:pt x="584" y="347"/>
                </a:lnTo>
                <a:lnTo>
                  <a:pt x="576" y="340"/>
                </a:lnTo>
                <a:lnTo>
                  <a:pt x="568" y="333"/>
                </a:lnTo>
                <a:lnTo>
                  <a:pt x="560" y="328"/>
                </a:lnTo>
                <a:lnTo>
                  <a:pt x="555" y="327"/>
                </a:lnTo>
                <a:lnTo>
                  <a:pt x="551" y="326"/>
                </a:lnTo>
                <a:lnTo>
                  <a:pt x="551" y="326"/>
                </a:lnTo>
                <a:lnTo>
                  <a:pt x="521" y="326"/>
                </a:lnTo>
                <a:lnTo>
                  <a:pt x="521" y="326"/>
                </a:lnTo>
                <a:lnTo>
                  <a:pt x="517" y="326"/>
                </a:lnTo>
                <a:lnTo>
                  <a:pt x="514" y="325"/>
                </a:lnTo>
                <a:lnTo>
                  <a:pt x="512" y="323"/>
                </a:lnTo>
                <a:lnTo>
                  <a:pt x="509" y="320"/>
                </a:lnTo>
                <a:lnTo>
                  <a:pt x="507" y="313"/>
                </a:lnTo>
                <a:lnTo>
                  <a:pt x="505" y="305"/>
                </a:lnTo>
                <a:lnTo>
                  <a:pt x="502" y="297"/>
                </a:lnTo>
                <a:lnTo>
                  <a:pt x="501" y="289"/>
                </a:lnTo>
                <a:lnTo>
                  <a:pt x="497" y="282"/>
                </a:lnTo>
                <a:lnTo>
                  <a:pt x="494" y="280"/>
                </a:lnTo>
                <a:lnTo>
                  <a:pt x="492" y="279"/>
                </a:lnTo>
                <a:lnTo>
                  <a:pt x="492" y="279"/>
                </a:lnTo>
                <a:lnTo>
                  <a:pt x="485" y="277"/>
                </a:lnTo>
                <a:lnTo>
                  <a:pt x="478" y="277"/>
                </a:lnTo>
                <a:lnTo>
                  <a:pt x="464" y="277"/>
                </a:lnTo>
                <a:lnTo>
                  <a:pt x="458" y="275"/>
                </a:lnTo>
                <a:lnTo>
                  <a:pt x="452" y="273"/>
                </a:lnTo>
                <a:lnTo>
                  <a:pt x="451" y="271"/>
                </a:lnTo>
                <a:lnTo>
                  <a:pt x="448" y="267"/>
                </a:lnTo>
                <a:lnTo>
                  <a:pt x="448" y="264"/>
                </a:lnTo>
                <a:lnTo>
                  <a:pt x="447" y="259"/>
                </a:lnTo>
                <a:lnTo>
                  <a:pt x="447" y="259"/>
                </a:lnTo>
                <a:lnTo>
                  <a:pt x="447" y="251"/>
                </a:lnTo>
                <a:lnTo>
                  <a:pt x="445" y="243"/>
                </a:lnTo>
                <a:lnTo>
                  <a:pt x="441" y="237"/>
                </a:lnTo>
                <a:lnTo>
                  <a:pt x="438" y="233"/>
                </a:lnTo>
                <a:lnTo>
                  <a:pt x="433" y="228"/>
                </a:lnTo>
                <a:lnTo>
                  <a:pt x="428" y="225"/>
                </a:lnTo>
                <a:lnTo>
                  <a:pt x="416" y="218"/>
                </a:lnTo>
                <a:lnTo>
                  <a:pt x="405" y="211"/>
                </a:lnTo>
                <a:lnTo>
                  <a:pt x="400" y="206"/>
                </a:lnTo>
                <a:lnTo>
                  <a:pt x="395" y="202"/>
                </a:lnTo>
                <a:lnTo>
                  <a:pt x="391" y="196"/>
                </a:lnTo>
                <a:lnTo>
                  <a:pt x="387" y="188"/>
                </a:lnTo>
                <a:lnTo>
                  <a:pt x="386" y="179"/>
                </a:lnTo>
                <a:lnTo>
                  <a:pt x="385" y="168"/>
                </a:lnTo>
                <a:lnTo>
                  <a:pt x="385" y="168"/>
                </a:lnTo>
                <a:lnTo>
                  <a:pt x="386" y="151"/>
                </a:lnTo>
                <a:lnTo>
                  <a:pt x="388" y="135"/>
                </a:lnTo>
                <a:lnTo>
                  <a:pt x="392" y="121"/>
                </a:lnTo>
                <a:lnTo>
                  <a:pt x="397" y="109"/>
                </a:lnTo>
                <a:lnTo>
                  <a:pt x="402" y="96"/>
                </a:lnTo>
                <a:lnTo>
                  <a:pt x="408" y="84"/>
                </a:lnTo>
                <a:lnTo>
                  <a:pt x="422" y="61"/>
                </a:lnTo>
                <a:lnTo>
                  <a:pt x="418" y="58"/>
                </a:lnTo>
                <a:lnTo>
                  <a:pt x="418" y="58"/>
                </a:lnTo>
                <a:lnTo>
                  <a:pt x="413" y="54"/>
                </a:lnTo>
                <a:lnTo>
                  <a:pt x="408" y="48"/>
                </a:lnTo>
                <a:lnTo>
                  <a:pt x="398" y="33"/>
                </a:lnTo>
                <a:lnTo>
                  <a:pt x="390" y="16"/>
                </a:lnTo>
                <a:lnTo>
                  <a:pt x="385" y="11"/>
                </a:lnTo>
                <a:lnTo>
                  <a:pt x="380" y="6"/>
                </a:lnTo>
                <a:lnTo>
                  <a:pt x="380" y="6"/>
                </a:lnTo>
                <a:lnTo>
                  <a:pt x="374" y="4"/>
                </a:lnTo>
                <a:lnTo>
                  <a:pt x="365" y="2"/>
                </a:lnTo>
                <a:lnTo>
                  <a:pt x="351" y="0"/>
                </a:lnTo>
                <a:lnTo>
                  <a:pt x="321" y="0"/>
                </a:lnTo>
                <a:lnTo>
                  <a:pt x="321" y="0"/>
                </a:lnTo>
                <a:lnTo>
                  <a:pt x="317" y="13"/>
                </a:lnTo>
                <a:lnTo>
                  <a:pt x="314" y="18"/>
                </a:lnTo>
                <a:lnTo>
                  <a:pt x="310" y="22"/>
                </a:lnTo>
                <a:lnTo>
                  <a:pt x="306" y="27"/>
                </a:lnTo>
                <a:lnTo>
                  <a:pt x="300" y="29"/>
                </a:lnTo>
                <a:lnTo>
                  <a:pt x="293" y="31"/>
                </a:lnTo>
                <a:lnTo>
                  <a:pt x="286" y="33"/>
                </a:lnTo>
                <a:lnTo>
                  <a:pt x="286" y="33"/>
                </a:lnTo>
                <a:lnTo>
                  <a:pt x="272" y="31"/>
                </a:lnTo>
                <a:lnTo>
                  <a:pt x="254" y="29"/>
                </a:lnTo>
                <a:lnTo>
                  <a:pt x="245" y="26"/>
                </a:lnTo>
                <a:lnTo>
                  <a:pt x="238" y="23"/>
                </a:lnTo>
                <a:lnTo>
                  <a:pt x="232" y="19"/>
                </a:lnTo>
                <a:lnTo>
                  <a:pt x="231" y="16"/>
                </a:lnTo>
                <a:lnTo>
                  <a:pt x="231" y="14"/>
                </a:lnTo>
                <a:lnTo>
                  <a:pt x="231" y="14"/>
                </a:lnTo>
                <a:lnTo>
                  <a:pt x="231" y="11"/>
                </a:lnTo>
                <a:lnTo>
                  <a:pt x="231" y="11"/>
                </a:lnTo>
                <a:lnTo>
                  <a:pt x="202" y="27"/>
                </a:lnTo>
                <a:lnTo>
                  <a:pt x="173" y="44"/>
                </a:lnTo>
                <a:lnTo>
                  <a:pt x="148" y="63"/>
                </a:lnTo>
                <a:lnTo>
                  <a:pt x="136" y="72"/>
                </a:lnTo>
                <a:lnTo>
                  <a:pt x="127" y="80"/>
                </a:lnTo>
                <a:lnTo>
                  <a:pt x="127" y="80"/>
                </a:lnTo>
                <a:lnTo>
                  <a:pt x="123" y="87"/>
                </a:lnTo>
                <a:lnTo>
                  <a:pt x="120" y="94"/>
                </a:lnTo>
                <a:lnTo>
                  <a:pt x="120" y="100"/>
                </a:lnTo>
                <a:lnTo>
                  <a:pt x="122" y="107"/>
                </a:lnTo>
                <a:lnTo>
                  <a:pt x="125" y="121"/>
                </a:lnTo>
                <a:lnTo>
                  <a:pt x="125" y="129"/>
                </a:lnTo>
                <a:lnTo>
                  <a:pt x="124" y="138"/>
                </a:lnTo>
                <a:lnTo>
                  <a:pt x="124" y="138"/>
                </a:lnTo>
                <a:lnTo>
                  <a:pt x="120" y="142"/>
                </a:lnTo>
                <a:lnTo>
                  <a:pt x="115" y="148"/>
                </a:lnTo>
                <a:lnTo>
                  <a:pt x="96" y="158"/>
                </a:lnTo>
                <a:lnTo>
                  <a:pt x="77" y="168"/>
                </a:lnTo>
                <a:lnTo>
                  <a:pt x="70" y="171"/>
                </a:lnTo>
                <a:lnTo>
                  <a:pt x="65" y="172"/>
                </a:lnTo>
                <a:lnTo>
                  <a:pt x="65" y="172"/>
                </a:lnTo>
                <a:lnTo>
                  <a:pt x="51" y="172"/>
                </a:lnTo>
                <a:lnTo>
                  <a:pt x="39" y="171"/>
                </a:lnTo>
                <a:lnTo>
                  <a:pt x="32" y="170"/>
                </a:lnTo>
                <a:lnTo>
                  <a:pt x="26" y="167"/>
                </a:lnTo>
                <a:lnTo>
                  <a:pt x="20" y="165"/>
                </a:lnTo>
                <a:lnTo>
                  <a:pt x="15" y="161"/>
                </a:lnTo>
                <a:lnTo>
                  <a:pt x="15" y="161"/>
                </a:lnTo>
                <a:lnTo>
                  <a:pt x="13" y="171"/>
                </a:lnTo>
                <a:lnTo>
                  <a:pt x="12" y="180"/>
                </a:lnTo>
                <a:lnTo>
                  <a:pt x="10" y="188"/>
                </a:lnTo>
                <a:lnTo>
                  <a:pt x="6" y="195"/>
                </a:lnTo>
                <a:lnTo>
                  <a:pt x="2" y="208"/>
                </a:lnTo>
                <a:lnTo>
                  <a:pt x="0" y="213"/>
                </a:lnTo>
                <a:lnTo>
                  <a:pt x="0" y="220"/>
                </a:lnTo>
                <a:lnTo>
                  <a:pt x="0" y="220"/>
                </a:lnTo>
                <a:lnTo>
                  <a:pt x="0" y="221"/>
                </a:lnTo>
                <a:lnTo>
                  <a:pt x="1" y="224"/>
                </a:lnTo>
                <a:lnTo>
                  <a:pt x="5" y="227"/>
                </a:lnTo>
                <a:lnTo>
                  <a:pt x="11" y="229"/>
                </a:lnTo>
                <a:lnTo>
                  <a:pt x="18" y="232"/>
                </a:lnTo>
                <a:lnTo>
                  <a:pt x="31" y="235"/>
                </a:lnTo>
                <a:lnTo>
                  <a:pt x="34" y="236"/>
                </a:lnTo>
                <a:lnTo>
                  <a:pt x="36" y="239"/>
                </a:lnTo>
                <a:lnTo>
                  <a:pt x="36" y="239"/>
                </a:lnTo>
                <a:lnTo>
                  <a:pt x="39" y="242"/>
                </a:lnTo>
                <a:lnTo>
                  <a:pt x="40" y="247"/>
                </a:lnTo>
                <a:lnTo>
                  <a:pt x="42" y="256"/>
                </a:lnTo>
                <a:lnTo>
                  <a:pt x="42" y="266"/>
                </a:lnTo>
                <a:lnTo>
                  <a:pt x="41" y="277"/>
                </a:lnTo>
                <a:lnTo>
                  <a:pt x="38" y="295"/>
                </a:lnTo>
                <a:lnTo>
                  <a:pt x="36" y="304"/>
                </a:lnTo>
                <a:lnTo>
                  <a:pt x="36" y="311"/>
                </a:lnTo>
                <a:lnTo>
                  <a:pt x="36" y="311"/>
                </a:lnTo>
                <a:lnTo>
                  <a:pt x="36" y="319"/>
                </a:lnTo>
                <a:lnTo>
                  <a:pt x="39" y="325"/>
                </a:lnTo>
                <a:lnTo>
                  <a:pt x="42" y="328"/>
                </a:lnTo>
                <a:lnTo>
                  <a:pt x="44" y="329"/>
                </a:lnTo>
                <a:lnTo>
                  <a:pt x="47" y="329"/>
                </a:lnTo>
                <a:lnTo>
                  <a:pt x="47" y="329"/>
                </a:lnTo>
                <a:lnTo>
                  <a:pt x="54" y="329"/>
                </a:lnTo>
                <a:lnTo>
                  <a:pt x="59" y="327"/>
                </a:lnTo>
                <a:lnTo>
                  <a:pt x="64" y="324"/>
                </a:lnTo>
                <a:lnTo>
                  <a:pt x="69" y="320"/>
                </a:lnTo>
                <a:lnTo>
                  <a:pt x="77" y="315"/>
                </a:lnTo>
                <a:lnTo>
                  <a:pt x="81" y="312"/>
                </a:lnTo>
                <a:lnTo>
                  <a:pt x="87" y="311"/>
                </a:lnTo>
                <a:lnTo>
                  <a:pt x="87" y="311"/>
                </a:lnTo>
                <a:lnTo>
                  <a:pt x="92" y="312"/>
                </a:lnTo>
                <a:lnTo>
                  <a:pt x="95" y="313"/>
                </a:lnTo>
                <a:lnTo>
                  <a:pt x="99" y="316"/>
                </a:lnTo>
                <a:lnTo>
                  <a:pt x="101" y="318"/>
                </a:lnTo>
                <a:lnTo>
                  <a:pt x="103" y="325"/>
                </a:lnTo>
                <a:lnTo>
                  <a:pt x="104" y="334"/>
                </a:lnTo>
                <a:lnTo>
                  <a:pt x="104" y="354"/>
                </a:lnTo>
                <a:lnTo>
                  <a:pt x="105" y="363"/>
                </a:lnTo>
                <a:lnTo>
                  <a:pt x="105" y="371"/>
                </a:lnTo>
                <a:lnTo>
                  <a:pt x="105" y="371"/>
                </a:lnTo>
                <a:lnTo>
                  <a:pt x="107" y="377"/>
                </a:lnTo>
                <a:lnTo>
                  <a:pt x="109" y="381"/>
                </a:lnTo>
                <a:lnTo>
                  <a:pt x="111" y="385"/>
                </a:lnTo>
                <a:lnTo>
                  <a:pt x="116" y="386"/>
                </a:lnTo>
                <a:lnTo>
                  <a:pt x="120" y="386"/>
                </a:lnTo>
                <a:lnTo>
                  <a:pt x="126" y="386"/>
                </a:lnTo>
                <a:lnTo>
                  <a:pt x="139" y="385"/>
                </a:lnTo>
                <a:lnTo>
                  <a:pt x="139" y="385"/>
                </a:lnTo>
                <a:lnTo>
                  <a:pt x="145" y="386"/>
                </a:lnTo>
                <a:lnTo>
                  <a:pt x="149" y="387"/>
                </a:lnTo>
                <a:lnTo>
                  <a:pt x="153" y="389"/>
                </a:lnTo>
                <a:lnTo>
                  <a:pt x="157" y="392"/>
                </a:lnTo>
                <a:lnTo>
                  <a:pt x="164" y="397"/>
                </a:lnTo>
                <a:lnTo>
                  <a:pt x="170" y="405"/>
                </a:lnTo>
                <a:lnTo>
                  <a:pt x="177" y="412"/>
                </a:lnTo>
                <a:lnTo>
                  <a:pt x="183" y="419"/>
                </a:lnTo>
                <a:lnTo>
                  <a:pt x="187" y="422"/>
                </a:lnTo>
                <a:lnTo>
                  <a:pt x="192" y="424"/>
                </a:lnTo>
                <a:lnTo>
                  <a:pt x="196" y="425"/>
                </a:lnTo>
                <a:lnTo>
                  <a:pt x="201" y="426"/>
                </a:lnTo>
                <a:lnTo>
                  <a:pt x="201" y="426"/>
                </a:lnTo>
                <a:lnTo>
                  <a:pt x="202" y="425"/>
                </a:lnTo>
                <a:lnTo>
                  <a:pt x="204" y="424"/>
                </a:lnTo>
                <a:lnTo>
                  <a:pt x="207" y="418"/>
                </a:lnTo>
                <a:lnTo>
                  <a:pt x="211" y="413"/>
                </a:lnTo>
                <a:lnTo>
                  <a:pt x="214" y="411"/>
                </a:lnTo>
                <a:lnTo>
                  <a:pt x="216" y="411"/>
                </a:lnTo>
                <a:lnTo>
                  <a:pt x="216" y="411"/>
                </a:lnTo>
                <a:lnTo>
                  <a:pt x="222" y="411"/>
                </a:lnTo>
                <a:lnTo>
                  <a:pt x="226" y="412"/>
                </a:lnTo>
                <a:lnTo>
                  <a:pt x="231" y="415"/>
                </a:lnTo>
                <a:lnTo>
                  <a:pt x="235" y="417"/>
                </a:lnTo>
                <a:lnTo>
                  <a:pt x="242" y="424"/>
                </a:lnTo>
                <a:lnTo>
                  <a:pt x="248" y="433"/>
                </a:lnTo>
                <a:lnTo>
                  <a:pt x="253" y="443"/>
                </a:lnTo>
                <a:lnTo>
                  <a:pt x="256" y="455"/>
                </a:lnTo>
                <a:lnTo>
                  <a:pt x="262" y="480"/>
                </a:lnTo>
                <a:lnTo>
                  <a:pt x="269" y="507"/>
                </a:lnTo>
                <a:lnTo>
                  <a:pt x="272" y="518"/>
                </a:lnTo>
                <a:lnTo>
                  <a:pt x="277" y="529"/>
                </a:lnTo>
                <a:lnTo>
                  <a:pt x="284" y="538"/>
                </a:lnTo>
                <a:lnTo>
                  <a:pt x="287" y="541"/>
                </a:lnTo>
                <a:lnTo>
                  <a:pt x="291" y="545"/>
                </a:lnTo>
                <a:lnTo>
                  <a:pt x="295" y="547"/>
                </a:lnTo>
                <a:lnTo>
                  <a:pt x="300" y="548"/>
                </a:lnTo>
                <a:lnTo>
                  <a:pt x="306" y="550"/>
                </a:lnTo>
                <a:lnTo>
                  <a:pt x="311" y="550"/>
                </a:lnTo>
                <a:lnTo>
                  <a:pt x="311" y="550"/>
                </a:lnTo>
                <a:lnTo>
                  <a:pt x="322" y="549"/>
                </a:lnTo>
                <a:lnTo>
                  <a:pt x="330" y="547"/>
                </a:lnTo>
                <a:lnTo>
                  <a:pt x="337" y="544"/>
                </a:lnTo>
                <a:lnTo>
                  <a:pt x="342" y="539"/>
                </a:lnTo>
                <a:lnTo>
                  <a:pt x="348" y="535"/>
                </a:lnTo>
                <a:lnTo>
                  <a:pt x="354" y="532"/>
                </a:lnTo>
                <a:lnTo>
                  <a:pt x="362" y="530"/>
                </a:lnTo>
                <a:lnTo>
                  <a:pt x="370" y="529"/>
                </a:lnTo>
                <a:lnTo>
                  <a:pt x="370" y="529"/>
                </a:lnTo>
                <a:lnTo>
                  <a:pt x="377" y="530"/>
                </a:lnTo>
                <a:lnTo>
                  <a:pt x="384" y="531"/>
                </a:lnTo>
                <a:lnTo>
                  <a:pt x="397" y="538"/>
                </a:lnTo>
                <a:lnTo>
                  <a:pt x="408" y="544"/>
                </a:lnTo>
                <a:lnTo>
                  <a:pt x="415" y="546"/>
                </a:lnTo>
                <a:lnTo>
                  <a:pt x="422" y="547"/>
                </a:lnTo>
                <a:lnTo>
                  <a:pt x="422" y="547"/>
                </a:lnTo>
                <a:lnTo>
                  <a:pt x="426" y="546"/>
                </a:lnTo>
                <a:lnTo>
                  <a:pt x="430" y="544"/>
                </a:lnTo>
                <a:lnTo>
                  <a:pt x="433" y="539"/>
                </a:lnTo>
                <a:lnTo>
                  <a:pt x="436" y="534"/>
                </a:lnTo>
                <a:lnTo>
                  <a:pt x="440" y="525"/>
                </a:lnTo>
                <a:lnTo>
                  <a:pt x="444" y="521"/>
                </a:lnTo>
                <a:lnTo>
                  <a:pt x="447" y="517"/>
                </a:lnTo>
                <a:lnTo>
                  <a:pt x="447" y="517"/>
                </a:lnTo>
                <a:lnTo>
                  <a:pt x="452" y="523"/>
                </a:lnTo>
                <a:lnTo>
                  <a:pt x="455" y="529"/>
                </a:lnTo>
                <a:lnTo>
                  <a:pt x="456" y="534"/>
                </a:lnTo>
                <a:lnTo>
                  <a:pt x="458" y="539"/>
                </a:lnTo>
                <a:lnTo>
                  <a:pt x="460" y="550"/>
                </a:lnTo>
                <a:lnTo>
                  <a:pt x="462" y="556"/>
                </a:lnTo>
                <a:lnTo>
                  <a:pt x="466" y="562"/>
                </a:lnTo>
                <a:lnTo>
                  <a:pt x="466" y="562"/>
                </a:lnTo>
                <a:lnTo>
                  <a:pt x="479" y="578"/>
                </a:lnTo>
                <a:lnTo>
                  <a:pt x="493" y="592"/>
                </a:lnTo>
                <a:lnTo>
                  <a:pt x="508" y="603"/>
                </a:lnTo>
                <a:lnTo>
                  <a:pt x="523" y="614"/>
                </a:lnTo>
                <a:lnTo>
                  <a:pt x="553" y="634"/>
                </a:lnTo>
                <a:lnTo>
                  <a:pt x="568" y="647"/>
                </a:lnTo>
                <a:lnTo>
                  <a:pt x="583" y="661"/>
                </a:lnTo>
                <a:lnTo>
                  <a:pt x="583" y="661"/>
                </a:lnTo>
                <a:lnTo>
                  <a:pt x="586" y="667"/>
                </a:lnTo>
                <a:lnTo>
                  <a:pt x="591" y="674"/>
                </a:lnTo>
                <a:lnTo>
                  <a:pt x="596" y="679"/>
                </a:lnTo>
                <a:lnTo>
                  <a:pt x="601" y="685"/>
                </a:lnTo>
                <a:lnTo>
                  <a:pt x="615" y="695"/>
                </a:lnTo>
                <a:lnTo>
                  <a:pt x="631" y="705"/>
                </a:lnTo>
                <a:lnTo>
                  <a:pt x="649" y="712"/>
                </a:lnTo>
                <a:lnTo>
                  <a:pt x="657" y="714"/>
                </a:lnTo>
                <a:lnTo>
                  <a:pt x="666" y="716"/>
                </a:lnTo>
                <a:lnTo>
                  <a:pt x="675" y="717"/>
                </a:lnTo>
                <a:lnTo>
                  <a:pt x="684" y="717"/>
                </a:lnTo>
                <a:lnTo>
                  <a:pt x="692" y="717"/>
                </a:lnTo>
                <a:lnTo>
                  <a:pt x="700" y="715"/>
                </a:lnTo>
                <a:lnTo>
                  <a:pt x="700" y="715"/>
                </a:lnTo>
                <a:lnTo>
                  <a:pt x="714" y="712"/>
                </a:lnTo>
                <a:lnTo>
                  <a:pt x="727" y="705"/>
                </a:lnTo>
                <a:lnTo>
                  <a:pt x="739" y="698"/>
                </a:lnTo>
                <a:lnTo>
                  <a:pt x="751" y="689"/>
                </a:lnTo>
                <a:lnTo>
                  <a:pt x="762" y="678"/>
                </a:lnTo>
                <a:lnTo>
                  <a:pt x="773" y="667"/>
                </a:lnTo>
                <a:lnTo>
                  <a:pt x="795" y="642"/>
                </a:lnTo>
                <a:lnTo>
                  <a:pt x="834" y="592"/>
                </a:lnTo>
                <a:lnTo>
                  <a:pt x="853" y="569"/>
                </a:lnTo>
                <a:lnTo>
                  <a:pt x="864" y="560"/>
                </a:lnTo>
                <a:lnTo>
                  <a:pt x="874" y="550"/>
                </a:lnTo>
                <a:lnTo>
                  <a:pt x="874" y="550"/>
                </a:lnTo>
                <a:lnTo>
                  <a:pt x="872" y="547"/>
                </a:lnTo>
                <a:lnTo>
                  <a:pt x="868" y="544"/>
                </a:lnTo>
                <a:lnTo>
                  <a:pt x="861" y="538"/>
                </a:lnTo>
                <a:lnTo>
                  <a:pt x="853" y="532"/>
                </a:lnTo>
                <a:lnTo>
                  <a:pt x="845" y="529"/>
                </a:lnTo>
                <a:lnTo>
                  <a:pt x="837" y="523"/>
                </a:lnTo>
                <a:lnTo>
                  <a:pt x="830" y="518"/>
                </a:lnTo>
                <a:lnTo>
                  <a:pt x="827" y="515"/>
                </a:lnTo>
                <a:lnTo>
                  <a:pt x="825" y="511"/>
                </a:lnTo>
                <a:lnTo>
                  <a:pt x="823" y="507"/>
                </a:lnTo>
                <a:lnTo>
                  <a:pt x="822" y="502"/>
                </a:lnTo>
                <a:lnTo>
                  <a:pt x="822" y="50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4" name="Freeform 59"/>
          <p:cNvSpPr>
            <a:spLocks/>
          </p:cNvSpPr>
          <p:nvPr/>
        </p:nvSpPr>
        <p:spPr bwMode="auto">
          <a:xfrm>
            <a:off x="3495675" y="5119688"/>
            <a:ext cx="690563" cy="561975"/>
          </a:xfrm>
          <a:custGeom>
            <a:avLst/>
            <a:gdLst/>
            <a:ahLst/>
            <a:cxnLst>
              <a:cxn ang="0">
                <a:pos x="162" y="25"/>
              </a:cxn>
              <a:cxn ang="0">
                <a:pos x="139" y="83"/>
              </a:cxn>
              <a:cxn ang="0">
                <a:pos x="130" y="116"/>
              </a:cxn>
              <a:cxn ang="0">
                <a:pos x="140" y="136"/>
              </a:cxn>
              <a:cxn ang="0">
                <a:pos x="125" y="159"/>
              </a:cxn>
              <a:cxn ang="0">
                <a:pos x="73" y="164"/>
              </a:cxn>
              <a:cxn ang="0">
                <a:pos x="55" y="214"/>
              </a:cxn>
              <a:cxn ang="0">
                <a:pos x="31" y="262"/>
              </a:cxn>
              <a:cxn ang="0">
                <a:pos x="27" y="302"/>
              </a:cxn>
              <a:cxn ang="0">
                <a:pos x="54" y="369"/>
              </a:cxn>
              <a:cxn ang="0">
                <a:pos x="49" y="393"/>
              </a:cxn>
              <a:cxn ang="0">
                <a:pos x="32" y="422"/>
              </a:cxn>
              <a:cxn ang="0">
                <a:pos x="0" y="459"/>
              </a:cxn>
              <a:cxn ang="0">
                <a:pos x="71" y="439"/>
              </a:cxn>
              <a:cxn ang="0">
                <a:pos x="140" y="432"/>
              </a:cxn>
              <a:cxn ang="0">
                <a:pos x="118" y="465"/>
              </a:cxn>
              <a:cxn ang="0">
                <a:pos x="103" y="491"/>
              </a:cxn>
              <a:cxn ang="0">
                <a:pos x="183" y="588"/>
              </a:cxn>
              <a:cxn ang="0">
                <a:pos x="199" y="602"/>
              </a:cxn>
              <a:cxn ang="0">
                <a:pos x="222" y="580"/>
              </a:cxn>
              <a:cxn ang="0">
                <a:pos x="252" y="592"/>
              </a:cxn>
              <a:cxn ang="0">
                <a:pos x="279" y="583"/>
              </a:cxn>
              <a:cxn ang="0">
                <a:pos x="361" y="579"/>
              </a:cxn>
              <a:cxn ang="0">
                <a:pos x="434" y="530"/>
              </a:cxn>
              <a:cxn ang="0">
                <a:pos x="489" y="514"/>
              </a:cxn>
              <a:cxn ang="0">
                <a:pos x="514" y="528"/>
              </a:cxn>
              <a:cxn ang="0">
                <a:pos x="547" y="565"/>
              </a:cxn>
              <a:cxn ang="0">
                <a:pos x="554" y="605"/>
              </a:cxn>
              <a:cxn ang="0">
                <a:pos x="604" y="645"/>
              </a:cxn>
              <a:cxn ang="0">
                <a:pos x="628" y="634"/>
              </a:cxn>
              <a:cxn ang="0">
                <a:pos x="661" y="572"/>
              </a:cxn>
              <a:cxn ang="0">
                <a:pos x="713" y="559"/>
              </a:cxn>
              <a:cxn ang="0">
                <a:pos x="749" y="553"/>
              </a:cxn>
              <a:cxn ang="0">
                <a:pos x="798" y="557"/>
              </a:cxn>
              <a:cxn ang="0">
                <a:pos x="824" y="524"/>
              </a:cxn>
              <a:cxn ang="0">
                <a:pos x="832" y="489"/>
              </a:cxn>
              <a:cxn ang="0">
                <a:pos x="840" y="463"/>
              </a:cxn>
              <a:cxn ang="0">
                <a:pos x="831" y="412"/>
              </a:cxn>
              <a:cxn ang="0">
                <a:pos x="820" y="355"/>
              </a:cxn>
              <a:cxn ang="0">
                <a:pos x="809" y="268"/>
              </a:cxn>
              <a:cxn ang="0">
                <a:pos x="767" y="282"/>
              </a:cxn>
              <a:cxn ang="0">
                <a:pos x="734" y="314"/>
              </a:cxn>
              <a:cxn ang="0">
                <a:pos x="710" y="327"/>
              </a:cxn>
              <a:cxn ang="0">
                <a:pos x="717" y="279"/>
              </a:cxn>
              <a:cxn ang="0">
                <a:pos x="698" y="249"/>
              </a:cxn>
              <a:cxn ang="0">
                <a:pos x="709" y="221"/>
              </a:cxn>
              <a:cxn ang="0">
                <a:pos x="704" y="198"/>
              </a:cxn>
              <a:cxn ang="0">
                <a:pos x="674" y="197"/>
              </a:cxn>
              <a:cxn ang="0">
                <a:pos x="617" y="211"/>
              </a:cxn>
              <a:cxn ang="0">
                <a:pos x="541" y="175"/>
              </a:cxn>
              <a:cxn ang="0">
                <a:pos x="469" y="170"/>
              </a:cxn>
              <a:cxn ang="0">
                <a:pos x="449" y="139"/>
              </a:cxn>
              <a:cxn ang="0">
                <a:pos x="428" y="94"/>
              </a:cxn>
              <a:cxn ang="0">
                <a:pos x="337" y="48"/>
              </a:cxn>
              <a:cxn ang="0">
                <a:pos x="226" y="25"/>
              </a:cxn>
              <a:cxn ang="0">
                <a:pos x="159" y="0"/>
              </a:cxn>
            </a:cxnLst>
            <a:rect l="0" t="0" r="r" b="b"/>
            <a:pathLst>
              <a:path w="842" h="645">
                <a:moveTo>
                  <a:pt x="159" y="0"/>
                </a:moveTo>
                <a:lnTo>
                  <a:pt x="159" y="0"/>
                </a:lnTo>
                <a:lnTo>
                  <a:pt x="161" y="5"/>
                </a:lnTo>
                <a:lnTo>
                  <a:pt x="162" y="11"/>
                </a:lnTo>
                <a:lnTo>
                  <a:pt x="162" y="25"/>
                </a:lnTo>
                <a:lnTo>
                  <a:pt x="162" y="25"/>
                </a:lnTo>
                <a:lnTo>
                  <a:pt x="162" y="32"/>
                </a:lnTo>
                <a:lnTo>
                  <a:pt x="161" y="39"/>
                </a:lnTo>
                <a:lnTo>
                  <a:pt x="157" y="52"/>
                </a:lnTo>
                <a:lnTo>
                  <a:pt x="152" y="63"/>
                </a:lnTo>
                <a:lnTo>
                  <a:pt x="146" y="73"/>
                </a:lnTo>
                <a:lnTo>
                  <a:pt x="139" y="83"/>
                </a:lnTo>
                <a:lnTo>
                  <a:pt x="134" y="93"/>
                </a:lnTo>
                <a:lnTo>
                  <a:pt x="131" y="103"/>
                </a:lnTo>
                <a:lnTo>
                  <a:pt x="130" y="108"/>
                </a:lnTo>
                <a:lnTo>
                  <a:pt x="129" y="114"/>
                </a:lnTo>
                <a:lnTo>
                  <a:pt x="129" y="114"/>
                </a:lnTo>
                <a:lnTo>
                  <a:pt x="130" y="116"/>
                </a:lnTo>
                <a:lnTo>
                  <a:pt x="131" y="118"/>
                </a:lnTo>
                <a:lnTo>
                  <a:pt x="134" y="123"/>
                </a:lnTo>
                <a:lnTo>
                  <a:pt x="139" y="127"/>
                </a:lnTo>
                <a:lnTo>
                  <a:pt x="140" y="131"/>
                </a:lnTo>
                <a:lnTo>
                  <a:pt x="140" y="136"/>
                </a:lnTo>
                <a:lnTo>
                  <a:pt x="140" y="136"/>
                </a:lnTo>
                <a:lnTo>
                  <a:pt x="140" y="142"/>
                </a:lnTo>
                <a:lnTo>
                  <a:pt x="138" y="147"/>
                </a:lnTo>
                <a:lnTo>
                  <a:pt x="136" y="152"/>
                </a:lnTo>
                <a:lnTo>
                  <a:pt x="133" y="155"/>
                </a:lnTo>
                <a:lnTo>
                  <a:pt x="130" y="157"/>
                </a:lnTo>
                <a:lnTo>
                  <a:pt x="125" y="159"/>
                </a:lnTo>
                <a:lnTo>
                  <a:pt x="116" y="160"/>
                </a:lnTo>
                <a:lnTo>
                  <a:pt x="94" y="160"/>
                </a:lnTo>
                <a:lnTo>
                  <a:pt x="83" y="161"/>
                </a:lnTo>
                <a:lnTo>
                  <a:pt x="78" y="162"/>
                </a:lnTo>
                <a:lnTo>
                  <a:pt x="73" y="164"/>
                </a:lnTo>
                <a:lnTo>
                  <a:pt x="73" y="164"/>
                </a:lnTo>
                <a:lnTo>
                  <a:pt x="70" y="168"/>
                </a:lnTo>
                <a:lnTo>
                  <a:pt x="67" y="171"/>
                </a:lnTo>
                <a:lnTo>
                  <a:pt x="61" y="179"/>
                </a:lnTo>
                <a:lnTo>
                  <a:pt x="58" y="187"/>
                </a:lnTo>
                <a:lnTo>
                  <a:pt x="57" y="197"/>
                </a:lnTo>
                <a:lnTo>
                  <a:pt x="55" y="214"/>
                </a:lnTo>
                <a:lnTo>
                  <a:pt x="53" y="223"/>
                </a:lnTo>
                <a:lnTo>
                  <a:pt x="48" y="231"/>
                </a:lnTo>
                <a:lnTo>
                  <a:pt x="48" y="231"/>
                </a:lnTo>
                <a:lnTo>
                  <a:pt x="40" y="243"/>
                </a:lnTo>
                <a:lnTo>
                  <a:pt x="33" y="255"/>
                </a:lnTo>
                <a:lnTo>
                  <a:pt x="31" y="262"/>
                </a:lnTo>
                <a:lnTo>
                  <a:pt x="29" y="270"/>
                </a:lnTo>
                <a:lnTo>
                  <a:pt x="26" y="277"/>
                </a:lnTo>
                <a:lnTo>
                  <a:pt x="26" y="285"/>
                </a:lnTo>
                <a:lnTo>
                  <a:pt x="26" y="285"/>
                </a:lnTo>
                <a:lnTo>
                  <a:pt x="26" y="294"/>
                </a:lnTo>
                <a:lnTo>
                  <a:pt x="27" y="302"/>
                </a:lnTo>
                <a:lnTo>
                  <a:pt x="31" y="316"/>
                </a:lnTo>
                <a:lnTo>
                  <a:pt x="35" y="328"/>
                </a:lnTo>
                <a:lnTo>
                  <a:pt x="41" y="338"/>
                </a:lnTo>
                <a:lnTo>
                  <a:pt x="46" y="347"/>
                </a:lnTo>
                <a:lnTo>
                  <a:pt x="52" y="358"/>
                </a:lnTo>
                <a:lnTo>
                  <a:pt x="54" y="369"/>
                </a:lnTo>
                <a:lnTo>
                  <a:pt x="56" y="382"/>
                </a:lnTo>
                <a:lnTo>
                  <a:pt x="56" y="382"/>
                </a:lnTo>
                <a:lnTo>
                  <a:pt x="55" y="386"/>
                </a:lnTo>
                <a:lnTo>
                  <a:pt x="54" y="390"/>
                </a:lnTo>
                <a:lnTo>
                  <a:pt x="52" y="392"/>
                </a:lnTo>
                <a:lnTo>
                  <a:pt x="49" y="393"/>
                </a:lnTo>
                <a:lnTo>
                  <a:pt x="45" y="396"/>
                </a:lnTo>
                <a:lnTo>
                  <a:pt x="42" y="398"/>
                </a:lnTo>
                <a:lnTo>
                  <a:pt x="41" y="400"/>
                </a:lnTo>
                <a:lnTo>
                  <a:pt x="41" y="400"/>
                </a:lnTo>
                <a:lnTo>
                  <a:pt x="37" y="412"/>
                </a:lnTo>
                <a:lnTo>
                  <a:pt x="32" y="422"/>
                </a:lnTo>
                <a:lnTo>
                  <a:pt x="27" y="431"/>
                </a:lnTo>
                <a:lnTo>
                  <a:pt x="22" y="439"/>
                </a:lnTo>
                <a:lnTo>
                  <a:pt x="17" y="445"/>
                </a:lnTo>
                <a:lnTo>
                  <a:pt x="11" y="451"/>
                </a:lnTo>
                <a:lnTo>
                  <a:pt x="6" y="455"/>
                </a:lnTo>
                <a:lnTo>
                  <a:pt x="0" y="459"/>
                </a:lnTo>
                <a:lnTo>
                  <a:pt x="0" y="459"/>
                </a:lnTo>
                <a:lnTo>
                  <a:pt x="17" y="457"/>
                </a:lnTo>
                <a:lnTo>
                  <a:pt x="32" y="453"/>
                </a:lnTo>
                <a:lnTo>
                  <a:pt x="46" y="449"/>
                </a:lnTo>
                <a:lnTo>
                  <a:pt x="58" y="444"/>
                </a:lnTo>
                <a:lnTo>
                  <a:pt x="71" y="439"/>
                </a:lnTo>
                <a:lnTo>
                  <a:pt x="85" y="436"/>
                </a:lnTo>
                <a:lnTo>
                  <a:pt x="99" y="434"/>
                </a:lnTo>
                <a:lnTo>
                  <a:pt x="115" y="432"/>
                </a:lnTo>
                <a:lnTo>
                  <a:pt x="115" y="432"/>
                </a:lnTo>
                <a:lnTo>
                  <a:pt x="140" y="432"/>
                </a:lnTo>
                <a:lnTo>
                  <a:pt x="140" y="432"/>
                </a:lnTo>
                <a:lnTo>
                  <a:pt x="140" y="442"/>
                </a:lnTo>
                <a:lnTo>
                  <a:pt x="138" y="449"/>
                </a:lnTo>
                <a:lnTo>
                  <a:pt x="134" y="454"/>
                </a:lnTo>
                <a:lnTo>
                  <a:pt x="130" y="459"/>
                </a:lnTo>
                <a:lnTo>
                  <a:pt x="125" y="462"/>
                </a:lnTo>
                <a:lnTo>
                  <a:pt x="118" y="465"/>
                </a:lnTo>
                <a:lnTo>
                  <a:pt x="111" y="466"/>
                </a:lnTo>
                <a:lnTo>
                  <a:pt x="103" y="466"/>
                </a:lnTo>
                <a:lnTo>
                  <a:pt x="103" y="466"/>
                </a:lnTo>
                <a:lnTo>
                  <a:pt x="103" y="491"/>
                </a:lnTo>
                <a:lnTo>
                  <a:pt x="103" y="491"/>
                </a:lnTo>
                <a:lnTo>
                  <a:pt x="103" y="491"/>
                </a:lnTo>
                <a:lnTo>
                  <a:pt x="115" y="506"/>
                </a:lnTo>
                <a:lnTo>
                  <a:pt x="126" y="520"/>
                </a:lnTo>
                <a:lnTo>
                  <a:pt x="151" y="545"/>
                </a:lnTo>
                <a:lnTo>
                  <a:pt x="162" y="559"/>
                </a:lnTo>
                <a:lnTo>
                  <a:pt x="172" y="573"/>
                </a:lnTo>
                <a:lnTo>
                  <a:pt x="183" y="588"/>
                </a:lnTo>
                <a:lnTo>
                  <a:pt x="192" y="605"/>
                </a:lnTo>
                <a:lnTo>
                  <a:pt x="192" y="605"/>
                </a:lnTo>
                <a:lnTo>
                  <a:pt x="192" y="605"/>
                </a:lnTo>
                <a:lnTo>
                  <a:pt x="192" y="605"/>
                </a:lnTo>
                <a:lnTo>
                  <a:pt x="192" y="605"/>
                </a:lnTo>
                <a:lnTo>
                  <a:pt x="199" y="602"/>
                </a:lnTo>
                <a:lnTo>
                  <a:pt x="203" y="597"/>
                </a:lnTo>
                <a:lnTo>
                  <a:pt x="208" y="593"/>
                </a:lnTo>
                <a:lnTo>
                  <a:pt x="211" y="589"/>
                </a:lnTo>
                <a:lnTo>
                  <a:pt x="214" y="585"/>
                </a:lnTo>
                <a:lnTo>
                  <a:pt x="218" y="582"/>
                </a:lnTo>
                <a:lnTo>
                  <a:pt x="222" y="580"/>
                </a:lnTo>
                <a:lnTo>
                  <a:pt x="229" y="579"/>
                </a:lnTo>
                <a:lnTo>
                  <a:pt x="229" y="579"/>
                </a:lnTo>
                <a:lnTo>
                  <a:pt x="232" y="580"/>
                </a:lnTo>
                <a:lnTo>
                  <a:pt x="237" y="581"/>
                </a:lnTo>
                <a:lnTo>
                  <a:pt x="244" y="587"/>
                </a:lnTo>
                <a:lnTo>
                  <a:pt x="252" y="592"/>
                </a:lnTo>
                <a:lnTo>
                  <a:pt x="258" y="597"/>
                </a:lnTo>
                <a:lnTo>
                  <a:pt x="258" y="597"/>
                </a:lnTo>
                <a:lnTo>
                  <a:pt x="263" y="592"/>
                </a:lnTo>
                <a:lnTo>
                  <a:pt x="268" y="588"/>
                </a:lnTo>
                <a:lnTo>
                  <a:pt x="274" y="585"/>
                </a:lnTo>
                <a:lnTo>
                  <a:pt x="279" y="583"/>
                </a:lnTo>
                <a:lnTo>
                  <a:pt x="292" y="581"/>
                </a:lnTo>
                <a:lnTo>
                  <a:pt x="305" y="580"/>
                </a:lnTo>
                <a:lnTo>
                  <a:pt x="332" y="581"/>
                </a:lnTo>
                <a:lnTo>
                  <a:pt x="347" y="581"/>
                </a:lnTo>
                <a:lnTo>
                  <a:pt x="361" y="579"/>
                </a:lnTo>
                <a:lnTo>
                  <a:pt x="361" y="579"/>
                </a:lnTo>
                <a:lnTo>
                  <a:pt x="369" y="576"/>
                </a:lnTo>
                <a:lnTo>
                  <a:pt x="377" y="572"/>
                </a:lnTo>
                <a:lnTo>
                  <a:pt x="392" y="562"/>
                </a:lnTo>
                <a:lnTo>
                  <a:pt x="406" y="552"/>
                </a:lnTo>
                <a:lnTo>
                  <a:pt x="420" y="541"/>
                </a:lnTo>
                <a:lnTo>
                  <a:pt x="434" y="530"/>
                </a:lnTo>
                <a:lnTo>
                  <a:pt x="442" y="526"/>
                </a:lnTo>
                <a:lnTo>
                  <a:pt x="450" y="522"/>
                </a:lnTo>
                <a:lnTo>
                  <a:pt x="458" y="519"/>
                </a:lnTo>
                <a:lnTo>
                  <a:pt x="467" y="516"/>
                </a:lnTo>
                <a:lnTo>
                  <a:pt x="477" y="514"/>
                </a:lnTo>
                <a:lnTo>
                  <a:pt x="489" y="514"/>
                </a:lnTo>
                <a:lnTo>
                  <a:pt x="489" y="514"/>
                </a:lnTo>
                <a:lnTo>
                  <a:pt x="495" y="514"/>
                </a:lnTo>
                <a:lnTo>
                  <a:pt x="499" y="515"/>
                </a:lnTo>
                <a:lnTo>
                  <a:pt x="503" y="518"/>
                </a:lnTo>
                <a:lnTo>
                  <a:pt x="507" y="521"/>
                </a:lnTo>
                <a:lnTo>
                  <a:pt x="514" y="528"/>
                </a:lnTo>
                <a:lnTo>
                  <a:pt x="520" y="536"/>
                </a:lnTo>
                <a:lnTo>
                  <a:pt x="526" y="545"/>
                </a:lnTo>
                <a:lnTo>
                  <a:pt x="533" y="553"/>
                </a:lnTo>
                <a:lnTo>
                  <a:pt x="539" y="560"/>
                </a:lnTo>
                <a:lnTo>
                  <a:pt x="543" y="562"/>
                </a:lnTo>
                <a:lnTo>
                  <a:pt x="547" y="565"/>
                </a:lnTo>
                <a:lnTo>
                  <a:pt x="547" y="565"/>
                </a:lnTo>
                <a:lnTo>
                  <a:pt x="547" y="590"/>
                </a:lnTo>
                <a:lnTo>
                  <a:pt x="547" y="590"/>
                </a:lnTo>
                <a:lnTo>
                  <a:pt x="549" y="593"/>
                </a:lnTo>
                <a:lnTo>
                  <a:pt x="550" y="597"/>
                </a:lnTo>
                <a:lnTo>
                  <a:pt x="554" y="605"/>
                </a:lnTo>
                <a:lnTo>
                  <a:pt x="562" y="614"/>
                </a:lnTo>
                <a:lnTo>
                  <a:pt x="572" y="623"/>
                </a:lnTo>
                <a:lnTo>
                  <a:pt x="582" y="631"/>
                </a:lnTo>
                <a:lnTo>
                  <a:pt x="591" y="638"/>
                </a:lnTo>
                <a:lnTo>
                  <a:pt x="599" y="644"/>
                </a:lnTo>
                <a:lnTo>
                  <a:pt x="604" y="645"/>
                </a:lnTo>
                <a:lnTo>
                  <a:pt x="606" y="645"/>
                </a:lnTo>
                <a:lnTo>
                  <a:pt x="606" y="645"/>
                </a:lnTo>
                <a:lnTo>
                  <a:pt x="612" y="644"/>
                </a:lnTo>
                <a:lnTo>
                  <a:pt x="618" y="642"/>
                </a:lnTo>
                <a:lnTo>
                  <a:pt x="622" y="638"/>
                </a:lnTo>
                <a:lnTo>
                  <a:pt x="628" y="634"/>
                </a:lnTo>
                <a:lnTo>
                  <a:pt x="637" y="622"/>
                </a:lnTo>
                <a:lnTo>
                  <a:pt x="645" y="608"/>
                </a:lnTo>
                <a:lnTo>
                  <a:pt x="652" y="595"/>
                </a:lnTo>
                <a:lnTo>
                  <a:pt x="657" y="583"/>
                </a:lnTo>
                <a:lnTo>
                  <a:pt x="661" y="572"/>
                </a:lnTo>
                <a:lnTo>
                  <a:pt x="661" y="572"/>
                </a:lnTo>
                <a:lnTo>
                  <a:pt x="698" y="572"/>
                </a:lnTo>
                <a:lnTo>
                  <a:pt x="698" y="572"/>
                </a:lnTo>
                <a:lnTo>
                  <a:pt x="701" y="572"/>
                </a:lnTo>
                <a:lnTo>
                  <a:pt x="704" y="569"/>
                </a:lnTo>
                <a:lnTo>
                  <a:pt x="709" y="565"/>
                </a:lnTo>
                <a:lnTo>
                  <a:pt x="713" y="559"/>
                </a:lnTo>
                <a:lnTo>
                  <a:pt x="716" y="558"/>
                </a:lnTo>
                <a:lnTo>
                  <a:pt x="717" y="557"/>
                </a:lnTo>
                <a:lnTo>
                  <a:pt x="717" y="557"/>
                </a:lnTo>
                <a:lnTo>
                  <a:pt x="728" y="554"/>
                </a:lnTo>
                <a:lnTo>
                  <a:pt x="739" y="553"/>
                </a:lnTo>
                <a:lnTo>
                  <a:pt x="749" y="553"/>
                </a:lnTo>
                <a:lnTo>
                  <a:pt x="758" y="554"/>
                </a:lnTo>
                <a:lnTo>
                  <a:pt x="776" y="557"/>
                </a:lnTo>
                <a:lnTo>
                  <a:pt x="786" y="558"/>
                </a:lnTo>
                <a:lnTo>
                  <a:pt x="794" y="557"/>
                </a:lnTo>
                <a:lnTo>
                  <a:pt x="794" y="557"/>
                </a:lnTo>
                <a:lnTo>
                  <a:pt x="798" y="557"/>
                </a:lnTo>
                <a:lnTo>
                  <a:pt x="803" y="554"/>
                </a:lnTo>
                <a:lnTo>
                  <a:pt x="809" y="550"/>
                </a:lnTo>
                <a:lnTo>
                  <a:pt x="812" y="544"/>
                </a:lnTo>
                <a:lnTo>
                  <a:pt x="816" y="538"/>
                </a:lnTo>
                <a:lnTo>
                  <a:pt x="820" y="531"/>
                </a:lnTo>
                <a:lnTo>
                  <a:pt x="824" y="524"/>
                </a:lnTo>
                <a:lnTo>
                  <a:pt x="829" y="519"/>
                </a:lnTo>
                <a:lnTo>
                  <a:pt x="834" y="516"/>
                </a:lnTo>
                <a:lnTo>
                  <a:pt x="839" y="514"/>
                </a:lnTo>
                <a:lnTo>
                  <a:pt x="839" y="514"/>
                </a:lnTo>
                <a:lnTo>
                  <a:pt x="833" y="497"/>
                </a:lnTo>
                <a:lnTo>
                  <a:pt x="832" y="489"/>
                </a:lnTo>
                <a:lnTo>
                  <a:pt x="831" y="481"/>
                </a:lnTo>
                <a:lnTo>
                  <a:pt x="831" y="481"/>
                </a:lnTo>
                <a:lnTo>
                  <a:pt x="831" y="477"/>
                </a:lnTo>
                <a:lnTo>
                  <a:pt x="832" y="474"/>
                </a:lnTo>
                <a:lnTo>
                  <a:pt x="836" y="469"/>
                </a:lnTo>
                <a:lnTo>
                  <a:pt x="840" y="463"/>
                </a:lnTo>
                <a:lnTo>
                  <a:pt x="841" y="460"/>
                </a:lnTo>
                <a:lnTo>
                  <a:pt x="842" y="455"/>
                </a:lnTo>
                <a:lnTo>
                  <a:pt x="842" y="455"/>
                </a:lnTo>
                <a:lnTo>
                  <a:pt x="841" y="445"/>
                </a:lnTo>
                <a:lnTo>
                  <a:pt x="839" y="434"/>
                </a:lnTo>
                <a:lnTo>
                  <a:pt x="831" y="412"/>
                </a:lnTo>
                <a:lnTo>
                  <a:pt x="824" y="391"/>
                </a:lnTo>
                <a:lnTo>
                  <a:pt x="821" y="382"/>
                </a:lnTo>
                <a:lnTo>
                  <a:pt x="820" y="374"/>
                </a:lnTo>
                <a:lnTo>
                  <a:pt x="820" y="374"/>
                </a:lnTo>
                <a:lnTo>
                  <a:pt x="820" y="355"/>
                </a:lnTo>
                <a:lnTo>
                  <a:pt x="820" y="355"/>
                </a:lnTo>
                <a:lnTo>
                  <a:pt x="819" y="341"/>
                </a:lnTo>
                <a:lnTo>
                  <a:pt x="817" y="329"/>
                </a:lnTo>
                <a:lnTo>
                  <a:pt x="813" y="318"/>
                </a:lnTo>
                <a:lnTo>
                  <a:pt x="809" y="308"/>
                </a:lnTo>
                <a:lnTo>
                  <a:pt x="809" y="308"/>
                </a:lnTo>
                <a:lnTo>
                  <a:pt x="809" y="268"/>
                </a:lnTo>
                <a:lnTo>
                  <a:pt x="809" y="275"/>
                </a:lnTo>
                <a:lnTo>
                  <a:pt x="809" y="275"/>
                </a:lnTo>
                <a:lnTo>
                  <a:pt x="809" y="275"/>
                </a:lnTo>
                <a:lnTo>
                  <a:pt x="794" y="276"/>
                </a:lnTo>
                <a:lnTo>
                  <a:pt x="780" y="278"/>
                </a:lnTo>
                <a:lnTo>
                  <a:pt x="767" y="282"/>
                </a:lnTo>
                <a:lnTo>
                  <a:pt x="757" y="287"/>
                </a:lnTo>
                <a:lnTo>
                  <a:pt x="747" y="294"/>
                </a:lnTo>
                <a:lnTo>
                  <a:pt x="743" y="298"/>
                </a:lnTo>
                <a:lnTo>
                  <a:pt x="740" y="302"/>
                </a:lnTo>
                <a:lnTo>
                  <a:pt x="736" y="308"/>
                </a:lnTo>
                <a:lnTo>
                  <a:pt x="734" y="314"/>
                </a:lnTo>
                <a:lnTo>
                  <a:pt x="733" y="320"/>
                </a:lnTo>
                <a:lnTo>
                  <a:pt x="732" y="327"/>
                </a:lnTo>
                <a:lnTo>
                  <a:pt x="732" y="327"/>
                </a:lnTo>
                <a:lnTo>
                  <a:pt x="710" y="327"/>
                </a:lnTo>
                <a:lnTo>
                  <a:pt x="710" y="327"/>
                </a:lnTo>
                <a:lnTo>
                  <a:pt x="710" y="327"/>
                </a:lnTo>
                <a:lnTo>
                  <a:pt x="711" y="316"/>
                </a:lnTo>
                <a:lnTo>
                  <a:pt x="713" y="306"/>
                </a:lnTo>
                <a:lnTo>
                  <a:pt x="716" y="297"/>
                </a:lnTo>
                <a:lnTo>
                  <a:pt x="717" y="285"/>
                </a:lnTo>
                <a:lnTo>
                  <a:pt x="717" y="285"/>
                </a:lnTo>
                <a:lnTo>
                  <a:pt x="717" y="279"/>
                </a:lnTo>
                <a:lnTo>
                  <a:pt x="714" y="275"/>
                </a:lnTo>
                <a:lnTo>
                  <a:pt x="711" y="270"/>
                </a:lnTo>
                <a:lnTo>
                  <a:pt x="707" y="266"/>
                </a:lnTo>
                <a:lnTo>
                  <a:pt x="702" y="259"/>
                </a:lnTo>
                <a:lnTo>
                  <a:pt x="699" y="254"/>
                </a:lnTo>
                <a:lnTo>
                  <a:pt x="698" y="249"/>
                </a:lnTo>
                <a:lnTo>
                  <a:pt x="698" y="249"/>
                </a:lnTo>
                <a:lnTo>
                  <a:pt x="698" y="244"/>
                </a:lnTo>
                <a:lnTo>
                  <a:pt x="701" y="239"/>
                </a:lnTo>
                <a:lnTo>
                  <a:pt x="704" y="231"/>
                </a:lnTo>
                <a:lnTo>
                  <a:pt x="707" y="224"/>
                </a:lnTo>
                <a:lnTo>
                  <a:pt x="709" y="221"/>
                </a:lnTo>
                <a:lnTo>
                  <a:pt x="710" y="216"/>
                </a:lnTo>
                <a:lnTo>
                  <a:pt x="710" y="216"/>
                </a:lnTo>
                <a:lnTo>
                  <a:pt x="709" y="208"/>
                </a:lnTo>
                <a:lnTo>
                  <a:pt x="707" y="205"/>
                </a:lnTo>
                <a:lnTo>
                  <a:pt x="706" y="201"/>
                </a:lnTo>
                <a:lnTo>
                  <a:pt x="704" y="198"/>
                </a:lnTo>
                <a:lnTo>
                  <a:pt x="701" y="195"/>
                </a:lnTo>
                <a:lnTo>
                  <a:pt x="696" y="194"/>
                </a:lnTo>
                <a:lnTo>
                  <a:pt x="691" y="194"/>
                </a:lnTo>
                <a:lnTo>
                  <a:pt x="691" y="194"/>
                </a:lnTo>
                <a:lnTo>
                  <a:pt x="682" y="194"/>
                </a:lnTo>
                <a:lnTo>
                  <a:pt x="674" y="197"/>
                </a:lnTo>
                <a:lnTo>
                  <a:pt x="658" y="203"/>
                </a:lnTo>
                <a:lnTo>
                  <a:pt x="642" y="209"/>
                </a:lnTo>
                <a:lnTo>
                  <a:pt x="634" y="211"/>
                </a:lnTo>
                <a:lnTo>
                  <a:pt x="625" y="213"/>
                </a:lnTo>
                <a:lnTo>
                  <a:pt x="625" y="213"/>
                </a:lnTo>
                <a:lnTo>
                  <a:pt x="617" y="211"/>
                </a:lnTo>
                <a:lnTo>
                  <a:pt x="610" y="210"/>
                </a:lnTo>
                <a:lnTo>
                  <a:pt x="596" y="207"/>
                </a:lnTo>
                <a:lnTo>
                  <a:pt x="583" y="200"/>
                </a:lnTo>
                <a:lnTo>
                  <a:pt x="572" y="193"/>
                </a:lnTo>
                <a:lnTo>
                  <a:pt x="551" y="180"/>
                </a:lnTo>
                <a:lnTo>
                  <a:pt x="541" y="175"/>
                </a:lnTo>
                <a:lnTo>
                  <a:pt x="535" y="173"/>
                </a:lnTo>
                <a:lnTo>
                  <a:pt x="529" y="172"/>
                </a:lnTo>
                <a:lnTo>
                  <a:pt x="529" y="172"/>
                </a:lnTo>
                <a:lnTo>
                  <a:pt x="493" y="173"/>
                </a:lnTo>
                <a:lnTo>
                  <a:pt x="476" y="172"/>
                </a:lnTo>
                <a:lnTo>
                  <a:pt x="469" y="170"/>
                </a:lnTo>
                <a:lnTo>
                  <a:pt x="463" y="168"/>
                </a:lnTo>
                <a:lnTo>
                  <a:pt x="463" y="168"/>
                </a:lnTo>
                <a:lnTo>
                  <a:pt x="460" y="164"/>
                </a:lnTo>
                <a:lnTo>
                  <a:pt x="457" y="160"/>
                </a:lnTo>
                <a:lnTo>
                  <a:pt x="452" y="149"/>
                </a:lnTo>
                <a:lnTo>
                  <a:pt x="449" y="139"/>
                </a:lnTo>
                <a:lnTo>
                  <a:pt x="446" y="129"/>
                </a:lnTo>
                <a:lnTo>
                  <a:pt x="443" y="117"/>
                </a:lnTo>
                <a:lnTo>
                  <a:pt x="438" y="108"/>
                </a:lnTo>
                <a:lnTo>
                  <a:pt x="436" y="103"/>
                </a:lnTo>
                <a:lnTo>
                  <a:pt x="432" y="99"/>
                </a:lnTo>
                <a:lnTo>
                  <a:pt x="428" y="94"/>
                </a:lnTo>
                <a:lnTo>
                  <a:pt x="423" y="91"/>
                </a:lnTo>
                <a:lnTo>
                  <a:pt x="423" y="91"/>
                </a:lnTo>
                <a:lnTo>
                  <a:pt x="397" y="77"/>
                </a:lnTo>
                <a:lnTo>
                  <a:pt x="368" y="61"/>
                </a:lnTo>
                <a:lnTo>
                  <a:pt x="353" y="54"/>
                </a:lnTo>
                <a:lnTo>
                  <a:pt x="337" y="48"/>
                </a:lnTo>
                <a:lnTo>
                  <a:pt x="320" y="43"/>
                </a:lnTo>
                <a:lnTo>
                  <a:pt x="302" y="40"/>
                </a:lnTo>
                <a:lnTo>
                  <a:pt x="302" y="40"/>
                </a:lnTo>
                <a:lnTo>
                  <a:pt x="279" y="35"/>
                </a:lnTo>
                <a:lnTo>
                  <a:pt x="245" y="30"/>
                </a:lnTo>
                <a:lnTo>
                  <a:pt x="226" y="25"/>
                </a:lnTo>
                <a:lnTo>
                  <a:pt x="211" y="20"/>
                </a:lnTo>
                <a:lnTo>
                  <a:pt x="200" y="16"/>
                </a:lnTo>
                <a:lnTo>
                  <a:pt x="197" y="14"/>
                </a:lnTo>
                <a:lnTo>
                  <a:pt x="195" y="10"/>
                </a:lnTo>
                <a:lnTo>
                  <a:pt x="195" y="10"/>
                </a:lnTo>
                <a:lnTo>
                  <a:pt x="159" y="0"/>
                </a:lnTo>
                <a:lnTo>
                  <a:pt x="159" y="0"/>
                </a:lnTo>
                <a:lnTo>
                  <a:pt x="159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5" name="Freeform 60"/>
          <p:cNvSpPr>
            <a:spLocks/>
          </p:cNvSpPr>
          <p:nvPr/>
        </p:nvSpPr>
        <p:spPr bwMode="auto">
          <a:xfrm>
            <a:off x="4159250" y="5272088"/>
            <a:ext cx="333375" cy="604837"/>
          </a:xfrm>
          <a:custGeom>
            <a:avLst/>
            <a:gdLst/>
            <a:ahLst/>
            <a:cxnLst>
              <a:cxn ang="0">
                <a:pos x="361" y="663"/>
              </a:cxn>
              <a:cxn ang="0">
                <a:pos x="382" y="623"/>
              </a:cxn>
              <a:cxn ang="0">
                <a:pos x="369" y="569"/>
              </a:cxn>
              <a:cxn ang="0">
                <a:pos x="356" y="516"/>
              </a:cxn>
              <a:cxn ang="0">
                <a:pos x="373" y="474"/>
              </a:cxn>
              <a:cxn ang="0">
                <a:pos x="405" y="428"/>
              </a:cxn>
              <a:cxn ang="0">
                <a:pos x="404" y="396"/>
              </a:cxn>
              <a:cxn ang="0">
                <a:pos x="366" y="381"/>
              </a:cxn>
              <a:cxn ang="0">
                <a:pos x="332" y="382"/>
              </a:cxn>
              <a:cxn ang="0">
                <a:pos x="328" y="361"/>
              </a:cxn>
              <a:cxn ang="0">
                <a:pos x="347" y="301"/>
              </a:cxn>
              <a:cxn ang="0">
                <a:pos x="341" y="268"/>
              </a:cxn>
              <a:cxn ang="0">
                <a:pos x="327" y="231"/>
              </a:cxn>
              <a:cxn ang="0">
                <a:pos x="337" y="217"/>
              </a:cxn>
              <a:cxn ang="0">
                <a:pos x="356" y="203"/>
              </a:cxn>
              <a:cxn ang="0">
                <a:pos x="378" y="183"/>
              </a:cxn>
              <a:cxn ang="0">
                <a:pos x="398" y="163"/>
              </a:cxn>
              <a:cxn ang="0">
                <a:pos x="398" y="130"/>
              </a:cxn>
              <a:cxn ang="0">
                <a:pos x="375" y="86"/>
              </a:cxn>
              <a:cxn ang="0">
                <a:pos x="350" y="46"/>
              </a:cxn>
              <a:cxn ang="0">
                <a:pos x="345" y="0"/>
              </a:cxn>
              <a:cxn ang="0">
                <a:pos x="320" y="6"/>
              </a:cxn>
              <a:cxn ang="0">
                <a:pos x="290" y="33"/>
              </a:cxn>
              <a:cxn ang="0">
                <a:pos x="270" y="35"/>
              </a:cxn>
              <a:cxn ang="0">
                <a:pos x="249" y="22"/>
              </a:cxn>
              <a:cxn ang="0">
                <a:pos x="206" y="37"/>
              </a:cxn>
              <a:cxn ang="0">
                <a:pos x="187" y="21"/>
              </a:cxn>
              <a:cxn ang="0">
                <a:pos x="165" y="19"/>
              </a:cxn>
              <a:cxn ang="0">
                <a:pos x="132" y="29"/>
              </a:cxn>
              <a:cxn ang="0">
                <a:pos x="107" y="45"/>
              </a:cxn>
              <a:cxn ang="0">
                <a:pos x="71" y="75"/>
              </a:cxn>
              <a:cxn ang="0">
                <a:pos x="43" y="78"/>
              </a:cxn>
              <a:cxn ang="0">
                <a:pos x="0" y="132"/>
              </a:cxn>
              <a:cxn ang="0">
                <a:pos x="10" y="165"/>
              </a:cxn>
              <a:cxn ang="0">
                <a:pos x="12" y="206"/>
              </a:cxn>
              <a:cxn ang="0">
                <a:pos x="33" y="279"/>
              </a:cxn>
              <a:cxn ang="0">
                <a:pos x="23" y="298"/>
              </a:cxn>
              <a:cxn ang="0">
                <a:pos x="24" y="325"/>
              </a:cxn>
              <a:cxn ang="0">
                <a:pos x="46" y="365"/>
              </a:cxn>
              <a:cxn ang="0">
                <a:pos x="107" y="411"/>
              </a:cxn>
              <a:cxn ang="0">
                <a:pos x="137" y="465"/>
              </a:cxn>
              <a:cxn ang="0">
                <a:pos x="167" y="499"/>
              </a:cxn>
              <a:cxn ang="0">
                <a:pos x="180" y="512"/>
              </a:cxn>
              <a:cxn ang="0">
                <a:pos x="165" y="535"/>
              </a:cxn>
              <a:cxn ang="0">
                <a:pos x="183" y="560"/>
              </a:cxn>
              <a:cxn ang="0">
                <a:pos x="191" y="581"/>
              </a:cxn>
              <a:cxn ang="0">
                <a:pos x="183" y="602"/>
              </a:cxn>
              <a:cxn ang="0">
                <a:pos x="190" y="623"/>
              </a:cxn>
              <a:cxn ang="0">
                <a:pos x="228" y="643"/>
              </a:cxn>
              <a:cxn ang="0">
                <a:pos x="306" y="663"/>
              </a:cxn>
              <a:cxn ang="0">
                <a:pos x="313" y="683"/>
              </a:cxn>
            </a:cxnLst>
            <a:rect l="0" t="0" r="r" b="b"/>
            <a:pathLst>
              <a:path w="407" h="694">
                <a:moveTo>
                  <a:pt x="315" y="694"/>
                </a:moveTo>
                <a:lnTo>
                  <a:pt x="315" y="694"/>
                </a:lnTo>
                <a:lnTo>
                  <a:pt x="340" y="680"/>
                </a:lnTo>
                <a:lnTo>
                  <a:pt x="351" y="672"/>
                </a:lnTo>
                <a:lnTo>
                  <a:pt x="361" y="663"/>
                </a:lnTo>
                <a:lnTo>
                  <a:pt x="370" y="653"/>
                </a:lnTo>
                <a:lnTo>
                  <a:pt x="376" y="643"/>
                </a:lnTo>
                <a:lnTo>
                  <a:pt x="378" y="637"/>
                </a:lnTo>
                <a:lnTo>
                  <a:pt x="381" y="630"/>
                </a:lnTo>
                <a:lnTo>
                  <a:pt x="382" y="623"/>
                </a:lnTo>
                <a:lnTo>
                  <a:pt x="382" y="617"/>
                </a:lnTo>
                <a:lnTo>
                  <a:pt x="382" y="617"/>
                </a:lnTo>
                <a:lnTo>
                  <a:pt x="381" y="605"/>
                </a:lnTo>
                <a:lnTo>
                  <a:pt x="378" y="594"/>
                </a:lnTo>
                <a:lnTo>
                  <a:pt x="369" y="569"/>
                </a:lnTo>
                <a:lnTo>
                  <a:pt x="364" y="557"/>
                </a:lnTo>
                <a:lnTo>
                  <a:pt x="360" y="544"/>
                </a:lnTo>
                <a:lnTo>
                  <a:pt x="358" y="530"/>
                </a:lnTo>
                <a:lnTo>
                  <a:pt x="356" y="516"/>
                </a:lnTo>
                <a:lnTo>
                  <a:pt x="356" y="516"/>
                </a:lnTo>
                <a:lnTo>
                  <a:pt x="356" y="508"/>
                </a:lnTo>
                <a:lnTo>
                  <a:pt x="359" y="500"/>
                </a:lnTo>
                <a:lnTo>
                  <a:pt x="361" y="493"/>
                </a:lnTo>
                <a:lnTo>
                  <a:pt x="364" y="487"/>
                </a:lnTo>
                <a:lnTo>
                  <a:pt x="373" y="474"/>
                </a:lnTo>
                <a:lnTo>
                  <a:pt x="382" y="462"/>
                </a:lnTo>
                <a:lnTo>
                  <a:pt x="391" y="452"/>
                </a:lnTo>
                <a:lnTo>
                  <a:pt x="399" y="441"/>
                </a:lnTo>
                <a:lnTo>
                  <a:pt x="402" y="435"/>
                </a:lnTo>
                <a:lnTo>
                  <a:pt x="405" y="428"/>
                </a:lnTo>
                <a:lnTo>
                  <a:pt x="407" y="421"/>
                </a:lnTo>
                <a:lnTo>
                  <a:pt x="407" y="414"/>
                </a:lnTo>
                <a:lnTo>
                  <a:pt x="407" y="414"/>
                </a:lnTo>
                <a:lnTo>
                  <a:pt x="406" y="404"/>
                </a:lnTo>
                <a:lnTo>
                  <a:pt x="404" y="396"/>
                </a:lnTo>
                <a:lnTo>
                  <a:pt x="399" y="390"/>
                </a:lnTo>
                <a:lnTo>
                  <a:pt x="393" y="385"/>
                </a:lnTo>
                <a:lnTo>
                  <a:pt x="386" y="382"/>
                </a:lnTo>
                <a:lnTo>
                  <a:pt x="376" y="381"/>
                </a:lnTo>
                <a:lnTo>
                  <a:pt x="366" y="381"/>
                </a:lnTo>
                <a:lnTo>
                  <a:pt x="353" y="381"/>
                </a:lnTo>
                <a:lnTo>
                  <a:pt x="353" y="381"/>
                </a:lnTo>
                <a:lnTo>
                  <a:pt x="344" y="382"/>
                </a:lnTo>
                <a:lnTo>
                  <a:pt x="336" y="383"/>
                </a:lnTo>
                <a:lnTo>
                  <a:pt x="332" y="382"/>
                </a:lnTo>
                <a:lnTo>
                  <a:pt x="329" y="380"/>
                </a:lnTo>
                <a:lnTo>
                  <a:pt x="328" y="376"/>
                </a:lnTo>
                <a:lnTo>
                  <a:pt x="327" y="370"/>
                </a:lnTo>
                <a:lnTo>
                  <a:pt x="327" y="370"/>
                </a:lnTo>
                <a:lnTo>
                  <a:pt x="328" y="361"/>
                </a:lnTo>
                <a:lnTo>
                  <a:pt x="330" y="351"/>
                </a:lnTo>
                <a:lnTo>
                  <a:pt x="338" y="331"/>
                </a:lnTo>
                <a:lnTo>
                  <a:pt x="341" y="322"/>
                </a:lnTo>
                <a:lnTo>
                  <a:pt x="345" y="312"/>
                </a:lnTo>
                <a:lnTo>
                  <a:pt x="347" y="301"/>
                </a:lnTo>
                <a:lnTo>
                  <a:pt x="348" y="290"/>
                </a:lnTo>
                <a:lnTo>
                  <a:pt x="348" y="290"/>
                </a:lnTo>
                <a:lnTo>
                  <a:pt x="347" y="282"/>
                </a:lnTo>
                <a:lnTo>
                  <a:pt x="345" y="275"/>
                </a:lnTo>
                <a:lnTo>
                  <a:pt x="341" y="268"/>
                </a:lnTo>
                <a:lnTo>
                  <a:pt x="338" y="262"/>
                </a:lnTo>
                <a:lnTo>
                  <a:pt x="333" y="255"/>
                </a:lnTo>
                <a:lnTo>
                  <a:pt x="330" y="248"/>
                </a:lnTo>
                <a:lnTo>
                  <a:pt x="328" y="240"/>
                </a:lnTo>
                <a:lnTo>
                  <a:pt x="327" y="231"/>
                </a:lnTo>
                <a:lnTo>
                  <a:pt x="327" y="231"/>
                </a:lnTo>
                <a:lnTo>
                  <a:pt x="328" y="226"/>
                </a:lnTo>
                <a:lnTo>
                  <a:pt x="330" y="223"/>
                </a:lnTo>
                <a:lnTo>
                  <a:pt x="333" y="220"/>
                </a:lnTo>
                <a:lnTo>
                  <a:pt x="337" y="217"/>
                </a:lnTo>
                <a:lnTo>
                  <a:pt x="347" y="214"/>
                </a:lnTo>
                <a:lnTo>
                  <a:pt x="352" y="212"/>
                </a:lnTo>
                <a:lnTo>
                  <a:pt x="356" y="209"/>
                </a:lnTo>
                <a:lnTo>
                  <a:pt x="356" y="209"/>
                </a:lnTo>
                <a:lnTo>
                  <a:pt x="356" y="203"/>
                </a:lnTo>
                <a:lnTo>
                  <a:pt x="358" y="199"/>
                </a:lnTo>
                <a:lnTo>
                  <a:pt x="360" y="195"/>
                </a:lnTo>
                <a:lnTo>
                  <a:pt x="363" y="192"/>
                </a:lnTo>
                <a:lnTo>
                  <a:pt x="370" y="186"/>
                </a:lnTo>
                <a:lnTo>
                  <a:pt x="378" y="183"/>
                </a:lnTo>
                <a:lnTo>
                  <a:pt x="386" y="178"/>
                </a:lnTo>
                <a:lnTo>
                  <a:pt x="390" y="175"/>
                </a:lnTo>
                <a:lnTo>
                  <a:pt x="393" y="172"/>
                </a:lnTo>
                <a:lnTo>
                  <a:pt x="397" y="168"/>
                </a:lnTo>
                <a:lnTo>
                  <a:pt x="398" y="163"/>
                </a:lnTo>
                <a:lnTo>
                  <a:pt x="400" y="157"/>
                </a:lnTo>
                <a:lnTo>
                  <a:pt x="400" y="151"/>
                </a:lnTo>
                <a:lnTo>
                  <a:pt x="400" y="151"/>
                </a:lnTo>
                <a:lnTo>
                  <a:pt x="400" y="140"/>
                </a:lnTo>
                <a:lnTo>
                  <a:pt x="398" y="130"/>
                </a:lnTo>
                <a:lnTo>
                  <a:pt x="396" y="121"/>
                </a:lnTo>
                <a:lnTo>
                  <a:pt x="392" y="113"/>
                </a:lnTo>
                <a:lnTo>
                  <a:pt x="389" y="106"/>
                </a:lnTo>
                <a:lnTo>
                  <a:pt x="384" y="99"/>
                </a:lnTo>
                <a:lnTo>
                  <a:pt x="375" y="86"/>
                </a:lnTo>
                <a:lnTo>
                  <a:pt x="364" y="75"/>
                </a:lnTo>
                <a:lnTo>
                  <a:pt x="356" y="63"/>
                </a:lnTo>
                <a:lnTo>
                  <a:pt x="353" y="57"/>
                </a:lnTo>
                <a:lnTo>
                  <a:pt x="351" y="52"/>
                </a:lnTo>
                <a:lnTo>
                  <a:pt x="350" y="46"/>
                </a:lnTo>
                <a:lnTo>
                  <a:pt x="348" y="40"/>
                </a:lnTo>
                <a:lnTo>
                  <a:pt x="348" y="40"/>
                </a:lnTo>
                <a:lnTo>
                  <a:pt x="347" y="23"/>
                </a:lnTo>
                <a:lnTo>
                  <a:pt x="345" y="11"/>
                </a:lnTo>
                <a:lnTo>
                  <a:pt x="345" y="0"/>
                </a:lnTo>
                <a:lnTo>
                  <a:pt x="345" y="0"/>
                </a:lnTo>
                <a:lnTo>
                  <a:pt x="337" y="0"/>
                </a:lnTo>
                <a:lnTo>
                  <a:pt x="331" y="1"/>
                </a:lnTo>
                <a:lnTo>
                  <a:pt x="325" y="3"/>
                </a:lnTo>
                <a:lnTo>
                  <a:pt x="320" y="6"/>
                </a:lnTo>
                <a:lnTo>
                  <a:pt x="313" y="11"/>
                </a:lnTo>
                <a:lnTo>
                  <a:pt x="306" y="18"/>
                </a:lnTo>
                <a:lnTo>
                  <a:pt x="300" y="25"/>
                </a:lnTo>
                <a:lnTo>
                  <a:pt x="294" y="31"/>
                </a:lnTo>
                <a:lnTo>
                  <a:pt x="290" y="33"/>
                </a:lnTo>
                <a:lnTo>
                  <a:pt x="286" y="34"/>
                </a:lnTo>
                <a:lnTo>
                  <a:pt x="280" y="35"/>
                </a:lnTo>
                <a:lnTo>
                  <a:pt x="275" y="37"/>
                </a:lnTo>
                <a:lnTo>
                  <a:pt x="275" y="37"/>
                </a:lnTo>
                <a:lnTo>
                  <a:pt x="270" y="35"/>
                </a:lnTo>
                <a:lnTo>
                  <a:pt x="266" y="34"/>
                </a:lnTo>
                <a:lnTo>
                  <a:pt x="262" y="32"/>
                </a:lnTo>
                <a:lnTo>
                  <a:pt x="260" y="31"/>
                </a:lnTo>
                <a:lnTo>
                  <a:pt x="254" y="25"/>
                </a:lnTo>
                <a:lnTo>
                  <a:pt x="249" y="22"/>
                </a:lnTo>
                <a:lnTo>
                  <a:pt x="249" y="22"/>
                </a:lnTo>
                <a:lnTo>
                  <a:pt x="224" y="22"/>
                </a:lnTo>
                <a:lnTo>
                  <a:pt x="224" y="37"/>
                </a:lnTo>
                <a:lnTo>
                  <a:pt x="206" y="37"/>
                </a:lnTo>
                <a:lnTo>
                  <a:pt x="206" y="37"/>
                </a:lnTo>
                <a:lnTo>
                  <a:pt x="206" y="37"/>
                </a:lnTo>
                <a:lnTo>
                  <a:pt x="202" y="34"/>
                </a:lnTo>
                <a:lnTo>
                  <a:pt x="200" y="32"/>
                </a:lnTo>
                <a:lnTo>
                  <a:pt x="194" y="26"/>
                </a:lnTo>
                <a:lnTo>
                  <a:pt x="187" y="21"/>
                </a:lnTo>
                <a:lnTo>
                  <a:pt x="184" y="18"/>
                </a:lnTo>
                <a:lnTo>
                  <a:pt x="179" y="18"/>
                </a:lnTo>
                <a:lnTo>
                  <a:pt x="179" y="18"/>
                </a:lnTo>
                <a:lnTo>
                  <a:pt x="172" y="18"/>
                </a:lnTo>
                <a:lnTo>
                  <a:pt x="165" y="19"/>
                </a:lnTo>
                <a:lnTo>
                  <a:pt x="155" y="24"/>
                </a:lnTo>
                <a:lnTo>
                  <a:pt x="145" y="27"/>
                </a:lnTo>
                <a:lnTo>
                  <a:pt x="139" y="29"/>
                </a:lnTo>
                <a:lnTo>
                  <a:pt x="132" y="29"/>
                </a:lnTo>
                <a:lnTo>
                  <a:pt x="132" y="29"/>
                </a:lnTo>
                <a:lnTo>
                  <a:pt x="127" y="30"/>
                </a:lnTo>
                <a:lnTo>
                  <a:pt x="123" y="31"/>
                </a:lnTo>
                <a:lnTo>
                  <a:pt x="119" y="33"/>
                </a:lnTo>
                <a:lnTo>
                  <a:pt x="115" y="37"/>
                </a:lnTo>
                <a:lnTo>
                  <a:pt x="107" y="45"/>
                </a:lnTo>
                <a:lnTo>
                  <a:pt x="100" y="53"/>
                </a:lnTo>
                <a:lnTo>
                  <a:pt x="91" y="62"/>
                </a:lnTo>
                <a:lnTo>
                  <a:pt x="81" y="69"/>
                </a:lnTo>
                <a:lnTo>
                  <a:pt x="77" y="72"/>
                </a:lnTo>
                <a:lnTo>
                  <a:pt x="71" y="75"/>
                </a:lnTo>
                <a:lnTo>
                  <a:pt x="65" y="76"/>
                </a:lnTo>
                <a:lnTo>
                  <a:pt x="58" y="77"/>
                </a:lnTo>
                <a:lnTo>
                  <a:pt x="58" y="77"/>
                </a:lnTo>
                <a:lnTo>
                  <a:pt x="50" y="77"/>
                </a:lnTo>
                <a:lnTo>
                  <a:pt x="43" y="78"/>
                </a:lnTo>
                <a:lnTo>
                  <a:pt x="28" y="83"/>
                </a:lnTo>
                <a:lnTo>
                  <a:pt x="15" y="87"/>
                </a:lnTo>
                <a:lnTo>
                  <a:pt x="0" y="92"/>
                </a:lnTo>
                <a:lnTo>
                  <a:pt x="0" y="92"/>
                </a:lnTo>
                <a:lnTo>
                  <a:pt x="0" y="132"/>
                </a:lnTo>
                <a:lnTo>
                  <a:pt x="0" y="132"/>
                </a:lnTo>
                <a:lnTo>
                  <a:pt x="0" y="132"/>
                </a:lnTo>
                <a:lnTo>
                  <a:pt x="4" y="142"/>
                </a:lnTo>
                <a:lnTo>
                  <a:pt x="8" y="153"/>
                </a:lnTo>
                <a:lnTo>
                  <a:pt x="10" y="165"/>
                </a:lnTo>
                <a:lnTo>
                  <a:pt x="11" y="179"/>
                </a:lnTo>
                <a:lnTo>
                  <a:pt x="11" y="179"/>
                </a:lnTo>
                <a:lnTo>
                  <a:pt x="11" y="198"/>
                </a:lnTo>
                <a:lnTo>
                  <a:pt x="11" y="198"/>
                </a:lnTo>
                <a:lnTo>
                  <a:pt x="12" y="206"/>
                </a:lnTo>
                <a:lnTo>
                  <a:pt x="15" y="215"/>
                </a:lnTo>
                <a:lnTo>
                  <a:pt x="22" y="236"/>
                </a:lnTo>
                <a:lnTo>
                  <a:pt x="30" y="258"/>
                </a:lnTo>
                <a:lnTo>
                  <a:pt x="32" y="269"/>
                </a:lnTo>
                <a:lnTo>
                  <a:pt x="33" y="279"/>
                </a:lnTo>
                <a:lnTo>
                  <a:pt x="33" y="279"/>
                </a:lnTo>
                <a:lnTo>
                  <a:pt x="32" y="284"/>
                </a:lnTo>
                <a:lnTo>
                  <a:pt x="31" y="287"/>
                </a:lnTo>
                <a:lnTo>
                  <a:pt x="27" y="293"/>
                </a:lnTo>
                <a:lnTo>
                  <a:pt x="23" y="298"/>
                </a:lnTo>
                <a:lnTo>
                  <a:pt x="22" y="301"/>
                </a:lnTo>
                <a:lnTo>
                  <a:pt x="22" y="305"/>
                </a:lnTo>
                <a:lnTo>
                  <a:pt x="22" y="305"/>
                </a:lnTo>
                <a:lnTo>
                  <a:pt x="22" y="315"/>
                </a:lnTo>
                <a:lnTo>
                  <a:pt x="24" y="325"/>
                </a:lnTo>
                <a:lnTo>
                  <a:pt x="26" y="333"/>
                </a:lnTo>
                <a:lnTo>
                  <a:pt x="30" y="343"/>
                </a:lnTo>
                <a:lnTo>
                  <a:pt x="34" y="351"/>
                </a:lnTo>
                <a:lnTo>
                  <a:pt x="40" y="358"/>
                </a:lnTo>
                <a:lnTo>
                  <a:pt x="46" y="365"/>
                </a:lnTo>
                <a:lnTo>
                  <a:pt x="51" y="370"/>
                </a:lnTo>
                <a:lnTo>
                  <a:pt x="65" y="383"/>
                </a:lnTo>
                <a:lnTo>
                  <a:pt x="79" y="392"/>
                </a:lnTo>
                <a:lnTo>
                  <a:pt x="107" y="411"/>
                </a:lnTo>
                <a:lnTo>
                  <a:pt x="107" y="411"/>
                </a:lnTo>
                <a:lnTo>
                  <a:pt x="111" y="415"/>
                </a:lnTo>
                <a:lnTo>
                  <a:pt x="116" y="421"/>
                </a:lnTo>
                <a:lnTo>
                  <a:pt x="119" y="427"/>
                </a:lnTo>
                <a:lnTo>
                  <a:pt x="124" y="434"/>
                </a:lnTo>
                <a:lnTo>
                  <a:pt x="137" y="465"/>
                </a:lnTo>
                <a:lnTo>
                  <a:pt x="145" y="478"/>
                </a:lnTo>
                <a:lnTo>
                  <a:pt x="148" y="485"/>
                </a:lnTo>
                <a:lnTo>
                  <a:pt x="154" y="491"/>
                </a:lnTo>
                <a:lnTo>
                  <a:pt x="160" y="496"/>
                </a:lnTo>
                <a:lnTo>
                  <a:pt x="167" y="499"/>
                </a:lnTo>
                <a:lnTo>
                  <a:pt x="175" y="501"/>
                </a:lnTo>
                <a:lnTo>
                  <a:pt x="183" y="503"/>
                </a:lnTo>
                <a:lnTo>
                  <a:pt x="183" y="503"/>
                </a:lnTo>
                <a:lnTo>
                  <a:pt x="183" y="507"/>
                </a:lnTo>
                <a:lnTo>
                  <a:pt x="180" y="512"/>
                </a:lnTo>
                <a:lnTo>
                  <a:pt x="175" y="520"/>
                </a:lnTo>
                <a:lnTo>
                  <a:pt x="168" y="528"/>
                </a:lnTo>
                <a:lnTo>
                  <a:pt x="165" y="531"/>
                </a:lnTo>
                <a:lnTo>
                  <a:pt x="165" y="535"/>
                </a:lnTo>
                <a:lnTo>
                  <a:pt x="165" y="535"/>
                </a:lnTo>
                <a:lnTo>
                  <a:pt x="167" y="542"/>
                </a:lnTo>
                <a:lnTo>
                  <a:pt x="169" y="546"/>
                </a:lnTo>
                <a:lnTo>
                  <a:pt x="173" y="551"/>
                </a:lnTo>
                <a:lnTo>
                  <a:pt x="178" y="556"/>
                </a:lnTo>
                <a:lnTo>
                  <a:pt x="183" y="560"/>
                </a:lnTo>
                <a:lnTo>
                  <a:pt x="187" y="565"/>
                </a:lnTo>
                <a:lnTo>
                  <a:pt x="190" y="569"/>
                </a:lnTo>
                <a:lnTo>
                  <a:pt x="191" y="576"/>
                </a:lnTo>
                <a:lnTo>
                  <a:pt x="191" y="576"/>
                </a:lnTo>
                <a:lnTo>
                  <a:pt x="191" y="581"/>
                </a:lnTo>
                <a:lnTo>
                  <a:pt x="190" y="584"/>
                </a:lnTo>
                <a:lnTo>
                  <a:pt x="187" y="589"/>
                </a:lnTo>
                <a:lnTo>
                  <a:pt x="185" y="594"/>
                </a:lnTo>
                <a:lnTo>
                  <a:pt x="184" y="597"/>
                </a:lnTo>
                <a:lnTo>
                  <a:pt x="183" y="602"/>
                </a:lnTo>
                <a:lnTo>
                  <a:pt x="183" y="602"/>
                </a:lnTo>
                <a:lnTo>
                  <a:pt x="184" y="609"/>
                </a:lnTo>
                <a:lnTo>
                  <a:pt x="185" y="614"/>
                </a:lnTo>
                <a:lnTo>
                  <a:pt x="187" y="619"/>
                </a:lnTo>
                <a:lnTo>
                  <a:pt x="190" y="623"/>
                </a:lnTo>
                <a:lnTo>
                  <a:pt x="193" y="628"/>
                </a:lnTo>
                <a:lnTo>
                  <a:pt x="196" y="632"/>
                </a:lnTo>
                <a:lnTo>
                  <a:pt x="206" y="636"/>
                </a:lnTo>
                <a:lnTo>
                  <a:pt x="216" y="641"/>
                </a:lnTo>
                <a:lnTo>
                  <a:pt x="228" y="643"/>
                </a:lnTo>
                <a:lnTo>
                  <a:pt x="253" y="648"/>
                </a:lnTo>
                <a:lnTo>
                  <a:pt x="278" y="651"/>
                </a:lnTo>
                <a:lnTo>
                  <a:pt x="289" y="653"/>
                </a:lnTo>
                <a:lnTo>
                  <a:pt x="298" y="657"/>
                </a:lnTo>
                <a:lnTo>
                  <a:pt x="306" y="663"/>
                </a:lnTo>
                <a:lnTo>
                  <a:pt x="308" y="665"/>
                </a:lnTo>
                <a:lnTo>
                  <a:pt x="310" y="669"/>
                </a:lnTo>
                <a:lnTo>
                  <a:pt x="313" y="673"/>
                </a:lnTo>
                <a:lnTo>
                  <a:pt x="313" y="679"/>
                </a:lnTo>
                <a:lnTo>
                  <a:pt x="313" y="683"/>
                </a:lnTo>
                <a:lnTo>
                  <a:pt x="312" y="690"/>
                </a:lnTo>
                <a:lnTo>
                  <a:pt x="312" y="690"/>
                </a:lnTo>
                <a:lnTo>
                  <a:pt x="315" y="694"/>
                </a:lnTo>
                <a:lnTo>
                  <a:pt x="315" y="694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14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6" name="Freeform 61"/>
          <p:cNvSpPr>
            <a:spLocks/>
          </p:cNvSpPr>
          <p:nvPr/>
        </p:nvSpPr>
        <p:spPr bwMode="auto">
          <a:xfrm>
            <a:off x="2316163" y="4851400"/>
            <a:ext cx="390525" cy="546100"/>
          </a:xfrm>
          <a:custGeom>
            <a:avLst/>
            <a:gdLst/>
            <a:ahLst/>
            <a:cxnLst>
              <a:cxn ang="0">
                <a:pos x="79" y="612"/>
              </a:cxn>
              <a:cxn ang="0">
                <a:pos x="150" y="621"/>
              </a:cxn>
              <a:cxn ang="0">
                <a:pos x="170" y="547"/>
              </a:cxn>
              <a:cxn ang="0">
                <a:pos x="198" y="526"/>
              </a:cxn>
              <a:cxn ang="0">
                <a:pos x="242" y="543"/>
              </a:cxn>
              <a:cxn ang="0">
                <a:pos x="286" y="559"/>
              </a:cxn>
              <a:cxn ang="0">
                <a:pos x="301" y="540"/>
              </a:cxn>
              <a:cxn ang="0">
                <a:pos x="277" y="515"/>
              </a:cxn>
              <a:cxn ang="0">
                <a:pos x="246" y="470"/>
              </a:cxn>
              <a:cxn ang="0">
                <a:pos x="279" y="463"/>
              </a:cxn>
              <a:cxn ang="0">
                <a:pos x="247" y="439"/>
              </a:cxn>
              <a:cxn ang="0">
                <a:pos x="258" y="407"/>
              </a:cxn>
              <a:cxn ang="0">
                <a:pos x="293" y="395"/>
              </a:cxn>
              <a:cxn ang="0">
                <a:pos x="371" y="438"/>
              </a:cxn>
              <a:cxn ang="0">
                <a:pos x="465" y="390"/>
              </a:cxn>
              <a:cxn ang="0">
                <a:pos x="452" y="349"/>
              </a:cxn>
              <a:cxn ang="0">
                <a:pos x="422" y="323"/>
              </a:cxn>
              <a:cxn ang="0">
                <a:pos x="389" y="323"/>
              </a:cxn>
              <a:cxn ang="0">
                <a:pos x="438" y="253"/>
              </a:cxn>
              <a:cxn ang="0">
                <a:pos x="477" y="188"/>
              </a:cxn>
              <a:cxn ang="0">
                <a:pos x="467" y="100"/>
              </a:cxn>
              <a:cxn ang="0">
                <a:pos x="439" y="72"/>
              </a:cxn>
              <a:cxn ang="0">
                <a:pos x="383" y="65"/>
              </a:cxn>
              <a:cxn ang="0">
                <a:pos x="330" y="30"/>
              </a:cxn>
              <a:cxn ang="0">
                <a:pos x="269" y="0"/>
              </a:cxn>
              <a:cxn ang="0">
                <a:pos x="257" y="25"/>
              </a:cxn>
              <a:cxn ang="0">
                <a:pos x="242" y="78"/>
              </a:cxn>
              <a:cxn ang="0">
                <a:pos x="254" y="118"/>
              </a:cxn>
              <a:cxn ang="0">
                <a:pos x="190" y="130"/>
              </a:cxn>
              <a:cxn ang="0">
                <a:pos x="163" y="154"/>
              </a:cxn>
              <a:cxn ang="0">
                <a:pos x="140" y="155"/>
              </a:cxn>
              <a:cxn ang="0">
                <a:pos x="116" y="130"/>
              </a:cxn>
              <a:cxn ang="0">
                <a:pos x="91" y="129"/>
              </a:cxn>
              <a:cxn ang="0">
                <a:pos x="113" y="99"/>
              </a:cxn>
              <a:cxn ang="0">
                <a:pos x="101" y="76"/>
              </a:cxn>
              <a:cxn ang="0">
                <a:pos x="56" y="77"/>
              </a:cxn>
              <a:cxn ang="0">
                <a:pos x="29" y="122"/>
              </a:cxn>
              <a:cxn ang="0">
                <a:pos x="42" y="188"/>
              </a:cxn>
              <a:cxn ang="0">
                <a:pos x="73" y="209"/>
              </a:cxn>
              <a:cxn ang="0">
                <a:pos x="114" y="217"/>
              </a:cxn>
              <a:cxn ang="0">
                <a:pos x="183" y="221"/>
              </a:cxn>
              <a:cxn ang="0">
                <a:pos x="227" y="210"/>
              </a:cxn>
              <a:cxn ang="0">
                <a:pos x="181" y="309"/>
              </a:cxn>
              <a:cxn ang="0">
                <a:pos x="159" y="307"/>
              </a:cxn>
              <a:cxn ang="0">
                <a:pos x="127" y="308"/>
              </a:cxn>
              <a:cxn ang="0">
                <a:pos x="78" y="346"/>
              </a:cxn>
              <a:cxn ang="0">
                <a:pos x="58" y="408"/>
              </a:cxn>
              <a:cxn ang="0">
                <a:pos x="15" y="466"/>
              </a:cxn>
              <a:cxn ang="0">
                <a:pos x="0" y="508"/>
              </a:cxn>
              <a:cxn ang="0">
                <a:pos x="18" y="526"/>
              </a:cxn>
              <a:cxn ang="0">
                <a:pos x="61" y="529"/>
              </a:cxn>
              <a:cxn ang="0">
                <a:pos x="101" y="558"/>
              </a:cxn>
              <a:cxn ang="0">
                <a:pos x="89" y="581"/>
              </a:cxn>
            </a:cxnLst>
            <a:rect l="0" t="0" r="r" b="b"/>
            <a:pathLst>
              <a:path w="478" h="626">
                <a:moveTo>
                  <a:pt x="66" y="626"/>
                </a:moveTo>
                <a:lnTo>
                  <a:pt x="66" y="626"/>
                </a:lnTo>
                <a:lnTo>
                  <a:pt x="67" y="620"/>
                </a:lnTo>
                <a:lnTo>
                  <a:pt x="70" y="616"/>
                </a:lnTo>
                <a:lnTo>
                  <a:pt x="74" y="614"/>
                </a:lnTo>
                <a:lnTo>
                  <a:pt x="79" y="612"/>
                </a:lnTo>
                <a:lnTo>
                  <a:pt x="86" y="611"/>
                </a:lnTo>
                <a:lnTo>
                  <a:pt x="93" y="611"/>
                </a:lnTo>
                <a:lnTo>
                  <a:pt x="109" y="612"/>
                </a:lnTo>
                <a:lnTo>
                  <a:pt x="124" y="614"/>
                </a:lnTo>
                <a:lnTo>
                  <a:pt x="137" y="618"/>
                </a:lnTo>
                <a:lnTo>
                  <a:pt x="150" y="621"/>
                </a:lnTo>
                <a:lnTo>
                  <a:pt x="150" y="621"/>
                </a:lnTo>
                <a:lnTo>
                  <a:pt x="155" y="607"/>
                </a:lnTo>
                <a:lnTo>
                  <a:pt x="158" y="592"/>
                </a:lnTo>
                <a:lnTo>
                  <a:pt x="162" y="576"/>
                </a:lnTo>
                <a:lnTo>
                  <a:pt x="165" y="561"/>
                </a:lnTo>
                <a:lnTo>
                  <a:pt x="170" y="547"/>
                </a:lnTo>
                <a:lnTo>
                  <a:pt x="172" y="542"/>
                </a:lnTo>
                <a:lnTo>
                  <a:pt x="175" y="536"/>
                </a:lnTo>
                <a:lnTo>
                  <a:pt x="180" y="531"/>
                </a:lnTo>
                <a:lnTo>
                  <a:pt x="185" y="529"/>
                </a:lnTo>
                <a:lnTo>
                  <a:pt x="192" y="527"/>
                </a:lnTo>
                <a:lnTo>
                  <a:pt x="198" y="526"/>
                </a:lnTo>
                <a:lnTo>
                  <a:pt x="198" y="526"/>
                </a:lnTo>
                <a:lnTo>
                  <a:pt x="205" y="527"/>
                </a:lnTo>
                <a:lnTo>
                  <a:pt x="211" y="527"/>
                </a:lnTo>
                <a:lnTo>
                  <a:pt x="223" y="531"/>
                </a:lnTo>
                <a:lnTo>
                  <a:pt x="233" y="536"/>
                </a:lnTo>
                <a:lnTo>
                  <a:pt x="242" y="543"/>
                </a:lnTo>
                <a:lnTo>
                  <a:pt x="253" y="549"/>
                </a:lnTo>
                <a:lnTo>
                  <a:pt x="263" y="553"/>
                </a:lnTo>
                <a:lnTo>
                  <a:pt x="273" y="558"/>
                </a:lnTo>
                <a:lnTo>
                  <a:pt x="280" y="559"/>
                </a:lnTo>
                <a:lnTo>
                  <a:pt x="286" y="559"/>
                </a:lnTo>
                <a:lnTo>
                  <a:pt x="286" y="559"/>
                </a:lnTo>
                <a:lnTo>
                  <a:pt x="290" y="559"/>
                </a:lnTo>
                <a:lnTo>
                  <a:pt x="294" y="558"/>
                </a:lnTo>
                <a:lnTo>
                  <a:pt x="296" y="555"/>
                </a:lnTo>
                <a:lnTo>
                  <a:pt x="297" y="554"/>
                </a:lnTo>
                <a:lnTo>
                  <a:pt x="301" y="549"/>
                </a:lnTo>
                <a:lnTo>
                  <a:pt x="301" y="540"/>
                </a:lnTo>
                <a:lnTo>
                  <a:pt x="301" y="540"/>
                </a:lnTo>
                <a:lnTo>
                  <a:pt x="301" y="538"/>
                </a:lnTo>
                <a:lnTo>
                  <a:pt x="299" y="535"/>
                </a:lnTo>
                <a:lnTo>
                  <a:pt x="294" y="528"/>
                </a:lnTo>
                <a:lnTo>
                  <a:pt x="286" y="522"/>
                </a:lnTo>
                <a:lnTo>
                  <a:pt x="277" y="515"/>
                </a:lnTo>
                <a:lnTo>
                  <a:pt x="257" y="501"/>
                </a:lnTo>
                <a:lnTo>
                  <a:pt x="250" y="494"/>
                </a:lnTo>
                <a:lnTo>
                  <a:pt x="246" y="489"/>
                </a:lnTo>
                <a:lnTo>
                  <a:pt x="246" y="489"/>
                </a:lnTo>
                <a:lnTo>
                  <a:pt x="246" y="470"/>
                </a:lnTo>
                <a:lnTo>
                  <a:pt x="246" y="470"/>
                </a:lnTo>
                <a:lnTo>
                  <a:pt x="246" y="470"/>
                </a:lnTo>
                <a:lnTo>
                  <a:pt x="258" y="470"/>
                </a:lnTo>
                <a:lnTo>
                  <a:pt x="266" y="469"/>
                </a:lnTo>
                <a:lnTo>
                  <a:pt x="273" y="468"/>
                </a:lnTo>
                <a:lnTo>
                  <a:pt x="279" y="463"/>
                </a:lnTo>
                <a:lnTo>
                  <a:pt x="279" y="463"/>
                </a:lnTo>
                <a:lnTo>
                  <a:pt x="276" y="460"/>
                </a:lnTo>
                <a:lnTo>
                  <a:pt x="271" y="456"/>
                </a:lnTo>
                <a:lnTo>
                  <a:pt x="259" y="450"/>
                </a:lnTo>
                <a:lnTo>
                  <a:pt x="255" y="447"/>
                </a:lnTo>
                <a:lnTo>
                  <a:pt x="250" y="444"/>
                </a:lnTo>
                <a:lnTo>
                  <a:pt x="247" y="439"/>
                </a:lnTo>
                <a:lnTo>
                  <a:pt x="246" y="435"/>
                </a:lnTo>
                <a:lnTo>
                  <a:pt x="246" y="435"/>
                </a:lnTo>
                <a:lnTo>
                  <a:pt x="247" y="427"/>
                </a:lnTo>
                <a:lnTo>
                  <a:pt x="249" y="420"/>
                </a:lnTo>
                <a:lnTo>
                  <a:pt x="253" y="413"/>
                </a:lnTo>
                <a:lnTo>
                  <a:pt x="258" y="407"/>
                </a:lnTo>
                <a:lnTo>
                  <a:pt x="264" y="401"/>
                </a:lnTo>
                <a:lnTo>
                  <a:pt x="271" y="397"/>
                </a:lnTo>
                <a:lnTo>
                  <a:pt x="279" y="394"/>
                </a:lnTo>
                <a:lnTo>
                  <a:pt x="286" y="393"/>
                </a:lnTo>
                <a:lnTo>
                  <a:pt x="286" y="393"/>
                </a:lnTo>
                <a:lnTo>
                  <a:pt x="293" y="395"/>
                </a:lnTo>
                <a:lnTo>
                  <a:pt x="303" y="399"/>
                </a:lnTo>
                <a:lnTo>
                  <a:pt x="328" y="412"/>
                </a:lnTo>
                <a:lnTo>
                  <a:pt x="355" y="425"/>
                </a:lnTo>
                <a:lnTo>
                  <a:pt x="365" y="432"/>
                </a:lnTo>
                <a:lnTo>
                  <a:pt x="371" y="438"/>
                </a:lnTo>
                <a:lnTo>
                  <a:pt x="371" y="438"/>
                </a:lnTo>
                <a:lnTo>
                  <a:pt x="460" y="438"/>
                </a:lnTo>
                <a:lnTo>
                  <a:pt x="460" y="438"/>
                </a:lnTo>
                <a:lnTo>
                  <a:pt x="455" y="412"/>
                </a:lnTo>
                <a:lnTo>
                  <a:pt x="455" y="412"/>
                </a:lnTo>
                <a:lnTo>
                  <a:pt x="455" y="412"/>
                </a:lnTo>
                <a:lnTo>
                  <a:pt x="465" y="390"/>
                </a:lnTo>
                <a:lnTo>
                  <a:pt x="469" y="379"/>
                </a:lnTo>
                <a:lnTo>
                  <a:pt x="470" y="368"/>
                </a:lnTo>
                <a:lnTo>
                  <a:pt x="470" y="368"/>
                </a:lnTo>
                <a:lnTo>
                  <a:pt x="470" y="349"/>
                </a:lnTo>
                <a:lnTo>
                  <a:pt x="470" y="349"/>
                </a:lnTo>
                <a:lnTo>
                  <a:pt x="452" y="349"/>
                </a:lnTo>
                <a:lnTo>
                  <a:pt x="444" y="349"/>
                </a:lnTo>
                <a:lnTo>
                  <a:pt x="437" y="347"/>
                </a:lnTo>
                <a:lnTo>
                  <a:pt x="431" y="345"/>
                </a:lnTo>
                <a:lnTo>
                  <a:pt x="426" y="340"/>
                </a:lnTo>
                <a:lnTo>
                  <a:pt x="423" y="333"/>
                </a:lnTo>
                <a:lnTo>
                  <a:pt x="422" y="323"/>
                </a:lnTo>
                <a:lnTo>
                  <a:pt x="422" y="323"/>
                </a:lnTo>
                <a:lnTo>
                  <a:pt x="415" y="325"/>
                </a:lnTo>
                <a:lnTo>
                  <a:pt x="407" y="326"/>
                </a:lnTo>
                <a:lnTo>
                  <a:pt x="399" y="325"/>
                </a:lnTo>
                <a:lnTo>
                  <a:pt x="389" y="323"/>
                </a:lnTo>
                <a:lnTo>
                  <a:pt x="389" y="323"/>
                </a:lnTo>
                <a:lnTo>
                  <a:pt x="392" y="313"/>
                </a:lnTo>
                <a:lnTo>
                  <a:pt x="396" y="303"/>
                </a:lnTo>
                <a:lnTo>
                  <a:pt x="402" y="294"/>
                </a:lnTo>
                <a:lnTo>
                  <a:pt x="408" y="285"/>
                </a:lnTo>
                <a:lnTo>
                  <a:pt x="422" y="269"/>
                </a:lnTo>
                <a:lnTo>
                  <a:pt x="438" y="253"/>
                </a:lnTo>
                <a:lnTo>
                  <a:pt x="453" y="237"/>
                </a:lnTo>
                <a:lnTo>
                  <a:pt x="460" y="229"/>
                </a:lnTo>
                <a:lnTo>
                  <a:pt x="465" y="219"/>
                </a:lnTo>
                <a:lnTo>
                  <a:pt x="470" y="210"/>
                </a:lnTo>
                <a:lnTo>
                  <a:pt x="475" y="200"/>
                </a:lnTo>
                <a:lnTo>
                  <a:pt x="477" y="188"/>
                </a:lnTo>
                <a:lnTo>
                  <a:pt x="478" y="177"/>
                </a:lnTo>
                <a:lnTo>
                  <a:pt x="478" y="177"/>
                </a:lnTo>
                <a:lnTo>
                  <a:pt x="477" y="158"/>
                </a:lnTo>
                <a:lnTo>
                  <a:pt x="475" y="138"/>
                </a:lnTo>
                <a:lnTo>
                  <a:pt x="471" y="118"/>
                </a:lnTo>
                <a:lnTo>
                  <a:pt x="467" y="100"/>
                </a:lnTo>
                <a:lnTo>
                  <a:pt x="467" y="100"/>
                </a:lnTo>
                <a:lnTo>
                  <a:pt x="461" y="96"/>
                </a:lnTo>
                <a:lnTo>
                  <a:pt x="457" y="93"/>
                </a:lnTo>
                <a:lnTo>
                  <a:pt x="449" y="84"/>
                </a:lnTo>
                <a:lnTo>
                  <a:pt x="442" y="76"/>
                </a:lnTo>
                <a:lnTo>
                  <a:pt x="439" y="72"/>
                </a:lnTo>
                <a:lnTo>
                  <a:pt x="433" y="70"/>
                </a:lnTo>
                <a:lnTo>
                  <a:pt x="433" y="70"/>
                </a:lnTo>
                <a:lnTo>
                  <a:pt x="423" y="68"/>
                </a:lnTo>
                <a:lnTo>
                  <a:pt x="412" y="65"/>
                </a:lnTo>
                <a:lnTo>
                  <a:pt x="392" y="65"/>
                </a:lnTo>
                <a:lnTo>
                  <a:pt x="383" y="65"/>
                </a:lnTo>
                <a:lnTo>
                  <a:pt x="373" y="64"/>
                </a:lnTo>
                <a:lnTo>
                  <a:pt x="365" y="61"/>
                </a:lnTo>
                <a:lnTo>
                  <a:pt x="356" y="55"/>
                </a:lnTo>
                <a:lnTo>
                  <a:pt x="356" y="55"/>
                </a:lnTo>
                <a:lnTo>
                  <a:pt x="340" y="39"/>
                </a:lnTo>
                <a:lnTo>
                  <a:pt x="330" y="30"/>
                </a:lnTo>
                <a:lnTo>
                  <a:pt x="319" y="20"/>
                </a:lnTo>
                <a:lnTo>
                  <a:pt x="307" y="12"/>
                </a:lnTo>
                <a:lnTo>
                  <a:pt x="295" y="7"/>
                </a:lnTo>
                <a:lnTo>
                  <a:pt x="281" y="2"/>
                </a:lnTo>
                <a:lnTo>
                  <a:pt x="276" y="1"/>
                </a:lnTo>
                <a:lnTo>
                  <a:pt x="269" y="0"/>
                </a:lnTo>
                <a:lnTo>
                  <a:pt x="269" y="0"/>
                </a:lnTo>
                <a:lnTo>
                  <a:pt x="265" y="1"/>
                </a:lnTo>
                <a:lnTo>
                  <a:pt x="261" y="4"/>
                </a:lnTo>
                <a:lnTo>
                  <a:pt x="261" y="4"/>
                </a:lnTo>
                <a:lnTo>
                  <a:pt x="259" y="16"/>
                </a:lnTo>
                <a:lnTo>
                  <a:pt x="257" y="25"/>
                </a:lnTo>
                <a:lnTo>
                  <a:pt x="255" y="33"/>
                </a:lnTo>
                <a:lnTo>
                  <a:pt x="251" y="41"/>
                </a:lnTo>
                <a:lnTo>
                  <a:pt x="248" y="48"/>
                </a:lnTo>
                <a:lnTo>
                  <a:pt x="246" y="57"/>
                </a:lnTo>
                <a:lnTo>
                  <a:pt x="243" y="66"/>
                </a:lnTo>
                <a:lnTo>
                  <a:pt x="242" y="78"/>
                </a:lnTo>
                <a:lnTo>
                  <a:pt x="242" y="78"/>
                </a:lnTo>
                <a:lnTo>
                  <a:pt x="243" y="92"/>
                </a:lnTo>
                <a:lnTo>
                  <a:pt x="244" y="102"/>
                </a:lnTo>
                <a:lnTo>
                  <a:pt x="249" y="110"/>
                </a:lnTo>
                <a:lnTo>
                  <a:pt x="254" y="118"/>
                </a:lnTo>
                <a:lnTo>
                  <a:pt x="254" y="118"/>
                </a:lnTo>
                <a:lnTo>
                  <a:pt x="250" y="120"/>
                </a:lnTo>
                <a:lnTo>
                  <a:pt x="247" y="124"/>
                </a:lnTo>
                <a:lnTo>
                  <a:pt x="238" y="127"/>
                </a:lnTo>
                <a:lnTo>
                  <a:pt x="226" y="130"/>
                </a:lnTo>
                <a:lnTo>
                  <a:pt x="215" y="131"/>
                </a:lnTo>
                <a:lnTo>
                  <a:pt x="190" y="130"/>
                </a:lnTo>
                <a:lnTo>
                  <a:pt x="172" y="129"/>
                </a:lnTo>
                <a:lnTo>
                  <a:pt x="172" y="129"/>
                </a:lnTo>
                <a:lnTo>
                  <a:pt x="170" y="141"/>
                </a:lnTo>
                <a:lnTo>
                  <a:pt x="167" y="146"/>
                </a:lnTo>
                <a:lnTo>
                  <a:pt x="166" y="150"/>
                </a:lnTo>
                <a:lnTo>
                  <a:pt x="163" y="154"/>
                </a:lnTo>
                <a:lnTo>
                  <a:pt x="159" y="156"/>
                </a:lnTo>
                <a:lnTo>
                  <a:pt x="156" y="157"/>
                </a:lnTo>
                <a:lnTo>
                  <a:pt x="150" y="158"/>
                </a:lnTo>
                <a:lnTo>
                  <a:pt x="150" y="158"/>
                </a:lnTo>
                <a:lnTo>
                  <a:pt x="144" y="157"/>
                </a:lnTo>
                <a:lnTo>
                  <a:pt x="140" y="155"/>
                </a:lnTo>
                <a:lnTo>
                  <a:pt x="135" y="152"/>
                </a:lnTo>
                <a:lnTo>
                  <a:pt x="132" y="147"/>
                </a:lnTo>
                <a:lnTo>
                  <a:pt x="127" y="137"/>
                </a:lnTo>
                <a:lnTo>
                  <a:pt x="125" y="129"/>
                </a:lnTo>
                <a:lnTo>
                  <a:pt x="125" y="129"/>
                </a:lnTo>
                <a:lnTo>
                  <a:pt x="116" y="130"/>
                </a:lnTo>
                <a:lnTo>
                  <a:pt x="109" y="132"/>
                </a:lnTo>
                <a:lnTo>
                  <a:pt x="105" y="132"/>
                </a:lnTo>
                <a:lnTo>
                  <a:pt x="101" y="132"/>
                </a:lnTo>
                <a:lnTo>
                  <a:pt x="97" y="131"/>
                </a:lnTo>
                <a:lnTo>
                  <a:pt x="91" y="129"/>
                </a:lnTo>
                <a:lnTo>
                  <a:pt x="91" y="129"/>
                </a:lnTo>
                <a:lnTo>
                  <a:pt x="95" y="123"/>
                </a:lnTo>
                <a:lnTo>
                  <a:pt x="98" y="118"/>
                </a:lnTo>
                <a:lnTo>
                  <a:pt x="105" y="110"/>
                </a:lnTo>
                <a:lnTo>
                  <a:pt x="109" y="107"/>
                </a:lnTo>
                <a:lnTo>
                  <a:pt x="111" y="103"/>
                </a:lnTo>
                <a:lnTo>
                  <a:pt x="113" y="99"/>
                </a:lnTo>
                <a:lnTo>
                  <a:pt x="113" y="93"/>
                </a:lnTo>
                <a:lnTo>
                  <a:pt x="113" y="93"/>
                </a:lnTo>
                <a:lnTo>
                  <a:pt x="112" y="86"/>
                </a:lnTo>
                <a:lnTo>
                  <a:pt x="110" y="81"/>
                </a:lnTo>
                <a:lnTo>
                  <a:pt x="106" y="78"/>
                </a:lnTo>
                <a:lnTo>
                  <a:pt x="101" y="76"/>
                </a:lnTo>
                <a:lnTo>
                  <a:pt x="95" y="74"/>
                </a:lnTo>
                <a:lnTo>
                  <a:pt x="89" y="74"/>
                </a:lnTo>
                <a:lnTo>
                  <a:pt x="78" y="73"/>
                </a:lnTo>
                <a:lnTo>
                  <a:pt x="78" y="73"/>
                </a:lnTo>
                <a:lnTo>
                  <a:pt x="66" y="74"/>
                </a:lnTo>
                <a:lnTo>
                  <a:pt x="56" y="77"/>
                </a:lnTo>
                <a:lnTo>
                  <a:pt x="48" y="80"/>
                </a:lnTo>
                <a:lnTo>
                  <a:pt x="41" y="85"/>
                </a:lnTo>
                <a:lnTo>
                  <a:pt x="36" y="92"/>
                </a:lnTo>
                <a:lnTo>
                  <a:pt x="33" y="100"/>
                </a:lnTo>
                <a:lnTo>
                  <a:pt x="30" y="110"/>
                </a:lnTo>
                <a:lnTo>
                  <a:pt x="29" y="122"/>
                </a:lnTo>
                <a:lnTo>
                  <a:pt x="29" y="122"/>
                </a:lnTo>
                <a:lnTo>
                  <a:pt x="30" y="142"/>
                </a:lnTo>
                <a:lnTo>
                  <a:pt x="33" y="161"/>
                </a:lnTo>
                <a:lnTo>
                  <a:pt x="36" y="176"/>
                </a:lnTo>
                <a:lnTo>
                  <a:pt x="40" y="183"/>
                </a:lnTo>
                <a:lnTo>
                  <a:pt x="42" y="188"/>
                </a:lnTo>
                <a:lnTo>
                  <a:pt x="47" y="193"/>
                </a:lnTo>
                <a:lnTo>
                  <a:pt x="50" y="198"/>
                </a:lnTo>
                <a:lnTo>
                  <a:pt x="55" y="201"/>
                </a:lnTo>
                <a:lnTo>
                  <a:pt x="60" y="204"/>
                </a:lnTo>
                <a:lnTo>
                  <a:pt x="66" y="207"/>
                </a:lnTo>
                <a:lnTo>
                  <a:pt x="73" y="209"/>
                </a:lnTo>
                <a:lnTo>
                  <a:pt x="80" y="210"/>
                </a:lnTo>
                <a:lnTo>
                  <a:pt x="88" y="210"/>
                </a:lnTo>
                <a:lnTo>
                  <a:pt x="88" y="210"/>
                </a:lnTo>
                <a:lnTo>
                  <a:pt x="96" y="210"/>
                </a:lnTo>
                <a:lnTo>
                  <a:pt x="103" y="213"/>
                </a:lnTo>
                <a:lnTo>
                  <a:pt x="114" y="217"/>
                </a:lnTo>
                <a:lnTo>
                  <a:pt x="127" y="223"/>
                </a:lnTo>
                <a:lnTo>
                  <a:pt x="134" y="224"/>
                </a:lnTo>
                <a:lnTo>
                  <a:pt x="143" y="225"/>
                </a:lnTo>
                <a:lnTo>
                  <a:pt x="143" y="225"/>
                </a:lnTo>
                <a:lnTo>
                  <a:pt x="164" y="224"/>
                </a:lnTo>
                <a:lnTo>
                  <a:pt x="183" y="221"/>
                </a:lnTo>
                <a:lnTo>
                  <a:pt x="198" y="215"/>
                </a:lnTo>
                <a:lnTo>
                  <a:pt x="210" y="210"/>
                </a:lnTo>
                <a:lnTo>
                  <a:pt x="210" y="210"/>
                </a:lnTo>
                <a:lnTo>
                  <a:pt x="227" y="210"/>
                </a:lnTo>
                <a:lnTo>
                  <a:pt x="227" y="210"/>
                </a:lnTo>
                <a:lnTo>
                  <a:pt x="227" y="210"/>
                </a:lnTo>
                <a:lnTo>
                  <a:pt x="226" y="217"/>
                </a:lnTo>
                <a:lnTo>
                  <a:pt x="221" y="231"/>
                </a:lnTo>
                <a:lnTo>
                  <a:pt x="206" y="265"/>
                </a:lnTo>
                <a:lnTo>
                  <a:pt x="197" y="283"/>
                </a:lnTo>
                <a:lnTo>
                  <a:pt x="189" y="299"/>
                </a:lnTo>
                <a:lnTo>
                  <a:pt x="181" y="309"/>
                </a:lnTo>
                <a:lnTo>
                  <a:pt x="179" y="311"/>
                </a:lnTo>
                <a:lnTo>
                  <a:pt x="177" y="313"/>
                </a:lnTo>
                <a:lnTo>
                  <a:pt x="177" y="313"/>
                </a:lnTo>
                <a:lnTo>
                  <a:pt x="172" y="313"/>
                </a:lnTo>
                <a:lnTo>
                  <a:pt x="168" y="311"/>
                </a:lnTo>
                <a:lnTo>
                  <a:pt x="159" y="307"/>
                </a:lnTo>
                <a:lnTo>
                  <a:pt x="151" y="303"/>
                </a:lnTo>
                <a:lnTo>
                  <a:pt x="147" y="302"/>
                </a:lnTo>
                <a:lnTo>
                  <a:pt x="143" y="302"/>
                </a:lnTo>
                <a:lnTo>
                  <a:pt x="143" y="302"/>
                </a:lnTo>
                <a:lnTo>
                  <a:pt x="136" y="303"/>
                </a:lnTo>
                <a:lnTo>
                  <a:pt x="127" y="308"/>
                </a:lnTo>
                <a:lnTo>
                  <a:pt x="117" y="314"/>
                </a:lnTo>
                <a:lnTo>
                  <a:pt x="105" y="321"/>
                </a:lnTo>
                <a:lnTo>
                  <a:pt x="87" y="336"/>
                </a:lnTo>
                <a:lnTo>
                  <a:pt x="80" y="341"/>
                </a:lnTo>
                <a:lnTo>
                  <a:pt x="78" y="346"/>
                </a:lnTo>
                <a:lnTo>
                  <a:pt x="78" y="346"/>
                </a:lnTo>
                <a:lnTo>
                  <a:pt x="68" y="359"/>
                </a:lnTo>
                <a:lnTo>
                  <a:pt x="64" y="369"/>
                </a:lnTo>
                <a:lnTo>
                  <a:pt x="61" y="379"/>
                </a:lnTo>
                <a:lnTo>
                  <a:pt x="60" y="389"/>
                </a:lnTo>
                <a:lnTo>
                  <a:pt x="59" y="398"/>
                </a:lnTo>
                <a:lnTo>
                  <a:pt x="58" y="408"/>
                </a:lnTo>
                <a:lnTo>
                  <a:pt x="52" y="420"/>
                </a:lnTo>
                <a:lnTo>
                  <a:pt x="44" y="435"/>
                </a:lnTo>
                <a:lnTo>
                  <a:pt x="44" y="435"/>
                </a:lnTo>
                <a:lnTo>
                  <a:pt x="37" y="443"/>
                </a:lnTo>
                <a:lnTo>
                  <a:pt x="29" y="451"/>
                </a:lnTo>
                <a:lnTo>
                  <a:pt x="15" y="466"/>
                </a:lnTo>
                <a:lnTo>
                  <a:pt x="9" y="474"/>
                </a:lnTo>
                <a:lnTo>
                  <a:pt x="4" y="482"/>
                </a:lnTo>
                <a:lnTo>
                  <a:pt x="2" y="492"/>
                </a:lnTo>
                <a:lnTo>
                  <a:pt x="0" y="504"/>
                </a:lnTo>
                <a:lnTo>
                  <a:pt x="0" y="504"/>
                </a:lnTo>
                <a:lnTo>
                  <a:pt x="0" y="508"/>
                </a:lnTo>
                <a:lnTo>
                  <a:pt x="2" y="513"/>
                </a:lnTo>
                <a:lnTo>
                  <a:pt x="4" y="517"/>
                </a:lnTo>
                <a:lnTo>
                  <a:pt x="6" y="520"/>
                </a:lnTo>
                <a:lnTo>
                  <a:pt x="10" y="522"/>
                </a:lnTo>
                <a:lnTo>
                  <a:pt x="13" y="524"/>
                </a:lnTo>
                <a:lnTo>
                  <a:pt x="18" y="526"/>
                </a:lnTo>
                <a:lnTo>
                  <a:pt x="21" y="526"/>
                </a:lnTo>
                <a:lnTo>
                  <a:pt x="21" y="526"/>
                </a:lnTo>
                <a:lnTo>
                  <a:pt x="48" y="526"/>
                </a:lnTo>
                <a:lnTo>
                  <a:pt x="48" y="526"/>
                </a:lnTo>
                <a:lnTo>
                  <a:pt x="53" y="527"/>
                </a:lnTo>
                <a:lnTo>
                  <a:pt x="61" y="529"/>
                </a:lnTo>
                <a:lnTo>
                  <a:pt x="70" y="531"/>
                </a:lnTo>
                <a:lnTo>
                  <a:pt x="80" y="536"/>
                </a:lnTo>
                <a:lnTo>
                  <a:pt x="88" y="542"/>
                </a:lnTo>
                <a:lnTo>
                  <a:pt x="96" y="550"/>
                </a:lnTo>
                <a:lnTo>
                  <a:pt x="98" y="553"/>
                </a:lnTo>
                <a:lnTo>
                  <a:pt x="101" y="558"/>
                </a:lnTo>
                <a:lnTo>
                  <a:pt x="103" y="561"/>
                </a:lnTo>
                <a:lnTo>
                  <a:pt x="103" y="567"/>
                </a:lnTo>
                <a:lnTo>
                  <a:pt x="103" y="567"/>
                </a:lnTo>
                <a:lnTo>
                  <a:pt x="102" y="568"/>
                </a:lnTo>
                <a:lnTo>
                  <a:pt x="98" y="572"/>
                </a:lnTo>
                <a:lnTo>
                  <a:pt x="89" y="581"/>
                </a:lnTo>
                <a:lnTo>
                  <a:pt x="70" y="599"/>
                </a:lnTo>
                <a:lnTo>
                  <a:pt x="70" y="599"/>
                </a:lnTo>
                <a:lnTo>
                  <a:pt x="70" y="614"/>
                </a:lnTo>
                <a:lnTo>
                  <a:pt x="66" y="626"/>
                </a:lnTo>
                <a:lnTo>
                  <a:pt x="66" y="62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7" name="Freeform 62"/>
          <p:cNvSpPr>
            <a:spLocks/>
          </p:cNvSpPr>
          <p:nvPr/>
        </p:nvSpPr>
        <p:spPr bwMode="auto">
          <a:xfrm>
            <a:off x="1739900" y="4837113"/>
            <a:ext cx="704850" cy="750887"/>
          </a:xfrm>
          <a:custGeom>
            <a:avLst/>
            <a:gdLst/>
            <a:ahLst/>
            <a:cxnLst>
              <a:cxn ang="0">
                <a:pos x="28" y="301"/>
              </a:cxn>
              <a:cxn ang="0">
                <a:pos x="66" y="338"/>
              </a:cxn>
              <a:cxn ang="0">
                <a:pos x="119" y="338"/>
              </a:cxn>
              <a:cxn ang="0">
                <a:pos x="126" y="387"/>
              </a:cxn>
              <a:cxn ang="0">
                <a:pos x="150" y="408"/>
              </a:cxn>
              <a:cxn ang="0">
                <a:pos x="191" y="434"/>
              </a:cxn>
              <a:cxn ang="0">
                <a:pos x="212" y="525"/>
              </a:cxn>
              <a:cxn ang="0">
                <a:pos x="249" y="564"/>
              </a:cxn>
              <a:cxn ang="0">
                <a:pos x="273" y="599"/>
              </a:cxn>
              <a:cxn ang="0">
                <a:pos x="321" y="649"/>
              </a:cxn>
              <a:cxn ang="0">
                <a:pos x="393" y="632"/>
              </a:cxn>
              <a:cxn ang="0">
                <a:pos x="445" y="637"/>
              </a:cxn>
              <a:cxn ang="0">
                <a:pos x="479" y="684"/>
              </a:cxn>
              <a:cxn ang="0">
                <a:pos x="559" y="698"/>
              </a:cxn>
              <a:cxn ang="0">
                <a:pos x="598" y="790"/>
              </a:cxn>
              <a:cxn ang="0">
                <a:pos x="648" y="823"/>
              </a:cxn>
              <a:cxn ang="0">
                <a:pos x="689" y="808"/>
              </a:cxn>
              <a:cxn ang="0">
                <a:pos x="729" y="845"/>
              </a:cxn>
              <a:cxn ang="0">
                <a:pos x="779" y="861"/>
              </a:cxn>
              <a:cxn ang="0">
                <a:pos x="838" y="837"/>
              </a:cxn>
              <a:cxn ang="0">
                <a:pos x="858" y="779"/>
              </a:cxn>
              <a:cxn ang="0">
                <a:pos x="819" y="753"/>
              </a:cxn>
              <a:cxn ang="0">
                <a:pos x="815" y="726"/>
              </a:cxn>
              <a:cxn ang="0">
                <a:pos x="782" y="706"/>
              </a:cxn>
              <a:cxn ang="0">
                <a:pos x="791" y="683"/>
              </a:cxn>
              <a:cxn ang="0">
                <a:pos x="776" y="657"/>
              </a:cxn>
              <a:cxn ang="0">
                <a:pos x="773" y="617"/>
              </a:cxn>
              <a:cxn ang="0">
                <a:pos x="804" y="576"/>
              </a:cxn>
              <a:cxn ang="0">
                <a:pos x="756" y="545"/>
              </a:cxn>
              <a:cxn ang="0">
                <a:pos x="709" y="544"/>
              </a:cxn>
              <a:cxn ang="0">
                <a:pos x="669" y="573"/>
              </a:cxn>
              <a:cxn ang="0">
                <a:pos x="624" y="599"/>
              </a:cxn>
              <a:cxn ang="0">
                <a:pos x="584" y="568"/>
              </a:cxn>
              <a:cxn ang="0">
                <a:pos x="557" y="564"/>
              </a:cxn>
              <a:cxn ang="0">
                <a:pos x="522" y="569"/>
              </a:cxn>
              <a:cxn ang="0">
                <a:pos x="485" y="530"/>
              </a:cxn>
              <a:cxn ang="0">
                <a:pos x="501" y="500"/>
              </a:cxn>
              <a:cxn ang="0">
                <a:pos x="479" y="460"/>
              </a:cxn>
              <a:cxn ang="0">
                <a:pos x="507" y="439"/>
              </a:cxn>
              <a:cxn ang="0">
                <a:pos x="518" y="417"/>
              </a:cxn>
              <a:cxn ang="0">
                <a:pos x="489" y="386"/>
              </a:cxn>
              <a:cxn ang="0">
                <a:pos x="461" y="401"/>
              </a:cxn>
              <a:cxn ang="0">
                <a:pos x="449" y="371"/>
              </a:cxn>
              <a:cxn ang="0">
                <a:pos x="440" y="280"/>
              </a:cxn>
              <a:cxn ang="0">
                <a:pos x="396" y="178"/>
              </a:cxn>
              <a:cxn ang="0">
                <a:pos x="385" y="100"/>
              </a:cxn>
              <a:cxn ang="0">
                <a:pos x="361" y="67"/>
              </a:cxn>
              <a:cxn ang="0">
                <a:pos x="371" y="31"/>
              </a:cxn>
              <a:cxn ang="0">
                <a:pos x="349" y="6"/>
              </a:cxn>
              <a:cxn ang="0">
                <a:pos x="319" y="4"/>
              </a:cxn>
              <a:cxn ang="0">
                <a:pos x="308" y="52"/>
              </a:cxn>
              <a:cxn ang="0">
                <a:pos x="274" y="77"/>
              </a:cxn>
              <a:cxn ang="0">
                <a:pos x="237" y="124"/>
              </a:cxn>
              <a:cxn ang="0">
                <a:pos x="193" y="161"/>
              </a:cxn>
              <a:cxn ang="0">
                <a:pos x="148" y="179"/>
              </a:cxn>
              <a:cxn ang="0">
                <a:pos x="91" y="235"/>
              </a:cxn>
              <a:cxn ang="0">
                <a:pos x="13" y="260"/>
              </a:cxn>
            </a:cxnLst>
            <a:rect l="0" t="0" r="r" b="b"/>
            <a:pathLst>
              <a:path w="861" h="862">
                <a:moveTo>
                  <a:pt x="0" y="279"/>
                </a:moveTo>
                <a:lnTo>
                  <a:pt x="0" y="279"/>
                </a:lnTo>
                <a:lnTo>
                  <a:pt x="7" y="281"/>
                </a:lnTo>
                <a:lnTo>
                  <a:pt x="13" y="283"/>
                </a:lnTo>
                <a:lnTo>
                  <a:pt x="18" y="287"/>
                </a:lnTo>
                <a:lnTo>
                  <a:pt x="21" y="292"/>
                </a:lnTo>
                <a:lnTo>
                  <a:pt x="28" y="301"/>
                </a:lnTo>
                <a:lnTo>
                  <a:pt x="34" y="311"/>
                </a:lnTo>
                <a:lnTo>
                  <a:pt x="40" y="321"/>
                </a:lnTo>
                <a:lnTo>
                  <a:pt x="44" y="326"/>
                </a:lnTo>
                <a:lnTo>
                  <a:pt x="48" y="329"/>
                </a:lnTo>
                <a:lnTo>
                  <a:pt x="53" y="333"/>
                </a:lnTo>
                <a:lnTo>
                  <a:pt x="59" y="335"/>
                </a:lnTo>
                <a:lnTo>
                  <a:pt x="66" y="338"/>
                </a:lnTo>
                <a:lnTo>
                  <a:pt x="74" y="338"/>
                </a:lnTo>
                <a:lnTo>
                  <a:pt x="74" y="338"/>
                </a:lnTo>
                <a:lnTo>
                  <a:pt x="87" y="338"/>
                </a:lnTo>
                <a:lnTo>
                  <a:pt x="98" y="335"/>
                </a:lnTo>
                <a:lnTo>
                  <a:pt x="109" y="335"/>
                </a:lnTo>
                <a:lnTo>
                  <a:pt x="113" y="336"/>
                </a:lnTo>
                <a:lnTo>
                  <a:pt x="119" y="338"/>
                </a:lnTo>
                <a:lnTo>
                  <a:pt x="119" y="338"/>
                </a:lnTo>
                <a:lnTo>
                  <a:pt x="122" y="343"/>
                </a:lnTo>
                <a:lnTo>
                  <a:pt x="126" y="349"/>
                </a:lnTo>
                <a:lnTo>
                  <a:pt x="126" y="357"/>
                </a:lnTo>
                <a:lnTo>
                  <a:pt x="126" y="364"/>
                </a:lnTo>
                <a:lnTo>
                  <a:pt x="126" y="380"/>
                </a:lnTo>
                <a:lnTo>
                  <a:pt x="126" y="387"/>
                </a:lnTo>
                <a:lnTo>
                  <a:pt x="126" y="393"/>
                </a:lnTo>
                <a:lnTo>
                  <a:pt x="126" y="393"/>
                </a:lnTo>
                <a:lnTo>
                  <a:pt x="128" y="397"/>
                </a:lnTo>
                <a:lnTo>
                  <a:pt x="132" y="400"/>
                </a:lnTo>
                <a:lnTo>
                  <a:pt x="135" y="403"/>
                </a:lnTo>
                <a:lnTo>
                  <a:pt x="140" y="404"/>
                </a:lnTo>
                <a:lnTo>
                  <a:pt x="150" y="408"/>
                </a:lnTo>
                <a:lnTo>
                  <a:pt x="162" y="411"/>
                </a:lnTo>
                <a:lnTo>
                  <a:pt x="173" y="416"/>
                </a:lnTo>
                <a:lnTo>
                  <a:pt x="179" y="418"/>
                </a:lnTo>
                <a:lnTo>
                  <a:pt x="182" y="420"/>
                </a:lnTo>
                <a:lnTo>
                  <a:pt x="187" y="425"/>
                </a:lnTo>
                <a:lnTo>
                  <a:pt x="189" y="430"/>
                </a:lnTo>
                <a:lnTo>
                  <a:pt x="191" y="434"/>
                </a:lnTo>
                <a:lnTo>
                  <a:pt x="193" y="441"/>
                </a:lnTo>
                <a:lnTo>
                  <a:pt x="193" y="441"/>
                </a:lnTo>
                <a:lnTo>
                  <a:pt x="193" y="454"/>
                </a:lnTo>
                <a:lnTo>
                  <a:pt x="195" y="470"/>
                </a:lnTo>
                <a:lnTo>
                  <a:pt x="199" y="488"/>
                </a:lnTo>
                <a:lnTo>
                  <a:pt x="205" y="507"/>
                </a:lnTo>
                <a:lnTo>
                  <a:pt x="212" y="525"/>
                </a:lnTo>
                <a:lnTo>
                  <a:pt x="220" y="541"/>
                </a:lnTo>
                <a:lnTo>
                  <a:pt x="225" y="548"/>
                </a:lnTo>
                <a:lnTo>
                  <a:pt x="229" y="554"/>
                </a:lnTo>
                <a:lnTo>
                  <a:pt x="234" y="558"/>
                </a:lnTo>
                <a:lnTo>
                  <a:pt x="240" y="562"/>
                </a:lnTo>
                <a:lnTo>
                  <a:pt x="240" y="562"/>
                </a:lnTo>
                <a:lnTo>
                  <a:pt x="249" y="564"/>
                </a:lnTo>
                <a:lnTo>
                  <a:pt x="257" y="567"/>
                </a:lnTo>
                <a:lnTo>
                  <a:pt x="262" y="570"/>
                </a:lnTo>
                <a:lnTo>
                  <a:pt x="266" y="575"/>
                </a:lnTo>
                <a:lnTo>
                  <a:pt x="269" y="580"/>
                </a:lnTo>
                <a:lnTo>
                  <a:pt x="271" y="586"/>
                </a:lnTo>
                <a:lnTo>
                  <a:pt x="273" y="599"/>
                </a:lnTo>
                <a:lnTo>
                  <a:pt x="273" y="599"/>
                </a:lnTo>
                <a:lnTo>
                  <a:pt x="275" y="610"/>
                </a:lnTo>
                <a:lnTo>
                  <a:pt x="280" y="619"/>
                </a:lnTo>
                <a:lnTo>
                  <a:pt x="286" y="629"/>
                </a:lnTo>
                <a:lnTo>
                  <a:pt x="293" y="636"/>
                </a:lnTo>
                <a:lnTo>
                  <a:pt x="302" y="641"/>
                </a:lnTo>
                <a:lnTo>
                  <a:pt x="311" y="646"/>
                </a:lnTo>
                <a:lnTo>
                  <a:pt x="321" y="649"/>
                </a:lnTo>
                <a:lnTo>
                  <a:pt x="332" y="651"/>
                </a:lnTo>
                <a:lnTo>
                  <a:pt x="332" y="651"/>
                </a:lnTo>
                <a:lnTo>
                  <a:pt x="343" y="649"/>
                </a:lnTo>
                <a:lnTo>
                  <a:pt x="353" y="647"/>
                </a:lnTo>
                <a:lnTo>
                  <a:pt x="373" y="639"/>
                </a:lnTo>
                <a:lnTo>
                  <a:pt x="382" y="636"/>
                </a:lnTo>
                <a:lnTo>
                  <a:pt x="393" y="632"/>
                </a:lnTo>
                <a:lnTo>
                  <a:pt x="404" y="630"/>
                </a:lnTo>
                <a:lnTo>
                  <a:pt x="416" y="629"/>
                </a:lnTo>
                <a:lnTo>
                  <a:pt x="416" y="629"/>
                </a:lnTo>
                <a:lnTo>
                  <a:pt x="425" y="629"/>
                </a:lnTo>
                <a:lnTo>
                  <a:pt x="433" y="631"/>
                </a:lnTo>
                <a:lnTo>
                  <a:pt x="439" y="633"/>
                </a:lnTo>
                <a:lnTo>
                  <a:pt x="445" y="637"/>
                </a:lnTo>
                <a:lnTo>
                  <a:pt x="449" y="640"/>
                </a:lnTo>
                <a:lnTo>
                  <a:pt x="454" y="645"/>
                </a:lnTo>
                <a:lnTo>
                  <a:pt x="460" y="654"/>
                </a:lnTo>
                <a:lnTo>
                  <a:pt x="465" y="664"/>
                </a:lnTo>
                <a:lnTo>
                  <a:pt x="471" y="675"/>
                </a:lnTo>
                <a:lnTo>
                  <a:pt x="475" y="679"/>
                </a:lnTo>
                <a:lnTo>
                  <a:pt x="479" y="684"/>
                </a:lnTo>
                <a:lnTo>
                  <a:pt x="484" y="687"/>
                </a:lnTo>
                <a:lnTo>
                  <a:pt x="489" y="691"/>
                </a:lnTo>
                <a:lnTo>
                  <a:pt x="489" y="691"/>
                </a:lnTo>
                <a:lnTo>
                  <a:pt x="552" y="691"/>
                </a:lnTo>
                <a:lnTo>
                  <a:pt x="552" y="691"/>
                </a:lnTo>
                <a:lnTo>
                  <a:pt x="552" y="691"/>
                </a:lnTo>
                <a:lnTo>
                  <a:pt x="559" y="698"/>
                </a:lnTo>
                <a:lnTo>
                  <a:pt x="564" y="706"/>
                </a:lnTo>
                <a:lnTo>
                  <a:pt x="570" y="715"/>
                </a:lnTo>
                <a:lnTo>
                  <a:pt x="575" y="725"/>
                </a:lnTo>
                <a:lnTo>
                  <a:pt x="582" y="747"/>
                </a:lnTo>
                <a:lnTo>
                  <a:pt x="588" y="769"/>
                </a:lnTo>
                <a:lnTo>
                  <a:pt x="593" y="779"/>
                </a:lnTo>
                <a:lnTo>
                  <a:pt x="598" y="790"/>
                </a:lnTo>
                <a:lnTo>
                  <a:pt x="602" y="799"/>
                </a:lnTo>
                <a:lnTo>
                  <a:pt x="609" y="807"/>
                </a:lnTo>
                <a:lnTo>
                  <a:pt x="616" y="814"/>
                </a:lnTo>
                <a:lnTo>
                  <a:pt x="625" y="819"/>
                </a:lnTo>
                <a:lnTo>
                  <a:pt x="636" y="822"/>
                </a:lnTo>
                <a:lnTo>
                  <a:pt x="648" y="823"/>
                </a:lnTo>
                <a:lnTo>
                  <a:pt x="648" y="823"/>
                </a:lnTo>
                <a:lnTo>
                  <a:pt x="653" y="822"/>
                </a:lnTo>
                <a:lnTo>
                  <a:pt x="657" y="821"/>
                </a:lnTo>
                <a:lnTo>
                  <a:pt x="667" y="816"/>
                </a:lnTo>
                <a:lnTo>
                  <a:pt x="676" y="810"/>
                </a:lnTo>
                <a:lnTo>
                  <a:pt x="682" y="809"/>
                </a:lnTo>
                <a:lnTo>
                  <a:pt x="689" y="808"/>
                </a:lnTo>
                <a:lnTo>
                  <a:pt x="689" y="808"/>
                </a:lnTo>
                <a:lnTo>
                  <a:pt x="694" y="809"/>
                </a:lnTo>
                <a:lnTo>
                  <a:pt x="699" y="810"/>
                </a:lnTo>
                <a:lnTo>
                  <a:pt x="703" y="814"/>
                </a:lnTo>
                <a:lnTo>
                  <a:pt x="708" y="817"/>
                </a:lnTo>
                <a:lnTo>
                  <a:pt x="715" y="825"/>
                </a:lnTo>
                <a:lnTo>
                  <a:pt x="722" y="836"/>
                </a:lnTo>
                <a:lnTo>
                  <a:pt x="729" y="845"/>
                </a:lnTo>
                <a:lnTo>
                  <a:pt x="736" y="854"/>
                </a:lnTo>
                <a:lnTo>
                  <a:pt x="740" y="858"/>
                </a:lnTo>
                <a:lnTo>
                  <a:pt x="746" y="860"/>
                </a:lnTo>
                <a:lnTo>
                  <a:pt x="752" y="862"/>
                </a:lnTo>
                <a:lnTo>
                  <a:pt x="758" y="862"/>
                </a:lnTo>
                <a:lnTo>
                  <a:pt x="758" y="862"/>
                </a:lnTo>
                <a:lnTo>
                  <a:pt x="779" y="861"/>
                </a:lnTo>
                <a:lnTo>
                  <a:pt x="798" y="859"/>
                </a:lnTo>
                <a:lnTo>
                  <a:pt x="807" y="857"/>
                </a:lnTo>
                <a:lnTo>
                  <a:pt x="814" y="853"/>
                </a:lnTo>
                <a:lnTo>
                  <a:pt x="821" y="850"/>
                </a:lnTo>
                <a:lnTo>
                  <a:pt x="828" y="846"/>
                </a:lnTo>
                <a:lnTo>
                  <a:pt x="834" y="842"/>
                </a:lnTo>
                <a:lnTo>
                  <a:pt x="838" y="837"/>
                </a:lnTo>
                <a:lnTo>
                  <a:pt x="847" y="825"/>
                </a:lnTo>
                <a:lnTo>
                  <a:pt x="854" y="813"/>
                </a:lnTo>
                <a:lnTo>
                  <a:pt x="861" y="797"/>
                </a:lnTo>
                <a:lnTo>
                  <a:pt x="861" y="797"/>
                </a:lnTo>
                <a:lnTo>
                  <a:pt x="860" y="790"/>
                </a:lnTo>
                <a:lnTo>
                  <a:pt x="859" y="784"/>
                </a:lnTo>
                <a:lnTo>
                  <a:pt x="858" y="779"/>
                </a:lnTo>
                <a:lnTo>
                  <a:pt x="855" y="775"/>
                </a:lnTo>
                <a:lnTo>
                  <a:pt x="853" y="771"/>
                </a:lnTo>
                <a:lnTo>
                  <a:pt x="850" y="769"/>
                </a:lnTo>
                <a:lnTo>
                  <a:pt x="843" y="764"/>
                </a:lnTo>
                <a:lnTo>
                  <a:pt x="828" y="759"/>
                </a:lnTo>
                <a:lnTo>
                  <a:pt x="822" y="755"/>
                </a:lnTo>
                <a:lnTo>
                  <a:pt x="819" y="753"/>
                </a:lnTo>
                <a:lnTo>
                  <a:pt x="816" y="749"/>
                </a:lnTo>
                <a:lnTo>
                  <a:pt x="816" y="749"/>
                </a:lnTo>
                <a:lnTo>
                  <a:pt x="815" y="746"/>
                </a:lnTo>
                <a:lnTo>
                  <a:pt x="815" y="744"/>
                </a:lnTo>
                <a:lnTo>
                  <a:pt x="816" y="737"/>
                </a:lnTo>
                <a:lnTo>
                  <a:pt x="816" y="730"/>
                </a:lnTo>
                <a:lnTo>
                  <a:pt x="815" y="726"/>
                </a:lnTo>
                <a:lnTo>
                  <a:pt x="813" y="724"/>
                </a:lnTo>
                <a:lnTo>
                  <a:pt x="813" y="724"/>
                </a:lnTo>
                <a:lnTo>
                  <a:pt x="811" y="720"/>
                </a:lnTo>
                <a:lnTo>
                  <a:pt x="806" y="717"/>
                </a:lnTo>
                <a:lnTo>
                  <a:pt x="796" y="713"/>
                </a:lnTo>
                <a:lnTo>
                  <a:pt x="785" y="708"/>
                </a:lnTo>
                <a:lnTo>
                  <a:pt x="782" y="706"/>
                </a:lnTo>
                <a:lnTo>
                  <a:pt x="781" y="702"/>
                </a:lnTo>
                <a:lnTo>
                  <a:pt x="781" y="702"/>
                </a:lnTo>
                <a:lnTo>
                  <a:pt x="781" y="699"/>
                </a:lnTo>
                <a:lnTo>
                  <a:pt x="782" y="697"/>
                </a:lnTo>
                <a:lnTo>
                  <a:pt x="785" y="691"/>
                </a:lnTo>
                <a:lnTo>
                  <a:pt x="790" y="685"/>
                </a:lnTo>
                <a:lnTo>
                  <a:pt x="791" y="683"/>
                </a:lnTo>
                <a:lnTo>
                  <a:pt x="791" y="679"/>
                </a:lnTo>
                <a:lnTo>
                  <a:pt x="791" y="679"/>
                </a:lnTo>
                <a:lnTo>
                  <a:pt x="790" y="672"/>
                </a:lnTo>
                <a:lnTo>
                  <a:pt x="787" y="668"/>
                </a:lnTo>
                <a:lnTo>
                  <a:pt x="784" y="663"/>
                </a:lnTo>
                <a:lnTo>
                  <a:pt x="781" y="660"/>
                </a:lnTo>
                <a:lnTo>
                  <a:pt x="776" y="657"/>
                </a:lnTo>
                <a:lnTo>
                  <a:pt x="773" y="654"/>
                </a:lnTo>
                <a:lnTo>
                  <a:pt x="770" y="649"/>
                </a:lnTo>
                <a:lnTo>
                  <a:pt x="769" y="644"/>
                </a:lnTo>
                <a:lnTo>
                  <a:pt x="769" y="644"/>
                </a:lnTo>
                <a:lnTo>
                  <a:pt x="773" y="617"/>
                </a:lnTo>
                <a:lnTo>
                  <a:pt x="773" y="617"/>
                </a:lnTo>
                <a:lnTo>
                  <a:pt x="773" y="617"/>
                </a:lnTo>
                <a:lnTo>
                  <a:pt x="792" y="599"/>
                </a:lnTo>
                <a:lnTo>
                  <a:pt x="801" y="590"/>
                </a:lnTo>
                <a:lnTo>
                  <a:pt x="805" y="586"/>
                </a:lnTo>
                <a:lnTo>
                  <a:pt x="806" y="585"/>
                </a:lnTo>
                <a:lnTo>
                  <a:pt x="806" y="585"/>
                </a:lnTo>
                <a:lnTo>
                  <a:pt x="806" y="579"/>
                </a:lnTo>
                <a:lnTo>
                  <a:pt x="804" y="576"/>
                </a:lnTo>
                <a:lnTo>
                  <a:pt x="801" y="571"/>
                </a:lnTo>
                <a:lnTo>
                  <a:pt x="799" y="568"/>
                </a:lnTo>
                <a:lnTo>
                  <a:pt x="791" y="560"/>
                </a:lnTo>
                <a:lnTo>
                  <a:pt x="783" y="554"/>
                </a:lnTo>
                <a:lnTo>
                  <a:pt x="773" y="549"/>
                </a:lnTo>
                <a:lnTo>
                  <a:pt x="764" y="547"/>
                </a:lnTo>
                <a:lnTo>
                  <a:pt x="756" y="545"/>
                </a:lnTo>
                <a:lnTo>
                  <a:pt x="751" y="544"/>
                </a:lnTo>
                <a:lnTo>
                  <a:pt x="751" y="544"/>
                </a:lnTo>
                <a:lnTo>
                  <a:pt x="724" y="544"/>
                </a:lnTo>
                <a:lnTo>
                  <a:pt x="724" y="544"/>
                </a:lnTo>
                <a:lnTo>
                  <a:pt x="717" y="545"/>
                </a:lnTo>
                <a:lnTo>
                  <a:pt x="712" y="545"/>
                </a:lnTo>
                <a:lnTo>
                  <a:pt x="709" y="544"/>
                </a:lnTo>
                <a:lnTo>
                  <a:pt x="708" y="542"/>
                </a:lnTo>
                <a:lnTo>
                  <a:pt x="707" y="540"/>
                </a:lnTo>
                <a:lnTo>
                  <a:pt x="707" y="537"/>
                </a:lnTo>
                <a:lnTo>
                  <a:pt x="707" y="537"/>
                </a:lnTo>
                <a:lnTo>
                  <a:pt x="698" y="544"/>
                </a:lnTo>
                <a:lnTo>
                  <a:pt x="689" y="552"/>
                </a:lnTo>
                <a:lnTo>
                  <a:pt x="669" y="573"/>
                </a:lnTo>
                <a:lnTo>
                  <a:pt x="659" y="583"/>
                </a:lnTo>
                <a:lnTo>
                  <a:pt x="649" y="592"/>
                </a:lnTo>
                <a:lnTo>
                  <a:pt x="639" y="596"/>
                </a:lnTo>
                <a:lnTo>
                  <a:pt x="634" y="599"/>
                </a:lnTo>
                <a:lnTo>
                  <a:pt x="630" y="599"/>
                </a:lnTo>
                <a:lnTo>
                  <a:pt x="630" y="599"/>
                </a:lnTo>
                <a:lnTo>
                  <a:pt x="624" y="599"/>
                </a:lnTo>
                <a:lnTo>
                  <a:pt x="618" y="598"/>
                </a:lnTo>
                <a:lnTo>
                  <a:pt x="614" y="595"/>
                </a:lnTo>
                <a:lnTo>
                  <a:pt x="609" y="593"/>
                </a:lnTo>
                <a:lnTo>
                  <a:pt x="602" y="587"/>
                </a:lnTo>
                <a:lnTo>
                  <a:pt x="596" y="580"/>
                </a:lnTo>
                <a:lnTo>
                  <a:pt x="591" y="573"/>
                </a:lnTo>
                <a:lnTo>
                  <a:pt x="584" y="568"/>
                </a:lnTo>
                <a:lnTo>
                  <a:pt x="580" y="565"/>
                </a:lnTo>
                <a:lnTo>
                  <a:pt x="576" y="563"/>
                </a:lnTo>
                <a:lnTo>
                  <a:pt x="572" y="562"/>
                </a:lnTo>
                <a:lnTo>
                  <a:pt x="567" y="562"/>
                </a:lnTo>
                <a:lnTo>
                  <a:pt x="567" y="562"/>
                </a:lnTo>
                <a:lnTo>
                  <a:pt x="562" y="562"/>
                </a:lnTo>
                <a:lnTo>
                  <a:pt x="557" y="564"/>
                </a:lnTo>
                <a:lnTo>
                  <a:pt x="550" y="568"/>
                </a:lnTo>
                <a:lnTo>
                  <a:pt x="542" y="571"/>
                </a:lnTo>
                <a:lnTo>
                  <a:pt x="539" y="572"/>
                </a:lnTo>
                <a:lnTo>
                  <a:pt x="533" y="573"/>
                </a:lnTo>
                <a:lnTo>
                  <a:pt x="533" y="573"/>
                </a:lnTo>
                <a:lnTo>
                  <a:pt x="529" y="572"/>
                </a:lnTo>
                <a:lnTo>
                  <a:pt x="522" y="569"/>
                </a:lnTo>
                <a:lnTo>
                  <a:pt x="504" y="560"/>
                </a:lnTo>
                <a:lnTo>
                  <a:pt x="489" y="550"/>
                </a:lnTo>
                <a:lnTo>
                  <a:pt x="485" y="546"/>
                </a:lnTo>
                <a:lnTo>
                  <a:pt x="483" y="544"/>
                </a:lnTo>
                <a:lnTo>
                  <a:pt x="483" y="544"/>
                </a:lnTo>
                <a:lnTo>
                  <a:pt x="484" y="535"/>
                </a:lnTo>
                <a:lnTo>
                  <a:pt x="485" y="530"/>
                </a:lnTo>
                <a:lnTo>
                  <a:pt x="488" y="525"/>
                </a:lnTo>
                <a:lnTo>
                  <a:pt x="492" y="522"/>
                </a:lnTo>
                <a:lnTo>
                  <a:pt x="495" y="518"/>
                </a:lnTo>
                <a:lnTo>
                  <a:pt x="498" y="514"/>
                </a:lnTo>
                <a:lnTo>
                  <a:pt x="500" y="508"/>
                </a:lnTo>
                <a:lnTo>
                  <a:pt x="501" y="500"/>
                </a:lnTo>
                <a:lnTo>
                  <a:pt x="501" y="500"/>
                </a:lnTo>
                <a:lnTo>
                  <a:pt x="500" y="492"/>
                </a:lnTo>
                <a:lnTo>
                  <a:pt x="498" y="486"/>
                </a:lnTo>
                <a:lnTo>
                  <a:pt x="494" y="481"/>
                </a:lnTo>
                <a:lnTo>
                  <a:pt x="489" y="477"/>
                </a:lnTo>
                <a:lnTo>
                  <a:pt x="483" y="469"/>
                </a:lnTo>
                <a:lnTo>
                  <a:pt x="480" y="464"/>
                </a:lnTo>
                <a:lnTo>
                  <a:pt x="479" y="460"/>
                </a:lnTo>
                <a:lnTo>
                  <a:pt x="479" y="460"/>
                </a:lnTo>
                <a:lnTo>
                  <a:pt x="479" y="456"/>
                </a:lnTo>
                <a:lnTo>
                  <a:pt x="480" y="454"/>
                </a:lnTo>
                <a:lnTo>
                  <a:pt x="485" y="449"/>
                </a:lnTo>
                <a:lnTo>
                  <a:pt x="492" y="446"/>
                </a:lnTo>
                <a:lnTo>
                  <a:pt x="499" y="442"/>
                </a:lnTo>
                <a:lnTo>
                  <a:pt x="507" y="439"/>
                </a:lnTo>
                <a:lnTo>
                  <a:pt x="512" y="435"/>
                </a:lnTo>
                <a:lnTo>
                  <a:pt x="515" y="433"/>
                </a:lnTo>
                <a:lnTo>
                  <a:pt x="517" y="430"/>
                </a:lnTo>
                <a:lnTo>
                  <a:pt x="518" y="426"/>
                </a:lnTo>
                <a:lnTo>
                  <a:pt x="519" y="423"/>
                </a:lnTo>
                <a:lnTo>
                  <a:pt x="519" y="423"/>
                </a:lnTo>
                <a:lnTo>
                  <a:pt x="518" y="417"/>
                </a:lnTo>
                <a:lnTo>
                  <a:pt x="516" y="411"/>
                </a:lnTo>
                <a:lnTo>
                  <a:pt x="511" y="404"/>
                </a:lnTo>
                <a:lnTo>
                  <a:pt x="507" y="399"/>
                </a:lnTo>
                <a:lnTo>
                  <a:pt x="502" y="394"/>
                </a:lnTo>
                <a:lnTo>
                  <a:pt x="498" y="389"/>
                </a:lnTo>
                <a:lnTo>
                  <a:pt x="493" y="387"/>
                </a:lnTo>
                <a:lnTo>
                  <a:pt x="489" y="386"/>
                </a:lnTo>
                <a:lnTo>
                  <a:pt x="489" y="386"/>
                </a:lnTo>
                <a:lnTo>
                  <a:pt x="486" y="386"/>
                </a:lnTo>
                <a:lnTo>
                  <a:pt x="483" y="388"/>
                </a:lnTo>
                <a:lnTo>
                  <a:pt x="477" y="393"/>
                </a:lnTo>
                <a:lnTo>
                  <a:pt x="470" y="399"/>
                </a:lnTo>
                <a:lnTo>
                  <a:pt x="465" y="400"/>
                </a:lnTo>
                <a:lnTo>
                  <a:pt x="461" y="401"/>
                </a:lnTo>
                <a:lnTo>
                  <a:pt x="461" y="401"/>
                </a:lnTo>
                <a:lnTo>
                  <a:pt x="457" y="400"/>
                </a:lnTo>
                <a:lnTo>
                  <a:pt x="454" y="397"/>
                </a:lnTo>
                <a:lnTo>
                  <a:pt x="453" y="395"/>
                </a:lnTo>
                <a:lnTo>
                  <a:pt x="451" y="392"/>
                </a:lnTo>
                <a:lnTo>
                  <a:pt x="450" y="381"/>
                </a:lnTo>
                <a:lnTo>
                  <a:pt x="449" y="371"/>
                </a:lnTo>
                <a:lnTo>
                  <a:pt x="449" y="371"/>
                </a:lnTo>
                <a:lnTo>
                  <a:pt x="449" y="338"/>
                </a:lnTo>
                <a:lnTo>
                  <a:pt x="449" y="338"/>
                </a:lnTo>
                <a:lnTo>
                  <a:pt x="449" y="321"/>
                </a:lnTo>
                <a:lnTo>
                  <a:pt x="447" y="306"/>
                </a:lnTo>
                <a:lnTo>
                  <a:pt x="445" y="293"/>
                </a:lnTo>
                <a:lnTo>
                  <a:pt x="440" y="280"/>
                </a:lnTo>
                <a:lnTo>
                  <a:pt x="437" y="268"/>
                </a:lnTo>
                <a:lnTo>
                  <a:pt x="431" y="258"/>
                </a:lnTo>
                <a:lnTo>
                  <a:pt x="420" y="236"/>
                </a:lnTo>
                <a:lnTo>
                  <a:pt x="409" y="214"/>
                </a:lnTo>
                <a:lnTo>
                  <a:pt x="404" y="203"/>
                </a:lnTo>
                <a:lnTo>
                  <a:pt x="400" y="190"/>
                </a:lnTo>
                <a:lnTo>
                  <a:pt x="396" y="178"/>
                </a:lnTo>
                <a:lnTo>
                  <a:pt x="394" y="163"/>
                </a:lnTo>
                <a:lnTo>
                  <a:pt x="392" y="147"/>
                </a:lnTo>
                <a:lnTo>
                  <a:pt x="391" y="128"/>
                </a:lnTo>
                <a:lnTo>
                  <a:pt x="391" y="128"/>
                </a:lnTo>
                <a:lnTo>
                  <a:pt x="389" y="120"/>
                </a:lnTo>
                <a:lnTo>
                  <a:pt x="387" y="110"/>
                </a:lnTo>
                <a:lnTo>
                  <a:pt x="385" y="100"/>
                </a:lnTo>
                <a:lnTo>
                  <a:pt x="384" y="91"/>
                </a:lnTo>
                <a:lnTo>
                  <a:pt x="384" y="91"/>
                </a:lnTo>
                <a:lnTo>
                  <a:pt x="380" y="88"/>
                </a:lnTo>
                <a:lnTo>
                  <a:pt x="377" y="84"/>
                </a:lnTo>
                <a:lnTo>
                  <a:pt x="367" y="76"/>
                </a:lnTo>
                <a:lnTo>
                  <a:pt x="364" y="72"/>
                </a:lnTo>
                <a:lnTo>
                  <a:pt x="361" y="67"/>
                </a:lnTo>
                <a:lnTo>
                  <a:pt x="358" y="61"/>
                </a:lnTo>
                <a:lnTo>
                  <a:pt x="357" y="56"/>
                </a:lnTo>
                <a:lnTo>
                  <a:pt x="357" y="56"/>
                </a:lnTo>
                <a:lnTo>
                  <a:pt x="358" y="50"/>
                </a:lnTo>
                <a:lnTo>
                  <a:pt x="359" y="46"/>
                </a:lnTo>
                <a:lnTo>
                  <a:pt x="365" y="38"/>
                </a:lnTo>
                <a:lnTo>
                  <a:pt x="371" y="31"/>
                </a:lnTo>
                <a:lnTo>
                  <a:pt x="374" y="27"/>
                </a:lnTo>
                <a:lnTo>
                  <a:pt x="377" y="22"/>
                </a:lnTo>
                <a:lnTo>
                  <a:pt x="377" y="22"/>
                </a:lnTo>
                <a:lnTo>
                  <a:pt x="370" y="20"/>
                </a:lnTo>
                <a:lnTo>
                  <a:pt x="364" y="16"/>
                </a:lnTo>
                <a:lnTo>
                  <a:pt x="354" y="10"/>
                </a:lnTo>
                <a:lnTo>
                  <a:pt x="349" y="6"/>
                </a:lnTo>
                <a:lnTo>
                  <a:pt x="344" y="3"/>
                </a:lnTo>
                <a:lnTo>
                  <a:pt x="339" y="0"/>
                </a:lnTo>
                <a:lnTo>
                  <a:pt x="332" y="0"/>
                </a:lnTo>
                <a:lnTo>
                  <a:pt x="332" y="0"/>
                </a:lnTo>
                <a:lnTo>
                  <a:pt x="327" y="0"/>
                </a:lnTo>
                <a:lnTo>
                  <a:pt x="323" y="2"/>
                </a:lnTo>
                <a:lnTo>
                  <a:pt x="319" y="4"/>
                </a:lnTo>
                <a:lnTo>
                  <a:pt x="317" y="6"/>
                </a:lnTo>
                <a:lnTo>
                  <a:pt x="316" y="10"/>
                </a:lnTo>
                <a:lnTo>
                  <a:pt x="313" y="13"/>
                </a:lnTo>
                <a:lnTo>
                  <a:pt x="312" y="22"/>
                </a:lnTo>
                <a:lnTo>
                  <a:pt x="311" y="41"/>
                </a:lnTo>
                <a:lnTo>
                  <a:pt x="309" y="49"/>
                </a:lnTo>
                <a:lnTo>
                  <a:pt x="308" y="52"/>
                </a:lnTo>
                <a:lnTo>
                  <a:pt x="307" y="56"/>
                </a:lnTo>
                <a:lnTo>
                  <a:pt x="307" y="56"/>
                </a:lnTo>
                <a:lnTo>
                  <a:pt x="301" y="63"/>
                </a:lnTo>
                <a:lnTo>
                  <a:pt x="294" y="67"/>
                </a:lnTo>
                <a:lnTo>
                  <a:pt x="287" y="72"/>
                </a:lnTo>
                <a:lnTo>
                  <a:pt x="281" y="75"/>
                </a:lnTo>
                <a:lnTo>
                  <a:pt x="274" y="77"/>
                </a:lnTo>
                <a:lnTo>
                  <a:pt x="269" y="81"/>
                </a:lnTo>
                <a:lnTo>
                  <a:pt x="263" y="86"/>
                </a:lnTo>
                <a:lnTo>
                  <a:pt x="258" y="91"/>
                </a:lnTo>
                <a:lnTo>
                  <a:pt x="258" y="91"/>
                </a:lnTo>
                <a:lnTo>
                  <a:pt x="251" y="100"/>
                </a:lnTo>
                <a:lnTo>
                  <a:pt x="244" y="112"/>
                </a:lnTo>
                <a:lnTo>
                  <a:pt x="237" y="124"/>
                </a:lnTo>
                <a:lnTo>
                  <a:pt x="229" y="135"/>
                </a:lnTo>
                <a:lnTo>
                  <a:pt x="221" y="145"/>
                </a:lnTo>
                <a:lnTo>
                  <a:pt x="217" y="150"/>
                </a:lnTo>
                <a:lnTo>
                  <a:pt x="212" y="153"/>
                </a:lnTo>
                <a:lnTo>
                  <a:pt x="206" y="157"/>
                </a:lnTo>
                <a:lnTo>
                  <a:pt x="199" y="159"/>
                </a:lnTo>
                <a:lnTo>
                  <a:pt x="193" y="161"/>
                </a:lnTo>
                <a:lnTo>
                  <a:pt x="185" y="161"/>
                </a:lnTo>
                <a:lnTo>
                  <a:pt x="185" y="161"/>
                </a:lnTo>
                <a:lnTo>
                  <a:pt x="179" y="163"/>
                </a:lnTo>
                <a:lnTo>
                  <a:pt x="172" y="164"/>
                </a:lnTo>
                <a:lnTo>
                  <a:pt x="165" y="166"/>
                </a:lnTo>
                <a:lnTo>
                  <a:pt x="159" y="170"/>
                </a:lnTo>
                <a:lnTo>
                  <a:pt x="148" y="179"/>
                </a:lnTo>
                <a:lnTo>
                  <a:pt x="137" y="189"/>
                </a:lnTo>
                <a:lnTo>
                  <a:pt x="119" y="211"/>
                </a:lnTo>
                <a:lnTo>
                  <a:pt x="111" y="221"/>
                </a:lnTo>
                <a:lnTo>
                  <a:pt x="104" y="228"/>
                </a:lnTo>
                <a:lnTo>
                  <a:pt x="104" y="228"/>
                </a:lnTo>
                <a:lnTo>
                  <a:pt x="98" y="232"/>
                </a:lnTo>
                <a:lnTo>
                  <a:pt x="91" y="235"/>
                </a:lnTo>
                <a:lnTo>
                  <a:pt x="78" y="239"/>
                </a:lnTo>
                <a:lnTo>
                  <a:pt x="48" y="244"/>
                </a:lnTo>
                <a:lnTo>
                  <a:pt x="34" y="248"/>
                </a:lnTo>
                <a:lnTo>
                  <a:pt x="28" y="250"/>
                </a:lnTo>
                <a:lnTo>
                  <a:pt x="22" y="252"/>
                </a:lnTo>
                <a:lnTo>
                  <a:pt x="18" y="256"/>
                </a:lnTo>
                <a:lnTo>
                  <a:pt x="13" y="260"/>
                </a:lnTo>
                <a:lnTo>
                  <a:pt x="11" y="266"/>
                </a:lnTo>
                <a:lnTo>
                  <a:pt x="8" y="272"/>
                </a:lnTo>
                <a:lnTo>
                  <a:pt x="8" y="272"/>
                </a:lnTo>
                <a:lnTo>
                  <a:pt x="0" y="279"/>
                </a:lnTo>
                <a:lnTo>
                  <a:pt x="0" y="27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8" name="Freeform 63"/>
          <p:cNvSpPr>
            <a:spLocks/>
          </p:cNvSpPr>
          <p:nvPr/>
        </p:nvSpPr>
        <p:spPr bwMode="auto">
          <a:xfrm>
            <a:off x="1458913" y="4119563"/>
            <a:ext cx="509587" cy="384175"/>
          </a:xfrm>
          <a:custGeom>
            <a:avLst/>
            <a:gdLst/>
            <a:ahLst/>
            <a:cxnLst>
              <a:cxn ang="0">
                <a:pos x="278" y="422"/>
              </a:cxn>
              <a:cxn ang="0">
                <a:pos x="302" y="404"/>
              </a:cxn>
              <a:cxn ang="0">
                <a:pos x="333" y="384"/>
              </a:cxn>
              <a:cxn ang="0">
                <a:pos x="340" y="368"/>
              </a:cxn>
              <a:cxn ang="0">
                <a:pos x="347" y="328"/>
              </a:cxn>
              <a:cxn ang="0">
                <a:pos x="361" y="315"/>
              </a:cxn>
              <a:cxn ang="0">
                <a:pos x="386" y="311"/>
              </a:cxn>
              <a:cxn ang="0">
                <a:pos x="371" y="264"/>
              </a:cxn>
              <a:cxn ang="0">
                <a:pos x="374" y="244"/>
              </a:cxn>
              <a:cxn ang="0">
                <a:pos x="394" y="217"/>
              </a:cxn>
              <a:cxn ang="0">
                <a:pos x="445" y="201"/>
              </a:cxn>
              <a:cxn ang="0">
                <a:pos x="463" y="206"/>
              </a:cxn>
              <a:cxn ang="0">
                <a:pos x="488" y="223"/>
              </a:cxn>
              <a:cxn ang="0">
                <a:pos x="489" y="213"/>
              </a:cxn>
              <a:cxn ang="0">
                <a:pos x="517" y="177"/>
              </a:cxn>
              <a:cxn ang="0">
                <a:pos x="547" y="164"/>
              </a:cxn>
              <a:cxn ang="0">
                <a:pos x="564" y="172"/>
              </a:cxn>
              <a:cxn ang="0">
                <a:pos x="580" y="179"/>
              </a:cxn>
              <a:cxn ang="0">
                <a:pos x="604" y="166"/>
              </a:cxn>
              <a:cxn ang="0">
                <a:pos x="624" y="161"/>
              </a:cxn>
              <a:cxn ang="0">
                <a:pos x="610" y="126"/>
              </a:cxn>
              <a:cxn ang="0">
                <a:pos x="562" y="62"/>
              </a:cxn>
              <a:cxn ang="0">
                <a:pos x="515" y="53"/>
              </a:cxn>
              <a:cxn ang="0">
                <a:pos x="501" y="46"/>
              </a:cxn>
              <a:cxn ang="0">
                <a:pos x="489" y="12"/>
              </a:cxn>
              <a:cxn ang="0">
                <a:pos x="476" y="0"/>
              </a:cxn>
              <a:cxn ang="0">
                <a:pos x="462" y="1"/>
              </a:cxn>
              <a:cxn ang="0">
                <a:pos x="433" y="24"/>
              </a:cxn>
              <a:cxn ang="0">
                <a:pos x="404" y="35"/>
              </a:cxn>
              <a:cxn ang="0">
                <a:pos x="355" y="32"/>
              </a:cxn>
              <a:cxn ang="0">
                <a:pos x="301" y="28"/>
              </a:cxn>
              <a:cxn ang="0">
                <a:pos x="295" y="58"/>
              </a:cxn>
              <a:cxn ang="0">
                <a:pos x="267" y="76"/>
              </a:cxn>
              <a:cxn ang="0">
                <a:pos x="248" y="72"/>
              </a:cxn>
              <a:cxn ang="0">
                <a:pos x="233" y="55"/>
              </a:cxn>
              <a:cxn ang="0">
                <a:pos x="219" y="51"/>
              </a:cxn>
              <a:cxn ang="0">
                <a:pos x="194" y="76"/>
              </a:cxn>
              <a:cxn ang="0">
                <a:pos x="179" y="88"/>
              </a:cxn>
              <a:cxn ang="0">
                <a:pos x="164" y="115"/>
              </a:cxn>
              <a:cxn ang="0">
                <a:pos x="133" y="134"/>
              </a:cxn>
              <a:cxn ang="0">
                <a:pos x="53" y="153"/>
              </a:cxn>
              <a:cxn ang="0">
                <a:pos x="11" y="172"/>
              </a:cxn>
              <a:cxn ang="0">
                <a:pos x="0" y="194"/>
              </a:cxn>
              <a:cxn ang="0">
                <a:pos x="2" y="217"/>
              </a:cxn>
              <a:cxn ang="0">
                <a:pos x="16" y="231"/>
              </a:cxn>
              <a:cxn ang="0">
                <a:pos x="29" y="249"/>
              </a:cxn>
              <a:cxn ang="0">
                <a:pos x="19" y="262"/>
              </a:cxn>
              <a:cxn ang="0">
                <a:pos x="20" y="276"/>
              </a:cxn>
              <a:cxn ang="0">
                <a:pos x="42" y="293"/>
              </a:cxn>
              <a:cxn ang="0">
                <a:pos x="76" y="300"/>
              </a:cxn>
              <a:cxn ang="0">
                <a:pos x="96" y="311"/>
              </a:cxn>
              <a:cxn ang="0">
                <a:pos x="109" y="351"/>
              </a:cxn>
              <a:cxn ang="0">
                <a:pos x="111" y="398"/>
              </a:cxn>
              <a:cxn ang="0">
                <a:pos x="128" y="430"/>
              </a:cxn>
              <a:cxn ang="0">
                <a:pos x="150" y="439"/>
              </a:cxn>
              <a:cxn ang="0">
                <a:pos x="183" y="427"/>
              </a:cxn>
              <a:cxn ang="0">
                <a:pos x="234" y="401"/>
              </a:cxn>
              <a:cxn ang="0">
                <a:pos x="248" y="404"/>
              </a:cxn>
              <a:cxn ang="0">
                <a:pos x="275" y="432"/>
              </a:cxn>
            </a:cxnLst>
            <a:rect l="0" t="0" r="r" b="b"/>
            <a:pathLst>
              <a:path w="624" h="439">
                <a:moveTo>
                  <a:pt x="275" y="429"/>
                </a:moveTo>
                <a:lnTo>
                  <a:pt x="275" y="429"/>
                </a:lnTo>
                <a:lnTo>
                  <a:pt x="277" y="425"/>
                </a:lnTo>
                <a:lnTo>
                  <a:pt x="278" y="422"/>
                </a:lnTo>
                <a:lnTo>
                  <a:pt x="280" y="418"/>
                </a:lnTo>
                <a:lnTo>
                  <a:pt x="283" y="415"/>
                </a:lnTo>
                <a:lnTo>
                  <a:pt x="293" y="409"/>
                </a:lnTo>
                <a:lnTo>
                  <a:pt x="302" y="404"/>
                </a:lnTo>
                <a:lnTo>
                  <a:pt x="312" y="399"/>
                </a:lnTo>
                <a:lnTo>
                  <a:pt x="323" y="393"/>
                </a:lnTo>
                <a:lnTo>
                  <a:pt x="329" y="387"/>
                </a:lnTo>
                <a:lnTo>
                  <a:pt x="333" y="384"/>
                </a:lnTo>
                <a:lnTo>
                  <a:pt x="334" y="381"/>
                </a:lnTo>
                <a:lnTo>
                  <a:pt x="334" y="381"/>
                </a:lnTo>
                <a:lnTo>
                  <a:pt x="338" y="374"/>
                </a:lnTo>
                <a:lnTo>
                  <a:pt x="340" y="368"/>
                </a:lnTo>
                <a:lnTo>
                  <a:pt x="342" y="355"/>
                </a:lnTo>
                <a:lnTo>
                  <a:pt x="343" y="343"/>
                </a:lnTo>
                <a:lnTo>
                  <a:pt x="344" y="332"/>
                </a:lnTo>
                <a:lnTo>
                  <a:pt x="347" y="328"/>
                </a:lnTo>
                <a:lnTo>
                  <a:pt x="348" y="324"/>
                </a:lnTo>
                <a:lnTo>
                  <a:pt x="351" y="321"/>
                </a:lnTo>
                <a:lnTo>
                  <a:pt x="355" y="317"/>
                </a:lnTo>
                <a:lnTo>
                  <a:pt x="361" y="315"/>
                </a:lnTo>
                <a:lnTo>
                  <a:pt x="367" y="313"/>
                </a:lnTo>
                <a:lnTo>
                  <a:pt x="375" y="311"/>
                </a:lnTo>
                <a:lnTo>
                  <a:pt x="386" y="311"/>
                </a:lnTo>
                <a:lnTo>
                  <a:pt x="386" y="311"/>
                </a:lnTo>
                <a:lnTo>
                  <a:pt x="384" y="303"/>
                </a:lnTo>
                <a:lnTo>
                  <a:pt x="378" y="287"/>
                </a:lnTo>
                <a:lnTo>
                  <a:pt x="373" y="272"/>
                </a:lnTo>
                <a:lnTo>
                  <a:pt x="371" y="264"/>
                </a:lnTo>
                <a:lnTo>
                  <a:pt x="371" y="264"/>
                </a:lnTo>
                <a:lnTo>
                  <a:pt x="371" y="256"/>
                </a:lnTo>
                <a:lnTo>
                  <a:pt x="372" y="249"/>
                </a:lnTo>
                <a:lnTo>
                  <a:pt x="374" y="244"/>
                </a:lnTo>
                <a:lnTo>
                  <a:pt x="378" y="237"/>
                </a:lnTo>
                <a:lnTo>
                  <a:pt x="380" y="231"/>
                </a:lnTo>
                <a:lnTo>
                  <a:pt x="385" y="226"/>
                </a:lnTo>
                <a:lnTo>
                  <a:pt x="394" y="217"/>
                </a:lnTo>
                <a:lnTo>
                  <a:pt x="405" y="210"/>
                </a:lnTo>
                <a:lnTo>
                  <a:pt x="418" y="206"/>
                </a:lnTo>
                <a:lnTo>
                  <a:pt x="431" y="202"/>
                </a:lnTo>
                <a:lnTo>
                  <a:pt x="445" y="201"/>
                </a:lnTo>
                <a:lnTo>
                  <a:pt x="445" y="201"/>
                </a:lnTo>
                <a:lnTo>
                  <a:pt x="451" y="202"/>
                </a:lnTo>
                <a:lnTo>
                  <a:pt x="457" y="203"/>
                </a:lnTo>
                <a:lnTo>
                  <a:pt x="463" y="206"/>
                </a:lnTo>
                <a:lnTo>
                  <a:pt x="468" y="209"/>
                </a:lnTo>
                <a:lnTo>
                  <a:pt x="478" y="217"/>
                </a:lnTo>
                <a:lnTo>
                  <a:pt x="488" y="223"/>
                </a:lnTo>
                <a:lnTo>
                  <a:pt x="488" y="223"/>
                </a:lnTo>
                <a:lnTo>
                  <a:pt x="488" y="219"/>
                </a:lnTo>
                <a:lnTo>
                  <a:pt x="488" y="219"/>
                </a:lnTo>
                <a:lnTo>
                  <a:pt x="488" y="219"/>
                </a:lnTo>
                <a:lnTo>
                  <a:pt x="489" y="213"/>
                </a:lnTo>
                <a:lnTo>
                  <a:pt x="494" y="203"/>
                </a:lnTo>
                <a:lnTo>
                  <a:pt x="500" y="194"/>
                </a:lnTo>
                <a:lnTo>
                  <a:pt x="508" y="185"/>
                </a:lnTo>
                <a:lnTo>
                  <a:pt x="517" y="177"/>
                </a:lnTo>
                <a:lnTo>
                  <a:pt x="527" y="171"/>
                </a:lnTo>
                <a:lnTo>
                  <a:pt x="538" y="166"/>
                </a:lnTo>
                <a:lnTo>
                  <a:pt x="542" y="165"/>
                </a:lnTo>
                <a:lnTo>
                  <a:pt x="547" y="164"/>
                </a:lnTo>
                <a:lnTo>
                  <a:pt x="547" y="164"/>
                </a:lnTo>
                <a:lnTo>
                  <a:pt x="553" y="165"/>
                </a:lnTo>
                <a:lnTo>
                  <a:pt x="556" y="166"/>
                </a:lnTo>
                <a:lnTo>
                  <a:pt x="564" y="172"/>
                </a:lnTo>
                <a:lnTo>
                  <a:pt x="571" y="177"/>
                </a:lnTo>
                <a:lnTo>
                  <a:pt x="576" y="179"/>
                </a:lnTo>
                <a:lnTo>
                  <a:pt x="580" y="179"/>
                </a:lnTo>
                <a:lnTo>
                  <a:pt x="580" y="179"/>
                </a:lnTo>
                <a:lnTo>
                  <a:pt x="585" y="178"/>
                </a:lnTo>
                <a:lnTo>
                  <a:pt x="591" y="177"/>
                </a:lnTo>
                <a:lnTo>
                  <a:pt x="600" y="170"/>
                </a:lnTo>
                <a:lnTo>
                  <a:pt x="604" y="166"/>
                </a:lnTo>
                <a:lnTo>
                  <a:pt x="610" y="164"/>
                </a:lnTo>
                <a:lnTo>
                  <a:pt x="617" y="162"/>
                </a:lnTo>
                <a:lnTo>
                  <a:pt x="624" y="161"/>
                </a:lnTo>
                <a:lnTo>
                  <a:pt x="624" y="161"/>
                </a:lnTo>
                <a:lnTo>
                  <a:pt x="624" y="142"/>
                </a:lnTo>
                <a:lnTo>
                  <a:pt x="624" y="142"/>
                </a:lnTo>
                <a:lnTo>
                  <a:pt x="624" y="142"/>
                </a:lnTo>
                <a:lnTo>
                  <a:pt x="610" y="126"/>
                </a:lnTo>
                <a:lnTo>
                  <a:pt x="588" y="101"/>
                </a:lnTo>
                <a:lnTo>
                  <a:pt x="570" y="76"/>
                </a:lnTo>
                <a:lnTo>
                  <a:pt x="564" y="66"/>
                </a:lnTo>
                <a:lnTo>
                  <a:pt x="562" y="62"/>
                </a:lnTo>
                <a:lnTo>
                  <a:pt x="562" y="62"/>
                </a:lnTo>
                <a:lnTo>
                  <a:pt x="548" y="61"/>
                </a:lnTo>
                <a:lnTo>
                  <a:pt x="531" y="57"/>
                </a:lnTo>
                <a:lnTo>
                  <a:pt x="515" y="53"/>
                </a:lnTo>
                <a:lnTo>
                  <a:pt x="508" y="49"/>
                </a:lnTo>
                <a:lnTo>
                  <a:pt x="503" y="47"/>
                </a:lnTo>
                <a:lnTo>
                  <a:pt x="503" y="47"/>
                </a:lnTo>
                <a:lnTo>
                  <a:pt x="501" y="46"/>
                </a:lnTo>
                <a:lnTo>
                  <a:pt x="499" y="42"/>
                </a:lnTo>
                <a:lnTo>
                  <a:pt x="496" y="36"/>
                </a:lnTo>
                <a:lnTo>
                  <a:pt x="492" y="20"/>
                </a:lnTo>
                <a:lnTo>
                  <a:pt x="489" y="12"/>
                </a:lnTo>
                <a:lnTo>
                  <a:pt x="486" y="5"/>
                </a:lnTo>
                <a:lnTo>
                  <a:pt x="483" y="3"/>
                </a:lnTo>
                <a:lnTo>
                  <a:pt x="479" y="1"/>
                </a:lnTo>
                <a:lnTo>
                  <a:pt x="476" y="0"/>
                </a:lnTo>
                <a:lnTo>
                  <a:pt x="470" y="0"/>
                </a:lnTo>
                <a:lnTo>
                  <a:pt x="470" y="0"/>
                </a:lnTo>
                <a:lnTo>
                  <a:pt x="466" y="0"/>
                </a:lnTo>
                <a:lnTo>
                  <a:pt x="462" y="1"/>
                </a:lnTo>
                <a:lnTo>
                  <a:pt x="455" y="5"/>
                </a:lnTo>
                <a:lnTo>
                  <a:pt x="448" y="11"/>
                </a:lnTo>
                <a:lnTo>
                  <a:pt x="441" y="18"/>
                </a:lnTo>
                <a:lnTo>
                  <a:pt x="433" y="24"/>
                </a:lnTo>
                <a:lnTo>
                  <a:pt x="425" y="30"/>
                </a:lnTo>
                <a:lnTo>
                  <a:pt x="415" y="34"/>
                </a:lnTo>
                <a:lnTo>
                  <a:pt x="410" y="35"/>
                </a:lnTo>
                <a:lnTo>
                  <a:pt x="404" y="35"/>
                </a:lnTo>
                <a:lnTo>
                  <a:pt x="404" y="35"/>
                </a:lnTo>
                <a:lnTo>
                  <a:pt x="388" y="35"/>
                </a:lnTo>
                <a:lnTo>
                  <a:pt x="371" y="33"/>
                </a:lnTo>
                <a:lnTo>
                  <a:pt x="355" y="32"/>
                </a:lnTo>
                <a:lnTo>
                  <a:pt x="341" y="28"/>
                </a:lnTo>
                <a:lnTo>
                  <a:pt x="341" y="28"/>
                </a:lnTo>
                <a:lnTo>
                  <a:pt x="301" y="28"/>
                </a:lnTo>
                <a:lnTo>
                  <a:pt x="301" y="28"/>
                </a:lnTo>
                <a:lnTo>
                  <a:pt x="301" y="28"/>
                </a:lnTo>
                <a:lnTo>
                  <a:pt x="301" y="40"/>
                </a:lnTo>
                <a:lnTo>
                  <a:pt x="298" y="50"/>
                </a:lnTo>
                <a:lnTo>
                  <a:pt x="295" y="58"/>
                </a:lnTo>
                <a:lnTo>
                  <a:pt x="290" y="65"/>
                </a:lnTo>
                <a:lnTo>
                  <a:pt x="283" y="70"/>
                </a:lnTo>
                <a:lnTo>
                  <a:pt x="277" y="73"/>
                </a:lnTo>
                <a:lnTo>
                  <a:pt x="267" y="76"/>
                </a:lnTo>
                <a:lnTo>
                  <a:pt x="257" y="77"/>
                </a:lnTo>
                <a:lnTo>
                  <a:pt x="257" y="77"/>
                </a:lnTo>
                <a:lnTo>
                  <a:pt x="251" y="76"/>
                </a:lnTo>
                <a:lnTo>
                  <a:pt x="248" y="72"/>
                </a:lnTo>
                <a:lnTo>
                  <a:pt x="244" y="69"/>
                </a:lnTo>
                <a:lnTo>
                  <a:pt x="241" y="63"/>
                </a:lnTo>
                <a:lnTo>
                  <a:pt x="237" y="58"/>
                </a:lnTo>
                <a:lnTo>
                  <a:pt x="233" y="55"/>
                </a:lnTo>
                <a:lnTo>
                  <a:pt x="229" y="51"/>
                </a:lnTo>
                <a:lnTo>
                  <a:pt x="224" y="50"/>
                </a:lnTo>
                <a:lnTo>
                  <a:pt x="224" y="50"/>
                </a:lnTo>
                <a:lnTo>
                  <a:pt x="219" y="51"/>
                </a:lnTo>
                <a:lnTo>
                  <a:pt x="214" y="55"/>
                </a:lnTo>
                <a:lnTo>
                  <a:pt x="205" y="65"/>
                </a:lnTo>
                <a:lnTo>
                  <a:pt x="199" y="71"/>
                </a:lnTo>
                <a:lnTo>
                  <a:pt x="194" y="76"/>
                </a:lnTo>
                <a:lnTo>
                  <a:pt x="188" y="79"/>
                </a:lnTo>
                <a:lnTo>
                  <a:pt x="180" y="80"/>
                </a:lnTo>
                <a:lnTo>
                  <a:pt x="180" y="80"/>
                </a:lnTo>
                <a:lnTo>
                  <a:pt x="179" y="88"/>
                </a:lnTo>
                <a:lnTo>
                  <a:pt x="176" y="96"/>
                </a:lnTo>
                <a:lnTo>
                  <a:pt x="173" y="103"/>
                </a:lnTo>
                <a:lnTo>
                  <a:pt x="168" y="109"/>
                </a:lnTo>
                <a:lnTo>
                  <a:pt x="164" y="115"/>
                </a:lnTo>
                <a:lnTo>
                  <a:pt x="159" y="119"/>
                </a:lnTo>
                <a:lnTo>
                  <a:pt x="153" y="124"/>
                </a:lnTo>
                <a:lnTo>
                  <a:pt x="147" y="127"/>
                </a:lnTo>
                <a:lnTo>
                  <a:pt x="133" y="134"/>
                </a:lnTo>
                <a:lnTo>
                  <a:pt x="118" y="139"/>
                </a:lnTo>
                <a:lnTo>
                  <a:pt x="102" y="143"/>
                </a:lnTo>
                <a:lnTo>
                  <a:pt x="86" y="146"/>
                </a:lnTo>
                <a:lnTo>
                  <a:pt x="53" y="153"/>
                </a:lnTo>
                <a:lnTo>
                  <a:pt x="39" y="156"/>
                </a:lnTo>
                <a:lnTo>
                  <a:pt x="27" y="162"/>
                </a:lnTo>
                <a:lnTo>
                  <a:pt x="15" y="168"/>
                </a:lnTo>
                <a:lnTo>
                  <a:pt x="11" y="172"/>
                </a:lnTo>
                <a:lnTo>
                  <a:pt x="7" y="177"/>
                </a:lnTo>
                <a:lnTo>
                  <a:pt x="4" y="181"/>
                </a:lnTo>
                <a:lnTo>
                  <a:pt x="2" y="187"/>
                </a:lnTo>
                <a:lnTo>
                  <a:pt x="0" y="194"/>
                </a:lnTo>
                <a:lnTo>
                  <a:pt x="0" y="201"/>
                </a:lnTo>
                <a:lnTo>
                  <a:pt x="0" y="201"/>
                </a:lnTo>
                <a:lnTo>
                  <a:pt x="0" y="210"/>
                </a:lnTo>
                <a:lnTo>
                  <a:pt x="2" y="217"/>
                </a:lnTo>
                <a:lnTo>
                  <a:pt x="4" y="222"/>
                </a:lnTo>
                <a:lnTo>
                  <a:pt x="7" y="226"/>
                </a:lnTo>
                <a:lnTo>
                  <a:pt x="12" y="229"/>
                </a:lnTo>
                <a:lnTo>
                  <a:pt x="16" y="231"/>
                </a:lnTo>
                <a:lnTo>
                  <a:pt x="29" y="234"/>
                </a:lnTo>
                <a:lnTo>
                  <a:pt x="29" y="234"/>
                </a:lnTo>
                <a:lnTo>
                  <a:pt x="29" y="249"/>
                </a:lnTo>
                <a:lnTo>
                  <a:pt x="29" y="249"/>
                </a:lnTo>
                <a:lnTo>
                  <a:pt x="29" y="249"/>
                </a:lnTo>
                <a:lnTo>
                  <a:pt x="26" y="254"/>
                </a:lnTo>
                <a:lnTo>
                  <a:pt x="22" y="259"/>
                </a:lnTo>
                <a:lnTo>
                  <a:pt x="19" y="262"/>
                </a:lnTo>
                <a:lnTo>
                  <a:pt x="18" y="268"/>
                </a:lnTo>
                <a:lnTo>
                  <a:pt x="18" y="268"/>
                </a:lnTo>
                <a:lnTo>
                  <a:pt x="19" y="272"/>
                </a:lnTo>
                <a:lnTo>
                  <a:pt x="20" y="276"/>
                </a:lnTo>
                <a:lnTo>
                  <a:pt x="22" y="280"/>
                </a:lnTo>
                <a:lnTo>
                  <a:pt x="26" y="284"/>
                </a:lnTo>
                <a:lnTo>
                  <a:pt x="33" y="290"/>
                </a:lnTo>
                <a:lnTo>
                  <a:pt x="42" y="293"/>
                </a:lnTo>
                <a:lnTo>
                  <a:pt x="52" y="297"/>
                </a:lnTo>
                <a:lnTo>
                  <a:pt x="61" y="299"/>
                </a:lnTo>
                <a:lnTo>
                  <a:pt x="76" y="300"/>
                </a:lnTo>
                <a:lnTo>
                  <a:pt x="76" y="300"/>
                </a:lnTo>
                <a:lnTo>
                  <a:pt x="83" y="301"/>
                </a:lnTo>
                <a:lnTo>
                  <a:pt x="88" y="303"/>
                </a:lnTo>
                <a:lnTo>
                  <a:pt x="92" y="307"/>
                </a:lnTo>
                <a:lnTo>
                  <a:pt x="96" y="311"/>
                </a:lnTo>
                <a:lnTo>
                  <a:pt x="99" y="316"/>
                </a:lnTo>
                <a:lnTo>
                  <a:pt x="102" y="322"/>
                </a:lnTo>
                <a:lnTo>
                  <a:pt x="105" y="336"/>
                </a:lnTo>
                <a:lnTo>
                  <a:pt x="109" y="351"/>
                </a:lnTo>
                <a:lnTo>
                  <a:pt x="110" y="366"/>
                </a:lnTo>
                <a:lnTo>
                  <a:pt x="110" y="389"/>
                </a:lnTo>
                <a:lnTo>
                  <a:pt x="110" y="389"/>
                </a:lnTo>
                <a:lnTo>
                  <a:pt x="111" y="398"/>
                </a:lnTo>
                <a:lnTo>
                  <a:pt x="113" y="407"/>
                </a:lnTo>
                <a:lnTo>
                  <a:pt x="117" y="416"/>
                </a:lnTo>
                <a:lnTo>
                  <a:pt x="122" y="424"/>
                </a:lnTo>
                <a:lnTo>
                  <a:pt x="128" y="430"/>
                </a:lnTo>
                <a:lnTo>
                  <a:pt x="135" y="436"/>
                </a:lnTo>
                <a:lnTo>
                  <a:pt x="142" y="438"/>
                </a:lnTo>
                <a:lnTo>
                  <a:pt x="150" y="439"/>
                </a:lnTo>
                <a:lnTo>
                  <a:pt x="150" y="439"/>
                </a:lnTo>
                <a:lnTo>
                  <a:pt x="156" y="439"/>
                </a:lnTo>
                <a:lnTo>
                  <a:pt x="160" y="438"/>
                </a:lnTo>
                <a:lnTo>
                  <a:pt x="172" y="433"/>
                </a:lnTo>
                <a:lnTo>
                  <a:pt x="183" y="427"/>
                </a:lnTo>
                <a:lnTo>
                  <a:pt x="196" y="420"/>
                </a:lnTo>
                <a:lnTo>
                  <a:pt x="207" y="413"/>
                </a:lnTo>
                <a:lnTo>
                  <a:pt x="221" y="406"/>
                </a:lnTo>
                <a:lnTo>
                  <a:pt x="234" y="401"/>
                </a:lnTo>
                <a:lnTo>
                  <a:pt x="240" y="400"/>
                </a:lnTo>
                <a:lnTo>
                  <a:pt x="247" y="400"/>
                </a:lnTo>
                <a:lnTo>
                  <a:pt x="247" y="400"/>
                </a:lnTo>
                <a:lnTo>
                  <a:pt x="248" y="404"/>
                </a:lnTo>
                <a:lnTo>
                  <a:pt x="251" y="408"/>
                </a:lnTo>
                <a:lnTo>
                  <a:pt x="260" y="418"/>
                </a:lnTo>
                <a:lnTo>
                  <a:pt x="275" y="432"/>
                </a:lnTo>
                <a:lnTo>
                  <a:pt x="275" y="432"/>
                </a:lnTo>
                <a:lnTo>
                  <a:pt x="275" y="429"/>
                </a:lnTo>
                <a:lnTo>
                  <a:pt x="275" y="42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69" name="Freeform 64"/>
          <p:cNvSpPr>
            <a:spLocks/>
          </p:cNvSpPr>
          <p:nvPr/>
        </p:nvSpPr>
        <p:spPr bwMode="auto">
          <a:xfrm>
            <a:off x="1557338" y="3863975"/>
            <a:ext cx="515937" cy="309563"/>
          </a:xfrm>
          <a:custGeom>
            <a:avLst/>
            <a:gdLst/>
            <a:ahLst/>
            <a:cxnLst>
              <a:cxn ang="0">
                <a:pos x="599" y="167"/>
              </a:cxn>
              <a:cxn ang="0">
                <a:pos x="556" y="195"/>
              </a:cxn>
              <a:cxn ang="0">
                <a:pos x="527" y="200"/>
              </a:cxn>
              <a:cxn ang="0">
                <a:pos x="492" y="195"/>
              </a:cxn>
              <a:cxn ang="0">
                <a:pos x="439" y="162"/>
              </a:cxn>
              <a:cxn ang="0">
                <a:pos x="426" y="144"/>
              </a:cxn>
              <a:cxn ang="0">
                <a:pos x="351" y="86"/>
              </a:cxn>
              <a:cxn ang="0">
                <a:pos x="309" y="45"/>
              </a:cxn>
              <a:cxn ang="0">
                <a:pos x="299" y="17"/>
              </a:cxn>
              <a:cxn ang="0">
                <a:pos x="290" y="0"/>
              </a:cxn>
              <a:cxn ang="0">
                <a:pos x="276" y="22"/>
              </a:cxn>
              <a:cxn ang="0">
                <a:pos x="265" y="30"/>
              </a:cxn>
              <a:cxn ang="0">
                <a:pos x="227" y="14"/>
              </a:cxn>
              <a:cxn ang="0">
                <a:pos x="205" y="13"/>
              </a:cxn>
              <a:cxn ang="0">
                <a:pos x="180" y="27"/>
              </a:cxn>
              <a:cxn ang="0">
                <a:pos x="154" y="33"/>
              </a:cxn>
              <a:cxn ang="0">
                <a:pos x="121" y="76"/>
              </a:cxn>
              <a:cxn ang="0">
                <a:pos x="62" y="92"/>
              </a:cxn>
              <a:cxn ang="0">
                <a:pos x="55" y="114"/>
              </a:cxn>
              <a:cxn ang="0">
                <a:pos x="30" y="129"/>
              </a:cxn>
              <a:cxn ang="0">
                <a:pos x="6" y="139"/>
              </a:cxn>
              <a:cxn ang="0">
                <a:pos x="0" y="154"/>
              </a:cxn>
              <a:cxn ang="0">
                <a:pos x="17" y="173"/>
              </a:cxn>
              <a:cxn ang="0">
                <a:pos x="61" y="190"/>
              </a:cxn>
              <a:cxn ang="0">
                <a:pos x="85" y="189"/>
              </a:cxn>
              <a:cxn ang="0">
                <a:pos x="111" y="162"/>
              </a:cxn>
              <a:cxn ang="0">
                <a:pos x="121" y="199"/>
              </a:cxn>
              <a:cxn ang="0">
                <a:pos x="131" y="215"/>
              </a:cxn>
              <a:cxn ang="0">
                <a:pos x="169" y="237"/>
              </a:cxn>
              <a:cxn ang="0">
                <a:pos x="175" y="253"/>
              </a:cxn>
              <a:cxn ang="0">
                <a:pos x="161" y="250"/>
              </a:cxn>
              <a:cxn ang="0">
                <a:pos x="167" y="277"/>
              </a:cxn>
              <a:cxn ang="0">
                <a:pos x="195" y="289"/>
              </a:cxn>
              <a:cxn ang="0">
                <a:pos x="225" y="299"/>
              </a:cxn>
              <a:cxn ang="0">
                <a:pos x="235" y="323"/>
              </a:cxn>
              <a:cxn ang="0">
                <a:pos x="283" y="330"/>
              </a:cxn>
              <a:cxn ang="0">
                <a:pos x="304" y="325"/>
              </a:cxn>
              <a:cxn ang="0">
                <a:pos x="334" y="300"/>
              </a:cxn>
              <a:cxn ang="0">
                <a:pos x="349" y="295"/>
              </a:cxn>
              <a:cxn ang="0">
                <a:pos x="365" y="300"/>
              </a:cxn>
              <a:cxn ang="0">
                <a:pos x="378" y="337"/>
              </a:cxn>
              <a:cxn ang="0">
                <a:pos x="387" y="344"/>
              </a:cxn>
              <a:cxn ang="0">
                <a:pos x="441" y="357"/>
              </a:cxn>
              <a:cxn ang="0">
                <a:pos x="459" y="342"/>
              </a:cxn>
              <a:cxn ang="0">
                <a:pos x="471" y="326"/>
              </a:cxn>
              <a:cxn ang="0">
                <a:pos x="485" y="313"/>
              </a:cxn>
              <a:cxn ang="0">
                <a:pos x="531" y="315"/>
              </a:cxn>
              <a:cxn ang="0">
                <a:pos x="577" y="314"/>
              </a:cxn>
              <a:cxn ang="0">
                <a:pos x="599" y="298"/>
              </a:cxn>
              <a:cxn ang="0">
                <a:pos x="603" y="246"/>
              </a:cxn>
              <a:cxn ang="0">
                <a:pos x="628" y="152"/>
              </a:cxn>
              <a:cxn ang="0">
                <a:pos x="628" y="136"/>
              </a:cxn>
            </a:cxnLst>
            <a:rect l="0" t="0" r="r" b="b"/>
            <a:pathLst>
              <a:path w="632" h="357">
                <a:moveTo>
                  <a:pt x="628" y="136"/>
                </a:moveTo>
                <a:lnTo>
                  <a:pt x="628" y="136"/>
                </a:lnTo>
                <a:lnTo>
                  <a:pt x="609" y="158"/>
                </a:lnTo>
                <a:lnTo>
                  <a:pt x="599" y="167"/>
                </a:lnTo>
                <a:lnTo>
                  <a:pt x="589" y="176"/>
                </a:lnTo>
                <a:lnTo>
                  <a:pt x="578" y="183"/>
                </a:lnTo>
                <a:lnTo>
                  <a:pt x="567" y="190"/>
                </a:lnTo>
                <a:lnTo>
                  <a:pt x="556" y="195"/>
                </a:lnTo>
                <a:lnTo>
                  <a:pt x="543" y="198"/>
                </a:lnTo>
                <a:lnTo>
                  <a:pt x="543" y="198"/>
                </a:lnTo>
                <a:lnTo>
                  <a:pt x="535" y="200"/>
                </a:lnTo>
                <a:lnTo>
                  <a:pt x="527" y="200"/>
                </a:lnTo>
                <a:lnTo>
                  <a:pt x="518" y="200"/>
                </a:lnTo>
                <a:lnTo>
                  <a:pt x="509" y="199"/>
                </a:lnTo>
                <a:lnTo>
                  <a:pt x="500" y="197"/>
                </a:lnTo>
                <a:lnTo>
                  <a:pt x="492" y="195"/>
                </a:lnTo>
                <a:lnTo>
                  <a:pt x="474" y="188"/>
                </a:lnTo>
                <a:lnTo>
                  <a:pt x="458" y="178"/>
                </a:lnTo>
                <a:lnTo>
                  <a:pt x="444" y="168"/>
                </a:lnTo>
                <a:lnTo>
                  <a:pt x="439" y="162"/>
                </a:lnTo>
                <a:lnTo>
                  <a:pt x="434" y="157"/>
                </a:lnTo>
                <a:lnTo>
                  <a:pt x="429" y="150"/>
                </a:lnTo>
                <a:lnTo>
                  <a:pt x="426" y="144"/>
                </a:lnTo>
                <a:lnTo>
                  <a:pt x="426" y="144"/>
                </a:lnTo>
                <a:lnTo>
                  <a:pt x="411" y="130"/>
                </a:lnTo>
                <a:lnTo>
                  <a:pt x="396" y="117"/>
                </a:lnTo>
                <a:lnTo>
                  <a:pt x="366" y="97"/>
                </a:lnTo>
                <a:lnTo>
                  <a:pt x="351" y="86"/>
                </a:lnTo>
                <a:lnTo>
                  <a:pt x="336" y="75"/>
                </a:lnTo>
                <a:lnTo>
                  <a:pt x="322" y="61"/>
                </a:lnTo>
                <a:lnTo>
                  <a:pt x="309" y="45"/>
                </a:lnTo>
                <a:lnTo>
                  <a:pt x="309" y="45"/>
                </a:lnTo>
                <a:lnTo>
                  <a:pt x="305" y="39"/>
                </a:lnTo>
                <a:lnTo>
                  <a:pt x="303" y="33"/>
                </a:lnTo>
                <a:lnTo>
                  <a:pt x="301" y="22"/>
                </a:lnTo>
                <a:lnTo>
                  <a:pt x="299" y="17"/>
                </a:lnTo>
                <a:lnTo>
                  <a:pt x="298" y="12"/>
                </a:lnTo>
                <a:lnTo>
                  <a:pt x="295" y="6"/>
                </a:lnTo>
                <a:lnTo>
                  <a:pt x="290" y="0"/>
                </a:lnTo>
                <a:lnTo>
                  <a:pt x="290" y="0"/>
                </a:lnTo>
                <a:lnTo>
                  <a:pt x="287" y="4"/>
                </a:lnTo>
                <a:lnTo>
                  <a:pt x="283" y="8"/>
                </a:lnTo>
                <a:lnTo>
                  <a:pt x="279" y="17"/>
                </a:lnTo>
                <a:lnTo>
                  <a:pt x="276" y="22"/>
                </a:lnTo>
                <a:lnTo>
                  <a:pt x="273" y="27"/>
                </a:lnTo>
                <a:lnTo>
                  <a:pt x="269" y="29"/>
                </a:lnTo>
                <a:lnTo>
                  <a:pt x="265" y="30"/>
                </a:lnTo>
                <a:lnTo>
                  <a:pt x="265" y="30"/>
                </a:lnTo>
                <a:lnTo>
                  <a:pt x="258" y="29"/>
                </a:lnTo>
                <a:lnTo>
                  <a:pt x="251" y="27"/>
                </a:lnTo>
                <a:lnTo>
                  <a:pt x="240" y="21"/>
                </a:lnTo>
                <a:lnTo>
                  <a:pt x="227" y="14"/>
                </a:lnTo>
                <a:lnTo>
                  <a:pt x="220" y="13"/>
                </a:lnTo>
                <a:lnTo>
                  <a:pt x="213" y="12"/>
                </a:lnTo>
                <a:lnTo>
                  <a:pt x="213" y="12"/>
                </a:lnTo>
                <a:lnTo>
                  <a:pt x="205" y="13"/>
                </a:lnTo>
                <a:lnTo>
                  <a:pt x="197" y="15"/>
                </a:lnTo>
                <a:lnTo>
                  <a:pt x="191" y="18"/>
                </a:lnTo>
                <a:lnTo>
                  <a:pt x="185" y="22"/>
                </a:lnTo>
                <a:lnTo>
                  <a:pt x="180" y="27"/>
                </a:lnTo>
                <a:lnTo>
                  <a:pt x="173" y="30"/>
                </a:lnTo>
                <a:lnTo>
                  <a:pt x="165" y="32"/>
                </a:lnTo>
                <a:lnTo>
                  <a:pt x="154" y="33"/>
                </a:lnTo>
                <a:lnTo>
                  <a:pt x="154" y="33"/>
                </a:lnTo>
                <a:lnTo>
                  <a:pt x="150" y="46"/>
                </a:lnTo>
                <a:lnTo>
                  <a:pt x="142" y="58"/>
                </a:lnTo>
                <a:lnTo>
                  <a:pt x="133" y="68"/>
                </a:lnTo>
                <a:lnTo>
                  <a:pt x="121" y="76"/>
                </a:lnTo>
                <a:lnTo>
                  <a:pt x="108" y="83"/>
                </a:lnTo>
                <a:lnTo>
                  <a:pt x="93" y="89"/>
                </a:lnTo>
                <a:lnTo>
                  <a:pt x="78" y="91"/>
                </a:lnTo>
                <a:lnTo>
                  <a:pt x="62" y="92"/>
                </a:lnTo>
                <a:lnTo>
                  <a:pt x="62" y="92"/>
                </a:lnTo>
                <a:lnTo>
                  <a:pt x="61" y="101"/>
                </a:lnTo>
                <a:lnTo>
                  <a:pt x="59" y="108"/>
                </a:lnTo>
                <a:lnTo>
                  <a:pt x="55" y="114"/>
                </a:lnTo>
                <a:lnTo>
                  <a:pt x="51" y="119"/>
                </a:lnTo>
                <a:lnTo>
                  <a:pt x="46" y="122"/>
                </a:lnTo>
                <a:lnTo>
                  <a:pt x="40" y="125"/>
                </a:lnTo>
                <a:lnTo>
                  <a:pt x="30" y="129"/>
                </a:lnTo>
                <a:lnTo>
                  <a:pt x="19" y="132"/>
                </a:lnTo>
                <a:lnTo>
                  <a:pt x="14" y="135"/>
                </a:lnTo>
                <a:lnTo>
                  <a:pt x="9" y="137"/>
                </a:lnTo>
                <a:lnTo>
                  <a:pt x="6" y="139"/>
                </a:lnTo>
                <a:lnTo>
                  <a:pt x="2" y="144"/>
                </a:lnTo>
                <a:lnTo>
                  <a:pt x="0" y="148"/>
                </a:lnTo>
                <a:lnTo>
                  <a:pt x="0" y="154"/>
                </a:lnTo>
                <a:lnTo>
                  <a:pt x="0" y="154"/>
                </a:lnTo>
                <a:lnTo>
                  <a:pt x="0" y="158"/>
                </a:lnTo>
                <a:lnTo>
                  <a:pt x="2" y="160"/>
                </a:lnTo>
                <a:lnTo>
                  <a:pt x="8" y="167"/>
                </a:lnTo>
                <a:lnTo>
                  <a:pt x="17" y="173"/>
                </a:lnTo>
                <a:lnTo>
                  <a:pt x="28" y="178"/>
                </a:lnTo>
                <a:lnTo>
                  <a:pt x="39" y="184"/>
                </a:lnTo>
                <a:lnTo>
                  <a:pt x="51" y="188"/>
                </a:lnTo>
                <a:lnTo>
                  <a:pt x="61" y="190"/>
                </a:lnTo>
                <a:lnTo>
                  <a:pt x="70" y="191"/>
                </a:lnTo>
                <a:lnTo>
                  <a:pt x="70" y="191"/>
                </a:lnTo>
                <a:lnTo>
                  <a:pt x="78" y="191"/>
                </a:lnTo>
                <a:lnTo>
                  <a:pt x="85" y="189"/>
                </a:lnTo>
                <a:lnTo>
                  <a:pt x="91" y="185"/>
                </a:lnTo>
                <a:lnTo>
                  <a:pt x="96" y="181"/>
                </a:lnTo>
                <a:lnTo>
                  <a:pt x="103" y="172"/>
                </a:lnTo>
                <a:lnTo>
                  <a:pt x="111" y="162"/>
                </a:lnTo>
                <a:lnTo>
                  <a:pt x="111" y="162"/>
                </a:lnTo>
                <a:lnTo>
                  <a:pt x="115" y="174"/>
                </a:lnTo>
                <a:lnTo>
                  <a:pt x="118" y="188"/>
                </a:lnTo>
                <a:lnTo>
                  <a:pt x="121" y="199"/>
                </a:lnTo>
                <a:lnTo>
                  <a:pt x="122" y="205"/>
                </a:lnTo>
                <a:lnTo>
                  <a:pt x="126" y="209"/>
                </a:lnTo>
                <a:lnTo>
                  <a:pt x="126" y="209"/>
                </a:lnTo>
                <a:lnTo>
                  <a:pt x="131" y="215"/>
                </a:lnTo>
                <a:lnTo>
                  <a:pt x="138" y="221"/>
                </a:lnTo>
                <a:lnTo>
                  <a:pt x="154" y="228"/>
                </a:lnTo>
                <a:lnTo>
                  <a:pt x="161" y="232"/>
                </a:lnTo>
                <a:lnTo>
                  <a:pt x="169" y="237"/>
                </a:lnTo>
                <a:lnTo>
                  <a:pt x="175" y="243"/>
                </a:lnTo>
                <a:lnTo>
                  <a:pt x="180" y="250"/>
                </a:lnTo>
                <a:lnTo>
                  <a:pt x="180" y="250"/>
                </a:lnTo>
                <a:lnTo>
                  <a:pt x="175" y="253"/>
                </a:lnTo>
                <a:lnTo>
                  <a:pt x="170" y="254"/>
                </a:lnTo>
                <a:lnTo>
                  <a:pt x="167" y="253"/>
                </a:lnTo>
                <a:lnTo>
                  <a:pt x="161" y="250"/>
                </a:lnTo>
                <a:lnTo>
                  <a:pt x="161" y="250"/>
                </a:lnTo>
                <a:lnTo>
                  <a:pt x="161" y="272"/>
                </a:lnTo>
                <a:lnTo>
                  <a:pt x="161" y="272"/>
                </a:lnTo>
                <a:lnTo>
                  <a:pt x="161" y="272"/>
                </a:lnTo>
                <a:lnTo>
                  <a:pt x="167" y="277"/>
                </a:lnTo>
                <a:lnTo>
                  <a:pt x="172" y="281"/>
                </a:lnTo>
                <a:lnTo>
                  <a:pt x="177" y="283"/>
                </a:lnTo>
                <a:lnTo>
                  <a:pt x="183" y="285"/>
                </a:lnTo>
                <a:lnTo>
                  <a:pt x="195" y="289"/>
                </a:lnTo>
                <a:lnTo>
                  <a:pt x="205" y="291"/>
                </a:lnTo>
                <a:lnTo>
                  <a:pt x="215" y="293"/>
                </a:lnTo>
                <a:lnTo>
                  <a:pt x="220" y="296"/>
                </a:lnTo>
                <a:lnTo>
                  <a:pt x="225" y="299"/>
                </a:lnTo>
                <a:lnTo>
                  <a:pt x="228" y="304"/>
                </a:lnTo>
                <a:lnTo>
                  <a:pt x="231" y="308"/>
                </a:lnTo>
                <a:lnTo>
                  <a:pt x="234" y="315"/>
                </a:lnTo>
                <a:lnTo>
                  <a:pt x="235" y="323"/>
                </a:lnTo>
                <a:lnTo>
                  <a:pt x="235" y="323"/>
                </a:lnTo>
                <a:lnTo>
                  <a:pt x="259" y="328"/>
                </a:lnTo>
                <a:lnTo>
                  <a:pt x="272" y="330"/>
                </a:lnTo>
                <a:lnTo>
                  <a:pt x="283" y="330"/>
                </a:lnTo>
                <a:lnTo>
                  <a:pt x="283" y="330"/>
                </a:lnTo>
                <a:lnTo>
                  <a:pt x="289" y="330"/>
                </a:lnTo>
                <a:lnTo>
                  <a:pt x="294" y="329"/>
                </a:lnTo>
                <a:lnTo>
                  <a:pt x="304" y="325"/>
                </a:lnTo>
                <a:lnTo>
                  <a:pt x="312" y="319"/>
                </a:lnTo>
                <a:lnTo>
                  <a:pt x="320" y="313"/>
                </a:lnTo>
                <a:lnTo>
                  <a:pt x="327" y="306"/>
                </a:lnTo>
                <a:lnTo>
                  <a:pt x="334" y="300"/>
                </a:lnTo>
                <a:lnTo>
                  <a:pt x="341" y="296"/>
                </a:lnTo>
                <a:lnTo>
                  <a:pt x="345" y="295"/>
                </a:lnTo>
                <a:lnTo>
                  <a:pt x="349" y="295"/>
                </a:lnTo>
                <a:lnTo>
                  <a:pt x="349" y="295"/>
                </a:lnTo>
                <a:lnTo>
                  <a:pt x="355" y="295"/>
                </a:lnTo>
                <a:lnTo>
                  <a:pt x="358" y="296"/>
                </a:lnTo>
                <a:lnTo>
                  <a:pt x="362" y="298"/>
                </a:lnTo>
                <a:lnTo>
                  <a:pt x="365" y="300"/>
                </a:lnTo>
                <a:lnTo>
                  <a:pt x="368" y="307"/>
                </a:lnTo>
                <a:lnTo>
                  <a:pt x="371" y="315"/>
                </a:lnTo>
                <a:lnTo>
                  <a:pt x="375" y="331"/>
                </a:lnTo>
                <a:lnTo>
                  <a:pt x="378" y="337"/>
                </a:lnTo>
                <a:lnTo>
                  <a:pt x="380" y="341"/>
                </a:lnTo>
                <a:lnTo>
                  <a:pt x="382" y="342"/>
                </a:lnTo>
                <a:lnTo>
                  <a:pt x="382" y="342"/>
                </a:lnTo>
                <a:lnTo>
                  <a:pt x="387" y="344"/>
                </a:lnTo>
                <a:lnTo>
                  <a:pt x="394" y="348"/>
                </a:lnTo>
                <a:lnTo>
                  <a:pt x="410" y="352"/>
                </a:lnTo>
                <a:lnTo>
                  <a:pt x="427" y="356"/>
                </a:lnTo>
                <a:lnTo>
                  <a:pt x="441" y="357"/>
                </a:lnTo>
                <a:lnTo>
                  <a:pt x="441" y="357"/>
                </a:lnTo>
                <a:lnTo>
                  <a:pt x="443" y="353"/>
                </a:lnTo>
                <a:lnTo>
                  <a:pt x="448" y="350"/>
                </a:lnTo>
                <a:lnTo>
                  <a:pt x="459" y="342"/>
                </a:lnTo>
                <a:lnTo>
                  <a:pt x="459" y="342"/>
                </a:lnTo>
                <a:lnTo>
                  <a:pt x="463" y="338"/>
                </a:lnTo>
                <a:lnTo>
                  <a:pt x="466" y="335"/>
                </a:lnTo>
                <a:lnTo>
                  <a:pt x="471" y="326"/>
                </a:lnTo>
                <a:lnTo>
                  <a:pt x="473" y="321"/>
                </a:lnTo>
                <a:lnTo>
                  <a:pt x="477" y="318"/>
                </a:lnTo>
                <a:lnTo>
                  <a:pt x="480" y="314"/>
                </a:lnTo>
                <a:lnTo>
                  <a:pt x="485" y="313"/>
                </a:lnTo>
                <a:lnTo>
                  <a:pt x="485" y="313"/>
                </a:lnTo>
                <a:lnTo>
                  <a:pt x="496" y="312"/>
                </a:lnTo>
                <a:lnTo>
                  <a:pt x="512" y="314"/>
                </a:lnTo>
                <a:lnTo>
                  <a:pt x="531" y="315"/>
                </a:lnTo>
                <a:lnTo>
                  <a:pt x="550" y="316"/>
                </a:lnTo>
                <a:lnTo>
                  <a:pt x="559" y="316"/>
                </a:lnTo>
                <a:lnTo>
                  <a:pt x="569" y="315"/>
                </a:lnTo>
                <a:lnTo>
                  <a:pt x="577" y="314"/>
                </a:lnTo>
                <a:lnTo>
                  <a:pt x="585" y="312"/>
                </a:lnTo>
                <a:lnTo>
                  <a:pt x="590" y="308"/>
                </a:lnTo>
                <a:lnTo>
                  <a:pt x="595" y="304"/>
                </a:lnTo>
                <a:lnTo>
                  <a:pt x="599" y="298"/>
                </a:lnTo>
                <a:lnTo>
                  <a:pt x="600" y="290"/>
                </a:lnTo>
                <a:lnTo>
                  <a:pt x="600" y="290"/>
                </a:lnTo>
                <a:lnTo>
                  <a:pt x="600" y="267"/>
                </a:lnTo>
                <a:lnTo>
                  <a:pt x="603" y="246"/>
                </a:lnTo>
                <a:lnTo>
                  <a:pt x="608" y="228"/>
                </a:lnTo>
                <a:lnTo>
                  <a:pt x="612" y="209"/>
                </a:lnTo>
                <a:lnTo>
                  <a:pt x="624" y="173"/>
                </a:lnTo>
                <a:lnTo>
                  <a:pt x="628" y="152"/>
                </a:lnTo>
                <a:lnTo>
                  <a:pt x="632" y="129"/>
                </a:lnTo>
                <a:lnTo>
                  <a:pt x="632" y="129"/>
                </a:lnTo>
                <a:lnTo>
                  <a:pt x="628" y="136"/>
                </a:lnTo>
                <a:lnTo>
                  <a:pt x="628" y="13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0" name="Freeform 65"/>
          <p:cNvSpPr>
            <a:spLocks/>
          </p:cNvSpPr>
          <p:nvPr/>
        </p:nvSpPr>
        <p:spPr bwMode="auto">
          <a:xfrm>
            <a:off x="1404938" y="3746500"/>
            <a:ext cx="279400" cy="269875"/>
          </a:xfrm>
          <a:custGeom>
            <a:avLst/>
            <a:gdLst/>
            <a:ahLst/>
            <a:cxnLst>
              <a:cxn ang="0">
                <a:pos x="187" y="280"/>
              </a:cxn>
              <a:cxn ang="0">
                <a:pos x="196" y="269"/>
              </a:cxn>
              <a:cxn ang="0">
                <a:pos x="217" y="261"/>
              </a:cxn>
              <a:cxn ang="0">
                <a:pos x="238" y="251"/>
              </a:cxn>
              <a:cxn ang="0">
                <a:pos x="248" y="233"/>
              </a:cxn>
              <a:cxn ang="0">
                <a:pos x="265" y="223"/>
              </a:cxn>
              <a:cxn ang="0">
                <a:pos x="308" y="208"/>
              </a:cxn>
              <a:cxn ang="0">
                <a:pos x="337" y="178"/>
              </a:cxn>
              <a:cxn ang="0">
                <a:pos x="336" y="165"/>
              </a:cxn>
              <a:cxn ang="0">
                <a:pos x="321" y="160"/>
              </a:cxn>
              <a:cxn ang="0">
                <a:pos x="307" y="144"/>
              </a:cxn>
              <a:cxn ang="0">
                <a:pos x="292" y="95"/>
              </a:cxn>
              <a:cxn ang="0">
                <a:pos x="278" y="48"/>
              </a:cxn>
              <a:cxn ang="0">
                <a:pos x="261" y="30"/>
              </a:cxn>
              <a:cxn ang="0">
                <a:pos x="246" y="26"/>
              </a:cxn>
              <a:cxn ang="0">
                <a:pos x="241" y="28"/>
              </a:cxn>
              <a:cxn ang="0">
                <a:pos x="232" y="40"/>
              </a:cxn>
              <a:cxn ang="0">
                <a:pos x="226" y="40"/>
              </a:cxn>
              <a:cxn ang="0">
                <a:pos x="213" y="34"/>
              </a:cxn>
              <a:cxn ang="0">
                <a:pos x="194" y="12"/>
              </a:cxn>
              <a:cxn ang="0">
                <a:pos x="179" y="2"/>
              </a:cxn>
              <a:cxn ang="0">
                <a:pos x="169" y="0"/>
              </a:cxn>
              <a:cxn ang="0">
                <a:pos x="147" y="3"/>
              </a:cxn>
              <a:cxn ang="0">
                <a:pos x="142" y="0"/>
              </a:cxn>
              <a:cxn ang="0">
                <a:pos x="129" y="10"/>
              </a:cxn>
              <a:cxn ang="0">
                <a:pos x="95" y="11"/>
              </a:cxn>
              <a:cxn ang="0">
                <a:pos x="94" y="27"/>
              </a:cxn>
              <a:cxn ang="0">
                <a:pos x="84" y="48"/>
              </a:cxn>
              <a:cxn ang="0">
                <a:pos x="64" y="68"/>
              </a:cxn>
              <a:cxn ang="0">
                <a:pos x="59" y="81"/>
              </a:cxn>
              <a:cxn ang="0">
                <a:pos x="59" y="94"/>
              </a:cxn>
              <a:cxn ang="0">
                <a:pos x="66" y="108"/>
              </a:cxn>
              <a:cxn ang="0">
                <a:pos x="79" y="114"/>
              </a:cxn>
              <a:cxn ang="0">
                <a:pos x="84" y="132"/>
              </a:cxn>
              <a:cxn ang="0">
                <a:pos x="80" y="149"/>
              </a:cxn>
              <a:cxn ang="0">
                <a:pos x="64" y="169"/>
              </a:cxn>
              <a:cxn ang="0">
                <a:pos x="26" y="196"/>
              </a:cxn>
              <a:cxn ang="0">
                <a:pos x="8" y="218"/>
              </a:cxn>
              <a:cxn ang="0">
                <a:pos x="0" y="249"/>
              </a:cxn>
              <a:cxn ang="0">
                <a:pos x="3" y="268"/>
              </a:cxn>
              <a:cxn ang="0">
                <a:pos x="18" y="295"/>
              </a:cxn>
              <a:cxn ang="0">
                <a:pos x="36" y="308"/>
              </a:cxn>
              <a:cxn ang="0">
                <a:pos x="46" y="308"/>
              </a:cxn>
              <a:cxn ang="0">
                <a:pos x="66" y="299"/>
              </a:cxn>
              <a:cxn ang="0">
                <a:pos x="86" y="280"/>
              </a:cxn>
              <a:cxn ang="0">
                <a:pos x="102" y="276"/>
              </a:cxn>
              <a:cxn ang="0">
                <a:pos x="123" y="277"/>
              </a:cxn>
              <a:cxn ang="0">
                <a:pos x="172" y="286"/>
              </a:cxn>
              <a:cxn ang="0">
                <a:pos x="187" y="286"/>
              </a:cxn>
            </a:cxnLst>
            <a:rect l="0" t="0" r="r" b="b"/>
            <a:pathLst>
              <a:path w="341" h="309">
                <a:moveTo>
                  <a:pt x="187" y="286"/>
                </a:moveTo>
                <a:lnTo>
                  <a:pt x="187" y="286"/>
                </a:lnTo>
                <a:lnTo>
                  <a:pt x="187" y="280"/>
                </a:lnTo>
                <a:lnTo>
                  <a:pt x="189" y="276"/>
                </a:lnTo>
                <a:lnTo>
                  <a:pt x="193" y="271"/>
                </a:lnTo>
                <a:lnTo>
                  <a:pt x="196" y="269"/>
                </a:lnTo>
                <a:lnTo>
                  <a:pt x="201" y="267"/>
                </a:lnTo>
                <a:lnTo>
                  <a:pt x="206" y="264"/>
                </a:lnTo>
                <a:lnTo>
                  <a:pt x="217" y="261"/>
                </a:lnTo>
                <a:lnTo>
                  <a:pt x="227" y="257"/>
                </a:lnTo>
                <a:lnTo>
                  <a:pt x="233" y="254"/>
                </a:lnTo>
                <a:lnTo>
                  <a:pt x="238" y="251"/>
                </a:lnTo>
                <a:lnTo>
                  <a:pt x="242" y="246"/>
                </a:lnTo>
                <a:lnTo>
                  <a:pt x="246" y="240"/>
                </a:lnTo>
                <a:lnTo>
                  <a:pt x="248" y="233"/>
                </a:lnTo>
                <a:lnTo>
                  <a:pt x="249" y="224"/>
                </a:lnTo>
                <a:lnTo>
                  <a:pt x="249" y="224"/>
                </a:lnTo>
                <a:lnTo>
                  <a:pt x="265" y="223"/>
                </a:lnTo>
                <a:lnTo>
                  <a:pt x="280" y="221"/>
                </a:lnTo>
                <a:lnTo>
                  <a:pt x="295" y="215"/>
                </a:lnTo>
                <a:lnTo>
                  <a:pt x="308" y="208"/>
                </a:lnTo>
                <a:lnTo>
                  <a:pt x="320" y="200"/>
                </a:lnTo>
                <a:lnTo>
                  <a:pt x="329" y="190"/>
                </a:lnTo>
                <a:lnTo>
                  <a:pt x="337" y="178"/>
                </a:lnTo>
                <a:lnTo>
                  <a:pt x="341" y="165"/>
                </a:lnTo>
                <a:lnTo>
                  <a:pt x="341" y="165"/>
                </a:lnTo>
                <a:lnTo>
                  <a:pt x="336" y="165"/>
                </a:lnTo>
                <a:lnTo>
                  <a:pt x="330" y="163"/>
                </a:lnTo>
                <a:lnTo>
                  <a:pt x="325" y="162"/>
                </a:lnTo>
                <a:lnTo>
                  <a:pt x="321" y="160"/>
                </a:lnTo>
                <a:lnTo>
                  <a:pt x="317" y="156"/>
                </a:lnTo>
                <a:lnTo>
                  <a:pt x="314" y="153"/>
                </a:lnTo>
                <a:lnTo>
                  <a:pt x="307" y="144"/>
                </a:lnTo>
                <a:lnTo>
                  <a:pt x="302" y="133"/>
                </a:lnTo>
                <a:lnTo>
                  <a:pt x="299" y="122"/>
                </a:lnTo>
                <a:lnTo>
                  <a:pt x="292" y="95"/>
                </a:lnTo>
                <a:lnTo>
                  <a:pt x="286" y="70"/>
                </a:lnTo>
                <a:lnTo>
                  <a:pt x="283" y="58"/>
                </a:lnTo>
                <a:lnTo>
                  <a:pt x="278" y="48"/>
                </a:lnTo>
                <a:lnTo>
                  <a:pt x="272" y="39"/>
                </a:lnTo>
                <a:lnTo>
                  <a:pt x="265" y="32"/>
                </a:lnTo>
                <a:lnTo>
                  <a:pt x="261" y="30"/>
                </a:lnTo>
                <a:lnTo>
                  <a:pt x="256" y="27"/>
                </a:lnTo>
                <a:lnTo>
                  <a:pt x="252" y="26"/>
                </a:lnTo>
                <a:lnTo>
                  <a:pt x="246" y="26"/>
                </a:lnTo>
                <a:lnTo>
                  <a:pt x="246" y="26"/>
                </a:lnTo>
                <a:lnTo>
                  <a:pt x="244" y="26"/>
                </a:lnTo>
                <a:lnTo>
                  <a:pt x="241" y="28"/>
                </a:lnTo>
                <a:lnTo>
                  <a:pt x="237" y="33"/>
                </a:lnTo>
                <a:lnTo>
                  <a:pt x="234" y="39"/>
                </a:lnTo>
                <a:lnTo>
                  <a:pt x="232" y="40"/>
                </a:lnTo>
                <a:lnTo>
                  <a:pt x="231" y="41"/>
                </a:lnTo>
                <a:lnTo>
                  <a:pt x="231" y="41"/>
                </a:lnTo>
                <a:lnTo>
                  <a:pt x="226" y="40"/>
                </a:lnTo>
                <a:lnTo>
                  <a:pt x="222" y="39"/>
                </a:lnTo>
                <a:lnTo>
                  <a:pt x="217" y="37"/>
                </a:lnTo>
                <a:lnTo>
                  <a:pt x="213" y="34"/>
                </a:lnTo>
                <a:lnTo>
                  <a:pt x="207" y="27"/>
                </a:lnTo>
                <a:lnTo>
                  <a:pt x="200" y="20"/>
                </a:lnTo>
                <a:lnTo>
                  <a:pt x="194" y="12"/>
                </a:lnTo>
                <a:lnTo>
                  <a:pt x="187" y="7"/>
                </a:lnTo>
                <a:lnTo>
                  <a:pt x="183" y="4"/>
                </a:lnTo>
                <a:lnTo>
                  <a:pt x="179" y="2"/>
                </a:lnTo>
                <a:lnTo>
                  <a:pt x="175" y="1"/>
                </a:lnTo>
                <a:lnTo>
                  <a:pt x="169" y="0"/>
                </a:lnTo>
                <a:lnTo>
                  <a:pt x="169" y="0"/>
                </a:lnTo>
                <a:lnTo>
                  <a:pt x="161" y="1"/>
                </a:lnTo>
                <a:lnTo>
                  <a:pt x="153" y="3"/>
                </a:lnTo>
                <a:lnTo>
                  <a:pt x="147" y="3"/>
                </a:lnTo>
                <a:lnTo>
                  <a:pt x="145" y="2"/>
                </a:lnTo>
                <a:lnTo>
                  <a:pt x="142" y="0"/>
                </a:lnTo>
                <a:lnTo>
                  <a:pt x="142" y="0"/>
                </a:lnTo>
                <a:lnTo>
                  <a:pt x="138" y="4"/>
                </a:lnTo>
                <a:lnTo>
                  <a:pt x="132" y="8"/>
                </a:lnTo>
                <a:lnTo>
                  <a:pt x="129" y="10"/>
                </a:lnTo>
                <a:lnTo>
                  <a:pt x="125" y="11"/>
                </a:lnTo>
                <a:lnTo>
                  <a:pt x="125" y="11"/>
                </a:lnTo>
                <a:lnTo>
                  <a:pt x="95" y="11"/>
                </a:lnTo>
                <a:lnTo>
                  <a:pt x="95" y="11"/>
                </a:lnTo>
                <a:lnTo>
                  <a:pt x="95" y="20"/>
                </a:lnTo>
                <a:lnTo>
                  <a:pt x="94" y="27"/>
                </a:lnTo>
                <a:lnTo>
                  <a:pt x="92" y="34"/>
                </a:lnTo>
                <a:lnTo>
                  <a:pt x="89" y="40"/>
                </a:lnTo>
                <a:lnTo>
                  <a:pt x="84" y="48"/>
                </a:lnTo>
                <a:lnTo>
                  <a:pt x="77" y="55"/>
                </a:lnTo>
                <a:lnTo>
                  <a:pt x="70" y="61"/>
                </a:lnTo>
                <a:lnTo>
                  <a:pt x="64" y="68"/>
                </a:lnTo>
                <a:lnTo>
                  <a:pt x="62" y="72"/>
                </a:lnTo>
                <a:lnTo>
                  <a:pt x="61" y="77"/>
                </a:lnTo>
                <a:lnTo>
                  <a:pt x="59" y="81"/>
                </a:lnTo>
                <a:lnTo>
                  <a:pt x="58" y="88"/>
                </a:lnTo>
                <a:lnTo>
                  <a:pt x="58" y="88"/>
                </a:lnTo>
                <a:lnTo>
                  <a:pt x="59" y="94"/>
                </a:lnTo>
                <a:lnTo>
                  <a:pt x="61" y="100"/>
                </a:lnTo>
                <a:lnTo>
                  <a:pt x="63" y="104"/>
                </a:lnTo>
                <a:lnTo>
                  <a:pt x="66" y="108"/>
                </a:lnTo>
                <a:lnTo>
                  <a:pt x="70" y="110"/>
                </a:lnTo>
                <a:lnTo>
                  <a:pt x="74" y="112"/>
                </a:lnTo>
                <a:lnTo>
                  <a:pt x="79" y="114"/>
                </a:lnTo>
                <a:lnTo>
                  <a:pt x="84" y="114"/>
                </a:lnTo>
                <a:lnTo>
                  <a:pt x="84" y="114"/>
                </a:lnTo>
                <a:lnTo>
                  <a:pt x="84" y="132"/>
                </a:lnTo>
                <a:lnTo>
                  <a:pt x="84" y="132"/>
                </a:lnTo>
                <a:lnTo>
                  <a:pt x="84" y="141"/>
                </a:lnTo>
                <a:lnTo>
                  <a:pt x="80" y="149"/>
                </a:lnTo>
                <a:lnTo>
                  <a:pt x="77" y="156"/>
                </a:lnTo>
                <a:lnTo>
                  <a:pt x="71" y="163"/>
                </a:lnTo>
                <a:lnTo>
                  <a:pt x="64" y="169"/>
                </a:lnTo>
                <a:lnTo>
                  <a:pt x="57" y="175"/>
                </a:lnTo>
                <a:lnTo>
                  <a:pt x="42" y="185"/>
                </a:lnTo>
                <a:lnTo>
                  <a:pt x="26" y="196"/>
                </a:lnTo>
                <a:lnTo>
                  <a:pt x="19" y="203"/>
                </a:lnTo>
                <a:lnTo>
                  <a:pt x="13" y="210"/>
                </a:lnTo>
                <a:lnTo>
                  <a:pt x="8" y="218"/>
                </a:lnTo>
                <a:lnTo>
                  <a:pt x="4" y="228"/>
                </a:lnTo>
                <a:lnTo>
                  <a:pt x="1" y="238"/>
                </a:lnTo>
                <a:lnTo>
                  <a:pt x="0" y="249"/>
                </a:lnTo>
                <a:lnTo>
                  <a:pt x="0" y="249"/>
                </a:lnTo>
                <a:lnTo>
                  <a:pt x="1" y="259"/>
                </a:lnTo>
                <a:lnTo>
                  <a:pt x="3" y="268"/>
                </a:lnTo>
                <a:lnTo>
                  <a:pt x="7" y="278"/>
                </a:lnTo>
                <a:lnTo>
                  <a:pt x="12" y="287"/>
                </a:lnTo>
                <a:lnTo>
                  <a:pt x="18" y="295"/>
                </a:lnTo>
                <a:lnTo>
                  <a:pt x="25" y="302"/>
                </a:lnTo>
                <a:lnTo>
                  <a:pt x="32" y="307"/>
                </a:lnTo>
                <a:lnTo>
                  <a:pt x="36" y="308"/>
                </a:lnTo>
                <a:lnTo>
                  <a:pt x="40" y="309"/>
                </a:lnTo>
                <a:lnTo>
                  <a:pt x="40" y="309"/>
                </a:lnTo>
                <a:lnTo>
                  <a:pt x="46" y="308"/>
                </a:lnTo>
                <a:lnTo>
                  <a:pt x="50" y="307"/>
                </a:lnTo>
                <a:lnTo>
                  <a:pt x="58" y="304"/>
                </a:lnTo>
                <a:lnTo>
                  <a:pt x="66" y="299"/>
                </a:lnTo>
                <a:lnTo>
                  <a:pt x="72" y="292"/>
                </a:lnTo>
                <a:lnTo>
                  <a:pt x="79" y="286"/>
                </a:lnTo>
                <a:lnTo>
                  <a:pt x="86" y="280"/>
                </a:lnTo>
                <a:lnTo>
                  <a:pt x="94" y="277"/>
                </a:lnTo>
                <a:lnTo>
                  <a:pt x="97" y="276"/>
                </a:lnTo>
                <a:lnTo>
                  <a:pt x="102" y="276"/>
                </a:lnTo>
                <a:lnTo>
                  <a:pt x="102" y="276"/>
                </a:lnTo>
                <a:lnTo>
                  <a:pt x="114" y="276"/>
                </a:lnTo>
                <a:lnTo>
                  <a:pt x="123" y="277"/>
                </a:lnTo>
                <a:lnTo>
                  <a:pt x="142" y="282"/>
                </a:lnTo>
                <a:lnTo>
                  <a:pt x="163" y="285"/>
                </a:lnTo>
                <a:lnTo>
                  <a:pt x="172" y="286"/>
                </a:lnTo>
                <a:lnTo>
                  <a:pt x="184" y="286"/>
                </a:lnTo>
                <a:lnTo>
                  <a:pt x="184" y="286"/>
                </a:lnTo>
                <a:lnTo>
                  <a:pt x="187" y="286"/>
                </a:lnTo>
                <a:lnTo>
                  <a:pt x="187" y="28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1" name="Freeform 66"/>
          <p:cNvSpPr>
            <a:spLocks/>
          </p:cNvSpPr>
          <p:nvPr/>
        </p:nvSpPr>
        <p:spPr bwMode="auto">
          <a:xfrm>
            <a:off x="992188" y="3560763"/>
            <a:ext cx="528637" cy="384175"/>
          </a:xfrm>
          <a:custGeom>
            <a:avLst/>
            <a:gdLst/>
            <a:ahLst/>
            <a:cxnLst>
              <a:cxn ang="0">
                <a:pos x="18" y="134"/>
              </a:cxn>
              <a:cxn ang="0">
                <a:pos x="67" y="89"/>
              </a:cxn>
              <a:cxn ang="0">
                <a:pos x="69" y="56"/>
              </a:cxn>
              <a:cxn ang="0">
                <a:pos x="80" y="1"/>
              </a:cxn>
              <a:cxn ang="0">
                <a:pos x="102" y="1"/>
              </a:cxn>
              <a:cxn ang="0">
                <a:pos x="128" y="28"/>
              </a:cxn>
              <a:cxn ang="0">
                <a:pos x="172" y="42"/>
              </a:cxn>
              <a:cxn ang="0">
                <a:pos x="240" y="50"/>
              </a:cxn>
              <a:cxn ang="0">
                <a:pos x="274" y="72"/>
              </a:cxn>
              <a:cxn ang="0">
                <a:pos x="290" y="81"/>
              </a:cxn>
              <a:cxn ang="0">
                <a:pos x="343" y="63"/>
              </a:cxn>
              <a:cxn ang="0">
                <a:pos x="385" y="46"/>
              </a:cxn>
              <a:cxn ang="0">
                <a:pos x="409" y="54"/>
              </a:cxn>
              <a:cxn ang="0">
                <a:pos x="426" y="92"/>
              </a:cxn>
              <a:cxn ang="0">
                <a:pos x="437" y="100"/>
              </a:cxn>
              <a:cxn ang="0">
                <a:pos x="459" y="89"/>
              </a:cxn>
              <a:cxn ang="0">
                <a:pos x="474" y="110"/>
              </a:cxn>
              <a:cxn ang="0">
                <a:pos x="487" y="114"/>
              </a:cxn>
              <a:cxn ang="0">
                <a:pos x="503" y="103"/>
              </a:cxn>
              <a:cxn ang="0">
                <a:pos x="537" y="124"/>
              </a:cxn>
              <a:cxn ang="0">
                <a:pos x="569" y="140"/>
              </a:cxn>
              <a:cxn ang="0">
                <a:pos x="575" y="157"/>
              </a:cxn>
              <a:cxn ang="0">
                <a:pos x="592" y="156"/>
              </a:cxn>
              <a:cxn ang="0">
                <a:pos x="620" y="140"/>
              </a:cxn>
              <a:cxn ang="0">
                <a:pos x="634" y="147"/>
              </a:cxn>
              <a:cxn ang="0">
                <a:pos x="638" y="200"/>
              </a:cxn>
              <a:cxn ang="0">
                <a:pos x="645" y="214"/>
              </a:cxn>
              <a:cxn ang="0">
                <a:pos x="628" y="225"/>
              </a:cxn>
              <a:cxn ang="0">
                <a:pos x="597" y="241"/>
              </a:cxn>
              <a:cxn ang="0">
                <a:pos x="573" y="275"/>
              </a:cxn>
              <a:cxn ang="0">
                <a:pos x="561" y="302"/>
              </a:cxn>
              <a:cxn ang="0">
                <a:pos x="569" y="322"/>
              </a:cxn>
              <a:cxn ang="0">
                <a:pos x="587" y="328"/>
              </a:cxn>
              <a:cxn ang="0">
                <a:pos x="581" y="368"/>
              </a:cxn>
              <a:cxn ang="0">
                <a:pos x="538" y="402"/>
              </a:cxn>
              <a:cxn ang="0">
                <a:pos x="506" y="442"/>
              </a:cxn>
              <a:cxn ang="0">
                <a:pos x="481" y="400"/>
              </a:cxn>
              <a:cxn ang="0">
                <a:pos x="443" y="391"/>
              </a:cxn>
              <a:cxn ang="0">
                <a:pos x="411" y="405"/>
              </a:cxn>
              <a:cxn ang="0">
                <a:pos x="397" y="397"/>
              </a:cxn>
              <a:cxn ang="0">
                <a:pos x="378" y="379"/>
              </a:cxn>
              <a:cxn ang="0">
                <a:pos x="337" y="369"/>
              </a:cxn>
              <a:cxn ang="0">
                <a:pos x="321" y="347"/>
              </a:cxn>
              <a:cxn ang="0">
                <a:pos x="299" y="340"/>
              </a:cxn>
              <a:cxn ang="0">
                <a:pos x="253" y="350"/>
              </a:cxn>
              <a:cxn ang="0">
                <a:pos x="224" y="338"/>
              </a:cxn>
              <a:cxn ang="0">
                <a:pos x="195" y="291"/>
              </a:cxn>
              <a:cxn ang="0">
                <a:pos x="157" y="272"/>
              </a:cxn>
              <a:cxn ang="0">
                <a:pos x="116" y="271"/>
              </a:cxn>
              <a:cxn ang="0">
                <a:pos x="60" y="231"/>
              </a:cxn>
              <a:cxn ang="0">
                <a:pos x="0" y="140"/>
              </a:cxn>
            </a:cxnLst>
            <a:rect l="0" t="0" r="r" b="b"/>
            <a:pathLst>
              <a:path w="645" h="442">
                <a:moveTo>
                  <a:pt x="0" y="140"/>
                </a:moveTo>
                <a:lnTo>
                  <a:pt x="0" y="140"/>
                </a:lnTo>
                <a:lnTo>
                  <a:pt x="3" y="140"/>
                </a:lnTo>
                <a:lnTo>
                  <a:pt x="8" y="139"/>
                </a:lnTo>
                <a:lnTo>
                  <a:pt x="18" y="134"/>
                </a:lnTo>
                <a:lnTo>
                  <a:pt x="30" y="126"/>
                </a:lnTo>
                <a:lnTo>
                  <a:pt x="41" y="118"/>
                </a:lnTo>
                <a:lnTo>
                  <a:pt x="52" y="108"/>
                </a:lnTo>
                <a:lnTo>
                  <a:pt x="61" y="99"/>
                </a:lnTo>
                <a:lnTo>
                  <a:pt x="67" y="89"/>
                </a:lnTo>
                <a:lnTo>
                  <a:pt x="69" y="85"/>
                </a:lnTo>
                <a:lnTo>
                  <a:pt x="69" y="81"/>
                </a:lnTo>
                <a:lnTo>
                  <a:pt x="69" y="81"/>
                </a:lnTo>
                <a:lnTo>
                  <a:pt x="69" y="56"/>
                </a:lnTo>
                <a:lnTo>
                  <a:pt x="69" y="56"/>
                </a:lnTo>
                <a:lnTo>
                  <a:pt x="70" y="45"/>
                </a:lnTo>
                <a:lnTo>
                  <a:pt x="73" y="31"/>
                </a:lnTo>
                <a:lnTo>
                  <a:pt x="77" y="17"/>
                </a:lnTo>
                <a:lnTo>
                  <a:pt x="80" y="1"/>
                </a:lnTo>
                <a:lnTo>
                  <a:pt x="80" y="1"/>
                </a:lnTo>
                <a:lnTo>
                  <a:pt x="86" y="1"/>
                </a:lnTo>
                <a:lnTo>
                  <a:pt x="92" y="0"/>
                </a:lnTo>
                <a:lnTo>
                  <a:pt x="96" y="0"/>
                </a:lnTo>
                <a:lnTo>
                  <a:pt x="102" y="1"/>
                </a:lnTo>
                <a:lnTo>
                  <a:pt x="102" y="1"/>
                </a:lnTo>
                <a:lnTo>
                  <a:pt x="110" y="4"/>
                </a:lnTo>
                <a:lnTo>
                  <a:pt x="115" y="9"/>
                </a:lnTo>
                <a:lnTo>
                  <a:pt x="118" y="13"/>
                </a:lnTo>
                <a:lnTo>
                  <a:pt x="122" y="19"/>
                </a:lnTo>
                <a:lnTo>
                  <a:pt x="128" y="28"/>
                </a:lnTo>
                <a:lnTo>
                  <a:pt x="131" y="32"/>
                </a:lnTo>
                <a:lnTo>
                  <a:pt x="136" y="34"/>
                </a:lnTo>
                <a:lnTo>
                  <a:pt x="136" y="34"/>
                </a:lnTo>
                <a:lnTo>
                  <a:pt x="155" y="40"/>
                </a:lnTo>
                <a:lnTo>
                  <a:pt x="172" y="42"/>
                </a:lnTo>
                <a:lnTo>
                  <a:pt x="187" y="45"/>
                </a:lnTo>
                <a:lnTo>
                  <a:pt x="200" y="45"/>
                </a:lnTo>
                <a:lnTo>
                  <a:pt x="213" y="46"/>
                </a:lnTo>
                <a:lnTo>
                  <a:pt x="226" y="47"/>
                </a:lnTo>
                <a:lnTo>
                  <a:pt x="240" y="50"/>
                </a:lnTo>
                <a:lnTo>
                  <a:pt x="256" y="56"/>
                </a:lnTo>
                <a:lnTo>
                  <a:pt x="256" y="56"/>
                </a:lnTo>
                <a:lnTo>
                  <a:pt x="262" y="60"/>
                </a:lnTo>
                <a:lnTo>
                  <a:pt x="266" y="63"/>
                </a:lnTo>
                <a:lnTo>
                  <a:pt x="274" y="72"/>
                </a:lnTo>
                <a:lnTo>
                  <a:pt x="277" y="76"/>
                </a:lnTo>
                <a:lnTo>
                  <a:pt x="281" y="79"/>
                </a:lnTo>
                <a:lnTo>
                  <a:pt x="284" y="81"/>
                </a:lnTo>
                <a:lnTo>
                  <a:pt x="290" y="81"/>
                </a:lnTo>
                <a:lnTo>
                  <a:pt x="290" y="81"/>
                </a:lnTo>
                <a:lnTo>
                  <a:pt x="297" y="81"/>
                </a:lnTo>
                <a:lnTo>
                  <a:pt x="305" y="80"/>
                </a:lnTo>
                <a:lnTo>
                  <a:pt x="319" y="76"/>
                </a:lnTo>
                <a:lnTo>
                  <a:pt x="331" y="70"/>
                </a:lnTo>
                <a:lnTo>
                  <a:pt x="343" y="63"/>
                </a:lnTo>
                <a:lnTo>
                  <a:pt x="354" y="57"/>
                </a:lnTo>
                <a:lnTo>
                  <a:pt x="366" y="51"/>
                </a:lnTo>
                <a:lnTo>
                  <a:pt x="376" y="47"/>
                </a:lnTo>
                <a:lnTo>
                  <a:pt x="381" y="46"/>
                </a:lnTo>
                <a:lnTo>
                  <a:pt x="385" y="46"/>
                </a:lnTo>
                <a:lnTo>
                  <a:pt x="385" y="46"/>
                </a:lnTo>
                <a:lnTo>
                  <a:pt x="393" y="46"/>
                </a:lnTo>
                <a:lnTo>
                  <a:pt x="399" y="48"/>
                </a:lnTo>
                <a:lnTo>
                  <a:pt x="405" y="50"/>
                </a:lnTo>
                <a:lnTo>
                  <a:pt x="409" y="54"/>
                </a:lnTo>
                <a:lnTo>
                  <a:pt x="413" y="58"/>
                </a:lnTo>
                <a:lnTo>
                  <a:pt x="415" y="63"/>
                </a:lnTo>
                <a:lnTo>
                  <a:pt x="420" y="72"/>
                </a:lnTo>
                <a:lnTo>
                  <a:pt x="422" y="83"/>
                </a:lnTo>
                <a:lnTo>
                  <a:pt x="426" y="92"/>
                </a:lnTo>
                <a:lnTo>
                  <a:pt x="428" y="95"/>
                </a:lnTo>
                <a:lnTo>
                  <a:pt x="430" y="97"/>
                </a:lnTo>
                <a:lnTo>
                  <a:pt x="432" y="100"/>
                </a:lnTo>
                <a:lnTo>
                  <a:pt x="437" y="100"/>
                </a:lnTo>
                <a:lnTo>
                  <a:pt x="437" y="100"/>
                </a:lnTo>
                <a:lnTo>
                  <a:pt x="439" y="100"/>
                </a:lnTo>
                <a:lnTo>
                  <a:pt x="443" y="99"/>
                </a:lnTo>
                <a:lnTo>
                  <a:pt x="450" y="94"/>
                </a:lnTo>
                <a:lnTo>
                  <a:pt x="457" y="91"/>
                </a:lnTo>
                <a:lnTo>
                  <a:pt x="459" y="89"/>
                </a:lnTo>
                <a:lnTo>
                  <a:pt x="462" y="88"/>
                </a:lnTo>
                <a:lnTo>
                  <a:pt x="462" y="88"/>
                </a:lnTo>
                <a:lnTo>
                  <a:pt x="466" y="99"/>
                </a:lnTo>
                <a:lnTo>
                  <a:pt x="470" y="107"/>
                </a:lnTo>
                <a:lnTo>
                  <a:pt x="474" y="110"/>
                </a:lnTo>
                <a:lnTo>
                  <a:pt x="477" y="112"/>
                </a:lnTo>
                <a:lnTo>
                  <a:pt x="481" y="114"/>
                </a:lnTo>
                <a:lnTo>
                  <a:pt x="484" y="115"/>
                </a:lnTo>
                <a:lnTo>
                  <a:pt x="484" y="115"/>
                </a:lnTo>
                <a:lnTo>
                  <a:pt x="487" y="114"/>
                </a:lnTo>
                <a:lnTo>
                  <a:pt x="489" y="112"/>
                </a:lnTo>
                <a:lnTo>
                  <a:pt x="493" y="109"/>
                </a:lnTo>
                <a:lnTo>
                  <a:pt x="498" y="106"/>
                </a:lnTo>
                <a:lnTo>
                  <a:pt x="500" y="104"/>
                </a:lnTo>
                <a:lnTo>
                  <a:pt x="503" y="103"/>
                </a:lnTo>
                <a:lnTo>
                  <a:pt x="503" y="103"/>
                </a:lnTo>
                <a:lnTo>
                  <a:pt x="510" y="104"/>
                </a:lnTo>
                <a:lnTo>
                  <a:pt x="516" y="108"/>
                </a:lnTo>
                <a:lnTo>
                  <a:pt x="530" y="118"/>
                </a:lnTo>
                <a:lnTo>
                  <a:pt x="537" y="124"/>
                </a:lnTo>
                <a:lnTo>
                  <a:pt x="546" y="129"/>
                </a:lnTo>
                <a:lnTo>
                  <a:pt x="556" y="132"/>
                </a:lnTo>
                <a:lnTo>
                  <a:pt x="566" y="133"/>
                </a:lnTo>
                <a:lnTo>
                  <a:pt x="566" y="133"/>
                </a:lnTo>
                <a:lnTo>
                  <a:pt x="569" y="140"/>
                </a:lnTo>
                <a:lnTo>
                  <a:pt x="569" y="140"/>
                </a:lnTo>
                <a:lnTo>
                  <a:pt x="569" y="140"/>
                </a:lnTo>
                <a:lnTo>
                  <a:pt x="569" y="148"/>
                </a:lnTo>
                <a:lnTo>
                  <a:pt x="572" y="154"/>
                </a:lnTo>
                <a:lnTo>
                  <a:pt x="575" y="157"/>
                </a:lnTo>
                <a:lnTo>
                  <a:pt x="577" y="158"/>
                </a:lnTo>
                <a:lnTo>
                  <a:pt x="580" y="158"/>
                </a:lnTo>
                <a:lnTo>
                  <a:pt x="580" y="158"/>
                </a:lnTo>
                <a:lnTo>
                  <a:pt x="587" y="158"/>
                </a:lnTo>
                <a:lnTo>
                  <a:pt x="592" y="156"/>
                </a:lnTo>
                <a:lnTo>
                  <a:pt x="597" y="153"/>
                </a:lnTo>
                <a:lnTo>
                  <a:pt x="602" y="149"/>
                </a:lnTo>
                <a:lnTo>
                  <a:pt x="610" y="144"/>
                </a:lnTo>
                <a:lnTo>
                  <a:pt x="614" y="141"/>
                </a:lnTo>
                <a:lnTo>
                  <a:pt x="620" y="140"/>
                </a:lnTo>
                <a:lnTo>
                  <a:pt x="620" y="140"/>
                </a:lnTo>
                <a:lnTo>
                  <a:pt x="625" y="141"/>
                </a:lnTo>
                <a:lnTo>
                  <a:pt x="628" y="142"/>
                </a:lnTo>
                <a:lnTo>
                  <a:pt x="632" y="145"/>
                </a:lnTo>
                <a:lnTo>
                  <a:pt x="634" y="147"/>
                </a:lnTo>
                <a:lnTo>
                  <a:pt x="636" y="154"/>
                </a:lnTo>
                <a:lnTo>
                  <a:pt x="637" y="163"/>
                </a:lnTo>
                <a:lnTo>
                  <a:pt x="637" y="183"/>
                </a:lnTo>
                <a:lnTo>
                  <a:pt x="638" y="192"/>
                </a:lnTo>
                <a:lnTo>
                  <a:pt x="638" y="200"/>
                </a:lnTo>
                <a:lnTo>
                  <a:pt x="638" y="200"/>
                </a:lnTo>
                <a:lnTo>
                  <a:pt x="640" y="205"/>
                </a:lnTo>
                <a:lnTo>
                  <a:pt x="641" y="209"/>
                </a:lnTo>
                <a:lnTo>
                  <a:pt x="643" y="213"/>
                </a:lnTo>
                <a:lnTo>
                  <a:pt x="645" y="214"/>
                </a:lnTo>
                <a:lnTo>
                  <a:pt x="645" y="214"/>
                </a:lnTo>
                <a:lnTo>
                  <a:pt x="641" y="218"/>
                </a:lnTo>
                <a:lnTo>
                  <a:pt x="635" y="222"/>
                </a:lnTo>
                <a:lnTo>
                  <a:pt x="632" y="224"/>
                </a:lnTo>
                <a:lnTo>
                  <a:pt x="628" y="225"/>
                </a:lnTo>
                <a:lnTo>
                  <a:pt x="628" y="225"/>
                </a:lnTo>
                <a:lnTo>
                  <a:pt x="598" y="225"/>
                </a:lnTo>
                <a:lnTo>
                  <a:pt x="598" y="225"/>
                </a:lnTo>
                <a:lnTo>
                  <a:pt x="598" y="234"/>
                </a:lnTo>
                <a:lnTo>
                  <a:pt x="597" y="241"/>
                </a:lnTo>
                <a:lnTo>
                  <a:pt x="595" y="248"/>
                </a:lnTo>
                <a:lnTo>
                  <a:pt x="592" y="254"/>
                </a:lnTo>
                <a:lnTo>
                  <a:pt x="587" y="262"/>
                </a:lnTo>
                <a:lnTo>
                  <a:pt x="580" y="269"/>
                </a:lnTo>
                <a:lnTo>
                  <a:pt x="573" y="275"/>
                </a:lnTo>
                <a:lnTo>
                  <a:pt x="567" y="282"/>
                </a:lnTo>
                <a:lnTo>
                  <a:pt x="565" y="286"/>
                </a:lnTo>
                <a:lnTo>
                  <a:pt x="564" y="291"/>
                </a:lnTo>
                <a:lnTo>
                  <a:pt x="562" y="295"/>
                </a:lnTo>
                <a:lnTo>
                  <a:pt x="561" y="302"/>
                </a:lnTo>
                <a:lnTo>
                  <a:pt x="561" y="302"/>
                </a:lnTo>
                <a:lnTo>
                  <a:pt x="562" y="308"/>
                </a:lnTo>
                <a:lnTo>
                  <a:pt x="564" y="314"/>
                </a:lnTo>
                <a:lnTo>
                  <a:pt x="566" y="318"/>
                </a:lnTo>
                <a:lnTo>
                  <a:pt x="569" y="322"/>
                </a:lnTo>
                <a:lnTo>
                  <a:pt x="573" y="324"/>
                </a:lnTo>
                <a:lnTo>
                  <a:pt x="577" y="326"/>
                </a:lnTo>
                <a:lnTo>
                  <a:pt x="582" y="328"/>
                </a:lnTo>
                <a:lnTo>
                  <a:pt x="587" y="328"/>
                </a:lnTo>
                <a:lnTo>
                  <a:pt x="587" y="328"/>
                </a:lnTo>
                <a:lnTo>
                  <a:pt x="587" y="346"/>
                </a:lnTo>
                <a:lnTo>
                  <a:pt x="587" y="346"/>
                </a:lnTo>
                <a:lnTo>
                  <a:pt x="587" y="354"/>
                </a:lnTo>
                <a:lnTo>
                  <a:pt x="584" y="361"/>
                </a:lnTo>
                <a:lnTo>
                  <a:pt x="581" y="368"/>
                </a:lnTo>
                <a:lnTo>
                  <a:pt x="576" y="374"/>
                </a:lnTo>
                <a:lnTo>
                  <a:pt x="572" y="378"/>
                </a:lnTo>
                <a:lnTo>
                  <a:pt x="566" y="383"/>
                </a:lnTo>
                <a:lnTo>
                  <a:pt x="552" y="392"/>
                </a:lnTo>
                <a:lnTo>
                  <a:pt x="538" y="402"/>
                </a:lnTo>
                <a:lnTo>
                  <a:pt x="526" y="413"/>
                </a:lnTo>
                <a:lnTo>
                  <a:pt x="520" y="419"/>
                </a:lnTo>
                <a:lnTo>
                  <a:pt x="514" y="425"/>
                </a:lnTo>
                <a:lnTo>
                  <a:pt x="510" y="434"/>
                </a:lnTo>
                <a:lnTo>
                  <a:pt x="506" y="442"/>
                </a:lnTo>
                <a:lnTo>
                  <a:pt x="506" y="442"/>
                </a:lnTo>
                <a:lnTo>
                  <a:pt x="498" y="423"/>
                </a:lnTo>
                <a:lnTo>
                  <a:pt x="493" y="414"/>
                </a:lnTo>
                <a:lnTo>
                  <a:pt x="488" y="407"/>
                </a:lnTo>
                <a:lnTo>
                  <a:pt x="481" y="400"/>
                </a:lnTo>
                <a:lnTo>
                  <a:pt x="473" y="394"/>
                </a:lnTo>
                <a:lnTo>
                  <a:pt x="461" y="392"/>
                </a:lnTo>
                <a:lnTo>
                  <a:pt x="447" y="391"/>
                </a:lnTo>
                <a:lnTo>
                  <a:pt x="447" y="391"/>
                </a:lnTo>
                <a:lnTo>
                  <a:pt x="443" y="391"/>
                </a:lnTo>
                <a:lnTo>
                  <a:pt x="437" y="393"/>
                </a:lnTo>
                <a:lnTo>
                  <a:pt x="428" y="398"/>
                </a:lnTo>
                <a:lnTo>
                  <a:pt x="419" y="402"/>
                </a:lnTo>
                <a:lnTo>
                  <a:pt x="415" y="405"/>
                </a:lnTo>
                <a:lnTo>
                  <a:pt x="411" y="405"/>
                </a:lnTo>
                <a:lnTo>
                  <a:pt x="411" y="405"/>
                </a:lnTo>
                <a:lnTo>
                  <a:pt x="406" y="405"/>
                </a:lnTo>
                <a:lnTo>
                  <a:pt x="403" y="402"/>
                </a:lnTo>
                <a:lnTo>
                  <a:pt x="399" y="400"/>
                </a:lnTo>
                <a:lnTo>
                  <a:pt x="397" y="397"/>
                </a:lnTo>
                <a:lnTo>
                  <a:pt x="392" y="390"/>
                </a:lnTo>
                <a:lnTo>
                  <a:pt x="389" y="386"/>
                </a:lnTo>
                <a:lnTo>
                  <a:pt x="385" y="383"/>
                </a:lnTo>
                <a:lnTo>
                  <a:pt x="385" y="383"/>
                </a:lnTo>
                <a:lnTo>
                  <a:pt x="378" y="379"/>
                </a:lnTo>
                <a:lnTo>
                  <a:pt x="371" y="377"/>
                </a:lnTo>
                <a:lnTo>
                  <a:pt x="360" y="374"/>
                </a:lnTo>
                <a:lnTo>
                  <a:pt x="350" y="373"/>
                </a:lnTo>
                <a:lnTo>
                  <a:pt x="340" y="370"/>
                </a:lnTo>
                <a:lnTo>
                  <a:pt x="337" y="369"/>
                </a:lnTo>
                <a:lnTo>
                  <a:pt x="333" y="367"/>
                </a:lnTo>
                <a:lnTo>
                  <a:pt x="330" y="364"/>
                </a:lnTo>
                <a:lnTo>
                  <a:pt x="327" y="360"/>
                </a:lnTo>
                <a:lnTo>
                  <a:pt x="324" y="354"/>
                </a:lnTo>
                <a:lnTo>
                  <a:pt x="321" y="347"/>
                </a:lnTo>
                <a:lnTo>
                  <a:pt x="315" y="328"/>
                </a:lnTo>
                <a:lnTo>
                  <a:pt x="315" y="328"/>
                </a:lnTo>
                <a:lnTo>
                  <a:pt x="310" y="330"/>
                </a:lnTo>
                <a:lnTo>
                  <a:pt x="306" y="333"/>
                </a:lnTo>
                <a:lnTo>
                  <a:pt x="299" y="340"/>
                </a:lnTo>
                <a:lnTo>
                  <a:pt x="293" y="347"/>
                </a:lnTo>
                <a:lnTo>
                  <a:pt x="290" y="350"/>
                </a:lnTo>
                <a:lnTo>
                  <a:pt x="286" y="350"/>
                </a:lnTo>
                <a:lnTo>
                  <a:pt x="286" y="350"/>
                </a:lnTo>
                <a:lnTo>
                  <a:pt x="253" y="350"/>
                </a:lnTo>
                <a:lnTo>
                  <a:pt x="253" y="350"/>
                </a:lnTo>
                <a:lnTo>
                  <a:pt x="244" y="350"/>
                </a:lnTo>
                <a:lnTo>
                  <a:pt x="236" y="346"/>
                </a:lnTo>
                <a:lnTo>
                  <a:pt x="229" y="343"/>
                </a:lnTo>
                <a:lnTo>
                  <a:pt x="224" y="338"/>
                </a:lnTo>
                <a:lnTo>
                  <a:pt x="218" y="332"/>
                </a:lnTo>
                <a:lnTo>
                  <a:pt x="215" y="325"/>
                </a:lnTo>
                <a:lnTo>
                  <a:pt x="208" y="312"/>
                </a:lnTo>
                <a:lnTo>
                  <a:pt x="200" y="298"/>
                </a:lnTo>
                <a:lnTo>
                  <a:pt x="195" y="291"/>
                </a:lnTo>
                <a:lnTo>
                  <a:pt x="191" y="285"/>
                </a:lnTo>
                <a:lnTo>
                  <a:pt x="185" y="280"/>
                </a:lnTo>
                <a:lnTo>
                  <a:pt x="177" y="276"/>
                </a:lnTo>
                <a:lnTo>
                  <a:pt x="168" y="274"/>
                </a:lnTo>
                <a:lnTo>
                  <a:pt x="157" y="272"/>
                </a:lnTo>
                <a:lnTo>
                  <a:pt x="157" y="272"/>
                </a:lnTo>
                <a:lnTo>
                  <a:pt x="128" y="272"/>
                </a:lnTo>
                <a:lnTo>
                  <a:pt x="128" y="272"/>
                </a:lnTo>
                <a:lnTo>
                  <a:pt x="122" y="272"/>
                </a:lnTo>
                <a:lnTo>
                  <a:pt x="116" y="271"/>
                </a:lnTo>
                <a:lnTo>
                  <a:pt x="104" y="267"/>
                </a:lnTo>
                <a:lnTo>
                  <a:pt x="93" y="261"/>
                </a:lnTo>
                <a:lnTo>
                  <a:pt x="81" y="252"/>
                </a:lnTo>
                <a:lnTo>
                  <a:pt x="70" y="242"/>
                </a:lnTo>
                <a:lnTo>
                  <a:pt x="60" y="231"/>
                </a:lnTo>
                <a:lnTo>
                  <a:pt x="50" y="219"/>
                </a:lnTo>
                <a:lnTo>
                  <a:pt x="40" y="207"/>
                </a:lnTo>
                <a:lnTo>
                  <a:pt x="24" y="183"/>
                </a:lnTo>
                <a:lnTo>
                  <a:pt x="11" y="161"/>
                </a:lnTo>
                <a:lnTo>
                  <a:pt x="0" y="140"/>
                </a:lnTo>
                <a:lnTo>
                  <a:pt x="0" y="140"/>
                </a:lnTo>
                <a:lnTo>
                  <a:pt x="0" y="14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2" name="Freeform 67"/>
          <p:cNvSpPr>
            <a:spLocks/>
          </p:cNvSpPr>
          <p:nvPr/>
        </p:nvSpPr>
        <p:spPr bwMode="auto">
          <a:xfrm>
            <a:off x="827088" y="3668713"/>
            <a:ext cx="360362" cy="306387"/>
          </a:xfrm>
          <a:custGeom>
            <a:avLst/>
            <a:gdLst/>
            <a:ahLst/>
            <a:cxnLst>
              <a:cxn ang="0">
                <a:pos x="199" y="17"/>
              </a:cxn>
              <a:cxn ang="0">
                <a:pos x="186" y="2"/>
              </a:cxn>
              <a:cxn ang="0">
                <a:pos x="181" y="0"/>
              </a:cxn>
              <a:cxn ang="0">
                <a:pos x="172" y="4"/>
              </a:cxn>
              <a:cxn ang="0">
                <a:pos x="162" y="10"/>
              </a:cxn>
              <a:cxn ang="0">
                <a:pos x="156" y="21"/>
              </a:cxn>
              <a:cxn ang="0">
                <a:pos x="137" y="31"/>
              </a:cxn>
              <a:cxn ang="0">
                <a:pos x="121" y="39"/>
              </a:cxn>
              <a:cxn ang="0">
                <a:pos x="107" y="60"/>
              </a:cxn>
              <a:cxn ang="0">
                <a:pos x="92" y="82"/>
              </a:cxn>
              <a:cxn ang="0">
                <a:pos x="75" y="90"/>
              </a:cxn>
              <a:cxn ang="0">
                <a:pos x="55" y="91"/>
              </a:cxn>
              <a:cxn ang="0">
                <a:pos x="36" y="163"/>
              </a:cxn>
              <a:cxn ang="0">
                <a:pos x="29" y="194"/>
              </a:cxn>
              <a:cxn ang="0">
                <a:pos x="35" y="217"/>
              </a:cxn>
              <a:cxn ang="0">
                <a:pos x="34" y="235"/>
              </a:cxn>
              <a:cxn ang="0">
                <a:pos x="27" y="240"/>
              </a:cxn>
              <a:cxn ang="0">
                <a:pos x="7" y="241"/>
              </a:cxn>
              <a:cxn ang="0">
                <a:pos x="0" y="246"/>
              </a:cxn>
              <a:cxn ang="0">
                <a:pos x="9" y="263"/>
              </a:cxn>
              <a:cxn ang="0">
                <a:pos x="26" y="283"/>
              </a:cxn>
              <a:cxn ang="0">
                <a:pos x="30" y="300"/>
              </a:cxn>
              <a:cxn ang="0">
                <a:pos x="26" y="315"/>
              </a:cxn>
              <a:cxn ang="0">
                <a:pos x="22" y="330"/>
              </a:cxn>
              <a:cxn ang="0">
                <a:pos x="29" y="345"/>
              </a:cxn>
              <a:cxn ang="0">
                <a:pos x="46" y="348"/>
              </a:cxn>
              <a:cxn ang="0">
                <a:pos x="70" y="347"/>
              </a:cxn>
              <a:cxn ang="0">
                <a:pos x="105" y="340"/>
              </a:cxn>
              <a:cxn ang="0">
                <a:pos x="182" y="306"/>
              </a:cxn>
              <a:cxn ang="0">
                <a:pos x="213" y="293"/>
              </a:cxn>
              <a:cxn ang="0">
                <a:pos x="234" y="331"/>
              </a:cxn>
              <a:cxn ang="0">
                <a:pos x="243" y="340"/>
              </a:cxn>
              <a:cxn ang="0">
                <a:pos x="257" y="330"/>
              </a:cxn>
              <a:cxn ang="0">
                <a:pos x="267" y="337"/>
              </a:cxn>
              <a:cxn ang="0">
                <a:pos x="283" y="352"/>
              </a:cxn>
              <a:cxn ang="0">
                <a:pos x="293" y="352"/>
              </a:cxn>
              <a:cxn ang="0">
                <a:pos x="302" y="344"/>
              </a:cxn>
              <a:cxn ang="0">
                <a:pos x="312" y="334"/>
              </a:cxn>
              <a:cxn ang="0">
                <a:pos x="340" y="327"/>
              </a:cxn>
              <a:cxn ang="0">
                <a:pos x="367" y="312"/>
              </a:cxn>
              <a:cxn ang="0">
                <a:pos x="388" y="292"/>
              </a:cxn>
              <a:cxn ang="0">
                <a:pos x="425" y="243"/>
              </a:cxn>
              <a:cxn ang="0">
                <a:pos x="441" y="223"/>
              </a:cxn>
              <a:cxn ang="0">
                <a:pos x="425" y="212"/>
              </a:cxn>
              <a:cxn ang="0">
                <a:pos x="408" y="182"/>
              </a:cxn>
              <a:cxn ang="0">
                <a:pos x="391" y="160"/>
              </a:cxn>
              <a:cxn ang="0">
                <a:pos x="370" y="151"/>
              </a:cxn>
              <a:cxn ang="0">
                <a:pos x="331" y="149"/>
              </a:cxn>
              <a:cxn ang="0">
                <a:pos x="309" y="145"/>
              </a:cxn>
              <a:cxn ang="0">
                <a:pos x="280" y="124"/>
              </a:cxn>
              <a:cxn ang="0">
                <a:pos x="255" y="92"/>
              </a:cxn>
              <a:cxn ang="0">
                <a:pos x="210" y="25"/>
              </a:cxn>
              <a:cxn ang="0">
                <a:pos x="195" y="10"/>
              </a:cxn>
            </a:cxnLst>
            <a:rect l="0" t="0" r="r" b="b"/>
            <a:pathLst>
              <a:path w="441" h="352">
                <a:moveTo>
                  <a:pt x="203" y="17"/>
                </a:moveTo>
                <a:lnTo>
                  <a:pt x="203" y="17"/>
                </a:lnTo>
                <a:lnTo>
                  <a:pt x="199" y="17"/>
                </a:lnTo>
                <a:lnTo>
                  <a:pt x="196" y="15"/>
                </a:lnTo>
                <a:lnTo>
                  <a:pt x="190" y="8"/>
                </a:lnTo>
                <a:lnTo>
                  <a:pt x="186" y="2"/>
                </a:lnTo>
                <a:lnTo>
                  <a:pt x="183" y="0"/>
                </a:lnTo>
                <a:lnTo>
                  <a:pt x="181" y="0"/>
                </a:lnTo>
                <a:lnTo>
                  <a:pt x="181" y="0"/>
                </a:lnTo>
                <a:lnTo>
                  <a:pt x="177" y="0"/>
                </a:lnTo>
                <a:lnTo>
                  <a:pt x="175" y="1"/>
                </a:lnTo>
                <a:lnTo>
                  <a:pt x="172" y="4"/>
                </a:lnTo>
                <a:lnTo>
                  <a:pt x="167" y="8"/>
                </a:lnTo>
                <a:lnTo>
                  <a:pt x="165" y="9"/>
                </a:lnTo>
                <a:lnTo>
                  <a:pt x="162" y="10"/>
                </a:lnTo>
                <a:lnTo>
                  <a:pt x="162" y="10"/>
                </a:lnTo>
                <a:lnTo>
                  <a:pt x="159" y="16"/>
                </a:lnTo>
                <a:lnTo>
                  <a:pt x="156" y="21"/>
                </a:lnTo>
                <a:lnTo>
                  <a:pt x="152" y="24"/>
                </a:lnTo>
                <a:lnTo>
                  <a:pt x="148" y="27"/>
                </a:lnTo>
                <a:lnTo>
                  <a:pt x="137" y="31"/>
                </a:lnTo>
                <a:lnTo>
                  <a:pt x="125" y="35"/>
                </a:lnTo>
                <a:lnTo>
                  <a:pt x="125" y="35"/>
                </a:lnTo>
                <a:lnTo>
                  <a:pt x="121" y="39"/>
                </a:lnTo>
                <a:lnTo>
                  <a:pt x="118" y="42"/>
                </a:lnTo>
                <a:lnTo>
                  <a:pt x="112" y="50"/>
                </a:lnTo>
                <a:lnTo>
                  <a:pt x="107" y="60"/>
                </a:lnTo>
                <a:lnTo>
                  <a:pt x="103" y="69"/>
                </a:lnTo>
                <a:lnTo>
                  <a:pt x="97" y="77"/>
                </a:lnTo>
                <a:lnTo>
                  <a:pt x="92" y="82"/>
                </a:lnTo>
                <a:lnTo>
                  <a:pt x="88" y="85"/>
                </a:lnTo>
                <a:lnTo>
                  <a:pt x="82" y="87"/>
                </a:lnTo>
                <a:lnTo>
                  <a:pt x="75" y="90"/>
                </a:lnTo>
                <a:lnTo>
                  <a:pt x="66" y="91"/>
                </a:lnTo>
                <a:lnTo>
                  <a:pt x="55" y="91"/>
                </a:lnTo>
                <a:lnTo>
                  <a:pt x="55" y="91"/>
                </a:lnTo>
                <a:lnTo>
                  <a:pt x="50" y="118"/>
                </a:lnTo>
                <a:lnTo>
                  <a:pt x="43" y="141"/>
                </a:lnTo>
                <a:lnTo>
                  <a:pt x="36" y="163"/>
                </a:lnTo>
                <a:lnTo>
                  <a:pt x="30" y="186"/>
                </a:lnTo>
                <a:lnTo>
                  <a:pt x="30" y="186"/>
                </a:lnTo>
                <a:lnTo>
                  <a:pt x="29" y="194"/>
                </a:lnTo>
                <a:lnTo>
                  <a:pt x="30" y="200"/>
                </a:lnTo>
                <a:lnTo>
                  <a:pt x="34" y="212"/>
                </a:lnTo>
                <a:lnTo>
                  <a:pt x="35" y="217"/>
                </a:lnTo>
                <a:lnTo>
                  <a:pt x="36" y="222"/>
                </a:lnTo>
                <a:lnTo>
                  <a:pt x="35" y="228"/>
                </a:lnTo>
                <a:lnTo>
                  <a:pt x="34" y="235"/>
                </a:lnTo>
                <a:lnTo>
                  <a:pt x="34" y="235"/>
                </a:lnTo>
                <a:lnTo>
                  <a:pt x="30" y="238"/>
                </a:lnTo>
                <a:lnTo>
                  <a:pt x="27" y="240"/>
                </a:lnTo>
                <a:lnTo>
                  <a:pt x="22" y="241"/>
                </a:lnTo>
                <a:lnTo>
                  <a:pt x="16" y="241"/>
                </a:lnTo>
                <a:lnTo>
                  <a:pt x="7" y="241"/>
                </a:lnTo>
                <a:lnTo>
                  <a:pt x="0" y="241"/>
                </a:lnTo>
                <a:lnTo>
                  <a:pt x="0" y="241"/>
                </a:lnTo>
                <a:lnTo>
                  <a:pt x="0" y="246"/>
                </a:lnTo>
                <a:lnTo>
                  <a:pt x="1" y="251"/>
                </a:lnTo>
                <a:lnTo>
                  <a:pt x="5" y="258"/>
                </a:lnTo>
                <a:lnTo>
                  <a:pt x="9" y="263"/>
                </a:lnTo>
                <a:lnTo>
                  <a:pt x="15" y="269"/>
                </a:lnTo>
                <a:lnTo>
                  <a:pt x="21" y="276"/>
                </a:lnTo>
                <a:lnTo>
                  <a:pt x="26" y="283"/>
                </a:lnTo>
                <a:lnTo>
                  <a:pt x="29" y="291"/>
                </a:lnTo>
                <a:lnTo>
                  <a:pt x="29" y="296"/>
                </a:lnTo>
                <a:lnTo>
                  <a:pt x="30" y="300"/>
                </a:lnTo>
                <a:lnTo>
                  <a:pt x="30" y="300"/>
                </a:lnTo>
                <a:lnTo>
                  <a:pt x="29" y="308"/>
                </a:lnTo>
                <a:lnTo>
                  <a:pt x="26" y="315"/>
                </a:lnTo>
                <a:lnTo>
                  <a:pt x="23" y="322"/>
                </a:lnTo>
                <a:lnTo>
                  <a:pt x="22" y="330"/>
                </a:lnTo>
                <a:lnTo>
                  <a:pt x="22" y="330"/>
                </a:lnTo>
                <a:lnTo>
                  <a:pt x="23" y="337"/>
                </a:lnTo>
                <a:lnTo>
                  <a:pt x="26" y="342"/>
                </a:lnTo>
                <a:lnTo>
                  <a:pt x="29" y="345"/>
                </a:lnTo>
                <a:lnTo>
                  <a:pt x="34" y="347"/>
                </a:lnTo>
                <a:lnTo>
                  <a:pt x="39" y="348"/>
                </a:lnTo>
                <a:lnTo>
                  <a:pt x="46" y="348"/>
                </a:lnTo>
                <a:lnTo>
                  <a:pt x="59" y="348"/>
                </a:lnTo>
                <a:lnTo>
                  <a:pt x="59" y="348"/>
                </a:lnTo>
                <a:lnTo>
                  <a:pt x="70" y="347"/>
                </a:lnTo>
                <a:lnTo>
                  <a:pt x="82" y="346"/>
                </a:lnTo>
                <a:lnTo>
                  <a:pt x="93" y="344"/>
                </a:lnTo>
                <a:lnTo>
                  <a:pt x="105" y="340"/>
                </a:lnTo>
                <a:lnTo>
                  <a:pt x="126" y="334"/>
                </a:lnTo>
                <a:lnTo>
                  <a:pt x="146" y="324"/>
                </a:lnTo>
                <a:lnTo>
                  <a:pt x="182" y="306"/>
                </a:lnTo>
                <a:lnTo>
                  <a:pt x="198" y="299"/>
                </a:lnTo>
                <a:lnTo>
                  <a:pt x="213" y="293"/>
                </a:lnTo>
                <a:lnTo>
                  <a:pt x="213" y="293"/>
                </a:lnTo>
                <a:lnTo>
                  <a:pt x="220" y="307"/>
                </a:lnTo>
                <a:lnTo>
                  <a:pt x="227" y="320"/>
                </a:lnTo>
                <a:lnTo>
                  <a:pt x="234" y="331"/>
                </a:lnTo>
                <a:lnTo>
                  <a:pt x="237" y="337"/>
                </a:lnTo>
                <a:lnTo>
                  <a:pt x="243" y="340"/>
                </a:lnTo>
                <a:lnTo>
                  <a:pt x="243" y="340"/>
                </a:lnTo>
                <a:lnTo>
                  <a:pt x="248" y="338"/>
                </a:lnTo>
                <a:lnTo>
                  <a:pt x="251" y="336"/>
                </a:lnTo>
                <a:lnTo>
                  <a:pt x="257" y="330"/>
                </a:lnTo>
                <a:lnTo>
                  <a:pt x="257" y="330"/>
                </a:lnTo>
                <a:lnTo>
                  <a:pt x="263" y="332"/>
                </a:lnTo>
                <a:lnTo>
                  <a:pt x="267" y="337"/>
                </a:lnTo>
                <a:lnTo>
                  <a:pt x="274" y="344"/>
                </a:lnTo>
                <a:lnTo>
                  <a:pt x="280" y="350"/>
                </a:lnTo>
                <a:lnTo>
                  <a:pt x="283" y="352"/>
                </a:lnTo>
                <a:lnTo>
                  <a:pt x="287" y="352"/>
                </a:lnTo>
                <a:lnTo>
                  <a:pt x="287" y="352"/>
                </a:lnTo>
                <a:lnTo>
                  <a:pt x="293" y="352"/>
                </a:lnTo>
                <a:lnTo>
                  <a:pt x="297" y="350"/>
                </a:lnTo>
                <a:lnTo>
                  <a:pt x="299" y="347"/>
                </a:lnTo>
                <a:lnTo>
                  <a:pt x="302" y="344"/>
                </a:lnTo>
                <a:lnTo>
                  <a:pt x="305" y="338"/>
                </a:lnTo>
                <a:lnTo>
                  <a:pt x="309" y="336"/>
                </a:lnTo>
                <a:lnTo>
                  <a:pt x="312" y="334"/>
                </a:lnTo>
                <a:lnTo>
                  <a:pt x="312" y="334"/>
                </a:lnTo>
                <a:lnTo>
                  <a:pt x="327" y="330"/>
                </a:lnTo>
                <a:lnTo>
                  <a:pt x="340" y="327"/>
                </a:lnTo>
                <a:lnTo>
                  <a:pt x="350" y="322"/>
                </a:lnTo>
                <a:lnTo>
                  <a:pt x="359" y="317"/>
                </a:lnTo>
                <a:lnTo>
                  <a:pt x="367" y="312"/>
                </a:lnTo>
                <a:lnTo>
                  <a:pt x="375" y="306"/>
                </a:lnTo>
                <a:lnTo>
                  <a:pt x="382" y="299"/>
                </a:lnTo>
                <a:lnTo>
                  <a:pt x="388" y="292"/>
                </a:lnTo>
                <a:lnTo>
                  <a:pt x="400" y="277"/>
                </a:lnTo>
                <a:lnTo>
                  <a:pt x="411" y="260"/>
                </a:lnTo>
                <a:lnTo>
                  <a:pt x="425" y="243"/>
                </a:lnTo>
                <a:lnTo>
                  <a:pt x="433" y="233"/>
                </a:lnTo>
                <a:lnTo>
                  <a:pt x="441" y="223"/>
                </a:lnTo>
                <a:lnTo>
                  <a:pt x="441" y="223"/>
                </a:lnTo>
                <a:lnTo>
                  <a:pt x="435" y="220"/>
                </a:lnTo>
                <a:lnTo>
                  <a:pt x="429" y="216"/>
                </a:lnTo>
                <a:lnTo>
                  <a:pt x="425" y="212"/>
                </a:lnTo>
                <a:lnTo>
                  <a:pt x="421" y="206"/>
                </a:lnTo>
                <a:lnTo>
                  <a:pt x="415" y="193"/>
                </a:lnTo>
                <a:lnTo>
                  <a:pt x="408" y="182"/>
                </a:lnTo>
                <a:lnTo>
                  <a:pt x="401" y="169"/>
                </a:lnTo>
                <a:lnTo>
                  <a:pt x="396" y="164"/>
                </a:lnTo>
                <a:lnTo>
                  <a:pt x="391" y="160"/>
                </a:lnTo>
                <a:lnTo>
                  <a:pt x="385" y="155"/>
                </a:lnTo>
                <a:lnTo>
                  <a:pt x="378" y="153"/>
                </a:lnTo>
                <a:lnTo>
                  <a:pt x="370" y="151"/>
                </a:lnTo>
                <a:lnTo>
                  <a:pt x="360" y="149"/>
                </a:lnTo>
                <a:lnTo>
                  <a:pt x="360" y="149"/>
                </a:lnTo>
                <a:lnTo>
                  <a:pt x="331" y="149"/>
                </a:lnTo>
                <a:lnTo>
                  <a:pt x="331" y="149"/>
                </a:lnTo>
                <a:lnTo>
                  <a:pt x="319" y="148"/>
                </a:lnTo>
                <a:lnTo>
                  <a:pt x="309" y="145"/>
                </a:lnTo>
                <a:lnTo>
                  <a:pt x="298" y="140"/>
                </a:lnTo>
                <a:lnTo>
                  <a:pt x="289" y="132"/>
                </a:lnTo>
                <a:lnTo>
                  <a:pt x="280" y="124"/>
                </a:lnTo>
                <a:lnTo>
                  <a:pt x="271" y="115"/>
                </a:lnTo>
                <a:lnTo>
                  <a:pt x="263" y="103"/>
                </a:lnTo>
                <a:lnTo>
                  <a:pt x="255" y="92"/>
                </a:lnTo>
                <a:lnTo>
                  <a:pt x="240" y="69"/>
                </a:lnTo>
                <a:lnTo>
                  <a:pt x="225" y="46"/>
                </a:lnTo>
                <a:lnTo>
                  <a:pt x="210" y="25"/>
                </a:lnTo>
                <a:lnTo>
                  <a:pt x="203" y="17"/>
                </a:lnTo>
                <a:lnTo>
                  <a:pt x="195" y="10"/>
                </a:lnTo>
                <a:lnTo>
                  <a:pt x="195" y="10"/>
                </a:lnTo>
                <a:lnTo>
                  <a:pt x="203" y="17"/>
                </a:lnTo>
                <a:lnTo>
                  <a:pt x="203" y="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3" name="Freeform 68"/>
          <p:cNvSpPr>
            <a:spLocks/>
          </p:cNvSpPr>
          <p:nvPr/>
        </p:nvSpPr>
        <p:spPr bwMode="auto">
          <a:xfrm>
            <a:off x="1362075" y="3944938"/>
            <a:ext cx="242888" cy="350837"/>
          </a:xfrm>
          <a:custGeom>
            <a:avLst/>
            <a:gdLst/>
            <a:ahLst/>
            <a:cxnLst>
              <a:cxn ang="0">
                <a:pos x="118" y="393"/>
              </a:cxn>
              <a:cxn ang="0">
                <a:pos x="125" y="376"/>
              </a:cxn>
              <a:cxn ang="0">
                <a:pos x="145" y="361"/>
              </a:cxn>
              <a:cxn ang="0">
                <a:pos x="204" y="345"/>
              </a:cxn>
              <a:cxn ang="0">
                <a:pos x="251" y="333"/>
              </a:cxn>
              <a:cxn ang="0">
                <a:pos x="277" y="318"/>
              </a:cxn>
              <a:cxn ang="0">
                <a:pos x="291" y="302"/>
              </a:cxn>
              <a:cxn ang="0">
                <a:pos x="298" y="279"/>
              </a:cxn>
              <a:cxn ang="0">
                <a:pos x="278" y="269"/>
              </a:cxn>
              <a:cxn ang="0">
                <a:pos x="258" y="261"/>
              </a:cxn>
              <a:cxn ang="0">
                <a:pos x="250" y="253"/>
              </a:cxn>
              <a:cxn ang="0">
                <a:pos x="245" y="235"/>
              </a:cxn>
              <a:cxn ang="0">
                <a:pos x="232" y="223"/>
              </a:cxn>
              <a:cxn ang="0">
                <a:pos x="206" y="203"/>
              </a:cxn>
              <a:cxn ang="0">
                <a:pos x="199" y="192"/>
              </a:cxn>
              <a:cxn ang="0">
                <a:pos x="195" y="166"/>
              </a:cxn>
              <a:cxn ang="0">
                <a:pos x="181" y="154"/>
              </a:cxn>
              <a:cxn ang="0">
                <a:pos x="167" y="151"/>
              </a:cxn>
              <a:cxn ang="0">
                <a:pos x="138" y="143"/>
              </a:cxn>
              <a:cxn ang="0">
                <a:pos x="133" y="133"/>
              </a:cxn>
              <a:cxn ang="0">
                <a:pos x="133" y="124"/>
              </a:cxn>
              <a:cxn ang="0">
                <a:pos x="143" y="107"/>
              </a:cxn>
              <a:cxn ang="0">
                <a:pos x="144" y="95"/>
              </a:cxn>
              <a:cxn ang="0">
                <a:pos x="138" y="78"/>
              </a:cxn>
              <a:cxn ang="0">
                <a:pos x="129" y="63"/>
              </a:cxn>
              <a:cxn ang="0">
                <a:pos x="109" y="78"/>
              </a:cxn>
              <a:cxn ang="0">
                <a:pos x="92" y="81"/>
              </a:cxn>
              <a:cxn ang="0">
                <a:pos x="84" y="79"/>
              </a:cxn>
              <a:cxn ang="0">
                <a:pos x="64" y="61"/>
              </a:cxn>
              <a:cxn ang="0">
                <a:pos x="53" y="32"/>
              </a:cxn>
              <a:cxn ang="0">
                <a:pos x="53" y="11"/>
              </a:cxn>
              <a:cxn ang="0">
                <a:pos x="55" y="0"/>
              </a:cxn>
              <a:cxn ang="0">
                <a:pos x="52" y="11"/>
              </a:cxn>
              <a:cxn ang="0">
                <a:pos x="21" y="50"/>
              </a:cxn>
              <a:cxn ang="0">
                <a:pos x="3" y="78"/>
              </a:cxn>
              <a:cxn ang="0">
                <a:pos x="0" y="99"/>
              </a:cxn>
              <a:cxn ang="0">
                <a:pos x="3" y="118"/>
              </a:cxn>
              <a:cxn ang="0">
                <a:pos x="19" y="151"/>
              </a:cxn>
              <a:cxn ang="0">
                <a:pos x="49" y="195"/>
              </a:cxn>
              <a:cxn ang="0">
                <a:pos x="59" y="219"/>
              </a:cxn>
              <a:cxn ang="0">
                <a:pos x="59" y="238"/>
              </a:cxn>
              <a:cxn ang="0">
                <a:pos x="52" y="261"/>
              </a:cxn>
              <a:cxn ang="0">
                <a:pos x="52" y="301"/>
              </a:cxn>
              <a:cxn ang="0">
                <a:pos x="59" y="318"/>
              </a:cxn>
              <a:cxn ang="0">
                <a:pos x="72" y="330"/>
              </a:cxn>
              <a:cxn ang="0">
                <a:pos x="85" y="344"/>
              </a:cxn>
              <a:cxn ang="0">
                <a:pos x="99" y="367"/>
              </a:cxn>
              <a:cxn ang="0">
                <a:pos x="116" y="382"/>
              </a:cxn>
              <a:cxn ang="0">
                <a:pos x="118" y="400"/>
              </a:cxn>
            </a:cxnLst>
            <a:rect l="0" t="0" r="r" b="b"/>
            <a:pathLst>
              <a:path w="298" h="400">
                <a:moveTo>
                  <a:pt x="118" y="400"/>
                </a:moveTo>
                <a:lnTo>
                  <a:pt x="118" y="400"/>
                </a:lnTo>
                <a:lnTo>
                  <a:pt x="118" y="393"/>
                </a:lnTo>
                <a:lnTo>
                  <a:pt x="120" y="386"/>
                </a:lnTo>
                <a:lnTo>
                  <a:pt x="122" y="380"/>
                </a:lnTo>
                <a:lnTo>
                  <a:pt x="125" y="376"/>
                </a:lnTo>
                <a:lnTo>
                  <a:pt x="129" y="371"/>
                </a:lnTo>
                <a:lnTo>
                  <a:pt x="133" y="367"/>
                </a:lnTo>
                <a:lnTo>
                  <a:pt x="145" y="361"/>
                </a:lnTo>
                <a:lnTo>
                  <a:pt x="157" y="355"/>
                </a:lnTo>
                <a:lnTo>
                  <a:pt x="171" y="352"/>
                </a:lnTo>
                <a:lnTo>
                  <a:pt x="204" y="345"/>
                </a:lnTo>
                <a:lnTo>
                  <a:pt x="220" y="342"/>
                </a:lnTo>
                <a:lnTo>
                  <a:pt x="236" y="338"/>
                </a:lnTo>
                <a:lnTo>
                  <a:pt x="251" y="333"/>
                </a:lnTo>
                <a:lnTo>
                  <a:pt x="265" y="326"/>
                </a:lnTo>
                <a:lnTo>
                  <a:pt x="271" y="323"/>
                </a:lnTo>
                <a:lnTo>
                  <a:pt x="277" y="318"/>
                </a:lnTo>
                <a:lnTo>
                  <a:pt x="282" y="314"/>
                </a:lnTo>
                <a:lnTo>
                  <a:pt x="286" y="308"/>
                </a:lnTo>
                <a:lnTo>
                  <a:pt x="291" y="302"/>
                </a:lnTo>
                <a:lnTo>
                  <a:pt x="294" y="295"/>
                </a:lnTo>
                <a:lnTo>
                  <a:pt x="297" y="287"/>
                </a:lnTo>
                <a:lnTo>
                  <a:pt x="298" y="279"/>
                </a:lnTo>
                <a:lnTo>
                  <a:pt x="298" y="279"/>
                </a:lnTo>
                <a:lnTo>
                  <a:pt x="289" y="275"/>
                </a:lnTo>
                <a:lnTo>
                  <a:pt x="278" y="269"/>
                </a:lnTo>
                <a:lnTo>
                  <a:pt x="271" y="265"/>
                </a:lnTo>
                <a:lnTo>
                  <a:pt x="266" y="263"/>
                </a:lnTo>
                <a:lnTo>
                  <a:pt x="258" y="261"/>
                </a:lnTo>
                <a:lnTo>
                  <a:pt x="251" y="261"/>
                </a:lnTo>
                <a:lnTo>
                  <a:pt x="251" y="261"/>
                </a:lnTo>
                <a:lnTo>
                  <a:pt x="250" y="253"/>
                </a:lnTo>
                <a:lnTo>
                  <a:pt x="248" y="246"/>
                </a:lnTo>
                <a:lnTo>
                  <a:pt x="247" y="241"/>
                </a:lnTo>
                <a:lnTo>
                  <a:pt x="245" y="235"/>
                </a:lnTo>
                <a:lnTo>
                  <a:pt x="243" y="232"/>
                </a:lnTo>
                <a:lnTo>
                  <a:pt x="239" y="229"/>
                </a:lnTo>
                <a:lnTo>
                  <a:pt x="232" y="223"/>
                </a:lnTo>
                <a:lnTo>
                  <a:pt x="216" y="212"/>
                </a:lnTo>
                <a:lnTo>
                  <a:pt x="209" y="207"/>
                </a:lnTo>
                <a:lnTo>
                  <a:pt x="206" y="203"/>
                </a:lnTo>
                <a:lnTo>
                  <a:pt x="202" y="199"/>
                </a:lnTo>
                <a:lnTo>
                  <a:pt x="202" y="199"/>
                </a:lnTo>
                <a:lnTo>
                  <a:pt x="199" y="192"/>
                </a:lnTo>
                <a:lnTo>
                  <a:pt x="198" y="185"/>
                </a:lnTo>
                <a:lnTo>
                  <a:pt x="197" y="172"/>
                </a:lnTo>
                <a:lnTo>
                  <a:pt x="195" y="166"/>
                </a:lnTo>
                <a:lnTo>
                  <a:pt x="193" y="162"/>
                </a:lnTo>
                <a:lnTo>
                  <a:pt x="189" y="157"/>
                </a:lnTo>
                <a:lnTo>
                  <a:pt x="181" y="154"/>
                </a:lnTo>
                <a:lnTo>
                  <a:pt x="181" y="154"/>
                </a:lnTo>
                <a:lnTo>
                  <a:pt x="174" y="153"/>
                </a:lnTo>
                <a:lnTo>
                  <a:pt x="167" y="151"/>
                </a:lnTo>
                <a:lnTo>
                  <a:pt x="151" y="149"/>
                </a:lnTo>
                <a:lnTo>
                  <a:pt x="144" y="148"/>
                </a:lnTo>
                <a:lnTo>
                  <a:pt x="138" y="143"/>
                </a:lnTo>
                <a:lnTo>
                  <a:pt x="136" y="141"/>
                </a:lnTo>
                <a:lnTo>
                  <a:pt x="134" y="138"/>
                </a:lnTo>
                <a:lnTo>
                  <a:pt x="133" y="133"/>
                </a:lnTo>
                <a:lnTo>
                  <a:pt x="132" y="128"/>
                </a:lnTo>
                <a:lnTo>
                  <a:pt x="132" y="128"/>
                </a:lnTo>
                <a:lnTo>
                  <a:pt x="133" y="124"/>
                </a:lnTo>
                <a:lnTo>
                  <a:pt x="134" y="119"/>
                </a:lnTo>
                <a:lnTo>
                  <a:pt x="138" y="113"/>
                </a:lnTo>
                <a:lnTo>
                  <a:pt x="143" y="107"/>
                </a:lnTo>
                <a:lnTo>
                  <a:pt x="144" y="102"/>
                </a:lnTo>
                <a:lnTo>
                  <a:pt x="144" y="95"/>
                </a:lnTo>
                <a:lnTo>
                  <a:pt x="144" y="95"/>
                </a:lnTo>
                <a:lnTo>
                  <a:pt x="144" y="90"/>
                </a:lnTo>
                <a:lnTo>
                  <a:pt x="141" y="86"/>
                </a:lnTo>
                <a:lnTo>
                  <a:pt x="138" y="78"/>
                </a:lnTo>
                <a:lnTo>
                  <a:pt x="133" y="70"/>
                </a:lnTo>
                <a:lnTo>
                  <a:pt x="129" y="63"/>
                </a:lnTo>
                <a:lnTo>
                  <a:pt x="129" y="63"/>
                </a:lnTo>
                <a:lnTo>
                  <a:pt x="121" y="70"/>
                </a:lnTo>
                <a:lnTo>
                  <a:pt x="114" y="76"/>
                </a:lnTo>
                <a:lnTo>
                  <a:pt x="109" y="78"/>
                </a:lnTo>
                <a:lnTo>
                  <a:pt x="105" y="79"/>
                </a:lnTo>
                <a:lnTo>
                  <a:pt x="99" y="80"/>
                </a:lnTo>
                <a:lnTo>
                  <a:pt x="92" y="81"/>
                </a:lnTo>
                <a:lnTo>
                  <a:pt x="92" y="81"/>
                </a:lnTo>
                <a:lnTo>
                  <a:pt x="88" y="80"/>
                </a:lnTo>
                <a:lnTo>
                  <a:pt x="84" y="79"/>
                </a:lnTo>
                <a:lnTo>
                  <a:pt x="77" y="76"/>
                </a:lnTo>
                <a:lnTo>
                  <a:pt x="70" y="69"/>
                </a:lnTo>
                <a:lnTo>
                  <a:pt x="64" y="61"/>
                </a:lnTo>
                <a:lnTo>
                  <a:pt x="59" y="52"/>
                </a:lnTo>
                <a:lnTo>
                  <a:pt x="55" y="42"/>
                </a:lnTo>
                <a:lnTo>
                  <a:pt x="53" y="32"/>
                </a:lnTo>
                <a:lnTo>
                  <a:pt x="52" y="21"/>
                </a:lnTo>
                <a:lnTo>
                  <a:pt x="52" y="21"/>
                </a:lnTo>
                <a:lnTo>
                  <a:pt x="53" y="11"/>
                </a:lnTo>
                <a:lnTo>
                  <a:pt x="54" y="4"/>
                </a:lnTo>
                <a:lnTo>
                  <a:pt x="55" y="0"/>
                </a:lnTo>
                <a:lnTo>
                  <a:pt x="55" y="0"/>
                </a:lnTo>
                <a:lnTo>
                  <a:pt x="52" y="11"/>
                </a:lnTo>
                <a:lnTo>
                  <a:pt x="52" y="11"/>
                </a:lnTo>
                <a:lnTo>
                  <a:pt x="52" y="11"/>
                </a:lnTo>
                <a:lnTo>
                  <a:pt x="46" y="23"/>
                </a:lnTo>
                <a:lnTo>
                  <a:pt x="38" y="32"/>
                </a:lnTo>
                <a:lnTo>
                  <a:pt x="21" y="50"/>
                </a:lnTo>
                <a:lnTo>
                  <a:pt x="13" y="61"/>
                </a:lnTo>
                <a:lnTo>
                  <a:pt x="7" y="71"/>
                </a:lnTo>
                <a:lnTo>
                  <a:pt x="3" y="78"/>
                </a:lnTo>
                <a:lnTo>
                  <a:pt x="2" y="84"/>
                </a:lnTo>
                <a:lnTo>
                  <a:pt x="1" y="92"/>
                </a:lnTo>
                <a:lnTo>
                  <a:pt x="0" y="99"/>
                </a:lnTo>
                <a:lnTo>
                  <a:pt x="0" y="99"/>
                </a:lnTo>
                <a:lnTo>
                  <a:pt x="1" y="109"/>
                </a:lnTo>
                <a:lnTo>
                  <a:pt x="3" y="118"/>
                </a:lnTo>
                <a:lnTo>
                  <a:pt x="6" y="127"/>
                </a:lnTo>
                <a:lnTo>
                  <a:pt x="9" y="135"/>
                </a:lnTo>
                <a:lnTo>
                  <a:pt x="19" y="151"/>
                </a:lnTo>
                <a:lnTo>
                  <a:pt x="30" y="166"/>
                </a:lnTo>
                <a:lnTo>
                  <a:pt x="40" y="180"/>
                </a:lnTo>
                <a:lnTo>
                  <a:pt x="49" y="195"/>
                </a:lnTo>
                <a:lnTo>
                  <a:pt x="54" y="203"/>
                </a:lnTo>
                <a:lnTo>
                  <a:pt x="56" y="210"/>
                </a:lnTo>
                <a:lnTo>
                  <a:pt x="59" y="219"/>
                </a:lnTo>
                <a:lnTo>
                  <a:pt x="59" y="227"/>
                </a:lnTo>
                <a:lnTo>
                  <a:pt x="59" y="227"/>
                </a:lnTo>
                <a:lnTo>
                  <a:pt x="59" y="238"/>
                </a:lnTo>
                <a:lnTo>
                  <a:pt x="57" y="247"/>
                </a:lnTo>
                <a:lnTo>
                  <a:pt x="55" y="254"/>
                </a:lnTo>
                <a:lnTo>
                  <a:pt x="52" y="261"/>
                </a:lnTo>
                <a:lnTo>
                  <a:pt x="52" y="261"/>
                </a:lnTo>
                <a:lnTo>
                  <a:pt x="52" y="301"/>
                </a:lnTo>
                <a:lnTo>
                  <a:pt x="52" y="301"/>
                </a:lnTo>
                <a:lnTo>
                  <a:pt x="53" y="308"/>
                </a:lnTo>
                <a:lnTo>
                  <a:pt x="55" y="314"/>
                </a:lnTo>
                <a:lnTo>
                  <a:pt x="59" y="318"/>
                </a:lnTo>
                <a:lnTo>
                  <a:pt x="63" y="323"/>
                </a:lnTo>
                <a:lnTo>
                  <a:pt x="68" y="328"/>
                </a:lnTo>
                <a:lnTo>
                  <a:pt x="72" y="330"/>
                </a:lnTo>
                <a:lnTo>
                  <a:pt x="82" y="334"/>
                </a:lnTo>
                <a:lnTo>
                  <a:pt x="82" y="334"/>
                </a:lnTo>
                <a:lnTo>
                  <a:pt x="85" y="344"/>
                </a:lnTo>
                <a:lnTo>
                  <a:pt x="88" y="352"/>
                </a:lnTo>
                <a:lnTo>
                  <a:pt x="93" y="360"/>
                </a:lnTo>
                <a:lnTo>
                  <a:pt x="99" y="367"/>
                </a:lnTo>
                <a:lnTo>
                  <a:pt x="105" y="372"/>
                </a:lnTo>
                <a:lnTo>
                  <a:pt x="110" y="378"/>
                </a:lnTo>
                <a:lnTo>
                  <a:pt x="116" y="382"/>
                </a:lnTo>
                <a:lnTo>
                  <a:pt x="122" y="385"/>
                </a:lnTo>
                <a:lnTo>
                  <a:pt x="122" y="385"/>
                </a:lnTo>
                <a:lnTo>
                  <a:pt x="118" y="400"/>
                </a:lnTo>
                <a:lnTo>
                  <a:pt x="118" y="40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4" name="Freeform 69"/>
          <p:cNvSpPr>
            <a:spLocks/>
          </p:cNvSpPr>
          <p:nvPr/>
        </p:nvSpPr>
        <p:spPr bwMode="auto">
          <a:xfrm>
            <a:off x="1120775" y="3846513"/>
            <a:ext cx="288925" cy="368300"/>
          </a:xfrm>
          <a:custGeom>
            <a:avLst/>
            <a:gdLst/>
            <a:ahLst/>
            <a:cxnLst>
              <a:cxn ang="0">
                <a:pos x="341" y="95"/>
              </a:cxn>
              <a:cxn ang="0">
                <a:pos x="324" y="72"/>
              </a:cxn>
              <a:cxn ang="0">
                <a:pos x="290" y="63"/>
              </a:cxn>
              <a:cxn ang="0">
                <a:pos x="280" y="65"/>
              </a:cxn>
              <a:cxn ang="0">
                <a:pos x="258" y="77"/>
              </a:cxn>
              <a:cxn ang="0">
                <a:pos x="249" y="77"/>
              </a:cxn>
              <a:cxn ang="0">
                <a:pos x="240" y="69"/>
              </a:cxn>
              <a:cxn ang="0">
                <a:pos x="228" y="55"/>
              </a:cxn>
              <a:cxn ang="0">
                <a:pos x="214" y="49"/>
              </a:cxn>
              <a:cxn ang="0">
                <a:pos x="183" y="42"/>
              </a:cxn>
              <a:cxn ang="0">
                <a:pos x="173" y="36"/>
              </a:cxn>
              <a:cxn ang="0">
                <a:pos x="164" y="19"/>
              </a:cxn>
              <a:cxn ang="0">
                <a:pos x="153" y="2"/>
              </a:cxn>
              <a:cxn ang="0">
                <a:pos x="136" y="19"/>
              </a:cxn>
              <a:cxn ang="0">
                <a:pos x="129" y="22"/>
              </a:cxn>
              <a:cxn ang="0">
                <a:pos x="90" y="22"/>
              </a:cxn>
              <a:cxn ang="0">
                <a:pos x="78" y="15"/>
              </a:cxn>
              <a:cxn ang="0">
                <a:pos x="56" y="45"/>
              </a:cxn>
              <a:cxn ang="0">
                <a:pos x="22" y="95"/>
              </a:cxn>
              <a:cxn ang="0">
                <a:pos x="0" y="114"/>
              </a:cxn>
              <a:cxn ang="0">
                <a:pos x="25" y="120"/>
              </a:cxn>
              <a:cxn ang="0">
                <a:pos x="44" y="138"/>
              </a:cxn>
              <a:cxn ang="0">
                <a:pos x="59" y="162"/>
              </a:cxn>
              <a:cxn ang="0">
                <a:pos x="73" y="175"/>
              </a:cxn>
              <a:cxn ang="0">
                <a:pos x="99" y="191"/>
              </a:cxn>
              <a:cxn ang="0">
                <a:pos x="110" y="207"/>
              </a:cxn>
              <a:cxn ang="0">
                <a:pos x="114" y="231"/>
              </a:cxn>
              <a:cxn ang="0">
                <a:pos x="112" y="241"/>
              </a:cxn>
              <a:cxn ang="0">
                <a:pos x="101" y="269"/>
              </a:cxn>
              <a:cxn ang="0">
                <a:pos x="101" y="284"/>
              </a:cxn>
              <a:cxn ang="0">
                <a:pos x="107" y="305"/>
              </a:cxn>
              <a:cxn ang="0">
                <a:pos x="124" y="323"/>
              </a:cxn>
              <a:cxn ang="0">
                <a:pos x="140" y="341"/>
              </a:cxn>
              <a:cxn ang="0">
                <a:pos x="147" y="362"/>
              </a:cxn>
              <a:cxn ang="0">
                <a:pos x="147" y="376"/>
              </a:cxn>
              <a:cxn ang="0">
                <a:pos x="133" y="392"/>
              </a:cxn>
              <a:cxn ang="0">
                <a:pos x="126" y="407"/>
              </a:cxn>
              <a:cxn ang="0">
                <a:pos x="127" y="415"/>
              </a:cxn>
              <a:cxn ang="0">
                <a:pos x="135" y="422"/>
              </a:cxn>
              <a:cxn ang="0">
                <a:pos x="144" y="422"/>
              </a:cxn>
              <a:cxn ang="0">
                <a:pos x="158" y="407"/>
              </a:cxn>
              <a:cxn ang="0">
                <a:pos x="165" y="404"/>
              </a:cxn>
              <a:cxn ang="0">
                <a:pos x="204" y="404"/>
              </a:cxn>
              <a:cxn ang="0">
                <a:pos x="235" y="394"/>
              </a:cxn>
              <a:cxn ang="0">
                <a:pos x="250" y="393"/>
              </a:cxn>
              <a:cxn ang="0">
                <a:pos x="273" y="399"/>
              </a:cxn>
              <a:cxn ang="0">
                <a:pos x="297" y="404"/>
              </a:cxn>
              <a:cxn ang="0">
                <a:pos x="324" y="400"/>
              </a:cxn>
              <a:cxn ang="0">
                <a:pos x="347" y="379"/>
              </a:cxn>
              <a:cxn ang="0">
                <a:pos x="353" y="341"/>
              </a:cxn>
              <a:cxn ang="0">
                <a:pos x="350" y="324"/>
              </a:cxn>
              <a:cxn ang="0">
                <a:pos x="334" y="294"/>
              </a:cxn>
              <a:cxn ang="0">
                <a:pos x="303" y="249"/>
              </a:cxn>
              <a:cxn ang="0">
                <a:pos x="295" y="223"/>
              </a:cxn>
              <a:cxn ang="0">
                <a:pos x="295" y="206"/>
              </a:cxn>
              <a:cxn ang="0">
                <a:pos x="301" y="185"/>
              </a:cxn>
              <a:cxn ang="0">
                <a:pos x="332" y="146"/>
              </a:cxn>
              <a:cxn ang="0">
                <a:pos x="346" y="125"/>
              </a:cxn>
            </a:cxnLst>
            <a:rect l="0" t="0" r="r" b="b"/>
            <a:pathLst>
              <a:path w="353" h="422">
                <a:moveTo>
                  <a:pt x="349" y="114"/>
                </a:moveTo>
                <a:lnTo>
                  <a:pt x="349" y="114"/>
                </a:lnTo>
                <a:lnTo>
                  <a:pt x="341" y="95"/>
                </a:lnTo>
                <a:lnTo>
                  <a:pt x="336" y="86"/>
                </a:lnTo>
                <a:lnTo>
                  <a:pt x="331" y="79"/>
                </a:lnTo>
                <a:lnTo>
                  <a:pt x="324" y="72"/>
                </a:lnTo>
                <a:lnTo>
                  <a:pt x="316" y="66"/>
                </a:lnTo>
                <a:lnTo>
                  <a:pt x="304" y="64"/>
                </a:lnTo>
                <a:lnTo>
                  <a:pt x="290" y="63"/>
                </a:lnTo>
                <a:lnTo>
                  <a:pt x="290" y="63"/>
                </a:lnTo>
                <a:lnTo>
                  <a:pt x="286" y="63"/>
                </a:lnTo>
                <a:lnTo>
                  <a:pt x="280" y="65"/>
                </a:lnTo>
                <a:lnTo>
                  <a:pt x="271" y="70"/>
                </a:lnTo>
                <a:lnTo>
                  <a:pt x="262" y="74"/>
                </a:lnTo>
                <a:lnTo>
                  <a:pt x="258" y="77"/>
                </a:lnTo>
                <a:lnTo>
                  <a:pt x="254" y="77"/>
                </a:lnTo>
                <a:lnTo>
                  <a:pt x="254" y="77"/>
                </a:lnTo>
                <a:lnTo>
                  <a:pt x="249" y="77"/>
                </a:lnTo>
                <a:lnTo>
                  <a:pt x="246" y="74"/>
                </a:lnTo>
                <a:lnTo>
                  <a:pt x="242" y="72"/>
                </a:lnTo>
                <a:lnTo>
                  <a:pt x="240" y="69"/>
                </a:lnTo>
                <a:lnTo>
                  <a:pt x="235" y="62"/>
                </a:lnTo>
                <a:lnTo>
                  <a:pt x="232" y="58"/>
                </a:lnTo>
                <a:lnTo>
                  <a:pt x="228" y="55"/>
                </a:lnTo>
                <a:lnTo>
                  <a:pt x="228" y="55"/>
                </a:lnTo>
                <a:lnTo>
                  <a:pt x="221" y="51"/>
                </a:lnTo>
                <a:lnTo>
                  <a:pt x="214" y="49"/>
                </a:lnTo>
                <a:lnTo>
                  <a:pt x="203" y="46"/>
                </a:lnTo>
                <a:lnTo>
                  <a:pt x="193" y="45"/>
                </a:lnTo>
                <a:lnTo>
                  <a:pt x="183" y="42"/>
                </a:lnTo>
                <a:lnTo>
                  <a:pt x="180" y="41"/>
                </a:lnTo>
                <a:lnTo>
                  <a:pt x="176" y="39"/>
                </a:lnTo>
                <a:lnTo>
                  <a:pt x="173" y="36"/>
                </a:lnTo>
                <a:lnTo>
                  <a:pt x="170" y="32"/>
                </a:lnTo>
                <a:lnTo>
                  <a:pt x="167" y="26"/>
                </a:lnTo>
                <a:lnTo>
                  <a:pt x="164" y="19"/>
                </a:lnTo>
                <a:lnTo>
                  <a:pt x="158" y="0"/>
                </a:lnTo>
                <a:lnTo>
                  <a:pt x="158" y="0"/>
                </a:lnTo>
                <a:lnTo>
                  <a:pt x="153" y="2"/>
                </a:lnTo>
                <a:lnTo>
                  <a:pt x="149" y="5"/>
                </a:lnTo>
                <a:lnTo>
                  <a:pt x="142" y="12"/>
                </a:lnTo>
                <a:lnTo>
                  <a:pt x="136" y="19"/>
                </a:lnTo>
                <a:lnTo>
                  <a:pt x="133" y="22"/>
                </a:lnTo>
                <a:lnTo>
                  <a:pt x="129" y="22"/>
                </a:lnTo>
                <a:lnTo>
                  <a:pt x="129" y="22"/>
                </a:lnTo>
                <a:lnTo>
                  <a:pt x="96" y="22"/>
                </a:lnTo>
                <a:lnTo>
                  <a:pt x="96" y="22"/>
                </a:lnTo>
                <a:lnTo>
                  <a:pt x="90" y="22"/>
                </a:lnTo>
                <a:lnTo>
                  <a:pt x="86" y="19"/>
                </a:lnTo>
                <a:lnTo>
                  <a:pt x="81" y="17"/>
                </a:lnTo>
                <a:lnTo>
                  <a:pt x="78" y="15"/>
                </a:lnTo>
                <a:lnTo>
                  <a:pt x="78" y="15"/>
                </a:lnTo>
                <a:lnTo>
                  <a:pt x="65" y="30"/>
                </a:lnTo>
                <a:lnTo>
                  <a:pt x="56" y="45"/>
                </a:lnTo>
                <a:lnTo>
                  <a:pt x="40" y="71"/>
                </a:lnTo>
                <a:lnTo>
                  <a:pt x="31" y="84"/>
                </a:lnTo>
                <a:lnTo>
                  <a:pt x="22" y="95"/>
                </a:lnTo>
                <a:lnTo>
                  <a:pt x="13" y="104"/>
                </a:lnTo>
                <a:lnTo>
                  <a:pt x="7" y="109"/>
                </a:lnTo>
                <a:lnTo>
                  <a:pt x="0" y="114"/>
                </a:lnTo>
                <a:lnTo>
                  <a:pt x="0" y="114"/>
                </a:lnTo>
                <a:lnTo>
                  <a:pt x="14" y="117"/>
                </a:lnTo>
                <a:lnTo>
                  <a:pt x="25" y="120"/>
                </a:lnTo>
                <a:lnTo>
                  <a:pt x="33" y="125"/>
                </a:lnTo>
                <a:lnTo>
                  <a:pt x="40" y="131"/>
                </a:lnTo>
                <a:lnTo>
                  <a:pt x="44" y="138"/>
                </a:lnTo>
                <a:lnTo>
                  <a:pt x="50" y="145"/>
                </a:lnTo>
                <a:lnTo>
                  <a:pt x="59" y="162"/>
                </a:lnTo>
                <a:lnTo>
                  <a:pt x="59" y="162"/>
                </a:lnTo>
                <a:lnTo>
                  <a:pt x="61" y="165"/>
                </a:lnTo>
                <a:lnTo>
                  <a:pt x="65" y="169"/>
                </a:lnTo>
                <a:lnTo>
                  <a:pt x="73" y="175"/>
                </a:lnTo>
                <a:lnTo>
                  <a:pt x="81" y="179"/>
                </a:lnTo>
                <a:lnTo>
                  <a:pt x="91" y="184"/>
                </a:lnTo>
                <a:lnTo>
                  <a:pt x="99" y="191"/>
                </a:lnTo>
                <a:lnTo>
                  <a:pt x="104" y="195"/>
                </a:lnTo>
                <a:lnTo>
                  <a:pt x="107" y="200"/>
                </a:lnTo>
                <a:lnTo>
                  <a:pt x="110" y="207"/>
                </a:lnTo>
                <a:lnTo>
                  <a:pt x="112" y="214"/>
                </a:lnTo>
                <a:lnTo>
                  <a:pt x="114" y="222"/>
                </a:lnTo>
                <a:lnTo>
                  <a:pt x="114" y="231"/>
                </a:lnTo>
                <a:lnTo>
                  <a:pt x="114" y="231"/>
                </a:lnTo>
                <a:lnTo>
                  <a:pt x="113" y="237"/>
                </a:lnTo>
                <a:lnTo>
                  <a:pt x="112" y="241"/>
                </a:lnTo>
                <a:lnTo>
                  <a:pt x="107" y="252"/>
                </a:lnTo>
                <a:lnTo>
                  <a:pt x="102" y="263"/>
                </a:lnTo>
                <a:lnTo>
                  <a:pt x="101" y="269"/>
                </a:lnTo>
                <a:lnTo>
                  <a:pt x="99" y="276"/>
                </a:lnTo>
                <a:lnTo>
                  <a:pt x="99" y="276"/>
                </a:lnTo>
                <a:lnTo>
                  <a:pt x="101" y="284"/>
                </a:lnTo>
                <a:lnTo>
                  <a:pt x="102" y="292"/>
                </a:lnTo>
                <a:lnTo>
                  <a:pt x="104" y="299"/>
                </a:lnTo>
                <a:lnTo>
                  <a:pt x="107" y="305"/>
                </a:lnTo>
                <a:lnTo>
                  <a:pt x="111" y="310"/>
                </a:lnTo>
                <a:lnTo>
                  <a:pt x="114" y="315"/>
                </a:lnTo>
                <a:lnTo>
                  <a:pt x="124" y="323"/>
                </a:lnTo>
                <a:lnTo>
                  <a:pt x="133" y="332"/>
                </a:lnTo>
                <a:lnTo>
                  <a:pt x="136" y="337"/>
                </a:lnTo>
                <a:lnTo>
                  <a:pt x="140" y="341"/>
                </a:lnTo>
                <a:lnTo>
                  <a:pt x="143" y="347"/>
                </a:lnTo>
                <a:lnTo>
                  <a:pt x="145" y="354"/>
                </a:lnTo>
                <a:lnTo>
                  <a:pt x="147" y="362"/>
                </a:lnTo>
                <a:lnTo>
                  <a:pt x="148" y="371"/>
                </a:lnTo>
                <a:lnTo>
                  <a:pt x="148" y="371"/>
                </a:lnTo>
                <a:lnTo>
                  <a:pt x="147" y="376"/>
                </a:lnTo>
                <a:lnTo>
                  <a:pt x="144" y="381"/>
                </a:lnTo>
                <a:lnTo>
                  <a:pt x="136" y="389"/>
                </a:lnTo>
                <a:lnTo>
                  <a:pt x="133" y="392"/>
                </a:lnTo>
                <a:lnTo>
                  <a:pt x="129" y="397"/>
                </a:lnTo>
                <a:lnTo>
                  <a:pt x="127" y="401"/>
                </a:lnTo>
                <a:lnTo>
                  <a:pt x="126" y="407"/>
                </a:lnTo>
                <a:lnTo>
                  <a:pt x="126" y="407"/>
                </a:lnTo>
                <a:lnTo>
                  <a:pt x="126" y="412"/>
                </a:lnTo>
                <a:lnTo>
                  <a:pt x="127" y="415"/>
                </a:lnTo>
                <a:lnTo>
                  <a:pt x="128" y="417"/>
                </a:lnTo>
                <a:lnTo>
                  <a:pt x="130" y="420"/>
                </a:lnTo>
                <a:lnTo>
                  <a:pt x="135" y="422"/>
                </a:lnTo>
                <a:lnTo>
                  <a:pt x="141" y="422"/>
                </a:lnTo>
                <a:lnTo>
                  <a:pt x="141" y="422"/>
                </a:lnTo>
                <a:lnTo>
                  <a:pt x="144" y="422"/>
                </a:lnTo>
                <a:lnTo>
                  <a:pt x="148" y="420"/>
                </a:lnTo>
                <a:lnTo>
                  <a:pt x="152" y="413"/>
                </a:lnTo>
                <a:lnTo>
                  <a:pt x="158" y="407"/>
                </a:lnTo>
                <a:lnTo>
                  <a:pt x="162" y="405"/>
                </a:lnTo>
                <a:lnTo>
                  <a:pt x="165" y="404"/>
                </a:lnTo>
                <a:lnTo>
                  <a:pt x="165" y="404"/>
                </a:lnTo>
                <a:lnTo>
                  <a:pt x="199" y="404"/>
                </a:lnTo>
                <a:lnTo>
                  <a:pt x="199" y="404"/>
                </a:lnTo>
                <a:lnTo>
                  <a:pt x="204" y="404"/>
                </a:lnTo>
                <a:lnTo>
                  <a:pt x="210" y="402"/>
                </a:lnTo>
                <a:lnTo>
                  <a:pt x="223" y="399"/>
                </a:lnTo>
                <a:lnTo>
                  <a:pt x="235" y="394"/>
                </a:lnTo>
                <a:lnTo>
                  <a:pt x="242" y="393"/>
                </a:lnTo>
                <a:lnTo>
                  <a:pt x="250" y="393"/>
                </a:lnTo>
                <a:lnTo>
                  <a:pt x="250" y="393"/>
                </a:lnTo>
                <a:lnTo>
                  <a:pt x="257" y="393"/>
                </a:lnTo>
                <a:lnTo>
                  <a:pt x="263" y="394"/>
                </a:lnTo>
                <a:lnTo>
                  <a:pt x="273" y="399"/>
                </a:lnTo>
                <a:lnTo>
                  <a:pt x="283" y="402"/>
                </a:lnTo>
                <a:lnTo>
                  <a:pt x="290" y="404"/>
                </a:lnTo>
                <a:lnTo>
                  <a:pt x="297" y="404"/>
                </a:lnTo>
                <a:lnTo>
                  <a:pt x="297" y="404"/>
                </a:lnTo>
                <a:lnTo>
                  <a:pt x="312" y="404"/>
                </a:lnTo>
                <a:lnTo>
                  <a:pt x="324" y="400"/>
                </a:lnTo>
                <a:lnTo>
                  <a:pt x="333" y="394"/>
                </a:lnTo>
                <a:lnTo>
                  <a:pt x="341" y="387"/>
                </a:lnTo>
                <a:lnTo>
                  <a:pt x="347" y="379"/>
                </a:lnTo>
                <a:lnTo>
                  <a:pt x="350" y="368"/>
                </a:lnTo>
                <a:lnTo>
                  <a:pt x="353" y="356"/>
                </a:lnTo>
                <a:lnTo>
                  <a:pt x="353" y="341"/>
                </a:lnTo>
                <a:lnTo>
                  <a:pt x="353" y="341"/>
                </a:lnTo>
                <a:lnTo>
                  <a:pt x="353" y="333"/>
                </a:lnTo>
                <a:lnTo>
                  <a:pt x="350" y="324"/>
                </a:lnTo>
                <a:lnTo>
                  <a:pt x="348" y="317"/>
                </a:lnTo>
                <a:lnTo>
                  <a:pt x="343" y="309"/>
                </a:lnTo>
                <a:lnTo>
                  <a:pt x="334" y="294"/>
                </a:lnTo>
                <a:lnTo>
                  <a:pt x="324" y="280"/>
                </a:lnTo>
                <a:lnTo>
                  <a:pt x="313" y="265"/>
                </a:lnTo>
                <a:lnTo>
                  <a:pt x="303" y="249"/>
                </a:lnTo>
                <a:lnTo>
                  <a:pt x="300" y="241"/>
                </a:lnTo>
                <a:lnTo>
                  <a:pt x="297" y="232"/>
                </a:lnTo>
                <a:lnTo>
                  <a:pt x="295" y="223"/>
                </a:lnTo>
                <a:lnTo>
                  <a:pt x="294" y="213"/>
                </a:lnTo>
                <a:lnTo>
                  <a:pt x="294" y="213"/>
                </a:lnTo>
                <a:lnTo>
                  <a:pt x="295" y="206"/>
                </a:lnTo>
                <a:lnTo>
                  <a:pt x="296" y="198"/>
                </a:lnTo>
                <a:lnTo>
                  <a:pt x="297" y="192"/>
                </a:lnTo>
                <a:lnTo>
                  <a:pt x="301" y="185"/>
                </a:lnTo>
                <a:lnTo>
                  <a:pt x="307" y="175"/>
                </a:lnTo>
                <a:lnTo>
                  <a:pt x="315" y="164"/>
                </a:lnTo>
                <a:lnTo>
                  <a:pt x="332" y="146"/>
                </a:lnTo>
                <a:lnTo>
                  <a:pt x="340" y="137"/>
                </a:lnTo>
                <a:lnTo>
                  <a:pt x="346" y="125"/>
                </a:lnTo>
                <a:lnTo>
                  <a:pt x="346" y="125"/>
                </a:lnTo>
                <a:lnTo>
                  <a:pt x="349" y="114"/>
                </a:lnTo>
                <a:lnTo>
                  <a:pt x="349" y="11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5" name="Freeform 70"/>
          <p:cNvSpPr>
            <a:spLocks/>
          </p:cNvSpPr>
          <p:nvPr/>
        </p:nvSpPr>
        <p:spPr bwMode="auto">
          <a:xfrm>
            <a:off x="1466850" y="3987800"/>
            <a:ext cx="282575" cy="201613"/>
          </a:xfrm>
          <a:custGeom>
            <a:avLst/>
            <a:gdLst/>
            <a:ahLst/>
            <a:cxnLst>
              <a:cxn ang="0">
                <a:pos x="341" y="182"/>
              </a:cxn>
              <a:cxn ang="0">
                <a:pos x="330" y="179"/>
              </a:cxn>
              <a:cxn ang="0">
                <a:pos x="290" y="179"/>
              </a:cxn>
              <a:cxn ang="0">
                <a:pos x="284" y="209"/>
              </a:cxn>
              <a:cxn ang="0">
                <a:pos x="266" y="224"/>
              </a:cxn>
              <a:cxn ang="0">
                <a:pos x="246" y="228"/>
              </a:cxn>
              <a:cxn ang="0">
                <a:pos x="233" y="220"/>
              </a:cxn>
              <a:cxn ang="0">
                <a:pos x="222" y="206"/>
              </a:cxn>
              <a:cxn ang="0">
                <a:pos x="213" y="201"/>
              </a:cxn>
              <a:cxn ang="0">
                <a:pos x="194" y="216"/>
              </a:cxn>
              <a:cxn ang="0">
                <a:pos x="177" y="230"/>
              </a:cxn>
              <a:cxn ang="0">
                <a:pos x="160" y="227"/>
              </a:cxn>
              <a:cxn ang="0">
                <a:pos x="137" y="215"/>
              </a:cxn>
              <a:cxn ang="0">
                <a:pos x="122" y="213"/>
              </a:cxn>
              <a:cxn ang="0">
                <a:pos x="118" y="193"/>
              </a:cxn>
              <a:cxn ang="0">
                <a:pos x="110" y="181"/>
              </a:cxn>
              <a:cxn ang="0">
                <a:pos x="80" y="159"/>
              </a:cxn>
              <a:cxn ang="0">
                <a:pos x="73" y="151"/>
              </a:cxn>
              <a:cxn ang="0">
                <a:pos x="68" y="124"/>
              </a:cxn>
              <a:cxn ang="0">
                <a:pos x="60" y="109"/>
              </a:cxn>
              <a:cxn ang="0">
                <a:pos x="45" y="105"/>
              </a:cxn>
              <a:cxn ang="0">
                <a:pos x="15" y="100"/>
              </a:cxn>
              <a:cxn ang="0">
                <a:pos x="5" y="90"/>
              </a:cxn>
              <a:cxn ang="0">
                <a:pos x="3" y="80"/>
              </a:cxn>
              <a:cxn ang="0">
                <a:pos x="9" y="65"/>
              </a:cxn>
              <a:cxn ang="0">
                <a:pos x="15" y="47"/>
              </a:cxn>
              <a:cxn ang="0">
                <a:pos x="12" y="38"/>
              </a:cxn>
              <a:cxn ang="0">
                <a:pos x="0" y="15"/>
              </a:cxn>
              <a:cxn ang="0">
                <a:pos x="11" y="4"/>
              </a:cxn>
              <a:cxn ang="0">
                <a:pos x="25" y="0"/>
              </a:cxn>
              <a:cxn ang="0">
                <a:pos x="68" y="6"/>
              </a:cxn>
              <a:cxn ang="0">
                <a:pos x="110" y="10"/>
              </a:cxn>
              <a:cxn ang="0">
                <a:pos x="112" y="16"/>
              </a:cxn>
              <a:cxn ang="0">
                <a:pos x="138" y="34"/>
              </a:cxn>
              <a:cxn ang="0">
                <a:pos x="171" y="46"/>
              </a:cxn>
              <a:cxn ang="0">
                <a:pos x="188" y="47"/>
              </a:cxn>
              <a:cxn ang="0">
                <a:pos x="206" y="37"/>
              </a:cxn>
              <a:cxn ang="0">
                <a:pos x="221" y="18"/>
              </a:cxn>
              <a:cxn ang="0">
                <a:pos x="231" y="55"/>
              </a:cxn>
              <a:cxn ang="0">
                <a:pos x="236" y="65"/>
              </a:cxn>
              <a:cxn ang="0">
                <a:pos x="264" y="84"/>
              </a:cxn>
              <a:cxn ang="0">
                <a:pos x="285" y="99"/>
              </a:cxn>
              <a:cxn ang="0">
                <a:pos x="285" y="109"/>
              </a:cxn>
              <a:cxn ang="0">
                <a:pos x="271" y="106"/>
              </a:cxn>
              <a:cxn ang="0">
                <a:pos x="271" y="128"/>
              </a:cxn>
              <a:cxn ang="0">
                <a:pos x="282" y="137"/>
              </a:cxn>
              <a:cxn ang="0">
                <a:pos x="301" y="145"/>
              </a:cxn>
              <a:cxn ang="0">
                <a:pos x="325" y="151"/>
              </a:cxn>
              <a:cxn ang="0">
                <a:pos x="338" y="162"/>
              </a:cxn>
              <a:cxn ang="0">
                <a:pos x="345" y="176"/>
              </a:cxn>
            </a:cxnLst>
            <a:rect l="0" t="0" r="r" b="b"/>
            <a:pathLst>
              <a:path w="345" h="231">
                <a:moveTo>
                  <a:pt x="345" y="183"/>
                </a:moveTo>
                <a:lnTo>
                  <a:pt x="345" y="183"/>
                </a:lnTo>
                <a:lnTo>
                  <a:pt x="341" y="182"/>
                </a:lnTo>
                <a:lnTo>
                  <a:pt x="338" y="181"/>
                </a:lnTo>
                <a:lnTo>
                  <a:pt x="330" y="179"/>
                </a:lnTo>
                <a:lnTo>
                  <a:pt x="330" y="179"/>
                </a:lnTo>
                <a:lnTo>
                  <a:pt x="290" y="179"/>
                </a:lnTo>
                <a:lnTo>
                  <a:pt x="290" y="179"/>
                </a:lnTo>
                <a:lnTo>
                  <a:pt x="290" y="179"/>
                </a:lnTo>
                <a:lnTo>
                  <a:pt x="290" y="191"/>
                </a:lnTo>
                <a:lnTo>
                  <a:pt x="287" y="201"/>
                </a:lnTo>
                <a:lnTo>
                  <a:pt x="284" y="209"/>
                </a:lnTo>
                <a:lnTo>
                  <a:pt x="279" y="216"/>
                </a:lnTo>
                <a:lnTo>
                  <a:pt x="272" y="221"/>
                </a:lnTo>
                <a:lnTo>
                  <a:pt x="266" y="224"/>
                </a:lnTo>
                <a:lnTo>
                  <a:pt x="256" y="227"/>
                </a:lnTo>
                <a:lnTo>
                  <a:pt x="246" y="228"/>
                </a:lnTo>
                <a:lnTo>
                  <a:pt x="246" y="228"/>
                </a:lnTo>
                <a:lnTo>
                  <a:pt x="240" y="227"/>
                </a:lnTo>
                <a:lnTo>
                  <a:pt x="237" y="223"/>
                </a:lnTo>
                <a:lnTo>
                  <a:pt x="233" y="220"/>
                </a:lnTo>
                <a:lnTo>
                  <a:pt x="230" y="214"/>
                </a:lnTo>
                <a:lnTo>
                  <a:pt x="226" y="209"/>
                </a:lnTo>
                <a:lnTo>
                  <a:pt x="222" y="206"/>
                </a:lnTo>
                <a:lnTo>
                  <a:pt x="218" y="202"/>
                </a:lnTo>
                <a:lnTo>
                  <a:pt x="213" y="201"/>
                </a:lnTo>
                <a:lnTo>
                  <a:pt x="213" y="201"/>
                </a:lnTo>
                <a:lnTo>
                  <a:pt x="208" y="202"/>
                </a:lnTo>
                <a:lnTo>
                  <a:pt x="203" y="206"/>
                </a:lnTo>
                <a:lnTo>
                  <a:pt x="194" y="216"/>
                </a:lnTo>
                <a:lnTo>
                  <a:pt x="188" y="222"/>
                </a:lnTo>
                <a:lnTo>
                  <a:pt x="183" y="227"/>
                </a:lnTo>
                <a:lnTo>
                  <a:pt x="177" y="230"/>
                </a:lnTo>
                <a:lnTo>
                  <a:pt x="169" y="231"/>
                </a:lnTo>
                <a:lnTo>
                  <a:pt x="169" y="231"/>
                </a:lnTo>
                <a:lnTo>
                  <a:pt x="160" y="227"/>
                </a:lnTo>
                <a:lnTo>
                  <a:pt x="149" y="221"/>
                </a:lnTo>
                <a:lnTo>
                  <a:pt x="142" y="217"/>
                </a:lnTo>
                <a:lnTo>
                  <a:pt x="137" y="215"/>
                </a:lnTo>
                <a:lnTo>
                  <a:pt x="129" y="213"/>
                </a:lnTo>
                <a:lnTo>
                  <a:pt x="122" y="213"/>
                </a:lnTo>
                <a:lnTo>
                  <a:pt x="122" y="213"/>
                </a:lnTo>
                <a:lnTo>
                  <a:pt x="121" y="205"/>
                </a:lnTo>
                <a:lnTo>
                  <a:pt x="119" y="198"/>
                </a:lnTo>
                <a:lnTo>
                  <a:pt x="118" y="193"/>
                </a:lnTo>
                <a:lnTo>
                  <a:pt x="116" y="187"/>
                </a:lnTo>
                <a:lnTo>
                  <a:pt x="114" y="184"/>
                </a:lnTo>
                <a:lnTo>
                  <a:pt x="110" y="181"/>
                </a:lnTo>
                <a:lnTo>
                  <a:pt x="103" y="175"/>
                </a:lnTo>
                <a:lnTo>
                  <a:pt x="87" y="164"/>
                </a:lnTo>
                <a:lnTo>
                  <a:pt x="80" y="159"/>
                </a:lnTo>
                <a:lnTo>
                  <a:pt x="77" y="155"/>
                </a:lnTo>
                <a:lnTo>
                  <a:pt x="73" y="151"/>
                </a:lnTo>
                <a:lnTo>
                  <a:pt x="73" y="151"/>
                </a:lnTo>
                <a:lnTo>
                  <a:pt x="70" y="144"/>
                </a:lnTo>
                <a:lnTo>
                  <a:pt x="69" y="137"/>
                </a:lnTo>
                <a:lnTo>
                  <a:pt x="68" y="124"/>
                </a:lnTo>
                <a:lnTo>
                  <a:pt x="66" y="118"/>
                </a:lnTo>
                <a:lnTo>
                  <a:pt x="64" y="114"/>
                </a:lnTo>
                <a:lnTo>
                  <a:pt x="60" y="109"/>
                </a:lnTo>
                <a:lnTo>
                  <a:pt x="52" y="106"/>
                </a:lnTo>
                <a:lnTo>
                  <a:pt x="52" y="106"/>
                </a:lnTo>
                <a:lnTo>
                  <a:pt x="45" y="105"/>
                </a:lnTo>
                <a:lnTo>
                  <a:pt x="38" y="103"/>
                </a:lnTo>
                <a:lnTo>
                  <a:pt x="22" y="101"/>
                </a:lnTo>
                <a:lnTo>
                  <a:pt x="15" y="100"/>
                </a:lnTo>
                <a:lnTo>
                  <a:pt x="9" y="95"/>
                </a:lnTo>
                <a:lnTo>
                  <a:pt x="7" y="93"/>
                </a:lnTo>
                <a:lnTo>
                  <a:pt x="5" y="90"/>
                </a:lnTo>
                <a:lnTo>
                  <a:pt x="4" y="85"/>
                </a:lnTo>
                <a:lnTo>
                  <a:pt x="3" y="80"/>
                </a:lnTo>
                <a:lnTo>
                  <a:pt x="3" y="80"/>
                </a:lnTo>
                <a:lnTo>
                  <a:pt x="4" y="76"/>
                </a:lnTo>
                <a:lnTo>
                  <a:pt x="5" y="71"/>
                </a:lnTo>
                <a:lnTo>
                  <a:pt x="9" y="65"/>
                </a:lnTo>
                <a:lnTo>
                  <a:pt x="14" y="59"/>
                </a:lnTo>
                <a:lnTo>
                  <a:pt x="15" y="54"/>
                </a:lnTo>
                <a:lnTo>
                  <a:pt x="15" y="47"/>
                </a:lnTo>
                <a:lnTo>
                  <a:pt x="15" y="47"/>
                </a:lnTo>
                <a:lnTo>
                  <a:pt x="15" y="42"/>
                </a:lnTo>
                <a:lnTo>
                  <a:pt x="12" y="38"/>
                </a:lnTo>
                <a:lnTo>
                  <a:pt x="9" y="30"/>
                </a:lnTo>
                <a:lnTo>
                  <a:pt x="4" y="22"/>
                </a:lnTo>
                <a:lnTo>
                  <a:pt x="0" y="15"/>
                </a:lnTo>
                <a:lnTo>
                  <a:pt x="0" y="15"/>
                </a:lnTo>
                <a:lnTo>
                  <a:pt x="5" y="9"/>
                </a:lnTo>
                <a:lnTo>
                  <a:pt x="11" y="4"/>
                </a:lnTo>
                <a:lnTo>
                  <a:pt x="18" y="1"/>
                </a:lnTo>
                <a:lnTo>
                  <a:pt x="25" y="0"/>
                </a:lnTo>
                <a:lnTo>
                  <a:pt x="25" y="0"/>
                </a:lnTo>
                <a:lnTo>
                  <a:pt x="37" y="0"/>
                </a:lnTo>
                <a:lnTo>
                  <a:pt x="47" y="1"/>
                </a:lnTo>
                <a:lnTo>
                  <a:pt x="68" y="6"/>
                </a:lnTo>
                <a:lnTo>
                  <a:pt x="88" y="9"/>
                </a:lnTo>
                <a:lnTo>
                  <a:pt x="99" y="10"/>
                </a:lnTo>
                <a:lnTo>
                  <a:pt x="110" y="10"/>
                </a:lnTo>
                <a:lnTo>
                  <a:pt x="110" y="10"/>
                </a:lnTo>
                <a:lnTo>
                  <a:pt x="110" y="14"/>
                </a:lnTo>
                <a:lnTo>
                  <a:pt x="112" y="16"/>
                </a:lnTo>
                <a:lnTo>
                  <a:pt x="118" y="23"/>
                </a:lnTo>
                <a:lnTo>
                  <a:pt x="127" y="29"/>
                </a:lnTo>
                <a:lnTo>
                  <a:pt x="138" y="34"/>
                </a:lnTo>
                <a:lnTo>
                  <a:pt x="149" y="40"/>
                </a:lnTo>
                <a:lnTo>
                  <a:pt x="161" y="44"/>
                </a:lnTo>
                <a:lnTo>
                  <a:pt x="171" y="46"/>
                </a:lnTo>
                <a:lnTo>
                  <a:pt x="180" y="47"/>
                </a:lnTo>
                <a:lnTo>
                  <a:pt x="180" y="47"/>
                </a:lnTo>
                <a:lnTo>
                  <a:pt x="188" y="47"/>
                </a:lnTo>
                <a:lnTo>
                  <a:pt x="195" y="45"/>
                </a:lnTo>
                <a:lnTo>
                  <a:pt x="201" y="41"/>
                </a:lnTo>
                <a:lnTo>
                  <a:pt x="206" y="37"/>
                </a:lnTo>
                <a:lnTo>
                  <a:pt x="213" y="28"/>
                </a:lnTo>
                <a:lnTo>
                  <a:pt x="221" y="18"/>
                </a:lnTo>
                <a:lnTo>
                  <a:pt x="221" y="18"/>
                </a:lnTo>
                <a:lnTo>
                  <a:pt x="225" y="30"/>
                </a:lnTo>
                <a:lnTo>
                  <a:pt x="228" y="44"/>
                </a:lnTo>
                <a:lnTo>
                  <a:pt x="231" y="55"/>
                </a:lnTo>
                <a:lnTo>
                  <a:pt x="232" y="61"/>
                </a:lnTo>
                <a:lnTo>
                  <a:pt x="236" y="65"/>
                </a:lnTo>
                <a:lnTo>
                  <a:pt x="236" y="65"/>
                </a:lnTo>
                <a:lnTo>
                  <a:pt x="241" y="71"/>
                </a:lnTo>
                <a:lnTo>
                  <a:pt x="248" y="77"/>
                </a:lnTo>
                <a:lnTo>
                  <a:pt x="264" y="84"/>
                </a:lnTo>
                <a:lnTo>
                  <a:pt x="271" y="88"/>
                </a:lnTo>
                <a:lnTo>
                  <a:pt x="279" y="93"/>
                </a:lnTo>
                <a:lnTo>
                  <a:pt x="285" y="99"/>
                </a:lnTo>
                <a:lnTo>
                  <a:pt x="290" y="106"/>
                </a:lnTo>
                <a:lnTo>
                  <a:pt x="290" y="106"/>
                </a:lnTo>
                <a:lnTo>
                  <a:pt x="285" y="109"/>
                </a:lnTo>
                <a:lnTo>
                  <a:pt x="280" y="110"/>
                </a:lnTo>
                <a:lnTo>
                  <a:pt x="277" y="109"/>
                </a:lnTo>
                <a:lnTo>
                  <a:pt x="271" y="106"/>
                </a:lnTo>
                <a:lnTo>
                  <a:pt x="271" y="106"/>
                </a:lnTo>
                <a:lnTo>
                  <a:pt x="271" y="128"/>
                </a:lnTo>
                <a:lnTo>
                  <a:pt x="271" y="128"/>
                </a:lnTo>
                <a:lnTo>
                  <a:pt x="271" y="128"/>
                </a:lnTo>
                <a:lnTo>
                  <a:pt x="277" y="133"/>
                </a:lnTo>
                <a:lnTo>
                  <a:pt x="282" y="137"/>
                </a:lnTo>
                <a:lnTo>
                  <a:pt x="286" y="139"/>
                </a:lnTo>
                <a:lnTo>
                  <a:pt x="292" y="141"/>
                </a:lnTo>
                <a:lnTo>
                  <a:pt x="301" y="145"/>
                </a:lnTo>
                <a:lnTo>
                  <a:pt x="312" y="146"/>
                </a:lnTo>
                <a:lnTo>
                  <a:pt x="321" y="148"/>
                </a:lnTo>
                <a:lnTo>
                  <a:pt x="325" y="151"/>
                </a:lnTo>
                <a:lnTo>
                  <a:pt x="330" y="154"/>
                </a:lnTo>
                <a:lnTo>
                  <a:pt x="333" y="158"/>
                </a:lnTo>
                <a:lnTo>
                  <a:pt x="338" y="162"/>
                </a:lnTo>
                <a:lnTo>
                  <a:pt x="341" y="168"/>
                </a:lnTo>
                <a:lnTo>
                  <a:pt x="345" y="176"/>
                </a:lnTo>
                <a:lnTo>
                  <a:pt x="345" y="176"/>
                </a:lnTo>
                <a:lnTo>
                  <a:pt x="345" y="183"/>
                </a:lnTo>
                <a:lnTo>
                  <a:pt x="345" y="18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6" name="Freeform 71"/>
          <p:cNvSpPr>
            <a:spLocks/>
          </p:cNvSpPr>
          <p:nvPr/>
        </p:nvSpPr>
        <p:spPr bwMode="auto">
          <a:xfrm>
            <a:off x="1220788" y="4629150"/>
            <a:ext cx="539750" cy="544513"/>
          </a:xfrm>
          <a:custGeom>
            <a:avLst/>
            <a:gdLst/>
            <a:ahLst/>
            <a:cxnLst>
              <a:cxn ang="0">
                <a:pos x="425" y="197"/>
              </a:cxn>
              <a:cxn ang="0">
                <a:pos x="482" y="223"/>
              </a:cxn>
              <a:cxn ang="0">
                <a:pos x="566" y="239"/>
              </a:cxn>
              <a:cxn ang="0">
                <a:pos x="568" y="230"/>
              </a:cxn>
              <a:cxn ang="0">
                <a:pos x="566" y="224"/>
              </a:cxn>
              <a:cxn ang="0">
                <a:pos x="563" y="241"/>
              </a:cxn>
              <a:cxn ang="0">
                <a:pos x="545" y="257"/>
              </a:cxn>
              <a:cxn ang="0">
                <a:pos x="541" y="275"/>
              </a:cxn>
              <a:cxn ang="0">
                <a:pos x="556" y="304"/>
              </a:cxn>
              <a:cxn ang="0">
                <a:pos x="600" y="345"/>
              </a:cxn>
              <a:cxn ang="0">
                <a:pos x="616" y="379"/>
              </a:cxn>
              <a:cxn ang="0">
                <a:pos x="643" y="456"/>
              </a:cxn>
              <a:cxn ang="0">
                <a:pos x="662" y="489"/>
              </a:cxn>
              <a:cxn ang="0">
                <a:pos x="643" y="511"/>
              </a:cxn>
              <a:cxn ang="0">
                <a:pos x="625" y="514"/>
              </a:cxn>
              <a:cxn ang="0">
                <a:pos x="577" y="524"/>
              </a:cxn>
              <a:cxn ang="0">
                <a:pos x="530" y="533"/>
              </a:cxn>
              <a:cxn ang="0">
                <a:pos x="501" y="524"/>
              </a:cxn>
              <a:cxn ang="0">
                <a:pos x="484" y="522"/>
              </a:cxn>
              <a:cxn ang="0">
                <a:pos x="443" y="537"/>
              </a:cxn>
              <a:cxn ang="0">
                <a:pos x="412" y="542"/>
              </a:cxn>
              <a:cxn ang="0">
                <a:pos x="383" y="560"/>
              </a:cxn>
              <a:cxn ang="0">
                <a:pos x="364" y="605"/>
              </a:cxn>
              <a:cxn ang="0">
                <a:pos x="341" y="624"/>
              </a:cxn>
              <a:cxn ang="0">
                <a:pos x="320" y="623"/>
              </a:cxn>
              <a:cxn ang="0">
                <a:pos x="291" y="610"/>
              </a:cxn>
              <a:cxn ang="0">
                <a:pos x="286" y="533"/>
              </a:cxn>
              <a:cxn ang="0">
                <a:pos x="291" y="507"/>
              </a:cxn>
              <a:cxn ang="0">
                <a:pos x="280" y="504"/>
              </a:cxn>
              <a:cxn ang="0">
                <a:pos x="232" y="419"/>
              </a:cxn>
              <a:cxn ang="0">
                <a:pos x="205" y="418"/>
              </a:cxn>
              <a:cxn ang="0">
                <a:pos x="192" y="402"/>
              </a:cxn>
              <a:cxn ang="0">
                <a:pos x="183" y="365"/>
              </a:cxn>
              <a:cxn ang="0">
                <a:pos x="156" y="364"/>
              </a:cxn>
              <a:cxn ang="0">
                <a:pos x="138" y="359"/>
              </a:cxn>
              <a:cxn ang="0">
                <a:pos x="129" y="342"/>
              </a:cxn>
              <a:cxn ang="0">
                <a:pos x="138" y="323"/>
              </a:cxn>
              <a:cxn ang="0">
                <a:pos x="157" y="302"/>
              </a:cxn>
              <a:cxn ang="0">
                <a:pos x="156" y="275"/>
              </a:cxn>
              <a:cxn ang="0">
                <a:pos x="136" y="247"/>
              </a:cxn>
              <a:cxn ang="0">
                <a:pos x="87" y="216"/>
              </a:cxn>
              <a:cxn ang="0">
                <a:pos x="70" y="198"/>
              </a:cxn>
              <a:cxn ang="0">
                <a:pos x="53" y="184"/>
              </a:cxn>
              <a:cxn ang="0">
                <a:pos x="14" y="170"/>
              </a:cxn>
              <a:cxn ang="0">
                <a:pos x="1" y="148"/>
              </a:cxn>
              <a:cxn ang="0">
                <a:pos x="3" y="124"/>
              </a:cxn>
              <a:cxn ang="0">
                <a:pos x="12" y="89"/>
              </a:cxn>
              <a:cxn ang="0">
                <a:pos x="82" y="12"/>
              </a:cxn>
              <a:cxn ang="0">
                <a:pos x="99" y="5"/>
              </a:cxn>
              <a:cxn ang="0">
                <a:pos x="118" y="0"/>
              </a:cxn>
              <a:cxn ang="0">
                <a:pos x="148" y="14"/>
              </a:cxn>
              <a:cxn ang="0">
                <a:pos x="184" y="59"/>
              </a:cxn>
              <a:cxn ang="0">
                <a:pos x="198" y="68"/>
              </a:cxn>
              <a:cxn ang="0">
                <a:pos x="241" y="76"/>
              </a:cxn>
              <a:cxn ang="0">
                <a:pos x="258" y="89"/>
              </a:cxn>
              <a:cxn ang="0">
                <a:pos x="263" y="106"/>
              </a:cxn>
              <a:cxn ang="0">
                <a:pos x="278" y="128"/>
              </a:cxn>
              <a:cxn ang="0">
                <a:pos x="334" y="144"/>
              </a:cxn>
              <a:cxn ang="0">
                <a:pos x="395" y="157"/>
              </a:cxn>
              <a:cxn ang="0">
                <a:pos x="419" y="180"/>
              </a:cxn>
            </a:cxnLst>
            <a:rect l="0" t="0" r="r" b="b"/>
            <a:pathLst>
              <a:path w="662" h="625">
                <a:moveTo>
                  <a:pt x="419" y="188"/>
                </a:moveTo>
                <a:lnTo>
                  <a:pt x="419" y="188"/>
                </a:lnTo>
                <a:lnTo>
                  <a:pt x="421" y="192"/>
                </a:lnTo>
                <a:lnTo>
                  <a:pt x="425" y="197"/>
                </a:lnTo>
                <a:lnTo>
                  <a:pt x="431" y="201"/>
                </a:lnTo>
                <a:lnTo>
                  <a:pt x="439" y="206"/>
                </a:lnTo>
                <a:lnTo>
                  <a:pt x="458" y="215"/>
                </a:lnTo>
                <a:lnTo>
                  <a:pt x="482" y="223"/>
                </a:lnTo>
                <a:lnTo>
                  <a:pt x="508" y="229"/>
                </a:lnTo>
                <a:lnTo>
                  <a:pt x="532" y="235"/>
                </a:lnTo>
                <a:lnTo>
                  <a:pt x="551" y="238"/>
                </a:lnTo>
                <a:lnTo>
                  <a:pt x="566" y="239"/>
                </a:lnTo>
                <a:lnTo>
                  <a:pt x="566" y="239"/>
                </a:lnTo>
                <a:lnTo>
                  <a:pt x="570" y="237"/>
                </a:lnTo>
                <a:lnTo>
                  <a:pt x="570" y="235"/>
                </a:lnTo>
                <a:lnTo>
                  <a:pt x="568" y="230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6" y="224"/>
                </a:lnTo>
                <a:lnTo>
                  <a:pt x="565" y="234"/>
                </a:lnTo>
                <a:lnTo>
                  <a:pt x="563" y="241"/>
                </a:lnTo>
                <a:lnTo>
                  <a:pt x="558" y="245"/>
                </a:lnTo>
                <a:lnTo>
                  <a:pt x="554" y="249"/>
                </a:lnTo>
                <a:lnTo>
                  <a:pt x="549" y="252"/>
                </a:lnTo>
                <a:lnTo>
                  <a:pt x="545" y="257"/>
                </a:lnTo>
                <a:lnTo>
                  <a:pt x="542" y="261"/>
                </a:lnTo>
                <a:lnTo>
                  <a:pt x="541" y="268"/>
                </a:lnTo>
                <a:lnTo>
                  <a:pt x="541" y="268"/>
                </a:lnTo>
                <a:lnTo>
                  <a:pt x="541" y="275"/>
                </a:lnTo>
                <a:lnTo>
                  <a:pt x="542" y="282"/>
                </a:lnTo>
                <a:lnTo>
                  <a:pt x="545" y="288"/>
                </a:lnTo>
                <a:lnTo>
                  <a:pt x="548" y="293"/>
                </a:lnTo>
                <a:lnTo>
                  <a:pt x="556" y="304"/>
                </a:lnTo>
                <a:lnTo>
                  <a:pt x="564" y="314"/>
                </a:lnTo>
                <a:lnTo>
                  <a:pt x="584" y="330"/>
                </a:lnTo>
                <a:lnTo>
                  <a:pt x="593" y="338"/>
                </a:lnTo>
                <a:lnTo>
                  <a:pt x="600" y="345"/>
                </a:lnTo>
                <a:lnTo>
                  <a:pt x="600" y="345"/>
                </a:lnTo>
                <a:lnTo>
                  <a:pt x="604" y="352"/>
                </a:lnTo>
                <a:lnTo>
                  <a:pt x="609" y="360"/>
                </a:lnTo>
                <a:lnTo>
                  <a:pt x="616" y="379"/>
                </a:lnTo>
                <a:lnTo>
                  <a:pt x="623" y="397"/>
                </a:lnTo>
                <a:lnTo>
                  <a:pt x="630" y="418"/>
                </a:lnTo>
                <a:lnTo>
                  <a:pt x="637" y="437"/>
                </a:lnTo>
                <a:lnTo>
                  <a:pt x="643" y="456"/>
                </a:lnTo>
                <a:lnTo>
                  <a:pt x="652" y="474"/>
                </a:lnTo>
                <a:lnTo>
                  <a:pt x="656" y="481"/>
                </a:lnTo>
                <a:lnTo>
                  <a:pt x="662" y="489"/>
                </a:lnTo>
                <a:lnTo>
                  <a:pt x="662" y="489"/>
                </a:lnTo>
                <a:lnTo>
                  <a:pt x="655" y="493"/>
                </a:lnTo>
                <a:lnTo>
                  <a:pt x="650" y="497"/>
                </a:lnTo>
                <a:lnTo>
                  <a:pt x="647" y="503"/>
                </a:lnTo>
                <a:lnTo>
                  <a:pt x="643" y="511"/>
                </a:lnTo>
                <a:lnTo>
                  <a:pt x="643" y="511"/>
                </a:lnTo>
                <a:lnTo>
                  <a:pt x="634" y="513"/>
                </a:lnTo>
                <a:lnTo>
                  <a:pt x="625" y="514"/>
                </a:lnTo>
                <a:lnTo>
                  <a:pt x="625" y="514"/>
                </a:lnTo>
                <a:lnTo>
                  <a:pt x="611" y="516"/>
                </a:lnTo>
                <a:lnTo>
                  <a:pt x="599" y="518"/>
                </a:lnTo>
                <a:lnTo>
                  <a:pt x="587" y="520"/>
                </a:lnTo>
                <a:lnTo>
                  <a:pt x="577" y="524"/>
                </a:lnTo>
                <a:lnTo>
                  <a:pt x="555" y="531"/>
                </a:lnTo>
                <a:lnTo>
                  <a:pt x="542" y="532"/>
                </a:lnTo>
                <a:lnTo>
                  <a:pt x="530" y="533"/>
                </a:lnTo>
                <a:lnTo>
                  <a:pt x="530" y="533"/>
                </a:lnTo>
                <a:lnTo>
                  <a:pt x="524" y="533"/>
                </a:lnTo>
                <a:lnTo>
                  <a:pt x="519" y="532"/>
                </a:lnTo>
                <a:lnTo>
                  <a:pt x="510" y="527"/>
                </a:lnTo>
                <a:lnTo>
                  <a:pt x="501" y="524"/>
                </a:lnTo>
                <a:lnTo>
                  <a:pt x="497" y="522"/>
                </a:lnTo>
                <a:lnTo>
                  <a:pt x="493" y="521"/>
                </a:lnTo>
                <a:lnTo>
                  <a:pt x="493" y="521"/>
                </a:lnTo>
                <a:lnTo>
                  <a:pt x="484" y="522"/>
                </a:lnTo>
                <a:lnTo>
                  <a:pt x="475" y="525"/>
                </a:lnTo>
                <a:lnTo>
                  <a:pt x="459" y="532"/>
                </a:lnTo>
                <a:lnTo>
                  <a:pt x="451" y="535"/>
                </a:lnTo>
                <a:lnTo>
                  <a:pt x="443" y="537"/>
                </a:lnTo>
                <a:lnTo>
                  <a:pt x="434" y="540"/>
                </a:lnTo>
                <a:lnTo>
                  <a:pt x="424" y="541"/>
                </a:lnTo>
                <a:lnTo>
                  <a:pt x="424" y="541"/>
                </a:lnTo>
                <a:lnTo>
                  <a:pt x="412" y="542"/>
                </a:lnTo>
                <a:lnTo>
                  <a:pt x="402" y="544"/>
                </a:lnTo>
                <a:lnTo>
                  <a:pt x="395" y="548"/>
                </a:lnTo>
                <a:lnTo>
                  <a:pt x="388" y="554"/>
                </a:lnTo>
                <a:lnTo>
                  <a:pt x="383" y="560"/>
                </a:lnTo>
                <a:lnTo>
                  <a:pt x="379" y="567"/>
                </a:lnTo>
                <a:lnTo>
                  <a:pt x="373" y="582"/>
                </a:lnTo>
                <a:lnTo>
                  <a:pt x="367" y="598"/>
                </a:lnTo>
                <a:lnTo>
                  <a:pt x="364" y="605"/>
                </a:lnTo>
                <a:lnTo>
                  <a:pt x="359" y="611"/>
                </a:lnTo>
                <a:lnTo>
                  <a:pt x="355" y="617"/>
                </a:lnTo>
                <a:lnTo>
                  <a:pt x="349" y="621"/>
                </a:lnTo>
                <a:lnTo>
                  <a:pt x="341" y="624"/>
                </a:lnTo>
                <a:lnTo>
                  <a:pt x="332" y="625"/>
                </a:lnTo>
                <a:lnTo>
                  <a:pt x="332" y="625"/>
                </a:lnTo>
                <a:lnTo>
                  <a:pt x="326" y="624"/>
                </a:lnTo>
                <a:lnTo>
                  <a:pt x="320" y="623"/>
                </a:lnTo>
                <a:lnTo>
                  <a:pt x="309" y="619"/>
                </a:lnTo>
                <a:lnTo>
                  <a:pt x="298" y="615"/>
                </a:lnTo>
                <a:lnTo>
                  <a:pt x="291" y="610"/>
                </a:lnTo>
                <a:lnTo>
                  <a:pt x="291" y="610"/>
                </a:lnTo>
                <a:lnTo>
                  <a:pt x="290" y="588"/>
                </a:lnTo>
                <a:lnTo>
                  <a:pt x="289" y="571"/>
                </a:lnTo>
                <a:lnTo>
                  <a:pt x="287" y="543"/>
                </a:lnTo>
                <a:lnTo>
                  <a:pt x="286" y="533"/>
                </a:lnTo>
                <a:lnTo>
                  <a:pt x="286" y="524"/>
                </a:lnTo>
                <a:lnTo>
                  <a:pt x="288" y="516"/>
                </a:lnTo>
                <a:lnTo>
                  <a:pt x="291" y="507"/>
                </a:lnTo>
                <a:lnTo>
                  <a:pt x="291" y="507"/>
                </a:lnTo>
                <a:lnTo>
                  <a:pt x="284" y="506"/>
                </a:lnTo>
                <a:lnTo>
                  <a:pt x="282" y="505"/>
                </a:lnTo>
                <a:lnTo>
                  <a:pt x="282" y="504"/>
                </a:lnTo>
                <a:lnTo>
                  <a:pt x="280" y="504"/>
                </a:lnTo>
                <a:lnTo>
                  <a:pt x="280" y="504"/>
                </a:lnTo>
                <a:lnTo>
                  <a:pt x="271" y="486"/>
                </a:lnTo>
                <a:lnTo>
                  <a:pt x="255" y="457"/>
                </a:lnTo>
                <a:lnTo>
                  <a:pt x="232" y="419"/>
                </a:lnTo>
                <a:lnTo>
                  <a:pt x="232" y="419"/>
                </a:lnTo>
                <a:lnTo>
                  <a:pt x="211" y="419"/>
                </a:lnTo>
                <a:lnTo>
                  <a:pt x="211" y="419"/>
                </a:lnTo>
                <a:lnTo>
                  <a:pt x="205" y="418"/>
                </a:lnTo>
                <a:lnTo>
                  <a:pt x="202" y="417"/>
                </a:lnTo>
                <a:lnTo>
                  <a:pt x="198" y="414"/>
                </a:lnTo>
                <a:lnTo>
                  <a:pt x="196" y="410"/>
                </a:lnTo>
                <a:lnTo>
                  <a:pt x="192" y="402"/>
                </a:lnTo>
                <a:lnTo>
                  <a:pt x="190" y="391"/>
                </a:lnTo>
                <a:lnTo>
                  <a:pt x="188" y="373"/>
                </a:lnTo>
                <a:lnTo>
                  <a:pt x="186" y="366"/>
                </a:lnTo>
                <a:lnTo>
                  <a:pt x="183" y="365"/>
                </a:lnTo>
                <a:lnTo>
                  <a:pt x="181" y="364"/>
                </a:lnTo>
                <a:lnTo>
                  <a:pt x="181" y="364"/>
                </a:lnTo>
                <a:lnTo>
                  <a:pt x="156" y="364"/>
                </a:lnTo>
                <a:lnTo>
                  <a:pt x="156" y="364"/>
                </a:lnTo>
                <a:lnTo>
                  <a:pt x="151" y="364"/>
                </a:lnTo>
                <a:lnTo>
                  <a:pt x="146" y="363"/>
                </a:lnTo>
                <a:lnTo>
                  <a:pt x="142" y="361"/>
                </a:lnTo>
                <a:lnTo>
                  <a:pt x="138" y="359"/>
                </a:lnTo>
                <a:lnTo>
                  <a:pt x="135" y="356"/>
                </a:lnTo>
                <a:lnTo>
                  <a:pt x="131" y="351"/>
                </a:lnTo>
                <a:lnTo>
                  <a:pt x="130" y="346"/>
                </a:lnTo>
                <a:lnTo>
                  <a:pt x="129" y="342"/>
                </a:lnTo>
                <a:lnTo>
                  <a:pt x="129" y="342"/>
                </a:lnTo>
                <a:lnTo>
                  <a:pt x="130" y="335"/>
                </a:lnTo>
                <a:lnTo>
                  <a:pt x="134" y="328"/>
                </a:lnTo>
                <a:lnTo>
                  <a:pt x="138" y="323"/>
                </a:lnTo>
                <a:lnTo>
                  <a:pt x="144" y="318"/>
                </a:lnTo>
                <a:lnTo>
                  <a:pt x="150" y="313"/>
                </a:lnTo>
                <a:lnTo>
                  <a:pt x="154" y="307"/>
                </a:lnTo>
                <a:lnTo>
                  <a:pt x="157" y="302"/>
                </a:lnTo>
                <a:lnTo>
                  <a:pt x="159" y="295"/>
                </a:lnTo>
                <a:lnTo>
                  <a:pt x="159" y="295"/>
                </a:lnTo>
                <a:lnTo>
                  <a:pt x="158" y="284"/>
                </a:lnTo>
                <a:lnTo>
                  <a:pt x="156" y="275"/>
                </a:lnTo>
                <a:lnTo>
                  <a:pt x="152" y="267"/>
                </a:lnTo>
                <a:lnTo>
                  <a:pt x="148" y="260"/>
                </a:lnTo>
                <a:lnTo>
                  <a:pt x="143" y="253"/>
                </a:lnTo>
                <a:lnTo>
                  <a:pt x="136" y="247"/>
                </a:lnTo>
                <a:lnTo>
                  <a:pt x="123" y="238"/>
                </a:lnTo>
                <a:lnTo>
                  <a:pt x="108" y="229"/>
                </a:lnTo>
                <a:lnTo>
                  <a:pt x="93" y="221"/>
                </a:lnTo>
                <a:lnTo>
                  <a:pt x="87" y="216"/>
                </a:lnTo>
                <a:lnTo>
                  <a:pt x="81" y="211"/>
                </a:lnTo>
                <a:lnTo>
                  <a:pt x="75" y="205"/>
                </a:lnTo>
                <a:lnTo>
                  <a:pt x="70" y="198"/>
                </a:lnTo>
                <a:lnTo>
                  <a:pt x="70" y="198"/>
                </a:lnTo>
                <a:lnTo>
                  <a:pt x="67" y="193"/>
                </a:lnTo>
                <a:lnTo>
                  <a:pt x="64" y="190"/>
                </a:lnTo>
                <a:lnTo>
                  <a:pt x="59" y="186"/>
                </a:lnTo>
                <a:lnTo>
                  <a:pt x="53" y="184"/>
                </a:lnTo>
                <a:lnTo>
                  <a:pt x="42" y="181"/>
                </a:lnTo>
                <a:lnTo>
                  <a:pt x="30" y="177"/>
                </a:lnTo>
                <a:lnTo>
                  <a:pt x="19" y="174"/>
                </a:lnTo>
                <a:lnTo>
                  <a:pt x="14" y="170"/>
                </a:lnTo>
                <a:lnTo>
                  <a:pt x="9" y="167"/>
                </a:lnTo>
                <a:lnTo>
                  <a:pt x="6" y="162"/>
                </a:lnTo>
                <a:lnTo>
                  <a:pt x="3" y="157"/>
                </a:lnTo>
                <a:lnTo>
                  <a:pt x="1" y="148"/>
                </a:lnTo>
                <a:lnTo>
                  <a:pt x="0" y="140"/>
                </a:lnTo>
                <a:lnTo>
                  <a:pt x="0" y="140"/>
                </a:lnTo>
                <a:lnTo>
                  <a:pt x="1" y="132"/>
                </a:lnTo>
                <a:lnTo>
                  <a:pt x="3" y="124"/>
                </a:lnTo>
                <a:lnTo>
                  <a:pt x="6" y="112"/>
                </a:lnTo>
                <a:lnTo>
                  <a:pt x="9" y="99"/>
                </a:lnTo>
                <a:lnTo>
                  <a:pt x="11" y="94"/>
                </a:lnTo>
                <a:lnTo>
                  <a:pt x="12" y="89"/>
                </a:lnTo>
                <a:lnTo>
                  <a:pt x="12" y="89"/>
                </a:lnTo>
                <a:lnTo>
                  <a:pt x="12" y="59"/>
                </a:lnTo>
                <a:lnTo>
                  <a:pt x="12" y="59"/>
                </a:lnTo>
                <a:lnTo>
                  <a:pt x="82" y="12"/>
                </a:lnTo>
                <a:lnTo>
                  <a:pt x="82" y="12"/>
                </a:lnTo>
                <a:lnTo>
                  <a:pt x="82" y="12"/>
                </a:lnTo>
                <a:lnTo>
                  <a:pt x="91" y="8"/>
                </a:lnTo>
                <a:lnTo>
                  <a:pt x="99" y="5"/>
                </a:lnTo>
                <a:lnTo>
                  <a:pt x="108" y="1"/>
                </a:lnTo>
                <a:lnTo>
                  <a:pt x="113" y="0"/>
                </a:lnTo>
                <a:lnTo>
                  <a:pt x="118" y="0"/>
                </a:lnTo>
                <a:lnTo>
                  <a:pt x="118" y="0"/>
                </a:lnTo>
                <a:lnTo>
                  <a:pt x="123" y="1"/>
                </a:lnTo>
                <a:lnTo>
                  <a:pt x="128" y="2"/>
                </a:lnTo>
                <a:lnTo>
                  <a:pt x="137" y="7"/>
                </a:lnTo>
                <a:lnTo>
                  <a:pt x="148" y="14"/>
                </a:lnTo>
                <a:lnTo>
                  <a:pt x="157" y="23"/>
                </a:lnTo>
                <a:lnTo>
                  <a:pt x="165" y="32"/>
                </a:lnTo>
                <a:lnTo>
                  <a:pt x="173" y="43"/>
                </a:lnTo>
                <a:lnTo>
                  <a:pt x="184" y="59"/>
                </a:lnTo>
                <a:lnTo>
                  <a:pt x="184" y="59"/>
                </a:lnTo>
                <a:lnTo>
                  <a:pt x="188" y="62"/>
                </a:lnTo>
                <a:lnTo>
                  <a:pt x="192" y="66"/>
                </a:lnTo>
                <a:lnTo>
                  <a:pt x="198" y="68"/>
                </a:lnTo>
                <a:lnTo>
                  <a:pt x="204" y="69"/>
                </a:lnTo>
                <a:lnTo>
                  <a:pt x="215" y="71"/>
                </a:lnTo>
                <a:lnTo>
                  <a:pt x="228" y="74"/>
                </a:lnTo>
                <a:lnTo>
                  <a:pt x="241" y="76"/>
                </a:lnTo>
                <a:lnTo>
                  <a:pt x="245" y="78"/>
                </a:lnTo>
                <a:lnTo>
                  <a:pt x="250" y="81"/>
                </a:lnTo>
                <a:lnTo>
                  <a:pt x="255" y="84"/>
                </a:lnTo>
                <a:lnTo>
                  <a:pt x="258" y="89"/>
                </a:lnTo>
                <a:lnTo>
                  <a:pt x="260" y="93"/>
                </a:lnTo>
                <a:lnTo>
                  <a:pt x="261" y="100"/>
                </a:lnTo>
                <a:lnTo>
                  <a:pt x="261" y="100"/>
                </a:lnTo>
                <a:lnTo>
                  <a:pt x="263" y="106"/>
                </a:lnTo>
                <a:lnTo>
                  <a:pt x="265" y="112"/>
                </a:lnTo>
                <a:lnTo>
                  <a:pt x="267" y="116"/>
                </a:lnTo>
                <a:lnTo>
                  <a:pt x="271" y="121"/>
                </a:lnTo>
                <a:lnTo>
                  <a:pt x="278" y="128"/>
                </a:lnTo>
                <a:lnTo>
                  <a:pt x="287" y="134"/>
                </a:lnTo>
                <a:lnTo>
                  <a:pt x="297" y="137"/>
                </a:lnTo>
                <a:lnTo>
                  <a:pt x="309" y="140"/>
                </a:lnTo>
                <a:lnTo>
                  <a:pt x="334" y="144"/>
                </a:lnTo>
                <a:lnTo>
                  <a:pt x="359" y="147"/>
                </a:lnTo>
                <a:lnTo>
                  <a:pt x="372" y="150"/>
                </a:lnTo>
                <a:lnTo>
                  <a:pt x="385" y="153"/>
                </a:lnTo>
                <a:lnTo>
                  <a:pt x="395" y="157"/>
                </a:lnTo>
                <a:lnTo>
                  <a:pt x="405" y="162"/>
                </a:lnTo>
                <a:lnTo>
                  <a:pt x="413" y="170"/>
                </a:lnTo>
                <a:lnTo>
                  <a:pt x="417" y="175"/>
                </a:lnTo>
                <a:lnTo>
                  <a:pt x="419" y="180"/>
                </a:lnTo>
                <a:lnTo>
                  <a:pt x="419" y="180"/>
                </a:lnTo>
                <a:lnTo>
                  <a:pt x="419" y="188"/>
                </a:lnTo>
                <a:lnTo>
                  <a:pt x="419" y="18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7" name="Freeform 72"/>
          <p:cNvSpPr>
            <a:spLocks/>
          </p:cNvSpPr>
          <p:nvPr/>
        </p:nvSpPr>
        <p:spPr bwMode="auto">
          <a:xfrm>
            <a:off x="1316038" y="4435475"/>
            <a:ext cx="301625" cy="355600"/>
          </a:xfrm>
          <a:custGeom>
            <a:avLst/>
            <a:gdLst/>
            <a:ahLst/>
            <a:cxnLst>
              <a:cxn ang="0">
                <a:pos x="302" y="403"/>
              </a:cxn>
              <a:cxn ang="0">
                <a:pos x="311" y="387"/>
              </a:cxn>
              <a:cxn ang="0">
                <a:pos x="347" y="358"/>
              </a:cxn>
              <a:cxn ang="0">
                <a:pos x="364" y="335"/>
              </a:cxn>
              <a:cxn ang="0">
                <a:pos x="368" y="321"/>
              </a:cxn>
              <a:cxn ang="0">
                <a:pos x="362" y="307"/>
              </a:cxn>
              <a:cxn ang="0">
                <a:pos x="352" y="298"/>
              </a:cxn>
              <a:cxn ang="0">
                <a:pos x="349" y="288"/>
              </a:cxn>
              <a:cxn ang="0">
                <a:pos x="359" y="262"/>
              </a:cxn>
              <a:cxn ang="0">
                <a:pos x="367" y="242"/>
              </a:cxn>
              <a:cxn ang="0">
                <a:pos x="367" y="218"/>
              </a:cxn>
              <a:cxn ang="0">
                <a:pos x="361" y="200"/>
              </a:cxn>
              <a:cxn ang="0">
                <a:pos x="349" y="192"/>
              </a:cxn>
              <a:cxn ang="0">
                <a:pos x="349" y="170"/>
              </a:cxn>
              <a:cxn ang="0">
                <a:pos x="338" y="167"/>
              </a:cxn>
              <a:cxn ang="0">
                <a:pos x="309" y="146"/>
              </a:cxn>
              <a:cxn ang="0">
                <a:pos x="285" y="130"/>
              </a:cxn>
              <a:cxn ang="0">
                <a:pos x="268" y="126"/>
              </a:cxn>
              <a:cxn ang="0">
                <a:pos x="256" y="130"/>
              </a:cxn>
              <a:cxn ang="0">
                <a:pos x="245" y="143"/>
              </a:cxn>
              <a:cxn ang="0">
                <a:pos x="232" y="151"/>
              </a:cxn>
              <a:cxn ang="0">
                <a:pos x="217" y="146"/>
              </a:cxn>
              <a:cxn ang="0">
                <a:pos x="207" y="126"/>
              </a:cxn>
              <a:cxn ang="0">
                <a:pos x="201" y="76"/>
              </a:cxn>
              <a:cxn ang="0">
                <a:pos x="192" y="52"/>
              </a:cxn>
              <a:cxn ang="0">
                <a:pos x="170" y="42"/>
              </a:cxn>
              <a:cxn ang="0">
                <a:pos x="162" y="43"/>
              </a:cxn>
              <a:cxn ang="0">
                <a:pos x="141" y="52"/>
              </a:cxn>
              <a:cxn ang="0">
                <a:pos x="128" y="51"/>
              </a:cxn>
              <a:cxn ang="0">
                <a:pos x="103" y="35"/>
              </a:cxn>
              <a:cxn ang="0">
                <a:pos x="84" y="9"/>
              </a:cxn>
              <a:cxn ang="0">
                <a:pos x="74" y="4"/>
              </a:cxn>
              <a:cxn ang="0">
                <a:pos x="59" y="17"/>
              </a:cxn>
              <a:cxn ang="0">
                <a:pos x="53" y="35"/>
              </a:cxn>
              <a:cxn ang="0">
                <a:pos x="51" y="159"/>
              </a:cxn>
              <a:cxn ang="0">
                <a:pos x="50" y="172"/>
              </a:cxn>
              <a:cxn ang="0">
                <a:pos x="39" y="190"/>
              </a:cxn>
              <a:cxn ang="0">
                <a:pos x="5" y="215"/>
              </a:cxn>
              <a:cxn ang="0">
                <a:pos x="0" y="221"/>
              </a:cxn>
              <a:cxn ang="0">
                <a:pos x="5" y="222"/>
              </a:cxn>
              <a:cxn ang="0">
                <a:pos x="30" y="235"/>
              </a:cxn>
              <a:cxn ang="0">
                <a:pos x="55" y="264"/>
              </a:cxn>
              <a:cxn ang="0">
                <a:pos x="70" y="283"/>
              </a:cxn>
              <a:cxn ang="0">
                <a:pos x="86" y="290"/>
              </a:cxn>
              <a:cxn ang="0">
                <a:pos x="123" y="297"/>
              </a:cxn>
              <a:cxn ang="0">
                <a:pos x="137" y="305"/>
              </a:cxn>
              <a:cxn ang="0">
                <a:pos x="143" y="321"/>
              </a:cxn>
              <a:cxn ang="0">
                <a:pos x="147" y="333"/>
              </a:cxn>
              <a:cxn ang="0">
                <a:pos x="160" y="349"/>
              </a:cxn>
              <a:cxn ang="0">
                <a:pos x="191" y="361"/>
              </a:cxn>
              <a:cxn ang="0">
                <a:pos x="254" y="371"/>
              </a:cxn>
              <a:cxn ang="0">
                <a:pos x="287" y="383"/>
              </a:cxn>
              <a:cxn ang="0">
                <a:pos x="301" y="401"/>
              </a:cxn>
              <a:cxn ang="0">
                <a:pos x="301" y="409"/>
              </a:cxn>
            </a:cxnLst>
            <a:rect l="0" t="0" r="r" b="b"/>
            <a:pathLst>
              <a:path w="368" h="409">
                <a:moveTo>
                  <a:pt x="301" y="409"/>
                </a:moveTo>
                <a:lnTo>
                  <a:pt x="301" y="409"/>
                </a:lnTo>
                <a:lnTo>
                  <a:pt x="302" y="403"/>
                </a:lnTo>
                <a:lnTo>
                  <a:pt x="305" y="397"/>
                </a:lnTo>
                <a:lnTo>
                  <a:pt x="308" y="391"/>
                </a:lnTo>
                <a:lnTo>
                  <a:pt x="311" y="387"/>
                </a:lnTo>
                <a:lnTo>
                  <a:pt x="323" y="378"/>
                </a:lnTo>
                <a:lnTo>
                  <a:pt x="334" y="367"/>
                </a:lnTo>
                <a:lnTo>
                  <a:pt x="347" y="358"/>
                </a:lnTo>
                <a:lnTo>
                  <a:pt x="357" y="346"/>
                </a:lnTo>
                <a:lnTo>
                  <a:pt x="361" y="341"/>
                </a:lnTo>
                <a:lnTo>
                  <a:pt x="364" y="335"/>
                </a:lnTo>
                <a:lnTo>
                  <a:pt x="367" y="328"/>
                </a:lnTo>
                <a:lnTo>
                  <a:pt x="368" y="321"/>
                </a:lnTo>
                <a:lnTo>
                  <a:pt x="368" y="321"/>
                </a:lnTo>
                <a:lnTo>
                  <a:pt x="367" y="314"/>
                </a:lnTo>
                <a:lnTo>
                  <a:pt x="364" y="311"/>
                </a:lnTo>
                <a:lnTo>
                  <a:pt x="362" y="307"/>
                </a:lnTo>
                <a:lnTo>
                  <a:pt x="359" y="304"/>
                </a:lnTo>
                <a:lnTo>
                  <a:pt x="355" y="302"/>
                </a:lnTo>
                <a:lnTo>
                  <a:pt x="352" y="298"/>
                </a:lnTo>
                <a:lnTo>
                  <a:pt x="351" y="294"/>
                </a:lnTo>
                <a:lnTo>
                  <a:pt x="349" y="288"/>
                </a:lnTo>
                <a:lnTo>
                  <a:pt x="349" y="288"/>
                </a:lnTo>
                <a:lnTo>
                  <a:pt x="351" y="280"/>
                </a:lnTo>
                <a:lnTo>
                  <a:pt x="352" y="274"/>
                </a:lnTo>
                <a:lnTo>
                  <a:pt x="359" y="262"/>
                </a:lnTo>
                <a:lnTo>
                  <a:pt x="362" y="257"/>
                </a:lnTo>
                <a:lnTo>
                  <a:pt x="364" y="250"/>
                </a:lnTo>
                <a:lnTo>
                  <a:pt x="367" y="242"/>
                </a:lnTo>
                <a:lnTo>
                  <a:pt x="368" y="233"/>
                </a:lnTo>
                <a:lnTo>
                  <a:pt x="368" y="233"/>
                </a:lnTo>
                <a:lnTo>
                  <a:pt x="367" y="218"/>
                </a:lnTo>
                <a:lnTo>
                  <a:pt x="366" y="211"/>
                </a:lnTo>
                <a:lnTo>
                  <a:pt x="364" y="205"/>
                </a:lnTo>
                <a:lnTo>
                  <a:pt x="361" y="200"/>
                </a:lnTo>
                <a:lnTo>
                  <a:pt x="359" y="197"/>
                </a:lnTo>
                <a:lnTo>
                  <a:pt x="354" y="193"/>
                </a:lnTo>
                <a:lnTo>
                  <a:pt x="349" y="192"/>
                </a:lnTo>
                <a:lnTo>
                  <a:pt x="349" y="192"/>
                </a:lnTo>
                <a:lnTo>
                  <a:pt x="349" y="170"/>
                </a:lnTo>
                <a:lnTo>
                  <a:pt x="349" y="170"/>
                </a:lnTo>
                <a:lnTo>
                  <a:pt x="349" y="170"/>
                </a:lnTo>
                <a:lnTo>
                  <a:pt x="344" y="169"/>
                </a:lnTo>
                <a:lnTo>
                  <a:pt x="338" y="167"/>
                </a:lnTo>
                <a:lnTo>
                  <a:pt x="328" y="161"/>
                </a:lnTo>
                <a:lnTo>
                  <a:pt x="318" y="154"/>
                </a:lnTo>
                <a:lnTo>
                  <a:pt x="309" y="146"/>
                </a:lnTo>
                <a:lnTo>
                  <a:pt x="300" y="139"/>
                </a:lnTo>
                <a:lnTo>
                  <a:pt x="291" y="132"/>
                </a:lnTo>
                <a:lnTo>
                  <a:pt x="285" y="130"/>
                </a:lnTo>
                <a:lnTo>
                  <a:pt x="280" y="128"/>
                </a:lnTo>
                <a:lnTo>
                  <a:pt x="275" y="127"/>
                </a:lnTo>
                <a:lnTo>
                  <a:pt x="268" y="126"/>
                </a:lnTo>
                <a:lnTo>
                  <a:pt x="268" y="126"/>
                </a:lnTo>
                <a:lnTo>
                  <a:pt x="262" y="127"/>
                </a:lnTo>
                <a:lnTo>
                  <a:pt x="256" y="130"/>
                </a:lnTo>
                <a:lnTo>
                  <a:pt x="253" y="134"/>
                </a:lnTo>
                <a:lnTo>
                  <a:pt x="248" y="138"/>
                </a:lnTo>
                <a:lnTo>
                  <a:pt x="245" y="143"/>
                </a:lnTo>
                <a:lnTo>
                  <a:pt x="241" y="147"/>
                </a:lnTo>
                <a:lnTo>
                  <a:pt x="237" y="150"/>
                </a:lnTo>
                <a:lnTo>
                  <a:pt x="232" y="151"/>
                </a:lnTo>
                <a:lnTo>
                  <a:pt x="232" y="151"/>
                </a:lnTo>
                <a:lnTo>
                  <a:pt x="224" y="150"/>
                </a:lnTo>
                <a:lnTo>
                  <a:pt x="217" y="146"/>
                </a:lnTo>
                <a:lnTo>
                  <a:pt x="212" y="140"/>
                </a:lnTo>
                <a:lnTo>
                  <a:pt x="209" y="134"/>
                </a:lnTo>
                <a:lnTo>
                  <a:pt x="207" y="126"/>
                </a:lnTo>
                <a:lnTo>
                  <a:pt x="206" y="116"/>
                </a:lnTo>
                <a:lnTo>
                  <a:pt x="203" y="97"/>
                </a:lnTo>
                <a:lnTo>
                  <a:pt x="201" y="76"/>
                </a:lnTo>
                <a:lnTo>
                  <a:pt x="199" y="67"/>
                </a:lnTo>
                <a:lnTo>
                  <a:pt x="195" y="59"/>
                </a:lnTo>
                <a:lnTo>
                  <a:pt x="192" y="52"/>
                </a:lnTo>
                <a:lnTo>
                  <a:pt x="186" y="46"/>
                </a:lnTo>
                <a:lnTo>
                  <a:pt x="178" y="43"/>
                </a:lnTo>
                <a:lnTo>
                  <a:pt x="170" y="42"/>
                </a:lnTo>
                <a:lnTo>
                  <a:pt x="170" y="42"/>
                </a:lnTo>
                <a:lnTo>
                  <a:pt x="165" y="42"/>
                </a:lnTo>
                <a:lnTo>
                  <a:pt x="162" y="43"/>
                </a:lnTo>
                <a:lnTo>
                  <a:pt x="154" y="47"/>
                </a:lnTo>
                <a:lnTo>
                  <a:pt x="146" y="51"/>
                </a:lnTo>
                <a:lnTo>
                  <a:pt x="141" y="52"/>
                </a:lnTo>
                <a:lnTo>
                  <a:pt x="137" y="53"/>
                </a:lnTo>
                <a:lnTo>
                  <a:pt x="137" y="53"/>
                </a:lnTo>
                <a:lnTo>
                  <a:pt x="128" y="51"/>
                </a:lnTo>
                <a:lnTo>
                  <a:pt x="120" y="47"/>
                </a:lnTo>
                <a:lnTo>
                  <a:pt x="111" y="42"/>
                </a:lnTo>
                <a:lnTo>
                  <a:pt x="103" y="35"/>
                </a:lnTo>
                <a:lnTo>
                  <a:pt x="95" y="27"/>
                </a:lnTo>
                <a:lnTo>
                  <a:pt x="88" y="19"/>
                </a:lnTo>
                <a:lnTo>
                  <a:pt x="84" y="9"/>
                </a:lnTo>
                <a:lnTo>
                  <a:pt x="81" y="0"/>
                </a:lnTo>
                <a:lnTo>
                  <a:pt x="81" y="0"/>
                </a:lnTo>
                <a:lnTo>
                  <a:pt x="74" y="4"/>
                </a:lnTo>
                <a:lnTo>
                  <a:pt x="69" y="8"/>
                </a:lnTo>
                <a:lnTo>
                  <a:pt x="64" y="12"/>
                </a:lnTo>
                <a:lnTo>
                  <a:pt x="59" y="17"/>
                </a:lnTo>
                <a:lnTo>
                  <a:pt x="56" y="22"/>
                </a:lnTo>
                <a:lnTo>
                  <a:pt x="54" y="29"/>
                </a:lnTo>
                <a:lnTo>
                  <a:pt x="53" y="35"/>
                </a:lnTo>
                <a:lnTo>
                  <a:pt x="51" y="42"/>
                </a:lnTo>
                <a:lnTo>
                  <a:pt x="51" y="42"/>
                </a:lnTo>
                <a:lnTo>
                  <a:pt x="51" y="159"/>
                </a:lnTo>
                <a:lnTo>
                  <a:pt x="51" y="159"/>
                </a:lnTo>
                <a:lnTo>
                  <a:pt x="51" y="166"/>
                </a:lnTo>
                <a:lnTo>
                  <a:pt x="50" y="172"/>
                </a:lnTo>
                <a:lnTo>
                  <a:pt x="48" y="176"/>
                </a:lnTo>
                <a:lnTo>
                  <a:pt x="46" y="182"/>
                </a:lnTo>
                <a:lnTo>
                  <a:pt x="39" y="190"/>
                </a:lnTo>
                <a:lnTo>
                  <a:pt x="30" y="197"/>
                </a:lnTo>
                <a:lnTo>
                  <a:pt x="12" y="208"/>
                </a:lnTo>
                <a:lnTo>
                  <a:pt x="5" y="215"/>
                </a:lnTo>
                <a:lnTo>
                  <a:pt x="0" y="221"/>
                </a:lnTo>
                <a:lnTo>
                  <a:pt x="0" y="221"/>
                </a:lnTo>
                <a:lnTo>
                  <a:pt x="0" y="221"/>
                </a:lnTo>
                <a:lnTo>
                  <a:pt x="0" y="221"/>
                </a:lnTo>
                <a:lnTo>
                  <a:pt x="0" y="221"/>
                </a:lnTo>
                <a:lnTo>
                  <a:pt x="5" y="222"/>
                </a:lnTo>
                <a:lnTo>
                  <a:pt x="10" y="223"/>
                </a:lnTo>
                <a:lnTo>
                  <a:pt x="19" y="228"/>
                </a:lnTo>
                <a:lnTo>
                  <a:pt x="30" y="235"/>
                </a:lnTo>
                <a:lnTo>
                  <a:pt x="39" y="244"/>
                </a:lnTo>
                <a:lnTo>
                  <a:pt x="47" y="253"/>
                </a:lnTo>
                <a:lnTo>
                  <a:pt x="55" y="264"/>
                </a:lnTo>
                <a:lnTo>
                  <a:pt x="66" y="280"/>
                </a:lnTo>
                <a:lnTo>
                  <a:pt x="66" y="280"/>
                </a:lnTo>
                <a:lnTo>
                  <a:pt x="70" y="283"/>
                </a:lnTo>
                <a:lnTo>
                  <a:pt x="74" y="287"/>
                </a:lnTo>
                <a:lnTo>
                  <a:pt x="80" y="289"/>
                </a:lnTo>
                <a:lnTo>
                  <a:pt x="86" y="290"/>
                </a:lnTo>
                <a:lnTo>
                  <a:pt x="97" y="292"/>
                </a:lnTo>
                <a:lnTo>
                  <a:pt x="110" y="295"/>
                </a:lnTo>
                <a:lnTo>
                  <a:pt x="123" y="297"/>
                </a:lnTo>
                <a:lnTo>
                  <a:pt x="127" y="299"/>
                </a:lnTo>
                <a:lnTo>
                  <a:pt x="132" y="302"/>
                </a:lnTo>
                <a:lnTo>
                  <a:pt x="137" y="305"/>
                </a:lnTo>
                <a:lnTo>
                  <a:pt x="140" y="310"/>
                </a:lnTo>
                <a:lnTo>
                  <a:pt x="142" y="314"/>
                </a:lnTo>
                <a:lnTo>
                  <a:pt x="143" y="321"/>
                </a:lnTo>
                <a:lnTo>
                  <a:pt x="143" y="321"/>
                </a:lnTo>
                <a:lnTo>
                  <a:pt x="145" y="327"/>
                </a:lnTo>
                <a:lnTo>
                  <a:pt x="147" y="333"/>
                </a:lnTo>
                <a:lnTo>
                  <a:pt x="149" y="337"/>
                </a:lnTo>
                <a:lnTo>
                  <a:pt x="153" y="342"/>
                </a:lnTo>
                <a:lnTo>
                  <a:pt x="160" y="349"/>
                </a:lnTo>
                <a:lnTo>
                  <a:pt x="169" y="355"/>
                </a:lnTo>
                <a:lnTo>
                  <a:pt x="179" y="358"/>
                </a:lnTo>
                <a:lnTo>
                  <a:pt x="191" y="361"/>
                </a:lnTo>
                <a:lnTo>
                  <a:pt x="216" y="365"/>
                </a:lnTo>
                <a:lnTo>
                  <a:pt x="241" y="368"/>
                </a:lnTo>
                <a:lnTo>
                  <a:pt x="254" y="371"/>
                </a:lnTo>
                <a:lnTo>
                  <a:pt x="267" y="374"/>
                </a:lnTo>
                <a:lnTo>
                  <a:pt x="277" y="378"/>
                </a:lnTo>
                <a:lnTo>
                  <a:pt x="287" y="383"/>
                </a:lnTo>
                <a:lnTo>
                  <a:pt x="295" y="391"/>
                </a:lnTo>
                <a:lnTo>
                  <a:pt x="299" y="396"/>
                </a:lnTo>
                <a:lnTo>
                  <a:pt x="301" y="401"/>
                </a:lnTo>
                <a:lnTo>
                  <a:pt x="301" y="401"/>
                </a:lnTo>
                <a:lnTo>
                  <a:pt x="301" y="409"/>
                </a:lnTo>
                <a:lnTo>
                  <a:pt x="301" y="4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8" name="Freeform 73"/>
          <p:cNvSpPr>
            <a:spLocks/>
          </p:cNvSpPr>
          <p:nvPr/>
        </p:nvSpPr>
        <p:spPr bwMode="auto">
          <a:xfrm>
            <a:off x="935038" y="4695825"/>
            <a:ext cx="523875" cy="504825"/>
          </a:xfrm>
          <a:custGeom>
            <a:avLst/>
            <a:gdLst/>
            <a:ahLst/>
            <a:cxnLst>
              <a:cxn ang="0">
                <a:pos x="606" y="436"/>
              </a:cxn>
              <a:cxn ang="0">
                <a:pos x="588" y="452"/>
              </a:cxn>
              <a:cxn ang="0">
                <a:pos x="512" y="475"/>
              </a:cxn>
              <a:cxn ang="0">
                <a:pos x="486" y="501"/>
              </a:cxn>
              <a:cxn ang="0">
                <a:pos x="477" y="533"/>
              </a:cxn>
              <a:cxn ang="0">
                <a:pos x="443" y="565"/>
              </a:cxn>
              <a:cxn ang="0">
                <a:pos x="403" y="574"/>
              </a:cxn>
              <a:cxn ang="0">
                <a:pos x="391" y="535"/>
              </a:cxn>
              <a:cxn ang="0">
                <a:pos x="368" y="526"/>
              </a:cxn>
              <a:cxn ang="0">
                <a:pos x="330" y="533"/>
              </a:cxn>
              <a:cxn ang="0">
                <a:pos x="271" y="526"/>
              </a:cxn>
              <a:cxn ang="0">
                <a:pos x="242" y="536"/>
              </a:cxn>
              <a:cxn ang="0">
                <a:pos x="217" y="547"/>
              </a:cxn>
              <a:cxn ang="0">
                <a:pos x="195" y="512"/>
              </a:cxn>
              <a:cxn ang="0">
                <a:pos x="186" y="509"/>
              </a:cxn>
              <a:cxn ang="0">
                <a:pos x="168" y="543"/>
              </a:cxn>
              <a:cxn ang="0">
                <a:pos x="142" y="536"/>
              </a:cxn>
              <a:cxn ang="0">
                <a:pos x="113" y="529"/>
              </a:cxn>
              <a:cxn ang="0">
                <a:pos x="76" y="540"/>
              </a:cxn>
              <a:cxn ang="0">
                <a:pos x="54" y="534"/>
              </a:cxn>
              <a:cxn ang="0">
                <a:pos x="19" y="490"/>
              </a:cxn>
              <a:cxn ang="0">
                <a:pos x="24" y="455"/>
              </a:cxn>
              <a:cxn ang="0">
                <a:pos x="28" y="422"/>
              </a:cxn>
              <a:cxn ang="0">
                <a:pos x="9" y="395"/>
              </a:cxn>
              <a:cxn ang="0">
                <a:pos x="0" y="375"/>
              </a:cxn>
              <a:cxn ang="0">
                <a:pos x="27" y="346"/>
              </a:cxn>
              <a:cxn ang="0">
                <a:pos x="57" y="338"/>
              </a:cxn>
              <a:cxn ang="0">
                <a:pos x="100" y="350"/>
              </a:cxn>
              <a:cxn ang="0">
                <a:pos x="117" y="343"/>
              </a:cxn>
              <a:cxn ang="0">
                <a:pos x="120" y="298"/>
              </a:cxn>
              <a:cxn ang="0">
                <a:pos x="123" y="241"/>
              </a:cxn>
              <a:cxn ang="0">
                <a:pos x="151" y="206"/>
              </a:cxn>
              <a:cxn ang="0">
                <a:pos x="165" y="169"/>
              </a:cxn>
              <a:cxn ang="0">
                <a:pos x="154" y="137"/>
              </a:cxn>
              <a:cxn ang="0">
                <a:pos x="143" y="100"/>
              </a:cxn>
              <a:cxn ang="0">
                <a:pos x="170" y="57"/>
              </a:cxn>
              <a:cxn ang="0">
                <a:pos x="201" y="0"/>
              </a:cxn>
              <a:cxn ang="0">
                <a:pos x="286" y="2"/>
              </a:cxn>
              <a:cxn ang="0">
                <a:pos x="326" y="36"/>
              </a:cxn>
              <a:cxn ang="0">
                <a:pos x="346" y="50"/>
              </a:cxn>
              <a:cxn ang="0">
                <a:pos x="349" y="71"/>
              </a:cxn>
              <a:cxn ang="0">
                <a:pos x="367" y="97"/>
              </a:cxn>
              <a:cxn ang="0">
                <a:pos x="412" y="113"/>
              </a:cxn>
              <a:cxn ang="0">
                <a:pos x="429" y="134"/>
              </a:cxn>
              <a:cxn ang="0">
                <a:pos x="484" y="170"/>
              </a:cxn>
              <a:cxn ang="0">
                <a:pos x="506" y="207"/>
              </a:cxn>
              <a:cxn ang="0">
                <a:pos x="498" y="236"/>
              </a:cxn>
              <a:cxn ang="0">
                <a:pos x="477" y="265"/>
              </a:cxn>
              <a:cxn ang="0">
                <a:pos x="486" y="282"/>
              </a:cxn>
              <a:cxn ang="0">
                <a:pos x="504" y="287"/>
              </a:cxn>
              <a:cxn ang="0">
                <a:pos x="536" y="296"/>
              </a:cxn>
              <a:cxn ang="0">
                <a:pos x="550" y="340"/>
              </a:cxn>
              <a:cxn ang="0">
                <a:pos x="580" y="342"/>
              </a:cxn>
              <a:cxn ang="0">
                <a:pos x="630" y="427"/>
              </a:cxn>
              <a:cxn ang="0">
                <a:pos x="639" y="430"/>
              </a:cxn>
            </a:cxnLst>
            <a:rect l="0" t="0" r="r" b="b"/>
            <a:pathLst>
              <a:path w="639" h="580">
                <a:moveTo>
                  <a:pt x="621" y="430"/>
                </a:moveTo>
                <a:lnTo>
                  <a:pt x="621" y="430"/>
                </a:lnTo>
                <a:lnTo>
                  <a:pt x="615" y="430"/>
                </a:lnTo>
                <a:lnTo>
                  <a:pt x="609" y="433"/>
                </a:lnTo>
                <a:lnTo>
                  <a:pt x="606" y="436"/>
                </a:lnTo>
                <a:lnTo>
                  <a:pt x="603" y="440"/>
                </a:lnTo>
                <a:lnTo>
                  <a:pt x="597" y="448"/>
                </a:lnTo>
                <a:lnTo>
                  <a:pt x="592" y="450"/>
                </a:lnTo>
                <a:lnTo>
                  <a:pt x="588" y="452"/>
                </a:lnTo>
                <a:lnTo>
                  <a:pt x="588" y="452"/>
                </a:lnTo>
                <a:lnTo>
                  <a:pt x="574" y="456"/>
                </a:lnTo>
                <a:lnTo>
                  <a:pt x="559" y="460"/>
                </a:lnTo>
                <a:lnTo>
                  <a:pt x="543" y="464"/>
                </a:lnTo>
                <a:lnTo>
                  <a:pt x="527" y="468"/>
                </a:lnTo>
                <a:lnTo>
                  <a:pt x="512" y="475"/>
                </a:lnTo>
                <a:lnTo>
                  <a:pt x="505" y="479"/>
                </a:lnTo>
                <a:lnTo>
                  <a:pt x="499" y="483"/>
                </a:lnTo>
                <a:lnTo>
                  <a:pt x="494" y="488"/>
                </a:lnTo>
                <a:lnTo>
                  <a:pt x="490" y="494"/>
                </a:lnTo>
                <a:lnTo>
                  <a:pt x="486" y="501"/>
                </a:lnTo>
                <a:lnTo>
                  <a:pt x="485" y="508"/>
                </a:lnTo>
                <a:lnTo>
                  <a:pt x="485" y="508"/>
                </a:lnTo>
                <a:lnTo>
                  <a:pt x="483" y="517"/>
                </a:lnTo>
                <a:lnTo>
                  <a:pt x="481" y="526"/>
                </a:lnTo>
                <a:lnTo>
                  <a:pt x="477" y="533"/>
                </a:lnTo>
                <a:lnTo>
                  <a:pt x="474" y="540"/>
                </a:lnTo>
                <a:lnTo>
                  <a:pt x="469" y="546"/>
                </a:lnTo>
                <a:lnTo>
                  <a:pt x="464" y="551"/>
                </a:lnTo>
                <a:lnTo>
                  <a:pt x="454" y="559"/>
                </a:lnTo>
                <a:lnTo>
                  <a:pt x="443" y="565"/>
                </a:lnTo>
                <a:lnTo>
                  <a:pt x="431" y="571"/>
                </a:lnTo>
                <a:lnTo>
                  <a:pt x="418" y="575"/>
                </a:lnTo>
                <a:lnTo>
                  <a:pt x="407" y="580"/>
                </a:lnTo>
                <a:lnTo>
                  <a:pt x="407" y="580"/>
                </a:lnTo>
                <a:lnTo>
                  <a:pt x="403" y="574"/>
                </a:lnTo>
                <a:lnTo>
                  <a:pt x="401" y="566"/>
                </a:lnTo>
                <a:lnTo>
                  <a:pt x="400" y="557"/>
                </a:lnTo>
                <a:lnTo>
                  <a:pt x="397" y="548"/>
                </a:lnTo>
                <a:lnTo>
                  <a:pt x="393" y="540"/>
                </a:lnTo>
                <a:lnTo>
                  <a:pt x="391" y="535"/>
                </a:lnTo>
                <a:lnTo>
                  <a:pt x="387" y="533"/>
                </a:lnTo>
                <a:lnTo>
                  <a:pt x="384" y="529"/>
                </a:lnTo>
                <a:lnTo>
                  <a:pt x="379" y="527"/>
                </a:lnTo>
                <a:lnTo>
                  <a:pt x="374" y="526"/>
                </a:lnTo>
                <a:lnTo>
                  <a:pt x="368" y="526"/>
                </a:lnTo>
                <a:lnTo>
                  <a:pt x="368" y="526"/>
                </a:lnTo>
                <a:lnTo>
                  <a:pt x="357" y="527"/>
                </a:lnTo>
                <a:lnTo>
                  <a:pt x="351" y="529"/>
                </a:lnTo>
                <a:lnTo>
                  <a:pt x="341" y="532"/>
                </a:lnTo>
                <a:lnTo>
                  <a:pt x="330" y="533"/>
                </a:lnTo>
                <a:lnTo>
                  <a:pt x="330" y="533"/>
                </a:lnTo>
                <a:lnTo>
                  <a:pt x="314" y="532"/>
                </a:lnTo>
                <a:lnTo>
                  <a:pt x="301" y="529"/>
                </a:lnTo>
                <a:lnTo>
                  <a:pt x="287" y="527"/>
                </a:lnTo>
                <a:lnTo>
                  <a:pt x="271" y="526"/>
                </a:lnTo>
                <a:lnTo>
                  <a:pt x="271" y="526"/>
                </a:lnTo>
                <a:lnTo>
                  <a:pt x="262" y="527"/>
                </a:lnTo>
                <a:lnTo>
                  <a:pt x="255" y="529"/>
                </a:lnTo>
                <a:lnTo>
                  <a:pt x="248" y="533"/>
                </a:lnTo>
                <a:lnTo>
                  <a:pt x="242" y="536"/>
                </a:lnTo>
                <a:lnTo>
                  <a:pt x="232" y="544"/>
                </a:lnTo>
                <a:lnTo>
                  <a:pt x="226" y="547"/>
                </a:lnTo>
                <a:lnTo>
                  <a:pt x="221" y="548"/>
                </a:lnTo>
                <a:lnTo>
                  <a:pt x="221" y="548"/>
                </a:lnTo>
                <a:lnTo>
                  <a:pt x="217" y="547"/>
                </a:lnTo>
                <a:lnTo>
                  <a:pt x="214" y="546"/>
                </a:lnTo>
                <a:lnTo>
                  <a:pt x="209" y="542"/>
                </a:lnTo>
                <a:lnTo>
                  <a:pt x="204" y="535"/>
                </a:lnTo>
                <a:lnTo>
                  <a:pt x="201" y="528"/>
                </a:lnTo>
                <a:lnTo>
                  <a:pt x="195" y="512"/>
                </a:lnTo>
                <a:lnTo>
                  <a:pt x="193" y="505"/>
                </a:lnTo>
                <a:lnTo>
                  <a:pt x="191" y="500"/>
                </a:lnTo>
                <a:lnTo>
                  <a:pt x="191" y="500"/>
                </a:lnTo>
                <a:lnTo>
                  <a:pt x="188" y="503"/>
                </a:lnTo>
                <a:lnTo>
                  <a:pt x="186" y="509"/>
                </a:lnTo>
                <a:lnTo>
                  <a:pt x="180" y="524"/>
                </a:lnTo>
                <a:lnTo>
                  <a:pt x="178" y="531"/>
                </a:lnTo>
                <a:lnTo>
                  <a:pt x="174" y="538"/>
                </a:lnTo>
                <a:lnTo>
                  <a:pt x="170" y="542"/>
                </a:lnTo>
                <a:lnTo>
                  <a:pt x="168" y="543"/>
                </a:lnTo>
                <a:lnTo>
                  <a:pt x="165" y="544"/>
                </a:lnTo>
                <a:lnTo>
                  <a:pt x="165" y="544"/>
                </a:lnTo>
                <a:lnTo>
                  <a:pt x="158" y="543"/>
                </a:lnTo>
                <a:lnTo>
                  <a:pt x="153" y="542"/>
                </a:lnTo>
                <a:lnTo>
                  <a:pt x="142" y="536"/>
                </a:lnTo>
                <a:lnTo>
                  <a:pt x="137" y="534"/>
                </a:lnTo>
                <a:lnTo>
                  <a:pt x="130" y="532"/>
                </a:lnTo>
                <a:lnTo>
                  <a:pt x="123" y="529"/>
                </a:lnTo>
                <a:lnTo>
                  <a:pt x="113" y="529"/>
                </a:lnTo>
                <a:lnTo>
                  <a:pt x="113" y="529"/>
                </a:lnTo>
                <a:lnTo>
                  <a:pt x="108" y="529"/>
                </a:lnTo>
                <a:lnTo>
                  <a:pt x="102" y="531"/>
                </a:lnTo>
                <a:lnTo>
                  <a:pt x="92" y="535"/>
                </a:lnTo>
                <a:lnTo>
                  <a:pt x="81" y="539"/>
                </a:lnTo>
                <a:lnTo>
                  <a:pt x="76" y="540"/>
                </a:lnTo>
                <a:lnTo>
                  <a:pt x="70" y="541"/>
                </a:lnTo>
                <a:lnTo>
                  <a:pt x="70" y="541"/>
                </a:lnTo>
                <a:lnTo>
                  <a:pt x="66" y="540"/>
                </a:lnTo>
                <a:lnTo>
                  <a:pt x="62" y="539"/>
                </a:lnTo>
                <a:lnTo>
                  <a:pt x="54" y="534"/>
                </a:lnTo>
                <a:lnTo>
                  <a:pt x="46" y="527"/>
                </a:lnTo>
                <a:lnTo>
                  <a:pt x="36" y="519"/>
                </a:lnTo>
                <a:lnTo>
                  <a:pt x="29" y="510"/>
                </a:lnTo>
                <a:lnTo>
                  <a:pt x="24" y="501"/>
                </a:lnTo>
                <a:lnTo>
                  <a:pt x="19" y="490"/>
                </a:lnTo>
                <a:lnTo>
                  <a:pt x="18" y="482"/>
                </a:lnTo>
                <a:lnTo>
                  <a:pt x="18" y="482"/>
                </a:lnTo>
                <a:lnTo>
                  <a:pt x="18" y="474"/>
                </a:lnTo>
                <a:lnTo>
                  <a:pt x="19" y="467"/>
                </a:lnTo>
                <a:lnTo>
                  <a:pt x="24" y="455"/>
                </a:lnTo>
                <a:lnTo>
                  <a:pt x="27" y="441"/>
                </a:lnTo>
                <a:lnTo>
                  <a:pt x="28" y="434"/>
                </a:lnTo>
                <a:lnTo>
                  <a:pt x="29" y="427"/>
                </a:lnTo>
                <a:lnTo>
                  <a:pt x="29" y="427"/>
                </a:lnTo>
                <a:lnTo>
                  <a:pt x="28" y="422"/>
                </a:lnTo>
                <a:lnTo>
                  <a:pt x="28" y="418"/>
                </a:lnTo>
                <a:lnTo>
                  <a:pt x="25" y="411"/>
                </a:lnTo>
                <a:lnTo>
                  <a:pt x="20" y="405"/>
                </a:lnTo>
                <a:lnTo>
                  <a:pt x="15" y="399"/>
                </a:lnTo>
                <a:lnTo>
                  <a:pt x="9" y="395"/>
                </a:lnTo>
                <a:lnTo>
                  <a:pt x="4" y="390"/>
                </a:lnTo>
                <a:lnTo>
                  <a:pt x="1" y="386"/>
                </a:lnTo>
                <a:lnTo>
                  <a:pt x="0" y="379"/>
                </a:lnTo>
                <a:lnTo>
                  <a:pt x="0" y="379"/>
                </a:lnTo>
                <a:lnTo>
                  <a:pt x="0" y="375"/>
                </a:lnTo>
                <a:lnTo>
                  <a:pt x="1" y="372"/>
                </a:lnTo>
                <a:lnTo>
                  <a:pt x="5" y="365"/>
                </a:lnTo>
                <a:lnTo>
                  <a:pt x="11" y="358"/>
                </a:lnTo>
                <a:lnTo>
                  <a:pt x="18" y="352"/>
                </a:lnTo>
                <a:lnTo>
                  <a:pt x="27" y="346"/>
                </a:lnTo>
                <a:lnTo>
                  <a:pt x="35" y="342"/>
                </a:lnTo>
                <a:lnTo>
                  <a:pt x="43" y="340"/>
                </a:lnTo>
                <a:lnTo>
                  <a:pt x="51" y="338"/>
                </a:lnTo>
                <a:lnTo>
                  <a:pt x="51" y="338"/>
                </a:lnTo>
                <a:lnTo>
                  <a:pt x="57" y="338"/>
                </a:lnTo>
                <a:lnTo>
                  <a:pt x="64" y="340"/>
                </a:lnTo>
                <a:lnTo>
                  <a:pt x="76" y="344"/>
                </a:lnTo>
                <a:lnTo>
                  <a:pt x="86" y="348"/>
                </a:lnTo>
                <a:lnTo>
                  <a:pt x="93" y="349"/>
                </a:lnTo>
                <a:lnTo>
                  <a:pt x="100" y="350"/>
                </a:lnTo>
                <a:lnTo>
                  <a:pt x="100" y="350"/>
                </a:lnTo>
                <a:lnTo>
                  <a:pt x="109" y="349"/>
                </a:lnTo>
                <a:lnTo>
                  <a:pt x="112" y="346"/>
                </a:lnTo>
                <a:lnTo>
                  <a:pt x="115" y="345"/>
                </a:lnTo>
                <a:lnTo>
                  <a:pt x="117" y="343"/>
                </a:lnTo>
                <a:lnTo>
                  <a:pt x="119" y="340"/>
                </a:lnTo>
                <a:lnTo>
                  <a:pt x="122" y="334"/>
                </a:lnTo>
                <a:lnTo>
                  <a:pt x="122" y="326"/>
                </a:lnTo>
                <a:lnTo>
                  <a:pt x="122" y="317"/>
                </a:lnTo>
                <a:lnTo>
                  <a:pt x="120" y="298"/>
                </a:lnTo>
                <a:lnTo>
                  <a:pt x="120" y="298"/>
                </a:lnTo>
                <a:lnTo>
                  <a:pt x="120" y="253"/>
                </a:lnTo>
                <a:lnTo>
                  <a:pt x="120" y="253"/>
                </a:lnTo>
                <a:lnTo>
                  <a:pt x="122" y="246"/>
                </a:lnTo>
                <a:lnTo>
                  <a:pt x="123" y="241"/>
                </a:lnTo>
                <a:lnTo>
                  <a:pt x="125" y="235"/>
                </a:lnTo>
                <a:lnTo>
                  <a:pt x="127" y="230"/>
                </a:lnTo>
                <a:lnTo>
                  <a:pt x="135" y="222"/>
                </a:lnTo>
                <a:lnTo>
                  <a:pt x="143" y="214"/>
                </a:lnTo>
                <a:lnTo>
                  <a:pt x="151" y="206"/>
                </a:lnTo>
                <a:lnTo>
                  <a:pt x="158" y="197"/>
                </a:lnTo>
                <a:lnTo>
                  <a:pt x="161" y="191"/>
                </a:lnTo>
                <a:lnTo>
                  <a:pt x="163" y="185"/>
                </a:lnTo>
                <a:lnTo>
                  <a:pt x="164" y="178"/>
                </a:lnTo>
                <a:lnTo>
                  <a:pt x="165" y="169"/>
                </a:lnTo>
                <a:lnTo>
                  <a:pt x="165" y="169"/>
                </a:lnTo>
                <a:lnTo>
                  <a:pt x="164" y="160"/>
                </a:lnTo>
                <a:lnTo>
                  <a:pt x="162" y="152"/>
                </a:lnTo>
                <a:lnTo>
                  <a:pt x="158" y="144"/>
                </a:lnTo>
                <a:lnTo>
                  <a:pt x="154" y="137"/>
                </a:lnTo>
                <a:lnTo>
                  <a:pt x="147" y="122"/>
                </a:lnTo>
                <a:lnTo>
                  <a:pt x="145" y="115"/>
                </a:lnTo>
                <a:lnTo>
                  <a:pt x="143" y="107"/>
                </a:lnTo>
                <a:lnTo>
                  <a:pt x="143" y="107"/>
                </a:lnTo>
                <a:lnTo>
                  <a:pt x="143" y="100"/>
                </a:lnTo>
                <a:lnTo>
                  <a:pt x="146" y="94"/>
                </a:lnTo>
                <a:lnTo>
                  <a:pt x="148" y="88"/>
                </a:lnTo>
                <a:lnTo>
                  <a:pt x="151" y="82"/>
                </a:lnTo>
                <a:lnTo>
                  <a:pt x="160" y="69"/>
                </a:lnTo>
                <a:lnTo>
                  <a:pt x="170" y="57"/>
                </a:lnTo>
                <a:lnTo>
                  <a:pt x="180" y="43"/>
                </a:lnTo>
                <a:lnTo>
                  <a:pt x="189" y="29"/>
                </a:lnTo>
                <a:lnTo>
                  <a:pt x="196" y="15"/>
                </a:lnTo>
                <a:lnTo>
                  <a:pt x="200" y="8"/>
                </a:lnTo>
                <a:lnTo>
                  <a:pt x="201" y="0"/>
                </a:lnTo>
                <a:lnTo>
                  <a:pt x="201" y="0"/>
                </a:lnTo>
                <a:lnTo>
                  <a:pt x="279" y="0"/>
                </a:lnTo>
                <a:lnTo>
                  <a:pt x="279" y="0"/>
                </a:lnTo>
                <a:lnTo>
                  <a:pt x="283" y="0"/>
                </a:lnTo>
                <a:lnTo>
                  <a:pt x="286" y="2"/>
                </a:lnTo>
                <a:lnTo>
                  <a:pt x="293" y="7"/>
                </a:lnTo>
                <a:lnTo>
                  <a:pt x="301" y="13"/>
                </a:lnTo>
                <a:lnTo>
                  <a:pt x="309" y="21"/>
                </a:lnTo>
                <a:lnTo>
                  <a:pt x="317" y="29"/>
                </a:lnTo>
                <a:lnTo>
                  <a:pt x="326" y="36"/>
                </a:lnTo>
                <a:lnTo>
                  <a:pt x="336" y="42"/>
                </a:lnTo>
                <a:lnTo>
                  <a:pt x="340" y="43"/>
                </a:lnTo>
                <a:lnTo>
                  <a:pt x="345" y="44"/>
                </a:lnTo>
                <a:lnTo>
                  <a:pt x="345" y="44"/>
                </a:lnTo>
                <a:lnTo>
                  <a:pt x="346" y="50"/>
                </a:lnTo>
                <a:lnTo>
                  <a:pt x="347" y="54"/>
                </a:lnTo>
                <a:lnTo>
                  <a:pt x="348" y="58"/>
                </a:lnTo>
                <a:lnTo>
                  <a:pt x="348" y="63"/>
                </a:lnTo>
                <a:lnTo>
                  <a:pt x="348" y="63"/>
                </a:lnTo>
                <a:lnTo>
                  <a:pt x="349" y="71"/>
                </a:lnTo>
                <a:lnTo>
                  <a:pt x="351" y="80"/>
                </a:lnTo>
                <a:lnTo>
                  <a:pt x="354" y="85"/>
                </a:lnTo>
                <a:lnTo>
                  <a:pt x="357" y="90"/>
                </a:lnTo>
                <a:lnTo>
                  <a:pt x="362" y="93"/>
                </a:lnTo>
                <a:lnTo>
                  <a:pt x="367" y="97"/>
                </a:lnTo>
                <a:lnTo>
                  <a:pt x="378" y="100"/>
                </a:lnTo>
                <a:lnTo>
                  <a:pt x="390" y="104"/>
                </a:lnTo>
                <a:lnTo>
                  <a:pt x="401" y="107"/>
                </a:lnTo>
                <a:lnTo>
                  <a:pt x="407" y="109"/>
                </a:lnTo>
                <a:lnTo>
                  <a:pt x="412" y="113"/>
                </a:lnTo>
                <a:lnTo>
                  <a:pt x="415" y="116"/>
                </a:lnTo>
                <a:lnTo>
                  <a:pt x="418" y="121"/>
                </a:lnTo>
                <a:lnTo>
                  <a:pt x="418" y="121"/>
                </a:lnTo>
                <a:lnTo>
                  <a:pt x="423" y="128"/>
                </a:lnTo>
                <a:lnTo>
                  <a:pt x="429" y="134"/>
                </a:lnTo>
                <a:lnTo>
                  <a:pt x="435" y="139"/>
                </a:lnTo>
                <a:lnTo>
                  <a:pt x="441" y="144"/>
                </a:lnTo>
                <a:lnTo>
                  <a:pt x="456" y="152"/>
                </a:lnTo>
                <a:lnTo>
                  <a:pt x="471" y="161"/>
                </a:lnTo>
                <a:lnTo>
                  <a:pt x="484" y="170"/>
                </a:lnTo>
                <a:lnTo>
                  <a:pt x="491" y="176"/>
                </a:lnTo>
                <a:lnTo>
                  <a:pt x="496" y="183"/>
                </a:lnTo>
                <a:lnTo>
                  <a:pt x="500" y="190"/>
                </a:lnTo>
                <a:lnTo>
                  <a:pt x="504" y="198"/>
                </a:lnTo>
                <a:lnTo>
                  <a:pt x="506" y="207"/>
                </a:lnTo>
                <a:lnTo>
                  <a:pt x="507" y="218"/>
                </a:lnTo>
                <a:lnTo>
                  <a:pt x="507" y="218"/>
                </a:lnTo>
                <a:lnTo>
                  <a:pt x="505" y="225"/>
                </a:lnTo>
                <a:lnTo>
                  <a:pt x="502" y="230"/>
                </a:lnTo>
                <a:lnTo>
                  <a:pt x="498" y="236"/>
                </a:lnTo>
                <a:lnTo>
                  <a:pt x="492" y="241"/>
                </a:lnTo>
                <a:lnTo>
                  <a:pt x="486" y="246"/>
                </a:lnTo>
                <a:lnTo>
                  <a:pt x="482" y="251"/>
                </a:lnTo>
                <a:lnTo>
                  <a:pt x="478" y="258"/>
                </a:lnTo>
                <a:lnTo>
                  <a:pt x="477" y="265"/>
                </a:lnTo>
                <a:lnTo>
                  <a:pt x="477" y="265"/>
                </a:lnTo>
                <a:lnTo>
                  <a:pt x="478" y="269"/>
                </a:lnTo>
                <a:lnTo>
                  <a:pt x="479" y="274"/>
                </a:lnTo>
                <a:lnTo>
                  <a:pt x="483" y="279"/>
                </a:lnTo>
                <a:lnTo>
                  <a:pt x="486" y="282"/>
                </a:lnTo>
                <a:lnTo>
                  <a:pt x="490" y="284"/>
                </a:lnTo>
                <a:lnTo>
                  <a:pt x="494" y="286"/>
                </a:lnTo>
                <a:lnTo>
                  <a:pt x="499" y="287"/>
                </a:lnTo>
                <a:lnTo>
                  <a:pt x="504" y="287"/>
                </a:lnTo>
                <a:lnTo>
                  <a:pt x="504" y="287"/>
                </a:lnTo>
                <a:lnTo>
                  <a:pt x="529" y="287"/>
                </a:lnTo>
                <a:lnTo>
                  <a:pt x="529" y="287"/>
                </a:lnTo>
                <a:lnTo>
                  <a:pt x="531" y="288"/>
                </a:lnTo>
                <a:lnTo>
                  <a:pt x="534" y="289"/>
                </a:lnTo>
                <a:lnTo>
                  <a:pt x="536" y="296"/>
                </a:lnTo>
                <a:lnTo>
                  <a:pt x="538" y="314"/>
                </a:lnTo>
                <a:lnTo>
                  <a:pt x="540" y="325"/>
                </a:lnTo>
                <a:lnTo>
                  <a:pt x="544" y="333"/>
                </a:lnTo>
                <a:lnTo>
                  <a:pt x="546" y="337"/>
                </a:lnTo>
                <a:lnTo>
                  <a:pt x="550" y="340"/>
                </a:lnTo>
                <a:lnTo>
                  <a:pt x="553" y="341"/>
                </a:lnTo>
                <a:lnTo>
                  <a:pt x="559" y="342"/>
                </a:lnTo>
                <a:lnTo>
                  <a:pt x="559" y="342"/>
                </a:lnTo>
                <a:lnTo>
                  <a:pt x="580" y="342"/>
                </a:lnTo>
                <a:lnTo>
                  <a:pt x="580" y="342"/>
                </a:lnTo>
                <a:lnTo>
                  <a:pt x="603" y="380"/>
                </a:lnTo>
                <a:lnTo>
                  <a:pt x="619" y="409"/>
                </a:lnTo>
                <a:lnTo>
                  <a:pt x="628" y="427"/>
                </a:lnTo>
                <a:lnTo>
                  <a:pt x="628" y="427"/>
                </a:lnTo>
                <a:lnTo>
                  <a:pt x="630" y="427"/>
                </a:lnTo>
                <a:lnTo>
                  <a:pt x="630" y="428"/>
                </a:lnTo>
                <a:lnTo>
                  <a:pt x="632" y="429"/>
                </a:lnTo>
                <a:lnTo>
                  <a:pt x="639" y="430"/>
                </a:lnTo>
                <a:lnTo>
                  <a:pt x="639" y="430"/>
                </a:lnTo>
                <a:lnTo>
                  <a:pt x="639" y="430"/>
                </a:lnTo>
                <a:lnTo>
                  <a:pt x="621" y="430"/>
                </a:lnTo>
                <a:lnTo>
                  <a:pt x="621" y="43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79" name="Freeform 74"/>
          <p:cNvSpPr>
            <a:spLocks/>
          </p:cNvSpPr>
          <p:nvPr/>
        </p:nvSpPr>
        <p:spPr bwMode="auto">
          <a:xfrm>
            <a:off x="1182688" y="4176713"/>
            <a:ext cx="300037" cy="258762"/>
          </a:xfrm>
          <a:custGeom>
            <a:avLst/>
            <a:gdLst/>
            <a:ahLst/>
            <a:cxnLst>
              <a:cxn ang="0">
                <a:pos x="55" y="29"/>
              </a:cxn>
              <a:cxn ang="0">
                <a:pos x="56" y="40"/>
              </a:cxn>
              <a:cxn ang="0">
                <a:pos x="67" y="44"/>
              </a:cxn>
              <a:cxn ang="0">
                <a:pos x="74" y="42"/>
              </a:cxn>
              <a:cxn ang="0">
                <a:pos x="88" y="27"/>
              </a:cxn>
              <a:cxn ang="0">
                <a:pos x="125" y="26"/>
              </a:cxn>
              <a:cxn ang="0">
                <a:pos x="136" y="24"/>
              </a:cxn>
              <a:cxn ang="0">
                <a:pos x="168" y="15"/>
              </a:cxn>
              <a:cxn ang="0">
                <a:pos x="183" y="15"/>
              </a:cxn>
              <a:cxn ang="0">
                <a:pos x="209" y="24"/>
              </a:cxn>
              <a:cxn ang="0">
                <a:pos x="223" y="26"/>
              </a:cxn>
              <a:cxn ang="0">
                <a:pos x="249" y="22"/>
              </a:cxn>
              <a:cxn ang="0">
                <a:pos x="265" y="11"/>
              </a:cxn>
              <a:cxn ang="0">
                <a:pos x="272" y="0"/>
              </a:cxn>
              <a:cxn ang="0">
                <a:pos x="273" y="44"/>
              </a:cxn>
              <a:cxn ang="0">
                <a:pos x="283" y="59"/>
              </a:cxn>
              <a:cxn ang="0">
                <a:pos x="302" y="70"/>
              </a:cxn>
              <a:cxn ang="0">
                <a:pos x="308" y="88"/>
              </a:cxn>
              <a:cxn ang="0">
                <a:pos x="325" y="108"/>
              </a:cxn>
              <a:cxn ang="0">
                <a:pos x="342" y="121"/>
              </a:cxn>
              <a:cxn ang="0">
                <a:pos x="338" y="136"/>
              </a:cxn>
              <a:cxn ang="0">
                <a:pos x="340" y="152"/>
              </a:cxn>
              <a:cxn ang="0">
                <a:pos x="350" y="164"/>
              </a:cxn>
              <a:cxn ang="0">
                <a:pos x="367" y="169"/>
              </a:cxn>
              <a:cxn ang="0">
                <a:pos x="367" y="184"/>
              </a:cxn>
              <a:cxn ang="0">
                <a:pos x="357" y="197"/>
              </a:cxn>
              <a:cxn ang="0">
                <a:pos x="357" y="212"/>
              </a:cxn>
              <a:cxn ang="0">
                <a:pos x="346" y="236"/>
              </a:cxn>
              <a:cxn ang="0">
                <a:pos x="325" y="257"/>
              </a:cxn>
              <a:cxn ang="0">
                <a:pos x="277" y="282"/>
              </a:cxn>
              <a:cxn ang="0">
                <a:pos x="236" y="292"/>
              </a:cxn>
              <a:cxn ang="0">
                <a:pos x="216" y="272"/>
              </a:cxn>
              <a:cxn ang="0">
                <a:pos x="195" y="265"/>
              </a:cxn>
              <a:cxn ang="0">
                <a:pos x="182" y="268"/>
              </a:cxn>
              <a:cxn ang="0">
                <a:pos x="174" y="280"/>
              </a:cxn>
              <a:cxn ang="0">
                <a:pos x="154" y="287"/>
              </a:cxn>
              <a:cxn ang="0">
                <a:pos x="146" y="284"/>
              </a:cxn>
              <a:cxn ang="0">
                <a:pos x="132" y="273"/>
              </a:cxn>
              <a:cxn ang="0">
                <a:pos x="119" y="250"/>
              </a:cxn>
              <a:cxn ang="0">
                <a:pos x="106" y="243"/>
              </a:cxn>
              <a:cxn ang="0">
                <a:pos x="99" y="244"/>
              </a:cxn>
              <a:cxn ang="0">
                <a:pos x="84" y="253"/>
              </a:cxn>
              <a:cxn ang="0">
                <a:pos x="75" y="253"/>
              </a:cxn>
              <a:cxn ang="0">
                <a:pos x="66" y="243"/>
              </a:cxn>
              <a:cxn ang="0">
                <a:pos x="61" y="221"/>
              </a:cxn>
              <a:cxn ang="0">
                <a:pos x="58" y="194"/>
              </a:cxn>
              <a:cxn ang="0">
                <a:pos x="47" y="188"/>
              </a:cxn>
              <a:cxn ang="0">
                <a:pos x="22" y="188"/>
              </a:cxn>
              <a:cxn ang="0">
                <a:pos x="8" y="184"/>
              </a:cxn>
              <a:cxn ang="0">
                <a:pos x="1" y="175"/>
              </a:cxn>
              <a:cxn ang="0">
                <a:pos x="0" y="166"/>
              </a:cxn>
              <a:cxn ang="0">
                <a:pos x="5" y="131"/>
              </a:cxn>
              <a:cxn ang="0">
                <a:pos x="28" y="75"/>
              </a:cxn>
              <a:cxn ang="0">
                <a:pos x="55" y="29"/>
              </a:cxn>
            </a:cxnLst>
            <a:rect l="0" t="0" r="r" b="b"/>
            <a:pathLst>
              <a:path w="367" h="297">
                <a:moveTo>
                  <a:pt x="55" y="29"/>
                </a:moveTo>
                <a:lnTo>
                  <a:pt x="55" y="29"/>
                </a:lnTo>
                <a:lnTo>
                  <a:pt x="55" y="29"/>
                </a:lnTo>
                <a:lnTo>
                  <a:pt x="55" y="29"/>
                </a:lnTo>
                <a:lnTo>
                  <a:pt x="55" y="38"/>
                </a:lnTo>
                <a:lnTo>
                  <a:pt x="56" y="40"/>
                </a:lnTo>
                <a:lnTo>
                  <a:pt x="58" y="43"/>
                </a:lnTo>
                <a:lnTo>
                  <a:pt x="61" y="44"/>
                </a:lnTo>
                <a:lnTo>
                  <a:pt x="67" y="44"/>
                </a:lnTo>
                <a:lnTo>
                  <a:pt x="67" y="44"/>
                </a:lnTo>
                <a:lnTo>
                  <a:pt x="70" y="44"/>
                </a:lnTo>
                <a:lnTo>
                  <a:pt x="74" y="42"/>
                </a:lnTo>
                <a:lnTo>
                  <a:pt x="78" y="35"/>
                </a:lnTo>
                <a:lnTo>
                  <a:pt x="84" y="29"/>
                </a:lnTo>
                <a:lnTo>
                  <a:pt x="88" y="27"/>
                </a:lnTo>
                <a:lnTo>
                  <a:pt x="91" y="26"/>
                </a:lnTo>
                <a:lnTo>
                  <a:pt x="91" y="26"/>
                </a:lnTo>
                <a:lnTo>
                  <a:pt x="125" y="26"/>
                </a:lnTo>
                <a:lnTo>
                  <a:pt x="125" y="26"/>
                </a:lnTo>
                <a:lnTo>
                  <a:pt x="130" y="26"/>
                </a:lnTo>
                <a:lnTo>
                  <a:pt x="136" y="24"/>
                </a:lnTo>
                <a:lnTo>
                  <a:pt x="149" y="21"/>
                </a:lnTo>
                <a:lnTo>
                  <a:pt x="161" y="16"/>
                </a:lnTo>
                <a:lnTo>
                  <a:pt x="168" y="15"/>
                </a:lnTo>
                <a:lnTo>
                  <a:pt x="176" y="15"/>
                </a:lnTo>
                <a:lnTo>
                  <a:pt x="176" y="15"/>
                </a:lnTo>
                <a:lnTo>
                  <a:pt x="183" y="15"/>
                </a:lnTo>
                <a:lnTo>
                  <a:pt x="189" y="16"/>
                </a:lnTo>
                <a:lnTo>
                  <a:pt x="199" y="21"/>
                </a:lnTo>
                <a:lnTo>
                  <a:pt x="209" y="24"/>
                </a:lnTo>
                <a:lnTo>
                  <a:pt x="216" y="26"/>
                </a:lnTo>
                <a:lnTo>
                  <a:pt x="223" y="26"/>
                </a:lnTo>
                <a:lnTo>
                  <a:pt x="223" y="26"/>
                </a:lnTo>
                <a:lnTo>
                  <a:pt x="233" y="26"/>
                </a:lnTo>
                <a:lnTo>
                  <a:pt x="242" y="24"/>
                </a:lnTo>
                <a:lnTo>
                  <a:pt x="249" y="22"/>
                </a:lnTo>
                <a:lnTo>
                  <a:pt x="254" y="19"/>
                </a:lnTo>
                <a:lnTo>
                  <a:pt x="260" y="15"/>
                </a:lnTo>
                <a:lnTo>
                  <a:pt x="265" y="11"/>
                </a:lnTo>
                <a:lnTo>
                  <a:pt x="269" y="6"/>
                </a:lnTo>
                <a:lnTo>
                  <a:pt x="272" y="0"/>
                </a:lnTo>
                <a:lnTo>
                  <a:pt x="272" y="0"/>
                </a:lnTo>
                <a:lnTo>
                  <a:pt x="272" y="37"/>
                </a:lnTo>
                <a:lnTo>
                  <a:pt x="272" y="37"/>
                </a:lnTo>
                <a:lnTo>
                  <a:pt x="273" y="44"/>
                </a:lnTo>
                <a:lnTo>
                  <a:pt x="275" y="50"/>
                </a:lnTo>
                <a:lnTo>
                  <a:pt x="279" y="54"/>
                </a:lnTo>
                <a:lnTo>
                  <a:pt x="283" y="59"/>
                </a:lnTo>
                <a:lnTo>
                  <a:pt x="288" y="64"/>
                </a:lnTo>
                <a:lnTo>
                  <a:pt x="292" y="66"/>
                </a:lnTo>
                <a:lnTo>
                  <a:pt x="302" y="70"/>
                </a:lnTo>
                <a:lnTo>
                  <a:pt x="302" y="70"/>
                </a:lnTo>
                <a:lnTo>
                  <a:pt x="305" y="80"/>
                </a:lnTo>
                <a:lnTo>
                  <a:pt x="308" y="88"/>
                </a:lnTo>
                <a:lnTo>
                  <a:pt x="313" y="96"/>
                </a:lnTo>
                <a:lnTo>
                  <a:pt x="319" y="103"/>
                </a:lnTo>
                <a:lnTo>
                  <a:pt x="325" y="108"/>
                </a:lnTo>
                <a:lnTo>
                  <a:pt x="330" y="114"/>
                </a:lnTo>
                <a:lnTo>
                  <a:pt x="336" y="118"/>
                </a:lnTo>
                <a:lnTo>
                  <a:pt x="342" y="121"/>
                </a:lnTo>
                <a:lnTo>
                  <a:pt x="342" y="121"/>
                </a:lnTo>
                <a:lnTo>
                  <a:pt x="338" y="136"/>
                </a:lnTo>
                <a:lnTo>
                  <a:pt x="338" y="136"/>
                </a:lnTo>
                <a:lnTo>
                  <a:pt x="338" y="136"/>
                </a:lnTo>
                <a:lnTo>
                  <a:pt x="338" y="145"/>
                </a:lnTo>
                <a:lnTo>
                  <a:pt x="340" y="152"/>
                </a:lnTo>
                <a:lnTo>
                  <a:pt x="342" y="157"/>
                </a:lnTo>
                <a:lnTo>
                  <a:pt x="345" y="161"/>
                </a:lnTo>
                <a:lnTo>
                  <a:pt x="350" y="164"/>
                </a:lnTo>
                <a:lnTo>
                  <a:pt x="354" y="166"/>
                </a:lnTo>
                <a:lnTo>
                  <a:pt x="367" y="169"/>
                </a:lnTo>
                <a:lnTo>
                  <a:pt x="367" y="169"/>
                </a:lnTo>
                <a:lnTo>
                  <a:pt x="367" y="184"/>
                </a:lnTo>
                <a:lnTo>
                  <a:pt x="367" y="184"/>
                </a:lnTo>
                <a:lnTo>
                  <a:pt x="367" y="184"/>
                </a:lnTo>
                <a:lnTo>
                  <a:pt x="364" y="189"/>
                </a:lnTo>
                <a:lnTo>
                  <a:pt x="360" y="194"/>
                </a:lnTo>
                <a:lnTo>
                  <a:pt x="357" y="197"/>
                </a:lnTo>
                <a:lnTo>
                  <a:pt x="356" y="203"/>
                </a:lnTo>
                <a:lnTo>
                  <a:pt x="356" y="203"/>
                </a:lnTo>
                <a:lnTo>
                  <a:pt x="357" y="212"/>
                </a:lnTo>
                <a:lnTo>
                  <a:pt x="354" y="220"/>
                </a:lnTo>
                <a:lnTo>
                  <a:pt x="351" y="229"/>
                </a:lnTo>
                <a:lnTo>
                  <a:pt x="346" y="236"/>
                </a:lnTo>
                <a:lnTo>
                  <a:pt x="341" y="243"/>
                </a:lnTo>
                <a:lnTo>
                  <a:pt x="333" y="250"/>
                </a:lnTo>
                <a:lnTo>
                  <a:pt x="325" y="257"/>
                </a:lnTo>
                <a:lnTo>
                  <a:pt x="315" y="263"/>
                </a:lnTo>
                <a:lnTo>
                  <a:pt x="297" y="273"/>
                </a:lnTo>
                <a:lnTo>
                  <a:pt x="277" y="282"/>
                </a:lnTo>
                <a:lnTo>
                  <a:pt x="243" y="297"/>
                </a:lnTo>
                <a:lnTo>
                  <a:pt x="243" y="297"/>
                </a:lnTo>
                <a:lnTo>
                  <a:pt x="236" y="292"/>
                </a:lnTo>
                <a:lnTo>
                  <a:pt x="231" y="288"/>
                </a:lnTo>
                <a:lnTo>
                  <a:pt x="221" y="278"/>
                </a:lnTo>
                <a:lnTo>
                  <a:pt x="216" y="272"/>
                </a:lnTo>
                <a:lnTo>
                  <a:pt x="211" y="268"/>
                </a:lnTo>
                <a:lnTo>
                  <a:pt x="203" y="266"/>
                </a:lnTo>
                <a:lnTo>
                  <a:pt x="195" y="265"/>
                </a:lnTo>
                <a:lnTo>
                  <a:pt x="195" y="265"/>
                </a:lnTo>
                <a:lnTo>
                  <a:pt x="186" y="266"/>
                </a:lnTo>
                <a:lnTo>
                  <a:pt x="182" y="268"/>
                </a:lnTo>
                <a:lnTo>
                  <a:pt x="178" y="272"/>
                </a:lnTo>
                <a:lnTo>
                  <a:pt x="176" y="275"/>
                </a:lnTo>
                <a:lnTo>
                  <a:pt x="174" y="280"/>
                </a:lnTo>
                <a:lnTo>
                  <a:pt x="169" y="283"/>
                </a:lnTo>
                <a:lnTo>
                  <a:pt x="163" y="286"/>
                </a:lnTo>
                <a:lnTo>
                  <a:pt x="154" y="287"/>
                </a:lnTo>
                <a:lnTo>
                  <a:pt x="154" y="287"/>
                </a:lnTo>
                <a:lnTo>
                  <a:pt x="150" y="286"/>
                </a:lnTo>
                <a:lnTo>
                  <a:pt x="146" y="284"/>
                </a:lnTo>
                <a:lnTo>
                  <a:pt x="142" y="282"/>
                </a:lnTo>
                <a:lnTo>
                  <a:pt x="138" y="280"/>
                </a:lnTo>
                <a:lnTo>
                  <a:pt x="132" y="273"/>
                </a:lnTo>
                <a:lnTo>
                  <a:pt x="128" y="265"/>
                </a:lnTo>
                <a:lnTo>
                  <a:pt x="123" y="257"/>
                </a:lnTo>
                <a:lnTo>
                  <a:pt x="119" y="250"/>
                </a:lnTo>
                <a:lnTo>
                  <a:pt x="113" y="245"/>
                </a:lnTo>
                <a:lnTo>
                  <a:pt x="109" y="243"/>
                </a:lnTo>
                <a:lnTo>
                  <a:pt x="106" y="243"/>
                </a:lnTo>
                <a:lnTo>
                  <a:pt x="106" y="243"/>
                </a:lnTo>
                <a:lnTo>
                  <a:pt x="102" y="243"/>
                </a:lnTo>
                <a:lnTo>
                  <a:pt x="99" y="244"/>
                </a:lnTo>
                <a:lnTo>
                  <a:pt x="93" y="249"/>
                </a:lnTo>
                <a:lnTo>
                  <a:pt x="88" y="252"/>
                </a:lnTo>
                <a:lnTo>
                  <a:pt x="84" y="253"/>
                </a:lnTo>
                <a:lnTo>
                  <a:pt x="81" y="253"/>
                </a:lnTo>
                <a:lnTo>
                  <a:pt x="81" y="253"/>
                </a:lnTo>
                <a:lnTo>
                  <a:pt x="75" y="253"/>
                </a:lnTo>
                <a:lnTo>
                  <a:pt x="71" y="251"/>
                </a:lnTo>
                <a:lnTo>
                  <a:pt x="68" y="248"/>
                </a:lnTo>
                <a:lnTo>
                  <a:pt x="66" y="243"/>
                </a:lnTo>
                <a:lnTo>
                  <a:pt x="63" y="238"/>
                </a:lnTo>
                <a:lnTo>
                  <a:pt x="62" y="233"/>
                </a:lnTo>
                <a:lnTo>
                  <a:pt x="61" y="221"/>
                </a:lnTo>
                <a:lnTo>
                  <a:pt x="61" y="208"/>
                </a:lnTo>
                <a:lnTo>
                  <a:pt x="59" y="198"/>
                </a:lnTo>
                <a:lnTo>
                  <a:pt x="58" y="194"/>
                </a:lnTo>
                <a:lnTo>
                  <a:pt x="55" y="190"/>
                </a:lnTo>
                <a:lnTo>
                  <a:pt x="52" y="189"/>
                </a:lnTo>
                <a:lnTo>
                  <a:pt x="47" y="188"/>
                </a:lnTo>
                <a:lnTo>
                  <a:pt x="47" y="188"/>
                </a:lnTo>
                <a:lnTo>
                  <a:pt x="22" y="188"/>
                </a:lnTo>
                <a:lnTo>
                  <a:pt x="22" y="188"/>
                </a:lnTo>
                <a:lnTo>
                  <a:pt x="17" y="188"/>
                </a:lnTo>
                <a:lnTo>
                  <a:pt x="13" y="187"/>
                </a:lnTo>
                <a:lnTo>
                  <a:pt x="8" y="184"/>
                </a:lnTo>
                <a:lnTo>
                  <a:pt x="6" y="182"/>
                </a:lnTo>
                <a:lnTo>
                  <a:pt x="4" y="179"/>
                </a:lnTo>
                <a:lnTo>
                  <a:pt x="1" y="175"/>
                </a:lnTo>
                <a:lnTo>
                  <a:pt x="0" y="171"/>
                </a:lnTo>
                <a:lnTo>
                  <a:pt x="0" y="166"/>
                </a:lnTo>
                <a:lnTo>
                  <a:pt x="0" y="166"/>
                </a:lnTo>
                <a:lnTo>
                  <a:pt x="0" y="154"/>
                </a:lnTo>
                <a:lnTo>
                  <a:pt x="2" y="143"/>
                </a:lnTo>
                <a:lnTo>
                  <a:pt x="5" y="131"/>
                </a:lnTo>
                <a:lnTo>
                  <a:pt x="8" y="120"/>
                </a:lnTo>
                <a:lnTo>
                  <a:pt x="17" y="97"/>
                </a:lnTo>
                <a:lnTo>
                  <a:pt x="28" y="75"/>
                </a:lnTo>
                <a:lnTo>
                  <a:pt x="38" y="57"/>
                </a:lnTo>
                <a:lnTo>
                  <a:pt x="46" y="43"/>
                </a:lnTo>
                <a:lnTo>
                  <a:pt x="55" y="29"/>
                </a:lnTo>
                <a:lnTo>
                  <a:pt x="55" y="29"/>
                </a:lnTo>
                <a:lnTo>
                  <a:pt x="55" y="2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0" name="Freeform 75"/>
          <p:cNvSpPr>
            <a:spLocks/>
          </p:cNvSpPr>
          <p:nvPr/>
        </p:nvSpPr>
        <p:spPr bwMode="auto">
          <a:xfrm>
            <a:off x="941388" y="3924300"/>
            <a:ext cx="273050" cy="207963"/>
          </a:xfrm>
          <a:custGeom>
            <a:avLst/>
            <a:gdLst/>
            <a:ahLst/>
            <a:cxnLst>
              <a:cxn ang="0">
                <a:pos x="311" y="191"/>
              </a:cxn>
              <a:cxn ang="0">
                <a:pos x="288" y="205"/>
              </a:cxn>
              <a:cxn ang="0">
                <a:pos x="280" y="205"/>
              </a:cxn>
              <a:cxn ang="0">
                <a:pos x="269" y="197"/>
              </a:cxn>
              <a:cxn ang="0">
                <a:pos x="262" y="195"/>
              </a:cxn>
              <a:cxn ang="0">
                <a:pos x="251" y="203"/>
              </a:cxn>
              <a:cxn ang="0">
                <a:pos x="242" y="217"/>
              </a:cxn>
              <a:cxn ang="0">
                <a:pos x="233" y="220"/>
              </a:cxn>
              <a:cxn ang="0">
                <a:pos x="213" y="211"/>
              </a:cxn>
              <a:cxn ang="0">
                <a:pos x="197" y="196"/>
              </a:cxn>
              <a:cxn ang="0">
                <a:pos x="181" y="191"/>
              </a:cxn>
              <a:cxn ang="0">
                <a:pos x="167" y="192"/>
              </a:cxn>
              <a:cxn ang="0">
                <a:pos x="148" y="206"/>
              </a:cxn>
              <a:cxn ang="0">
                <a:pos x="122" y="232"/>
              </a:cxn>
              <a:cxn ang="0">
                <a:pos x="104" y="238"/>
              </a:cxn>
              <a:cxn ang="0">
                <a:pos x="78" y="238"/>
              </a:cxn>
              <a:cxn ang="0">
                <a:pos x="47" y="230"/>
              </a:cxn>
              <a:cxn ang="0">
                <a:pos x="29" y="219"/>
              </a:cxn>
              <a:cxn ang="0">
                <a:pos x="18" y="202"/>
              </a:cxn>
              <a:cxn ang="0">
                <a:pos x="12" y="179"/>
              </a:cxn>
              <a:cxn ang="0">
                <a:pos x="13" y="162"/>
              </a:cxn>
              <a:cxn ang="0">
                <a:pos x="27" y="134"/>
              </a:cxn>
              <a:cxn ang="0">
                <a:pos x="30" y="121"/>
              </a:cxn>
              <a:cxn ang="0">
                <a:pos x="21" y="105"/>
              </a:cxn>
              <a:cxn ang="0">
                <a:pos x="5" y="92"/>
              </a:cxn>
              <a:cxn ang="0">
                <a:pos x="0" y="81"/>
              </a:cxn>
              <a:cxn ang="0">
                <a:pos x="7" y="64"/>
              </a:cxn>
              <a:cxn ang="0">
                <a:pos x="6" y="45"/>
              </a:cxn>
              <a:cxn ang="0">
                <a:pos x="41" y="15"/>
              </a:cxn>
              <a:cxn ang="0">
                <a:pos x="74" y="0"/>
              </a:cxn>
              <a:cxn ang="0">
                <a:pos x="95" y="38"/>
              </a:cxn>
              <a:cxn ang="0">
                <a:pos x="104" y="47"/>
              </a:cxn>
              <a:cxn ang="0">
                <a:pos x="118" y="37"/>
              </a:cxn>
              <a:cxn ang="0">
                <a:pos x="128" y="44"/>
              </a:cxn>
              <a:cxn ang="0">
                <a:pos x="144" y="59"/>
              </a:cxn>
              <a:cxn ang="0">
                <a:pos x="154" y="59"/>
              </a:cxn>
              <a:cxn ang="0">
                <a:pos x="163" y="51"/>
              </a:cxn>
              <a:cxn ang="0">
                <a:pos x="173" y="41"/>
              </a:cxn>
              <a:cxn ang="0">
                <a:pos x="200" y="35"/>
              </a:cxn>
              <a:cxn ang="0">
                <a:pos x="221" y="26"/>
              </a:cxn>
              <a:cxn ang="0">
                <a:pos x="254" y="37"/>
              </a:cxn>
              <a:cxn ang="0">
                <a:pos x="271" y="57"/>
              </a:cxn>
              <a:cxn ang="0">
                <a:pos x="282" y="77"/>
              </a:cxn>
              <a:cxn ang="0">
                <a:pos x="302" y="91"/>
              </a:cxn>
              <a:cxn ang="0">
                <a:pos x="325" y="107"/>
              </a:cxn>
              <a:cxn ang="0">
                <a:pos x="333" y="126"/>
              </a:cxn>
              <a:cxn ang="0">
                <a:pos x="335" y="143"/>
              </a:cxn>
              <a:cxn ang="0">
                <a:pos x="328" y="164"/>
              </a:cxn>
              <a:cxn ang="0">
                <a:pos x="320" y="188"/>
              </a:cxn>
              <a:cxn ang="0">
                <a:pos x="317" y="188"/>
              </a:cxn>
            </a:cxnLst>
            <a:rect l="0" t="0" r="r" b="b"/>
            <a:pathLst>
              <a:path w="335" h="240">
                <a:moveTo>
                  <a:pt x="317" y="188"/>
                </a:moveTo>
                <a:lnTo>
                  <a:pt x="317" y="188"/>
                </a:lnTo>
                <a:lnTo>
                  <a:pt x="311" y="191"/>
                </a:lnTo>
                <a:lnTo>
                  <a:pt x="303" y="198"/>
                </a:lnTo>
                <a:lnTo>
                  <a:pt x="293" y="203"/>
                </a:lnTo>
                <a:lnTo>
                  <a:pt x="288" y="205"/>
                </a:lnTo>
                <a:lnTo>
                  <a:pt x="284" y="205"/>
                </a:lnTo>
                <a:lnTo>
                  <a:pt x="284" y="205"/>
                </a:lnTo>
                <a:lnTo>
                  <a:pt x="280" y="205"/>
                </a:lnTo>
                <a:lnTo>
                  <a:pt x="278" y="204"/>
                </a:lnTo>
                <a:lnTo>
                  <a:pt x="273" y="200"/>
                </a:lnTo>
                <a:lnTo>
                  <a:pt x="269" y="197"/>
                </a:lnTo>
                <a:lnTo>
                  <a:pt x="265" y="196"/>
                </a:lnTo>
                <a:lnTo>
                  <a:pt x="262" y="195"/>
                </a:lnTo>
                <a:lnTo>
                  <a:pt x="262" y="195"/>
                </a:lnTo>
                <a:lnTo>
                  <a:pt x="257" y="196"/>
                </a:lnTo>
                <a:lnTo>
                  <a:pt x="254" y="199"/>
                </a:lnTo>
                <a:lnTo>
                  <a:pt x="251" y="203"/>
                </a:lnTo>
                <a:lnTo>
                  <a:pt x="249" y="207"/>
                </a:lnTo>
                <a:lnTo>
                  <a:pt x="246" y="212"/>
                </a:lnTo>
                <a:lnTo>
                  <a:pt x="242" y="217"/>
                </a:lnTo>
                <a:lnTo>
                  <a:pt x="239" y="219"/>
                </a:lnTo>
                <a:lnTo>
                  <a:pt x="233" y="220"/>
                </a:lnTo>
                <a:lnTo>
                  <a:pt x="233" y="220"/>
                </a:lnTo>
                <a:lnTo>
                  <a:pt x="225" y="219"/>
                </a:lnTo>
                <a:lnTo>
                  <a:pt x="219" y="215"/>
                </a:lnTo>
                <a:lnTo>
                  <a:pt x="213" y="211"/>
                </a:lnTo>
                <a:lnTo>
                  <a:pt x="208" y="205"/>
                </a:lnTo>
                <a:lnTo>
                  <a:pt x="203" y="200"/>
                </a:lnTo>
                <a:lnTo>
                  <a:pt x="197" y="196"/>
                </a:lnTo>
                <a:lnTo>
                  <a:pt x="190" y="192"/>
                </a:lnTo>
                <a:lnTo>
                  <a:pt x="186" y="191"/>
                </a:lnTo>
                <a:lnTo>
                  <a:pt x="181" y="191"/>
                </a:lnTo>
                <a:lnTo>
                  <a:pt x="181" y="191"/>
                </a:lnTo>
                <a:lnTo>
                  <a:pt x="174" y="191"/>
                </a:lnTo>
                <a:lnTo>
                  <a:pt x="167" y="192"/>
                </a:lnTo>
                <a:lnTo>
                  <a:pt x="163" y="195"/>
                </a:lnTo>
                <a:lnTo>
                  <a:pt x="157" y="198"/>
                </a:lnTo>
                <a:lnTo>
                  <a:pt x="148" y="206"/>
                </a:lnTo>
                <a:lnTo>
                  <a:pt x="141" y="215"/>
                </a:lnTo>
                <a:lnTo>
                  <a:pt x="132" y="223"/>
                </a:lnTo>
                <a:lnTo>
                  <a:pt x="122" y="232"/>
                </a:lnTo>
                <a:lnTo>
                  <a:pt x="118" y="235"/>
                </a:lnTo>
                <a:lnTo>
                  <a:pt x="111" y="237"/>
                </a:lnTo>
                <a:lnTo>
                  <a:pt x="104" y="238"/>
                </a:lnTo>
                <a:lnTo>
                  <a:pt x="97" y="240"/>
                </a:lnTo>
                <a:lnTo>
                  <a:pt x="97" y="240"/>
                </a:lnTo>
                <a:lnTo>
                  <a:pt x="78" y="238"/>
                </a:lnTo>
                <a:lnTo>
                  <a:pt x="61" y="235"/>
                </a:lnTo>
                <a:lnTo>
                  <a:pt x="55" y="233"/>
                </a:lnTo>
                <a:lnTo>
                  <a:pt x="47" y="230"/>
                </a:lnTo>
                <a:lnTo>
                  <a:pt x="41" y="227"/>
                </a:lnTo>
                <a:lnTo>
                  <a:pt x="35" y="223"/>
                </a:lnTo>
                <a:lnTo>
                  <a:pt x="29" y="219"/>
                </a:lnTo>
                <a:lnTo>
                  <a:pt x="25" y="213"/>
                </a:lnTo>
                <a:lnTo>
                  <a:pt x="21" y="207"/>
                </a:lnTo>
                <a:lnTo>
                  <a:pt x="18" y="202"/>
                </a:lnTo>
                <a:lnTo>
                  <a:pt x="15" y="195"/>
                </a:lnTo>
                <a:lnTo>
                  <a:pt x="13" y="187"/>
                </a:lnTo>
                <a:lnTo>
                  <a:pt x="12" y="179"/>
                </a:lnTo>
                <a:lnTo>
                  <a:pt x="12" y="169"/>
                </a:lnTo>
                <a:lnTo>
                  <a:pt x="12" y="169"/>
                </a:lnTo>
                <a:lnTo>
                  <a:pt x="13" y="162"/>
                </a:lnTo>
                <a:lnTo>
                  <a:pt x="14" y="157"/>
                </a:lnTo>
                <a:lnTo>
                  <a:pt x="21" y="145"/>
                </a:lnTo>
                <a:lnTo>
                  <a:pt x="27" y="134"/>
                </a:lnTo>
                <a:lnTo>
                  <a:pt x="29" y="128"/>
                </a:lnTo>
                <a:lnTo>
                  <a:pt x="30" y="121"/>
                </a:lnTo>
                <a:lnTo>
                  <a:pt x="30" y="121"/>
                </a:lnTo>
                <a:lnTo>
                  <a:pt x="29" y="115"/>
                </a:lnTo>
                <a:lnTo>
                  <a:pt x="26" y="110"/>
                </a:lnTo>
                <a:lnTo>
                  <a:pt x="21" y="105"/>
                </a:lnTo>
                <a:lnTo>
                  <a:pt x="15" y="102"/>
                </a:lnTo>
                <a:lnTo>
                  <a:pt x="10" y="97"/>
                </a:lnTo>
                <a:lnTo>
                  <a:pt x="5" y="92"/>
                </a:lnTo>
                <a:lnTo>
                  <a:pt x="2" y="87"/>
                </a:lnTo>
                <a:lnTo>
                  <a:pt x="0" y="81"/>
                </a:lnTo>
                <a:lnTo>
                  <a:pt x="0" y="81"/>
                </a:lnTo>
                <a:lnTo>
                  <a:pt x="2" y="76"/>
                </a:lnTo>
                <a:lnTo>
                  <a:pt x="4" y="73"/>
                </a:lnTo>
                <a:lnTo>
                  <a:pt x="7" y="64"/>
                </a:lnTo>
                <a:lnTo>
                  <a:pt x="9" y="58"/>
                </a:lnTo>
                <a:lnTo>
                  <a:pt x="9" y="52"/>
                </a:lnTo>
                <a:lnTo>
                  <a:pt x="6" y="45"/>
                </a:lnTo>
                <a:lnTo>
                  <a:pt x="0" y="37"/>
                </a:lnTo>
                <a:lnTo>
                  <a:pt x="0" y="37"/>
                </a:lnTo>
                <a:lnTo>
                  <a:pt x="41" y="15"/>
                </a:lnTo>
                <a:lnTo>
                  <a:pt x="58" y="7"/>
                </a:lnTo>
                <a:lnTo>
                  <a:pt x="74" y="0"/>
                </a:lnTo>
                <a:lnTo>
                  <a:pt x="74" y="0"/>
                </a:lnTo>
                <a:lnTo>
                  <a:pt x="81" y="14"/>
                </a:lnTo>
                <a:lnTo>
                  <a:pt x="88" y="27"/>
                </a:lnTo>
                <a:lnTo>
                  <a:pt x="95" y="38"/>
                </a:lnTo>
                <a:lnTo>
                  <a:pt x="98" y="44"/>
                </a:lnTo>
                <a:lnTo>
                  <a:pt x="104" y="47"/>
                </a:lnTo>
                <a:lnTo>
                  <a:pt x="104" y="47"/>
                </a:lnTo>
                <a:lnTo>
                  <a:pt x="109" y="45"/>
                </a:lnTo>
                <a:lnTo>
                  <a:pt x="112" y="43"/>
                </a:lnTo>
                <a:lnTo>
                  <a:pt x="118" y="37"/>
                </a:lnTo>
                <a:lnTo>
                  <a:pt x="118" y="37"/>
                </a:lnTo>
                <a:lnTo>
                  <a:pt x="124" y="39"/>
                </a:lnTo>
                <a:lnTo>
                  <a:pt x="128" y="44"/>
                </a:lnTo>
                <a:lnTo>
                  <a:pt x="135" y="51"/>
                </a:lnTo>
                <a:lnTo>
                  <a:pt x="141" y="57"/>
                </a:lnTo>
                <a:lnTo>
                  <a:pt x="144" y="59"/>
                </a:lnTo>
                <a:lnTo>
                  <a:pt x="148" y="59"/>
                </a:lnTo>
                <a:lnTo>
                  <a:pt x="148" y="59"/>
                </a:lnTo>
                <a:lnTo>
                  <a:pt x="154" y="59"/>
                </a:lnTo>
                <a:lnTo>
                  <a:pt x="158" y="57"/>
                </a:lnTo>
                <a:lnTo>
                  <a:pt x="160" y="54"/>
                </a:lnTo>
                <a:lnTo>
                  <a:pt x="163" y="51"/>
                </a:lnTo>
                <a:lnTo>
                  <a:pt x="166" y="45"/>
                </a:lnTo>
                <a:lnTo>
                  <a:pt x="170" y="43"/>
                </a:lnTo>
                <a:lnTo>
                  <a:pt x="173" y="41"/>
                </a:lnTo>
                <a:lnTo>
                  <a:pt x="173" y="41"/>
                </a:lnTo>
                <a:lnTo>
                  <a:pt x="188" y="37"/>
                </a:lnTo>
                <a:lnTo>
                  <a:pt x="200" y="35"/>
                </a:lnTo>
                <a:lnTo>
                  <a:pt x="211" y="30"/>
                </a:lnTo>
                <a:lnTo>
                  <a:pt x="221" y="26"/>
                </a:lnTo>
                <a:lnTo>
                  <a:pt x="221" y="26"/>
                </a:lnTo>
                <a:lnTo>
                  <a:pt x="235" y="29"/>
                </a:lnTo>
                <a:lnTo>
                  <a:pt x="246" y="32"/>
                </a:lnTo>
                <a:lnTo>
                  <a:pt x="254" y="37"/>
                </a:lnTo>
                <a:lnTo>
                  <a:pt x="261" y="43"/>
                </a:lnTo>
                <a:lnTo>
                  <a:pt x="265" y="50"/>
                </a:lnTo>
                <a:lnTo>
                  <a:pt x="271" y="57"/>
                </a:lnTo>
                <a:lnTo>
                  <a:pt x="280" y="74"/>
                </a:lnTo>
                <a:lnTo>
                  <a:pt x="280" y="74"/>
                </a:lnTo>
                <a:lnTo>
                  <a:pt x="282" y="77"/>
                </a:lnTo>
                <a:lnTo>
                  <a:pt x="286" y="81"/>
                </a:lnTo>
                <a:lnTo>
                  <a:pt x="294" y="87"/>
                </a:lnTo>
                <a:lnTo>
                  <a:pt x="302" y="91"/>
                </a:lnTo>
                <a:lnTo>
                  <a:pt x="312" y="96"/>
                </a:lnTo>
                <a:lnTo>
                  <a:pt x="320" y="103"/>
                </a:lnTo>
                <a:lnTo>
                  <a:pt x="325" y="107"/>
                </a:lnTo>
                <a:lnTo>
                  <a:pt x="328" y="112"/>
                </a:lnTo>
                <a:lnTo>
                  <a:pt x="331" y="119"/>
                </a:lnTo>
                <a:lnTo>
                  <a:pt x="333" y="126"/>
                </a:lnTo>
                <a:lnTo>
                  <a:pt x="335" y="134"/>
                </a:lnTo>
                <a:lnTo>
                  <a:pt x="335" y="143"/>
                </a:lnTo>
                <a:lnTo>
                  <a:pt x="335" y="143"/>
                </a:lnTo>
                <a:lnTo>
                  <a:pt x="334" y="149"/>
                </a:lnTo>
                <a:lnTo>
                  <a:pt x="333" y="153"/>
                </a:lnTo>
                <a:lnTo>
                  <a:pt x="328" y="164"/>
                </a:lnTo>
                <a:lnTo>
                  <a:pt x="323" y="175"/>
                </a:lnTo>
                <a:lnTo>
                  <a:pt x="322" y="181"/>
                </a:lnTo>
                <a:lnTo>
                  <a:pt x="320" y="188"/>
                </a:lnTo>
                <a:lnTo>
                  <a:pt x="320" y="188"/>
                </a:lnTo>
                <a:lnTo>
                  <a:pt x="317" y="188"/>
                </a:lnTo>
                <a:lnTo>
                  <a:pt x="317" y="18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1" name="Freeform 76"/>
          <p:cNvSpPr>
            <a:spLocks/>
          </p:cNvSpPr>
          <p:nvPr/>
        </p:nvSpPr>
        <p:spPr bwMode="auto">
          <a:xfrm>
            <a:off x="1146175" y="4384675"/>
            <a:ext cx="236538" cy="295275"/>
          </a:xfrm>
          <a:custGeom>
            <a:avLst/>
            <a:gdLst/>
            <a:ahLst/>
            <a:cxnLst>
              <a:cxn ang="0">
                <a:pos x="291" y="59"/>
              </a:cxn>
              <a:cxn ang="0">
                <a:pos x="279" y="67"/>
              </a:cxn>
              <a:cxn ang="0">
                <a:pos x="269" y="76"/>
              </a:cxn>
              <a:cxn ang="0">
                <a:pos x="264" y="88"/>
              </a:cxn>
              <a:cxn ang="0">
                <a:pos x="261" y="101"/>
              </a:cxn>
              <a:cxn ang="0">
                <a:pos x="261" y="218"/>
              </a:cxn>
              <a:cxn ang="0">
                <a:pos x="261" y="225"/>
              </a:cxn>
              <a:cxn ang="0">
                <a:pos x="258" y="235"/>
              </a:cxn>
              <a:cxn ang="0">
                <a:pos x="249" y="249"/>
              </a:cxn>
              <a:cxn ang="0">
                <a:pos x="222" y="267"/>
              </a:cxn>
              <a:cxn ang="0">
                <a:pos x="210" y="280"/>
              </a:cxn>
              <a:cxn ang="0">
                <a:pos x="205" y="280"/>
              </a:cxn>
              <a:cxn ang="0">
                <a:pos x="191" y="285"/>
              </a:cxn>
              <a:cxn ang="0">
                <a:pos x="174" y="292"/>
              </a:cxn>
              <a:cxn ang="0">
                <a:pos x="104" y="339"/>
              </a:cxn>
              <a:cxn ang="0">
                <a:pos x="104" y="339"/>
              </a:cxn>
              <a:cxn ang="0">
                <a:pos x="105" y="326"/>
              </a:cxn>
              <a:cxn ang="0">
                <a:pos x="103" y="318"/>
              </a:cxn>
              <a:cxn ang="0">
                <a:pos x="97" y="315"/>
              </a:cxn>
              <a:cxn ang="0">
                <a:pos x="83" y="313"/>
              </a:cxn>
              <a:cxn ang="0">
                <a:pos x="72" y="311"/>
              </a:cxn>
              <a:cxn ang="0">
                <a:pos x="66" y="307"/>
              </a:cxn>
              <a:cxn ang="0">
                <a:pos x="63" y="303"/>
              </a:cxn>
              <a:cxn ang="0">
                <a:pos x="51" y="266"/>
              </a:cxn>
              <a:cxn ang="0">
                <a:pos x="36" y="235"/>
              </a:cxn>
              <a:cxn ang="0">
                <a:pos x="0" y="174"/>
              </a:cxn>
              <a:cxn ang="0">
                <a:pos x="12" y="173"/>
              </a:cxn>
              <a:cxn ang="0">
                <a:pos x="26" y="166"/>
              </a:cxn>
              <a:cxn ang="0">
                <a:pos x="31" y="155"/>
              </a:cxn>
              <a:cxn ang="0">
                <a:pos x="34" y="126"/>
              </a:cxn>
              <a:cxn ang="0">
                <a:pos x="34" y="74"/>
              </a:cxn>
              <a:cxn ang="0">
                <a:pos x="34" y="69"/>
              </a:cxn>
              <a:cxn ang="0">
                <a:pos x="38" y="59"/>
              </a:cxn>
              <a:cxn ang="0">
                <a:pos x="50" y="44"/>
              </a:cxn>
              <a:cxn ang="0">
                <a:pos x="73" y="23"/>
              </a:cxn>
              <a:cxn ang="0">
                <a:pos x="107" y="0"/>
              </a:cxn>
              <a:cxn ang="0">
                <a:pos x="111" y="6"/>
              </a:cxn>
              <a:cxn ang="0">
                <a:pos x="119" y="14"/>
              </a:cxn>
              <a:cxn ang="0">
                <a:pos x="126" y="15"/>
              </a:cxn>
              <a:cxn ang="0">
                <a:pos x="129" y="15"/>
              </a:cxn>
              <a:cxn ang="0">
                <a:pos x="138" y="11"/>
              </a:cxn>
              <a:cxn ang="0">
                <a:pos x="147" y="5"/>
              </a:cxn>
              <a:cxn ang="0">
                <a:pos x="151" y="5"/>
              </a:cxn>
              <a:cxn ang="0">
                <a:pos x="158" y="7"/>
              </a:cxn>
              <a:cxn ang="0">
                <a:pos x="168" y="19"/>
              </a:cxn>
              <a:cxn ang="0">
                <a:pos x="177" y="35"/>
              </a:cxn>
              <a:cxn ang="0">
                <a:pos x="187" y="44"/>
              </a:cxn>
              <a:cxn ang="0">
                <a:pos x="195" y="48"/>
              </a:cxn>
              <a:cxn ang="0">
                <a:pos x="199" y="49"/>
              </a:cxn>
              <a:cxn ang="0">
                <a:pos x="214" y="45"/>
              </a:cxn>
              <a:cxn ang="0">
                <a:pos x="221" y="37"/>
              </a:cxn>
              <a:cxn ang="0">
                <a:pos x="227" y="30"/>
              </a:cxn>
              <a:cxn ang="0">
                <a:pos x="240" y="27"/>
              </a:cxn>
              <a:cxn ang="0">
                <a:pos x="248" y="28"/>
              </a:cxn>
              <a:cxn ang="0">
                <a:pos x="261" y="34"/>
              </a:cxn>
              <a:cxn ang="0">
                <a:pos x="276" y="50"/>
              </a:cxn>
              <a:cxn ang="0">
                <a:pos x="288" y="59"/>
              </a:cxn>
              <a:cxn ang="0">
                <a:pos x="291" y="59"/>
              </a:cxn>
            </a:cxnLst>
            <a:rect l="0" t="0" r="r" b="b"/>
            <a:pathLst>
              <a:path w="291" h="339">
                <a:moveTo>
                  <a:pt x="291" y="59"/>
                </a:moveTo>
                <a:lnTo>
                  <a:pt x="291" y="59"/>
                </a:lnTo>
                <a:lnTo>
                  <a:pt x="284" y="63"/>
                </a:lnTo>
                <a:lnTo>
                  <a:pt x="279" y="67"/>
                </a:lnTo>
                <a:lnTo>
                  <a:pt x="274" y="71"/>
                </a:lnTo>
                <a:lnTo>
                  <a:pt x="269" y="76"/>
                </a:lnTo>
                <a:lnTo>
                  <a:pt x="266" y="81"/>
                </a:lnTo>
                <a:lnTo>
                  <a:pt x="264" y="88"/>
                </a:lnTo>
                <a:lnTo>
                  <a:pt x="263" y="94"/>
                </a:lnTo>
                <a:lnTo>
                  <a:pt x="261" y="101"/>
                </a:lnTo>
                <a:lnTo>
                  <a:pt x="261" y="101"/>
                </a:lnTo>
                <a:lnTo>
                  <a:pt x="261" y="218"/>
                </a:lnTo>
                <a:lnTo>
                  <a:pt x="261" y="218"/>
                </a:lnTo>
                <a:lnTo>
                  <a:pt x="261" y="225"/>
                </a:lnTo>
                <a:lnTo>
                  <a:pt x="260" y="231"/>
                </a:lnTo>
                <a:lnTo>
                  <a:pt x="258" y="235"/>
                </a:lnTo>
                <a:lnTo>
                  <a:pt x="256" y="241"/>
                </a:lnTo>
                <a:lnTo>
                  <a:pt x="249" y="249"/>
                </a:lnTo>
                <a:lnTo>
                  <a:pt x="240" y="256"/>
                </a:lnTo>
                <a:lnTo>
                  <a:pt x="222" y="267"/>
                </a:lnTo>
                <a:lnTo>
                  <a:pt x="215" y="274"/>
                </a:lnTo>
                <a:lnTo>
                  <a:pt x="210" y="280"/>
                </a:lnTo>
                <a:lnTo>
                  <a:pt x="210" y="280"/>
                </a:lnTo>
                <a:lnTo>
                  <a:pt x="205" y="280"/>
                </a:lnTo>
                <a:lnTo>
                  <a:pt x="200" y="281"/>
                </a:lnTo>
                <a:lnTo>
                  <a:pt x="191" y="285"/>
                </a:lnTo>
                <a:lnTo>
                  <a:pt x="183" y="288"/>
                </a:lnTo>
                <a:lnTo>
                  <a:pt x="174" y="292"/>
                </a:lnTo>
                <a:lnTo>
                  <a:pt x="174" y="292"/>
                </a:lnTo>
                <a:lnTo>
                  <a:pt x="104" y="339"/>
                </a:lnTo>
                <a:lnTo>
                  <a:pt x="104" y="339"/>
                </a:lnTo>
                <a:lnTo>
                  <a:pt x="104" y="339"/>
                </a:lnTo>
                <a:lnTo>
                  <a:pt x="105" y="332"/>
                </a:lnTo>
                <a:lnTo>
                  <a:pt x="105" y="326"/>
                </a:lnTo>
                <a:lnTo>
                  <a:pt x="104" y="321"/>
                </a:lnTo>
                <a:lnTo>
                  <a:pt x="103" y="318"/>
                </a:lnTo>
                <a:lnTo>
                  <a:pt x="100" y="316"/>
                </a:lnTo>
                <a:lnTo>
                  <a:pt x="97" y="315"/>
                </a:lnTo>
                <a:lnTo>
                  <a:pt x="90" y="313"/>
                </a:lnTo>
                <a:lnTo>
                  <a:pt x="83" y="313"/>
                </a:lnTo>
                <a:lnTo>
                  <a:pt x="75" y="312"/>
                </a:lnTo>
                <a:lnTo>
                  <a:pt x="72" y="311"/>
                </a:lnTo>
                <a:lnTo>
                  <a:pt x="68" y="310"/>
                </a:lnTo>
                <a:lnTo>
                  <a:pt x="66" y="307"/>
                </a:lnTo>
                <a:lnTo>
                  <a:pt x="63" y="303"/>
                </a:lnTo>
                <a:lnTo>
                  <a:pt x="63" y="303"/>
                </a:lnTo>
                <a:lnTo>
                  <a:pt x="57" y="283"/>
                </a:lnTo>
                <a:lnTo>
                  <a:pt x="51" y="266"/>
                </a:lnTo>
                <a:lnTo>
                  <a:pt x="44" y="250"/>
                </a:lnTo>
                <a:lnTo>
                  <a:pt x="36" y="235"/>
                </a:lnTo>
                <a:lnTo>
                  <a:pt x="20" y="206"/>
                </a:lnTo>
                <a:lnTo>
                  <a:pt x="0" y="174"/>
                </a:lnTo>
                <a:lnTo>
                  <a:pt x="0" y="174"/>
                </a:lnTo>
                <a:lnTo>
                  <a:pt x="12" y="173"/>
                </a:lnTo>
                <a:lnTo>
                  <a:pt x="20" y="171"/>
                </a:lnTo>
                <a:lnTo>
                  <a:pt x="26" y="166"/>
                </a:lnTo>
                <a:lnTo>
                  <a:pt x="29" y="162"/>
                </a:lnTo>
                <a:lnTo>
                  <a:pt x="31" y="155"/>
                </a:lnTo>
                <a:lnTo>
                  <a:pt x="34" y="147"/>
                </a:lnTo>
                <a:lnTo>
                  <a:pt x="34" y="126"/>
                </a:lnTo>
                <a:lnTo>
                  <a:pt x="34" y="126"/>
                </a:lnTo>
                <a:lnTo>
                  <a:pt x="34" y="74"/>
                </a:lnTo>
                <a:lnTo>
                  <a:pt x="34" y="74"/>
                </a:lnTo>
                <a:lnTo>
                  <a:pt x="34" y="69"/>
                </a:lnTo>
                <a:lnTo>
                  <a:pt x="36" y="65"/>
                </a:lnTo>
                <a:lnTo>
                  <a:pt x="38" y="59"/>
                </a:lnTo>
                <a:lnTo>
                  <a:pt x="42" y="54"/>
                </a:lnTo>
                <a:lnTo>
                  <a:pt x="50" y="44"/>
                </a:lnTo>
                <a:lnTo>
                  <a:pt x="61" y="34"/>
                </a:lnTo>
                <a:lnTo>
                  <a:pt x="73" y="23"/>
                </a:lnTo>
                <a:lnTo>
                  <a:pt x="85" y="15"/>
                </a:lnTo>
                <a:lnTo>
                  <a:pt x="107" y="0"/>
                </a:lnTo>
                <a:lnTo>
                  <a:pt x="107" y="0"/>
                </a:lnTo>
                <a:lnTo>
                  <a:pt x="111" y="6"/>
                </a:lnTo>
                <a:lnTo>
                  <a:pt x="114" y="11"/>
                </a:lnTo>
                <a:lnTo>
                  <a:pt x="119" y="14"/>
                </a:lnTo>
                <a:lnTo>
                  <a:pt x="122" y="15"/>
                </a:lnTo>
                <a:lnTo>
                  <a:pt x="126" y="15"/>
                </a:lnTo>
                <a:lnTo>
                  <a:pt x="126" y="15"/>
                </a:lnTo>
                <a:lnTo>
                  <a:pt x="129" y="15"/>
                </a:lnTo>
                <a:lnTo>
                  <a:pt x="133" y="14"/>
                </a:lnTo>
                <a:lnTo>
                  <a:pt x="138" y="11"/>
                </a:lnTo>
                <a:lnTo>
                  <a:pt x="144" y="6"/>
                </a:lnTo>
                <a:lnTo>
                  <a:pt x="147" y="5"/>
                </a:lnTo>
                <a:lnTo>
                  <a:pt x="151" y="5"/>
                </a:lnTo>
                <a:lnTo>
                  <a:pt x="151" y="5"/>
                </a:lnTo>
                <a:lnTo>
                  <a:pt x="154" y="5"/>
                </a:lnTo>
                <a:lnTo>
                  <a:pt x="158" y="7"/>
                </a:lnTo>
                <a:lnTo>
                  <a:pt x="164" y="12"/>
                </a:lnTo>
                <a:lnTo>
                  <a:pt x="168" y="19"/>
                </a:lnTo>
                <a:lnTo>
                  <a:pt x="173" y="27"/>
                </a:lnTo>
                <a:lnTo>
                  <a:pt x="177" y="35"/>
                </a:lnTo>
                <a:lnTo>
                  <a:pt x="183" y="42"/>
                </a:lnTo>
                <a:lnTo>
                  <a:pt x="187" y="44"/>
                </a:lnTo>
                <a:lnTo>
                  <a:pt x="191" y="46"/>
                </a:lnTo>
                <a:lnTo>
                  <a:pt x="195" y="48"/>
                </a:lnTo>
                <a:lnTo>
                  <a:pt x="199" y="49"/>
                </a:lnTo>
                <a:lnTo>
                  <a:pt x="199" y="49"/>
                </a:lnTo>
                <a:lnTo>
                  <a:pt x="208" y="48"/>
                </a:lnTo>
                <a:lnTo>
                  <a:pt x="214" y="45"/>
                </a:lnTo>
                <a:lnTo>
                  <a:pt x="219" y="42"/>
                </a:lnTo>
                <a:lnTo>
                  <a:pt x="221" y="37"/>
                </a:lnTo>
                <a:lnTo>
                  <a:pt x="223" y="34"/>
                </a:lnTo>
                <a:lnTo>
                  <a:pt x="227" y="30"/>
                </a:lnTo>
                <a:lnTo>
                  <a:pt x="231" y="28"/>
                </a:lnTo>
                <a:lnTo>
                  <a:pt x="240" y="27"/>
                </a:lnTo>
                <a:lnTo>
                  <a:pt x="240" y="27"/>
                </a:lnTo>
                <a:lnTo>
                  <a:pt x="248" y="28"/>
                </a:lnTo>
                <a:lnTo>
                  <a:pt x="256" y="30"/>
                </a:lnTo>
                <a:lnTo>
                  <a:pt x="261" y="34"/>
                </a:lnTo>
                <a:lnTo>
                  <a:pt x="266" y="40"/>
                </a:lnTo>
                <a:lnTo>
                  <a:pt x="276" y="50"/>
                </a:lnTo>
                <a:lnTo>
                  <a:pt x="281" y="54"/>
                </a:lnTo>
                <a:lnTo>
                  <a:pt x="288" y="59"/>
                </a:lnTo>
                <a:lnTo>
                  <a:pt x="288" y="59"/>
                </a:lnTo>
                <a:lnTo>
                  <a:pt x="291" y="59"/>
                </a:lnTo>
                <a:lnTo>
                  <a:pt x="291" y="5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2" name="Freeform 77"/>
          <p:cNvSpPr>
            <a:spLocks/>
          </p:cNvSpPr>
          <p:nvPr/>
        </p:nvSpPr>
        <p:spPr bwMode="auto">
          <a:xfrm>
            <a:off x="898525" y="4419600"/>
            <a:ext cx="331788" cy="371475"/>
          </a:xfrm>
          <a:custGeom>
            <a:avLst/>
            <a:gdLst/>
            <a:ahLst/>
            <a:cxnLst>
              <a:cxn ang="0">
                <a:pos x="404" y="297"/>
              </a:cxn>
              <a:cxn ang="0">
                <a:pos x="405" y="284"/>
              </a:cxn>
              <a:cxn ang="0">
                <a:pos x="400" y="274"/>
              </a:cxn>
              <a:cxn ang="0">
                <a:pos x="383" y="271"/>
              </a:cxn>
              <a:cxn ang="0">
                <a:pos x="368" y="268"/>
              </a:cxn>
              <a:cxn ang="0">
                <a:pos x="363" y="261"/>
              </a:cxn>
              <a:cxn ang="0">
                <a:pos x="344" y="208"/>
              </a:cxn>
              <a:cxn ang="0">
                <a:pos x="300" y="132"/>
              </a:cxn>
              <a:cxn ang="0">
                <a:pos x="279" y="128"/>
              </a:cxn>
              <a:cxn ang="0">
                <a:pos x="250" y="109"/>
              </a:cxn>
              <a:cxn ang="0">
                <a:pos x="231" y="84"/>
              </a:cxn>
              <a:cxn ang="0">
                <a:pos x="229" y="69"/>
              </a:cxn>
              <a:cxn ang="0">
                <a:pos x="229" y="48"/>
              </a:cxn>
              <a:cxn ang="0">
                <a:pos x="216" y="40"/>
              </a:cxn>
              <a:cxn ang="0">
                <a:pos x="194" y="19"/>
              </a:cxn>
              <a:cxn ang="0">
                <a:pos x="179" y="6"/>
              </a:cxn>
              <a:cxn ang="0">
                <a:pos x="159" y="2"/>
              </a:cxn>
              <a:cxn ang="0">
                <a:pos x="134" y="1"/>
              </a:cxn>
              <a:cxn ang="0">
                <a:pos x="125" y="10"/>
              </a:cxn>
              <a:cxn ang="0">
                <a:pos x="102" y="47"/>
              </a:cxn>
              <a:cxn ang="0">
                <a:pos x="80" y="80"/>
              </a:cxn>
              <a:cxn ang="0">
                <a:pos x="83" y="90"/>
              </a:cxn>
              <a:cxn ang="0">
                <a:pos x="84" y="99"/>
              </a:cxn>
              <a:cxn ang="0">
                <a:pos x="71" y="110"/>
              </a:cxn>
              <a:cxn ang="0">
                <a:pos x="70" y="117"/>
              </a:cxn>
              <a:cxn ang="0">
                <a:pos x="93" y="138"/>
              </a:cxn>
              <a:cxn ang="0">
                <a:pos x="93" y="144"/>
              </a:cxn>
              <a:cxn ang="0">
                <a:pos x="73" y="163"/>
              </a:cxn>
              <a:cxn ang="0">
                <a:pos x="70" y="168"/>
              </a:cxn>
              <a:cxn ang="0">
                <a:pos x="76" y="184"/>
              </a:cxn>
              <a:cxn ang="0">
                <a:pos x="76" y="200"/>
              </a:cxn>
              <a:cxn ang="0">
                <a:pos x="64" y="225"/>
              </a:cxn>
              <a:cxn ang="0">
                <a:pos x="38" y="252"/>
              </a:cxn>
              <a:cxn ang="0">
                <a:pos x="11" y="281"/>
              </a:cxn>
              <a:cxn ang="0">
                <a:pos x="1" y="308"/>
              </a:cxn>
              <a:cxn ang="0">
                <a:pos x="1" y="325"/>
              </a:cxn>
              <a:cxn ang="0">
                <a:pos x="18" y="384"/>
              </a:cxn>
              <a:cxn ang="0">
                <a:pos x="25" y="400"/>
              </a:cxn>
              <a:cxn ang="0">
                <a:pos x="30" y="390"/>
              </a:cxn>
              <a:cxn ang="0">
                <a:pos x="42" y="389"/>
              </a:cxn>
              <a:cxn ang="0">
                <a:pos x="59" y="395"/>
              </a:cxn>
              <a:cxn ang="0">
                <a:pos x="84" y="414"/>
              </a:cxn>
              <a:cxn ang="0">
                <a:pos x="103" y="424"/>
              </a:cxn>
              <a:cxn ang="0">
                <a:pos x="117" y="426"/>
              </a:cxn>
              <a:cxn ang="0">
                <a:pos x="144" y="420"/>
              </a:cxn>
              <a:cxn ang="0">
                <a:pos x="168" y="414"/>
              </a:cxn>
              <a:cxn ang="0">
                <a:pos x="181" y="418"/>
              </a:cxn>
              <a:cxn ang="0">
                <a:pos x="187" y="415"/>
              </a:cxn>
              <a:cxn ang="0">
                <a:pos x="195" y="397"/>
              </a:cxn>
              <a:cxn ang="0">
                <a:pos x="224" y="358"/>
              </a:cxn>
              <a:cxn ang="0">
                <a:pos x="244" y="323"/>
              </a:cxn>
              <a:cxn ang="0">
                <a:pos x="323" y="315"/>
              </a:cxn>
              <a:cxn ang="0">
                <a:pos x="330" y="317"/>
              </a:cxn>
              <a:cxn ang="0">
                <a:pos x="353" y="338"/>
              </a:cxn>
              <a:cxn ang="0">
                <a:pos x="382" y="362"/>
              </a:cxn>
              <a:cxn ang="0">
                <a:pos x="392" y="367"/>
              </a:cxn>
              <a:cxn ang="0">
                <a:pos x="403" y="332"/>
              </a:cxn>
              <a:cxn ang="0">
                <a:pos x="404" y="327"/>
              </a:cxn>
            </a:cxnLst>
            <a:rect l="0" t="0" r="r" b="b"/>
            <a:pathLst>
              <a:path w="405" h="426">
                <a:moveTo>
                  <a:pt x="404" y="327"/>
                </a:moveTo>
                <a:lnTo>
                  <a:pt x="404" y="327"/>
                </a:lnTo>
                <a:lnTo>
                  <a:pt x="404" y="297"/>
                </a:lnTo>
                <a:lnTo>
                  <a:pt x="404" y="297"/>
                </a:lnTo>
                <a:lnTo>
                  <a:pt x="405" y="290"/>
                </a:lnTo>
                <a:lnTo>
                  <a:pt x="405" y="284"/>
                </a:lnTo>
                <a:lnTo>
                  <a:pt x="404" y="279"/>
                </a:lnTo>
                <a:lnTo>
                  <a:pt x="403" y="276"/>
                </a:lnTo>
                <a:lnTo>
                  <a:pt x="400" y="274"/>
                </a:lnTo>
                <a:lnTo>
                  <a:pt x="397" y="273"/>
                </a:lnTo>
                <a:lnTo>
                  <a:pt x="390" y="271"/>
                </a:lnTo>
                <a:lnTo>
                  <a:pt x="383" y="271"/>
                </a:lnTo>
                <a:lnTo>
                  <a:pt x="375" y="270"/>
                </a:lnTo>
                <a:lnTo>
                  <a:pt x="372" y="269"/>
                </a:lnTo>
                <a:lnTo>
                  <a:pt x="368" y="268"/>
                </a:lnTo>
                <a:lnTo>
                  <a:pt x="366" y="265"/>
                </a:lnTo>
                <a:lnTo>
                  <a:pt x="363" y="261"/>
                </a:lnTo>
                <a:lnTo>
                  <a:pt x="363" y="261"/>
                </a:lnTo>
                <a:lnTo>
                  <a:pt x="357" y="241"/>
                </a:lnTo>
                <a:lnTo>
                  <a:pt x="351" y="224"/>
                </a:lnTo>
                <a:lnTo>
                  <a:pt x="344" y="208"/>
                </a:lnTo>
                <a:lnTo>
                  <a:pt x="336" y="193"/>
                </a:lnTo>
                <a:lnTo>
                  <a:pt x="320" y="164"/>
                </a:lnTo>
                <a:lnTo>
                  <a:pt x="300" y="132"/>
                </a:lnTo>
                <a:lnTo>
                  <a:pt x="300" y="132"/>
                </a:lnTo>
                <a:lnTo>
                  <a:pt x="291" y="131"/>
                </a:lnTo>
                <a:lnTo>
                  <a:pt x="279" y="128"/>
                </a:lnTo>
                <a:lnTo>
                  <a:pt x="269" y="123"/>
                </a:lnTo>
                <a:lnTo>
                  <a:pt x="259" y="116"/>
                </a:lnTo>
                <a:lnTo>
                  <a:pt x="250" y="109"/>
                </a:lnTo>
                <a:lnTo>
                  <a:pt x="242" y="101"/>
                </a:lnTo>
                <a:lnTo>
                  <a:pt x="236" y="92"/>
                </a:lnTo>
                <a:lnTo>
                  <a:pt x="231" y="84"/>
                </a:lnTo>
                <a:lnTo>
                  <a:pt x="231" y="84"/>
                </a:lnTo>
                <a:lnTo>
                  <a:pt x="230" y="76"/>
                </a:lnTo>
                <a:lnTo>
                  <a:pt x="229" y="69"/>
                </a:lnTo>
                <a:lnTo>
                  <a:pt x="230" y="57"/>
                </a:lnTo>
                <a:lnTo>
                  <a:pt x="230" y="53"/>
                </a:lnTo>
                <a:lnTo>
                  <a:pt x="229" y="48"/>
                </a:lnTo>
                <a:lnTo>
                  <a:pt x="224" y="44"/>
                </a:lnTo>
                <a:lnTo>
                  <a:pt x="216" y="40"/>
                </a:lnTo>
                <a:lnTo>
                  <a:pt x="216" y="40"/>
                </a:lnTo>
                <a:lnTo>
                  <a:pt x="210" y="37"/>
                </a:lnTo>
                <a:lnTo>
                  <a:pt x="205" y="32"/>
                </a:lnTo>
                <a:lnTo>
                  <a:pt x="194" y="19"/>
                </a:lnTo>
                <a:lnTo>
                  <a:pt x="190" y="14"/>
                </a:lnTo>
                <a:lnTo>
                  <a:pt x="184" y="9"/>
                </a:lnTo>
                <a:lnTo>
                  <a:pt x="179" y="6"/>
                </a:lnTo>
                <a:lnTo>
                  <a:pt x="172" y="3"/>
                </a:lnTo>
                <a:lnTo>
                  <a:pt x="172" y="3"/>
                </a:lnTo>
                <a:lnTo>
                  <a:pt x="159" y="2"/>
                </a:lnTo>
                <a:lnTo>
                  <a:pt x="149" y="2"/>
                </a:lnTo>
                <a:lnTo>
                  <a:pt x="140" y="2"/>
                </a:lnTo>
                <a:lnTo>
                  <a:pt x="134" y="1"/>
                </a:lnTo>
                <a:lnTo>
                  <a:pt x="129" y="0"/>
                </a:lnTo>
                <a:lnTo>
                  <a:pt x="129" y="0"/>
                </a:lnTo>
                <a:lnTo>
                  <a:pt x="125" y="10"/>
                </a:lnTo>
                <a:lnTo>
                  <a:pt x="120" y="22"/>
                </a:lnTo>
                <a:lnTo>
                  <a:pt x="111" y="34"/>
                </a:lnTo>
                <a:lnTo>
                  <a:pt x="102" y="47"/>
                </a:lnTo>
                <a:lnTo>
                  <a:pt x="87" y="68"/>
                </a:lnTo>
                <a:lnTo>
                  <a:pt x="82" y="76"/>
                </a:lnTo>
                <a:lnTo>
                  <a:pt x="80" y="80"/>
                </a:lnTo>
                <a:lnTo>
                  <a:pt x="80" y="80"/>
                </a:lnTo>
                <a:lnTo>
                  <a:pt x="80" y="85"/>
                </a:lnTo>
                <a:lnTo>
                  <a:pt x="83" y="90"/>
                </a:lnTo>
                <a:lnTo>
                  <a:pt x="84" y="94"/>
                </a:lnTo>
                <a:lnTo>
                  <a:pt x="84" y="99"/>
                </a:lnTo>
                <a:lnTo>
                  <a:pt x="84" y="99"/>
                </a:lnTo>
                <a:lnTo>
                  <a:pt x="79" y="103"/>
                </a:lnTo>
                <a:lnTo>
                  <a:pt x="75" y="107"/>
                </a:lnTo>
                <a:lnTo>
                  <a:pt x="71" y="110"/>
                </a:lnTo>
                <a:lnTo>
                  <a:pt x="70" y="114"/>
                </a:lnTo>
                <a:lnTo>
                  <a:pt x="70" y="117"/>
                </a:lnTo>
                <a:lnTo>
                  <a:pt x="70" y="117"/>
                </a:lnTo>
                <a:lnTo>
                  <a:pt x="80" y="128"/>
                </a:lnTo>
                <a:lnTo>
                  <a:pt x="90" y="136"/>
                </a:lnTo>
                <a:lnTo>
                  <a:pt x="93" y="138"/>
                </a:lnTo>
                <a:lnTo>
                  <a:pt x="95" y="139"/>
                </a:lnTo>
                <a:lnTo>
                  <a:pt x="95" y="139"/>
                </a:lnTo>
                <a:lnTo>
                  <a:pt x="93" y="144"/>
                </a:lnTo>
                <a:lnTo>
                  <a:pt x="90" y="148"/>
                </a:lnTo>
                <a:lnTo>
                  <a:pt x="80" y="156"/>
                </a:lnTo>
                <a:lnTo>
                  <a:pt x="73" y="163"/>
                </a:lnTo>
                <a:lnTo>
                  <a:pt x="70" y="166"/>
                </a:lnTo>
                <a:lnTo>
                  <a:pt x="70" y="168"/>
                </a:lnTo>
                <a:lnTo>
                  <a:pt x="70" y="168"/>
                </a:lnTo>
                <a:lnTo>
                  <a:pt x="71" y="174"/>
                </a:lnTo>
                <a:lnTo>
                  <a:pt x="73" y="178"/>
                </a:lnTo>
                <a:lnTo>
                  <a:pt x="76" y="184"/>
                </a:lnTo>
                <a:lnTo>
                  <a:pt x="77" y="191"/>
                </a:lnTo>
                <a:lnTo>
                  <a:pt x="77" y="191"/>
                </a:lnTo>
                <a:lnTo>
                  <a:pt x="76" y="200"/>
                </a:lnTo>
                <a:lnTo>
                  <a:pt x="73" y="209"/>
                </a:lnTo>
                <a:lnTo>
                  <a:pt x="70" y="217"/>
                </a:lnTo>
                <a:lnTo>
                  <a:pt x="64" y="225"/>
                </a:lnTo>
                <a:lnTo>
                  <a:pt x="59" y="232"/>
                </a:lnTo>
                <a:lnTo>
                  <a:pt x="53" y="239"/>
                </a:lnTo>
                <a:lnTo>
                  <a:pt x="38" y="252"/>
                </a:lnTo>
                <a:lnTo>
                  <a:pt x="24" y="266"/>
                </a:lnTo>
                <a:lnTo>
                  <a:pt x="17" y="273"/>
                </a:lnTo>
                <a:lnTo>
                  <a:pt x="11" y="281"/>
                </a:lnTo>
                <a:lnTo>
                  <a:pt x="7" y="289"/>
                </a:lnTo>
                <a:lnTo>
                  <a:pt x="3" y="298"/>
                </a:lnTo>
                <a:lnTo>
                  <a:pt x="1" y="308"/>
                </a:lnTo>
                <a:lnTo>
                  <a:pt x="0" y="320"/>
                </a:lnTo>
                <a:lnTo>
                  <a:pt x="0" y="320"/>
                </a:lnTo>
                <a:lnTo>
                  <a:pt x="1" y="325"/>
                </a:lnTo>
                <a:lnTo>
                  <a:pt x="2" y="335"/>
                </a:lnTo>
                <a:lnTo>
                  <a:pt x="10" y="359"/>
                </a:lnTo>
                <a:lnTo>
                  <a:pt x="18" y="384"/>
                </a:lnTo>
                <a:lnTo>
                  <a:pt x="22" y="393"/>
                </a:lnTo>
                <a:lnTo>
                  <a:pt x="25" y="400"/>
                </a:lnTo>
                <a:lnTo>
                  <a:pt x="25" y="400"/>
                </a:lnTo>
                <a:lnTo>
                  <a:pt x="25" y="396"/>
                </a:lnTo>
                <a:lnTo>
                  <a:pt x="26" y="391"/>
                </a:lnTo>
                <a:lnTo>
                  <a:pt x="30" y="390"/>
                </a:lnTo>
                <a:lnTo>
                  <a:pt x="36" y="389"/>
                </a:lnTo>
                <a:lnTo>
                  <a:pt x="36" y="389"/>
                </a:lnTo>
                <a:lnTo>
                  <a:pt x="42" y="389"/>
                </a:lnTo>
                <a:lnTo>
                  <a:pt x="48" y="390"/>
                </a:lnTo>
                <a:lnTo>
                  <a:pt x="54" y="392"/>
                </a:lnTo>
                <a:lnTo>
                  <a:pt x="59" y="395"/>
                </a:lnTo>
                <a:lnTo>
                  <a:pt x="68" y="400"/>
                </a:lnTo>
                <a:lnTo>
                  <a:pt x="76" y="407"/>
                </a:lnTo>
                <a:lnTo>
                  <a:pt x="84" y="414"/>
                </a:lnTo>
                <a:lnTo>
                  <a:pt x="93" y="420"/>
                </a:lnTo>
                <a:lnTo>
                  <a:pt x="98" y="422"/>
                </a:lnTo>
                <a:lnTo>
                  <a:pt x="103" y="424"/>
                </a:lnTo>
                <a:lnTo>
                  <a:pt x="110" y="426"/>
                </a:lnTo>
                <a:lnTo>
                  <a:pt x="117" y="426"/>
                </a:lnTo>
                <a:lnTo>
                  <a:pt x="117" y="426"/>
                </a:lnTo>
                <a:lnTo>
                  <a:pt x="125" y="426"/>
                </a:lnTo>
                <a:lnTo>
                  <a:pt x="132" y="424"/>
                </a:lnTo>
                <a:lnTo>
                  <a:pt x="144" y="420"/>
                </a:lnTo>
                <a:lnTo>
                  <a:pt x="155" y="416"/>
                </a:lnTo>
                <a:lnTo>
                  <a:pt x="162" y="415"/>
                </a:lnTo>
                <a:lnTo>
                  <a:pt x="168" y="414"/>
                </a:lnTo>
                <a:lnTo>
                  <a:pt x="168" y="414"/>
                </a:lnTo>
                <a:lnTo>
                  <a:pt x="175" y="415"/>
                </a:lnTo>
                <a:lnTo>
                  <a:pt x="181" y="418"/>
                </a:lnTo>
                <a:lnTo>
                  <a:pt x="187" y="422"/>
                </a:lnTo>
                <a:lnTo>
                  <a:pt x="187" y="422"/>
                </a:lnTo>
                <a:lnTo>
                  <a:pt x="187" y="415"/>
                </a:lnTo>
                <a:lnTo>
                  <a:pt x="190" y="409"/>
                </a:lnTo>
                <a:lnTo>
                  <a:pt x="192" y="403"/>
                </a:lnTo>
                <a:lnTo>
                  <a:pt x="195" y="397"/>
                </a:lnTo>
                <a:lnTo>
                  <a:pt x="204" y="384"/>
                </a:lnTo>
                <a:lnTo>
                  <a:pt x="214" y="372"/>
                </a:lnTo>
                <a:lnTo>
                  <a:pt x="224" y="358"/>
                </a:lnTo>
                <a:lnTo>
                  <a:pt x="233" y="344"/>
                </a:lnTo>
                <a:lnTo>
                  <a:pt x="240" y="330"/>
                </a:lnTo>
                <a:lnTo>
                  <a:pt x="244" y="323"/>
                </a:lnTo>
                <a:lnTo>
                  <a:pt x="245" y="315"/>
                </a:lnTo>
                <a:lnTo>
                  <a:pt x="245" y="315"/>
                </a:lnTo>
                <a:lnTo>
                  <a:pt x="323" y="315"/>
                </a:lnTo>
                <a:lnTo>
                  <a:pt x="323" y="315"/>
                </a:lnTo>
                <a:lnTo>
                  <a:pt x="327" y="315"/>
                </a:lnTo>
                <a:lnTo>
                  <a:pt x="330" y="317"/>
                </a:lnTo>
                <a:lnTo>
                  <a:pt x="337" y="322"/>
                </a:lnTo>
                <a:lnTo>
                  <a:pt x="345" y="330"/>
                </a:lnTo>
                <a:lnTo>
                  <a:pt x="353" y="338"/>
                </a:lnTo>
                <a:lnTo>
                  <a:pt x="362" y="347"/>
                </a:lnTo>
                <a:lnTo>
                  <a:pt x="372" y="355"/>
                </a:lnTo>
                <a:lnTo>
                  <a:pt x="382" y="362"/>
                </a:lnTo>
                <a:lnTo>
                  <a:pt x="386" y="365"/>
                </a:lnTo>
                <a:lnTo>
                  <a:pt x="392" y="367"/>
                </a:lnTo>
                <a:lnTo>
                  <a:pt x="392" y="367"/>
                </a:lnTo>
                <a:lnTo>
                  <a:pt x="398" y="352"/>
                </a:lnTo>
                <a:lnTo>
                  <a:pt x="401" y="339"/>
                </a:lnTo>
                <a:lnTo>
                  <a:pt x="403" y="332"/>
                </a:lnTo>
                <a:lnTo>
                  <a:pt x="404" y="327"/>
                </a:lnTo>
                <a:lnTo>
                  <a:pt x="404" y="327"/>
                </a:lnTo>
                <a:lnTo>
                  <a:pt x="404" y="32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3" name="Freeform 78"/>
          <p:cNvSpPr>
            <a:spLocks/>
          </p:cNvSpPr>
          <p:nvPr/>
        </p:nvSpPr>
        <p:spPr bwMode="auto">
          <a:xfrm>
            <a:off x="866775" y="4116388"/>
            <a:ext cx="219075" cy="276225"/>
          </a:xfrm>
          <a:custGeom>
            <a:avLst/>
            <a:gdLst/>
            <a:ahLst/>
            <a:cxnLst>
              <a:cxn ang="0">
                <a:pos x="204" y="20"/>
              </a:cxn>
              <a:cxn ang="0">
                <a:pos x="210" y="39"/>
              </a:cxn>
              <a:cxn ang="0">
                <a:pos x="214" y="79"/>
              </a:cxn>
              <a:cxn ang="0">
                <a:pos x="219" y="99"/>
              </a:cxn>
              <a:cxn ang="0">
                <a:pos x="225" y="107"/>
              </a:cxn>
              <a:cxn ang="0">
                <a:pos x="246" y="127"/>
              </a:cxn>
              <a:cxn ang="0">
                <a:pos x="258" y="142"/>
              </a:cxn>
              <a:cxn ang="0">
                <a:pos x="263" y="157"/>
              </a:cxn>
              <a:cxn ang="0">
                <a:pos x="263" y="162"/>
              </a:cxn>
              <a:cxn ang="0">
                <a:pos x="263" y="176"/>
              </a:cxn>
              <a:cxn ang="0">
                <a:pos x="265" y="193"/>
              </a:cxn>
              <a:cxn ang="0">
                <a:pos x="268" y="199"/>
              </a:cxn>
              <a:cxn ang="0">
                <a:pos x="250" y="213"/>
              </a:cxn>
              <a:cxn ang="0">
                <a:pos x="237" y="229"/>
              </a:cxn>
              <a:cxn ang="0">
                <a:pos x="226" y="247"/>
              </a:cxn>
              <a:cxn ang="0">
                <a:pos x="219" y="273"/>
              </a:cxn>
              <a:cxn ang="0">
                <a:pos x="218" y="280"/>
              </a:cxn>
              <a:cxn ang="0">
                <a:pos x="212" y="289"/>
              </a:cxn>
              <a:cxn ang="0">
                <a:pos x="203" y="293"/>
              </a:cxn>
              <a:cxn ang="0">
                <a:pos x="187" y="296"/>
              </a:cxn>
              <a:cxn ang="0">
                <a:pos x="171" y="298"/>
              </a:cxn>
              <a:cxn ang="0">
                <a:pos x="163" y="303"/>
              </a:cxn>
              <a:cxn ang="0">
                <a:pos x="158" y="311"/>
              </a:cxn>
              <a:cxn ang="0">
                <a:pos x="157" y="316"/>
              </a:cxn>
              <a:cxn ang="0">
                <a:pos x="149" y="313"/>
              </a:cxn>
              <a:cxn ang="0">
                <a:pos x="142" y="306"/>
              </a:cxn>
              <a:cxn ang="0">
                <a:pos x="131" y="291"/>
              </a:cxn>
              <a:cxn ang="0">
                <a:pos x="124" y="275"/>
              </a:cxn>
              <a:cxn ang="0">
                <a:pos x="118" y="251"/>
              </a:cxn>
              <a:cxn ang="0">
                <a:pos x="109" y="199"/>
              </a:cxn>
              <a:cxn ang="0">
                <a:pos x="102" y="181"/>
              </a:cxn>
              <a:cxn ang="0">
                <a:pos x="101" y="178"/>
              </a:cxn>
              <a:cxn ang="0">
                <a:pos x="92" y="173"/>
              </a:cxn>
              <a:cxn ang="0">
                <a:pos x="78" y="167"/>
              </a:cxn>
              <a:cxn ang="0">
                <a:pos x="59" y="161"/>
              </a:cxn>
              <a:cxn ang="0">
                <a:pos x="58" y="159"/>
              </a:cxn>
              <a:cxn ang="0">
                <a:pos x="55" y="145"/>
              </a:cxn>
              <a:cxn ang="0">
                <a:pos x="48" y="120"/>
              </a:cxn>
              <a:cxn ang="0">
                <a:pos x="39" y="105"/>
              </a:cxn>
              <a:cxn ang="0">
                <a:pos x="31" y="98"/>
              </a:cxn>
              <a:cxn ang="0">
                <a:pos x="20" y="92"/>
              </a:cxn>
              <a:cxn ang="0">
                <a:pos x="6" y="89"/>
              </a:cxn>
              <a:cxn ang="0">
                <a:pos x="0" y="89"/>
              </a:cxn>
              <a:cxn ang="0">
                <a:pos x="29" y="73"/>
              </a:cxn>
              <a:cxn ang="0">
                <a:pos x="46" y="60"/>
              </a:cxn>
              <a:cxn ang="0">
                <a:pos x="56" y="40"/>
              </a:cxn>
              <a:cxn ang="0">
                <a:pos x="58" y="26"/>
              </a:cxn>
              <a:cxn ang="0">
                <a:pos x="73" y="30"/>
              </a:cxn>
              <a:cxn ang="0">
                <a:pos x="90" y="33"/>
              </a:cxn>
              <a:cxn ang="0">
                <a:pos x="95" y="32"/>
              </a:cxn>
              <a:cxn ang="0">
                <a:pos x="103" y="25"/>
              </a:cxn>
              <a:cxn ang="0">
                <a:pos x="111" y="8"/>
              </a:cxn>
              <a:cxn ang="0">
                <a:pos x="120" y="0"/>
              </a:cxn>
              <a:cxn ang="0">
                <a:pos x="126" y="5"/>
              </a:cxn>
              <a:cxn ang="0">
                <a:pos x="140" y="13"/>
              </a:cxn>
              <a:cxn ang="0">
                <a:pos x="156" y="17"/>
              </a:cxn>
              <a:cxn ang="0">
                <a:pos x="187" y="20"/>
              </a:cxn>
              <a:cxn ang="0">
                <a:pos x="195" y="18"/>
              </a:cxn>
              <a:cxn ang="0">
                <a:pos x="204" y="15"/>
              </a:cxn>
              <a:cxn ang="0">
                <a:pos x="204" y="20"/>
              </a:cxn>
            </a:cxnLst>
            <a:rect l="0" t="0" r="r" b="b"/>
            <a:pathLst>
              <a:path w="268" h="316">
                <a:moveTo>
                  <a:pt x="204" y="20"/>
                </a:moveTo>
                <a:lnTo>
                  <a:pt x="204" y="20"/>
                </a:lnTo>
                <a:lnTo>
                  <a:pt x="208" y="29"/>
                </a:lnTo>
                <a:lnTo>
                  <a:pt x="210" y="39"/>
                </a:lnTo>
                <a:lnTo>
                  <a:pt x="212" y="59"/>
                </a:lnTo>
                <a:lnTo>
                  <a:pt x="214" y="79"/>
                </a:lnTo>
                <a:lnTo>
                  <a:pt x="216" y="90"/>
                </a:lnTo>
                <a:lnTo>
                  <a:pt x="219" y="99"/>
                </a:lnTo>
                <a:lnTo>
                  <a:pt x="219" y="99"/>
                </a:lnTo>
                <a:lnTo>
                  <a:pt x="225" y="107"/>
                </a:lnTo>
                <a:lnTo>
                  <a:pt x="231" y="114"/>
                </a:lnTo>
                <a:lnTo>
                  <a:pt x="246" y="127"/>
                </a:lnTo>
                <a:lnTo>
                  <a:pt x="253" y="134"/>
                </a:lnTo>
                <a:lnTo>
                  <a:pt x="258" y="142"/>
                </a:lnTo>
                <a:lnTo>
                  <a:pt x="262" y="151"/>
                </a:lnTo>
                <a:lnTo>
                  <a:pt x="263" y="157"/>
                </a:lnTo>
                <a:lnTo>
                  <a:pt x="263" y="162"/>
                </a:lnTo>
                <a:lnTo>
                  <a:pt x="263" y="162"/>
                </a:lnTo>
                <a:lnTo>
                  <a:pt x="263" y="176"/>
                </a:lnTo>
                <a:lnTo>
                  <a:pt x="263" y="176"/>
                </a:lnTo>
                <a:lnTo>
                  <a:pt x="264" y="188"/>
                </a:lnTo>
                <a:lnTo>
                  <a:pt x="265" y="193"/>
                </a:lnTo>
                <a:lnTo>
                  <a:pt x="268" y="199"/>
                </a:lnTo>
                <a:lnTo>
                  <a:pt x="268" y="199"/>
                </a:lnTo>
                <a:lnTo>
                  <a:pt x="258" y="206"/>
                </a:lnTo>
                <a:lnTo>
                  <a:pt x="250" y="213"/>
                </a:lnTo>
                <a:lnTo>
                  <a:pt x="244" y="221"/>
                </a:lnTo>
                <a:lnTo>
                  <a:pt x="237" y="229"/>
                </a:lnTo>
                <a:lnTo>
                  <a:pt x="231" y="238"/>
                </a:lnTo>
                <a:lnTo>
                  <a:pt x="226" y="247"/>
                </a:lnTo>
                <a:lnTo>
                  <a:pt x="223" y="259"/>
                </a:lnTo>
                <a:lnTo>
                  <a:pt x="219" y="273"/>
                </a:lnTo>
                <a:lnTo>
                  <a:pt x="219" y="273"/>
                </a:lnTo>
                <a:lnTo>
                  <a:pt x="218" y="280"/>
                </a:lnTo>
                <a:lnTo>
                  <a:pt x="216" y="284"/>
                </a:lnTo>
                <a:lnTo>
                  <a:pt x="212" y="289"/>
                </a:lnTo>
                <a:lnTo>
                  <a:pt x="208" y="291"/>
                </a:lnTo>
                <a:lnTo>
                  <a:pt x="203" y="293"/>
                </a:lnTo>
                <a:lnTo>
                  <a:pt x="199" y="295"/>
                </a:lnTo>
                <a:lnTo>
                  <a:pt x="187" y="296"/>
                </a:lnTo>
                <a:lnTo>
                  <a:pt x="176" y="297"/>
                </a:lnTo>
                <a:lnTo>
                  <a:pt x="171" y="298"/>
                </a:lnTo>
                <a:lnTo>
                  <a:pt x="166" y="299"/>
                </a:lnTo>
                <a:lnTo>
                  <a:pt x="163" y="303"/>
                </a:lnTo>
                <a:lnTo>
                  <a:pt x="160" y="306"/>
                </a:lnTo>
                <a:lnTo>
                  <a:pt x="158" y="311"/>
                </a:lnTo>
                <a:lnTo>
                  <a:pt x="157" y="316"/>
                </a:lnTo>
                <a:lnTo>
                  <a:pt x="157" y="316"/>
                </a:lnTo>
                <a:lnTo>
                  <a:pt x="149" y="313"/>
                </a:lnTo>
                <a:lnTo>
                  <a:pt x="149" y="313"/>
                </a:lnTo>
                <a:lnTo>
                  <a:pt x="149" y="313"/>
                </a:lnTo>
                <a:lnTo>
                  <a:pt x="142" y="306"/>
                </a:lnTo>
                <a:lnTo>
                  <a:pt x="135" y="299"/>
                </a:lnTo>
                <a:lnTo>
                  <a:pt x="131" y="291"/>
                </a:lnTo>
                <a:lnTo>
                  <a:pt x="126" y="283"/>
                </a:lnTo>
                <a:lnTo>
                  <a:pt x="124" y="275"/>
                </a:lnTo>
                <a:lnTo>
                  <a:pt x="122" y="267"/>
                </a:lnTo>
                <a:lnTo>
                  <a:pt x="118" y="251"/>
                </a:lnTo>
                <a:lnTo>
                  <a:pt x="112" y="216"/>
                </a:lnTo>
                <a:lnTo>
                  <a:pt x="109" y="199"/>
                </a:lnTo>
                <a:lnTo>
                  <a:pt x="105" y="190"/>
                </a:lnTo>
                <a:lnTo>
                  <a:pt x="102" y="181"/>
                </a:lnTo>
                <a:lnTo>
                  <a:pt x="102" y="181"/>
                </a:lnTo>
                <a:lnTo>
                  <a:pt x="101" y="178"/>
                </a:lnTo>
                <a:lnTo>
                  <a:pt x="99" y="176"/>
                </a:lnTo>
                <a:lnTo>
                  <a:pt x="92" y="173"/>
                </a:lnTo>
                <a:lnTo>
                  <a:pt x="85" y="169"/>
                </a:lnTo>
                <a:lnTo>
                  <a:pt x="78" y="167"/>
                </a:lnTo>
                <a:lnTo>
                  <a:pt x="64" y="163"/>
                </a:lnTo>
                <a:lnTo>
                  <a:pt x="59" y="161"/>
                </a:lnTo>
                <a:lnTo>
                  <a:pt x="58" y="160"/>
                </a:lnTo>
                <a:lnTo>
                  <a:pt x="58" y="159"/>
                </a:lnTo>
                <a:lnTo>
                  <a:pt x="58" y="159"/>
                </a:lnTo>
                <a:lnTo>
                  <a:pt x="55" y="145"/>
                </a:lnTo>
                <a:lnTo>
                  <a:pt x="51" y="132"/>
                </a:lnTo>
                <a:lnTo>
                  <a:pt x="48" y="120"/>
                </a:lnTo>
                <a:lnTo>
                  <a:pt x="42" y="109"/>
                </a:lnTo>
                <a:lnTo>
                  <a:pt x="39" y="105"/>
                </a:lnTo>
                <a:lnTo>
                  <a:pt x="35" y="101"/>
                </a:lnTo>
                <a:lnTo>
                  <a:pt x="31" y="98"/>
                </a:lnTo>
                <a:lnTo>
                  <a:pt x="26" y="94"/>
                </a:lnTo>
                <a:lnTo>
                  <a:pt x="20" y="92"/>
                </a:lnTo>
                <a:lnTo>
                  <a:pt x="13" y="90"/>
                </a:lnTo>
                <a:lnTo>
                  <a:pt x="6" y="89"/>
                </a:lnTo>
                <a:lnTo>
                  <a:pt x="0" y="89"/>
                </a:lnTo>
                <a:lnTo>
                  <a:pt x="0" y="89"/>
                </a:lnTo>
                <a:lnTo>
                  <a:pt x="20" y="78"/>
                </a:lnTo>
                <a:lnTo>
                  <a:pt x="29" y="73"/>
                </a:lnTo>
                <a:lnTo>
                  <a:pt x="39" y="67"/>
                </a:lnTo>
                <a:lnTo>
                  <a:pt x="46" y="60"/>
                </a:lnTo>
                <a:lnTo>
                  <a:pt x="51" y="51"/>
                </a:lnTo>
                <a:lnTo>
                  <a:pt x="56" y="40"/>
                </a:lnTo>
                <a:lnTo>
                  <a:pt x="58" y="26"/>
                </a:lnTo>
                <a:lnTo>
                  <a:pt x="58" y="26"/>
                </a:lnTo>
                <a:lnTo>
                  <a:pt x="65" y="28"/>
                </a:lnTo>
                <a:lnTo>
                  <a:pt x="73" y="30"/>
                </a:lnTo>
                <a:lnTo>
                  <a:pt x="81" y="32"/>
                </a:lnTo>
                <a:lnTo>
                  <a:pt x="90" y="33"/>
                </a:lnTo>
                <a:lnTo>
                  <a:pt x="90" y="33"/>
                </a:lnTo>
                <a:lnTo>
                  <a:pt x="95" y="32"/>
                </a:lnTo>
                <a:lnTo>
                  <a:pt x="100" y="30"/>
                </a:lnTo>
                <a:lnTo>
                  <a:pt x="103" y="25"/>
                </a:lnTo>
                <a:lnTo>
                  <a:pt x="105" y="20"/>
                </a:lnTo>
                <a:lnTo>
                  <a:pt x="111" y="8"/>
                </a:lnTo>
                <a:lnTo>
                  <a:pt x="116" y="3"/>
                </a:lnTo>
                <a:lnTo>
                  <a:pt x="120" y="0"/>
                </a:lnTo>
                <a:lnTo>
                  <a:pt x="120" y="0"/>
                </a:lnTo>
                <a:lnTo>
                  <a:pt x="126" y="5"/>
                </a:lnTo>
                <a:lnTo>
                  <a:pt x="133" y="9"/>
                </a:lnTo>
                <a:lnTo>
                  <a:pt x="140" y="13"/>
                </a:lnTo>
                <a:lnTo>
                  <a:pt x="148" y="15"/>
                </a:lnTo>
                <a:lnTo>
                  <a:pt x="156" y="17"/>
                </a:lnTo>
                <a:lnTo>
                  <a:pt x="166" y="18"/>
                </a:lnTo>
                <a:lnTo>
                  <a:pt x="187" y="20"/>
                </a:lnTo>
                <a:lnTo>
                  <a:pt x="187" y="20"/>
                </a:lnTo>
                <a:lnTo>
                  <a:pt x="195" y="18"/>
                </a:lnTo>
                <a:lnTo>
                  <a:pt x="200" y="17"/>
                </a:lnTo>
                <a:lnTo>
                  <a:pt x="204" y="15"/>
                </a:lnTo>
                <a:lnTo>
                  <a:pt x="204" y="15"/>
                </a:lnTo>
                <a:lnTo>
                  <a:pt x="204" y="20"/>
                </a:lnTo>
                <a:lnTo>
                  <a:pt x="204" y="2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4" name="Freeform 79"/>
          <p:cNvSpPr>
            <a:spLocks/>
          </p:cNvSpPr>
          <p:nvPr/>
        </p:nvSpPr>
        <p:spPr bwMode="auto">
          <a:xfrm>
            <a:off x="679450" y="3924300"/>
            <a:ext cx="287338" cy="290513"/>
          </a:xfrm>
          <a:custGeom>
            <a:avLst/>
            <a:gdLst/>
            <a:ahLst/>
            <a:cxnLst>
              <a:cxn ang="0">
                <a:pos x="194" y="50"/>
              </a:cxn>
              <a:cxn ang="0">
                <a:pos x="187" y="61"/>
              </a:cxn>
              <a:cxn ang="0">
                <a:pos x="179" y="66"/>
              </a:cxn>
              <a:cxn ang="0">
                <a:pos x="163" y="64"/>
              </a:cxn>
              <a:cxn ang="0">
                <a:pos x="144" y="51"/>
              </a:cxn>
              <a:cxn ang="0">
                <a:pos x="117" y="21"/>
              </a:cxn>
              <a:cxn ang="0">
                <a:pos x="96" y="4"/>
              </a:cxn>
              <a:cxn ang="0">
                <a:pos x="84" y="0"/>
              </a:cxn>
              <a:cxn ang="0">
                <a:pos x="75" y="5"/>
              </a:cxn>
              <a:cxn ang="0">
                <a:pos x="72" y="28"/>
              </a:cxn>
              <a:cxn ang="0">
                <a:pos x="72" y="43"/>
              </a:cxn>
              <a:cxn ang="0">
                <a:pos x="62" y="60"/>
              </a:cxn>
              <a:cxn ang="0">
                <a:pos x="23" y="87"/>
              </a:cxn>
              <a:cxn ang="0">
                <a:pos x="7" y="104"/>
              </a:cxn>
              <a:cxn ang="0">
                <a:pos x="0" y="128"/>
              </a:cxn>
              <a:cxn ang="0">
                <a:pos x="2" y="144"/>
              </a:cxn>
              <a:cxn ang="0">
                <a:pos x="11" y="158"/>
              </a:cxn>
              <a:cxn ang="0">
                <a:pos x="29" y="161"/>
              </a:cxn>
              <a:cxn ang="0">
                <a:pos x="46" y="157"/>
              </a:cxn>
              <a:cxn ang="0">
                <a:pos x="55" y="146"/>
              </a:cxn>
              <a:cxn ang="0">
                <a:pos x="83" y="192"/>
              </a:cxn>
              <a:cxn ang="0">
                <a:pos x="95" y="209"/>
              </a:cxn>
              <a:cxn ang="0">
                <a:pos x="134" y="221"/>
              </a:cxn>
              <a:cxn ang="0">
                <a:pos x="153" y="232"/>
              </a:cxn>
              <a:cxn ang="0">
                <a:pos x="161" y="246"/>
              </a:cxn>
              <a:cxn ang="0">
                <a:pos x="161" y="260"/>
              </a:cxn>
              <a:cxn ang="0">
                <a:pos x="147" y="291"/>
              </a:cxn>
              <a:cxn ang="0">
                <a:pos x="147" y="334"/>
              </a:cxn>
              <a:cxn ang="0">
                <a:pos x="149" y="329"/>
              </a:cxn>
              <a:cxn ang="0">
                <a:pos x="168" y="312"/>
              </a:cxn>
              <a:cxn ang="0">
                <a:pos x="171" y="318"/>
              </a:cxn>
              <a:cxn ang="0">
                <a:pos x="183" y="319"/>
              </a:cxn>
              <a:cxn ang="0">
                <a:pos x="217" y="313"/>
              </a:cxn>
              <a:cxn ang="0">
                <a:pos x="239" y="306"/>
              </a:cxn>
              <a:cxn ang="0">
                <a:pos x="266" y="288"/>
              </a:cxn>
              <a:cxn ang="0">
                <a:pos x="283" y="260"/>
              </a:cxn>
              <a:cxn ang="0">
                <a:pos x="286" y="246"/>
              </a:cxn>
              <a:cxn ang="0">
                <a:pos x="309" y="252"/>
              </a:cxn>
              <a:cxn ang="0">
                <a:pos x="323" y="252"/>
              </a:cxn>
              <a:cxn ang="0">
                <a:pos x="333" y="240"/>
              </a:cxn>
              <a:cxn ang="0">
                <a:pos x="348" y="220"/>
              </a:cxn>
              <a:cxn ang="0">
                <a:pos x="340" y="211"/>
              </a:cxn>
              <a:cxn ang="0">
                <a:pos x="330" y="177"/>
              </a:cxn>
              <a:cxn ang="0">
                <a:pos x="331" y="162"/>
              </a:cxn>
              <a:cxn ang="0">
                <a:pos x="345" y="134"/>
              </a:cxn>
              <a:cxn ang="0">
                <a:pos x="348" y="121"/>
              </a:cxn>
              <a:cxn ang="0">
                <a:pos x="339" y="105"/>
              </a:cxn>
              <a:cxn ang="0">
                <a:pos x="323" y="92"/>
              </a:cxn>
              <a:cxn ang="0">
                <a:pos x="318" y="81"/>
              </a:cxn>
              <a:cxn ang="0">
                <a:pos x="328" y="61"/>
              </a:cxn>
              <a:cxn ang="0">
                <a:pos x="328" y="41"/>
              </a:cxn>
              <a:cxn ang="0">
                <a:pos x="304" y="42"/>
              </a:cxn>
              <a:cxn ang="0">
                <a:pos x="262" y="53"/>
              </a:cxn>
              <a:cxn ang="0">
                <a:pos x="238" y="55"/>
              </a:cxn>
              <a:cxn ang="0">
                <a:pos x="213" y="54"/>
              </a:cxn>
              <a:cxn ang="0">
                <a:pos x="202" y="44"/>
              </a:cxn>
              <a:cxn ang="0">
                <a:pos x="201" y="37"/>
              </a:cxn>
            </a:cxnLst>
            <a:rect l="0" t="0" r="r" b="b"/>
            <a:pathLst>
              <a:path w="348" h="334">
                <a:moveTo>
                  <a:pt x="198" y="47"/>
                </a:moveTo>
                <a:lnTo>
                  <a:pt x="198" y="47"/>
                </a:lnTo>
                <a:lnTo>
                  <a:pt x="194" y="50"/>
                </a:lnTo>
                <a:lnTo>
                  <a:pt x="192" y="52"/>
                </a:lnTo>
                <a:lnTo>
                  <a:pt x="188" y="59"/>
                </a:lnTo>
                <a:lnTo>
                  <a:pt x="187" y="61"/>
                </a:lnTo>
                <a:lnTo>
                  <a:pt x="185" y="64"/>
                </a:lnTo>
                <a:lnTo>
                  <a:pt x="183" y="66"/>
                </a:lnTo>
                <a:lnTo>
                  <a:pt x="179" y="66"/>
                </a:lnTo>
                <a:lnTo>
                  <a:pt x="179" y="66"/>
                </a:lnTo>
                <a:lnTo>
                  <a:pt x="171" y="66"/>
                </a:lnTo>
                <a:lnTo>
                  <a:pt x="163" y="64"/>
                </a:lnTo>
                <a:lnTo>
                  <a:pt x="156" y="60"/>
                </a:lnTo>
                <a:lnTo>
                  <a:pt x="149" y="55"/>
                </a:lnTo>
                <a:lnTo>
                  <a:pt x="144" y="51"/>
                </a:lnTo>
                <a:lnTo>
                  <a:pt x="138" y="45"/>
                </a:lnTo>
                <a:lnTo>
                  <a:pt x="127" y="34"/>
                </a:lnTo>
                <a:lnTo>
                  <a:pt x="117" y="21"/>
                </a:lnTo>
                <a:lnTo>
                  <a:pt x="108" y="11"/>
                </a:lnTo>
                <a:lnTo>
                  <a:pt x="102" y="6"/>
                </a:lnTo>
                <a:lnTo>
                  <a:pt x="96" y="4"/>
                </a:lnTo>
                <a:lnTo>
                  <a:pt x="91" y="1"/>
                </a:lnTo>
                <a:lnTo>
                  <a:pt x="84" y="0"/>
                </a:lnTo>
                <a:lnTo>
                  <a:pt x="84" y="0"/>
                </a:lnTo>
                <a:lnTo>
                  <a:pt x="80" y="0"/>
                </a:lnTo>
                <a:lnTo>
                  <a:pt x="78" y="1"/>
                </a:lnTo>
                <a:lnTo>
                  <a:pt x="75" y="5"/>
                </a:lnTo>
                <a:lnTo>
                  <a:pt x="72" y="9"/>
                </a:lnTo>
                <a:lnTo>
                  <a:pt x="71" y="16"/>
                </a:lnTo>
                <a:lnTo>
                  <a:pt x="72" y="28"/>
                </a:lnTo>
                <a:lnTo>
                  <a:pt x="73" y="37"/>
                </a:lnTo>
                <a:lnTo>
                  <a:pt x="73" y="37"/>
                </a:lnTo>
                <a:lnTo>
                  <a:pt x="72" y="43"/>
                </a:lnTo>
                <a:lnTo>
                  <a:pt x="70" y="50"/>
                </a:lnTo>
                <a:lnTo>
                  <a:pt x="66" y="54"/>
                </a:lnTo>
                <a:lnTo>
                  <a:pt x="62" y="60"/>
                </a:lnTo>
                <a:lnTo>
                  <a:pt x="49" y="68"/>
                </a:lnTo>
                <a:lnTo>
                  <a:pt x="37" y="77"/>
                </a:lnTo>
                <a:lnTo>
                  <a:pt x="23" y="87"/>
                </a:lnTo>
                <a:lnTo>
                  <a:pt x="17" y="92"/>
                </a:lnTo>
                <a:lnTo>
                  <a:pt x="11" y="98"/>
                </a:lnTo>
                <a:lnTo>
                  <a:pt x="7" y="104"/>
                </a:lnTo>
                <a:lnTo>
                  <a:pt x="3" y="112"/>
                </a:lnTo>
                <a:lnTo>
                  <a:pt x="1" y="120"/>
                </a:lnTo>
                <a:lnTo>
                  <a:pt x="0" y="128"/>
                </a:lnTo>
                <a:lnTo>
                  <a:pt x="0" y="128"/>
                </a:lnTo>
                <a:lnTo>
                  <a:pt x="0" y="137"/>
                </a:lnTo>
                <a:lnTo>
                  <a:pt x="2" y="144"/>
                </a:lnTo>
                <a:lnTo>
                  <a:pt x="4" y="150"/>
                </a:lnTo>
                <a:lnTo>
                  <a:pt x="8" y="154"/>
                </a:lnTo>
                <a:lnTo>
                  <a:pt x="11" y="158"/>
                </a:lnTo>
                <a:lnTo>
                  <a:pt x="17" y="160"/>
                </a:lnTo>
                <a:lnTo>
                  <a:pt x="23" y="161"/>
                </a:lnTo>
                <a:lnTo>
                  <a:pt x="29" y="161"/>
                </a:lnTo>
                <a:lnTo>
                  <a:pt x="29" y="161"/>
                </a:lnTo>
                <a:lnTo>
                  <a:pt x="39" y="160"/>
                </a:lnTo>
                <a:lnTo>
                  <a:pt x="46" y="157"/>
                </a:lnTo>
                <a:lnTo>
                  <a:pt x="52" y="152"/>
                </a:lnTo>
                <a:lnTo>
                  <a:pt x="55" y="146"/>
                </a:lnTo>
                <a:lnTo>
                  <a:pt x="55" y="146"/>
                </a:lnTo>
                <a:lnTo>
                  <a:pt x="65" y="161"/>
                </a:lnTo>
                <a:lnTo>
                  <a:pt x="75" y="177"/>
                </a:lnTo>
                <a:lnTo>
                  <a:pt x="83" y="192"/>
                </a:lnTo>
                <a:lnTo>
                  <a:pt x="92" y="205"/>
                </a:lnTo>
                <a:lnTo>
                  <a:pt x="92" y="205"/>
                </a:lnTo>
                <a:lnTo>
                  <a:pt x="95" y="209"/>
                </a:lnTo>
                <a:lnTo>
                  <a:pt x="101" y="211"/>
                </a:lnTo>
                <a:lnTo>
                  <a:pt x="111" y="215"/>
                </a:lnTo>
                <a:lnTo>
                  <a:pt x="134" y="221"/>
                </a:lnTo>
                <a:lnTo>
                  <a:pt x="145" y="226"/>
                </a:lnTo>
                <a:lnTo>
                  <a:pt x="149" y="228"/>
                </a:lnTo>
                <a:lnTo>
                  <a:pt x="153" y="232"/>
                </a:lnTo>
                <a:lnTo>
                  <a:pt x="156" y="236"/>
                </a:lnTo>
                <a:lnTo>
                  <a:pt x="160" y="241"/>
                </a:lnTo>
                <a:lnTo>
                  <a:pt x="161" y="246"/>
                </a:lnTo>
                <a:lnTo>
                  <a:pt x="161" y="253"/>
                </a:lnTo>
                <a:lnTo>
                  <a:pt x="161" y="253"/>
                </a:lnTo>
                <a:lnTo>
                  <a:pt x="161" y="260"/>
                </a:lnTo>
                <a:lnTo>
                  <a:pt x="159" y="267"/>
                </a:lnTo>
                <a:lnTo>
                  <a:pt x="154" y="280"/>
                </a:lnTo>
                <a:lnTo>
                  <a:pt x="147" y="291"/>
                </a:lnTo>
                <a:lnTo>
                  <a:pt x="142" y="302"/>
                </a:lnTo>
                <a:lnTo>
                  <a:pt x="142" y="302"/>
                </a:lnTo>
                <a:lnTo>
                  <a:pt x="147" y="334"/>
                </a:lnTo>
                <a:lnTo>
                  <a:pt x="147" y="334"/>
                </a:lnTo>
                <a:lnTo>
                  <a:pt x="147" y="334"/>
                </a:lnTo>
                <a:lnTo>
                  <a:pt x="149" y="329"/>
                </a:lnTo>
                <a:lnTo>
                  <a:pt x="154" y="324"/>
                </a:lnTo>
                <a:lnTo>
                  <a:pt x="161" y="318"/>
                </a:lnTo>
                <a:lnTo>
                  <a:pt x="168" y="312"/>
                </a:lnTo>
                <a:lnTo>
                  <a:pt x="168" y="312"/>
                </a:lnTo>
                <a:lnTo>
                  <a:pt x="169" y="316"/>
                </a:lnTo>
                <a:lnTo>
                  <a:pt x="171" y="318"/>
                </a:lnTo>
                <a:lnTo>
                  <a:pt x="176" y="319"/>
                </a:lnTo>
                <a:lnTo>
                  <a:pt x="183" y="319"/>
                </a:lnTo>
                <a:lnTo>
                  <a:pt x="183" y="319"/>
                </a:lnTo>
                <a:lnTo>
                  <a:pt x="194" y="319"/>
                </a:lnTo>
                <a:lnTo>
                  <a:pt x="206" y="316"/>
                </a:lnTo>
                <a:lnTo>
                  <a:pt x="217" y="313"/>
                </a:lnTo>
                <a:lnTo>
                  <a:pt x="231" y="312"/>
                </a:lnTo>
                <a:lnTo>
                  <a:pt x="231" y="312"/>
                </a:lnTo>
                <a:lnTo>
                  <a:pt x="239" y="306"/>
                </a:lnTo>
                <a:lnTo>
                  <a:pt x="248" y="299"/>
                </a:lnTo>
                <a:lnTo>
                  <a:pt x="257" y="294"/>
                </a:lnTo>
                <a:lnTo>
                  <a:pt x="266" y="288"/>
                </a:lnTo>
                <a:lnTo>
                  <a:pt x="272" y="280"/>
                </a:lnTo>
                <a:lnTo>
                  <a:pt x="279" y="271"/>
                </a:lnTo>
                <a:lnTo>
                  <a:pt x="283" y="260"/>
                </a:lnTo>
                <a:lnTo>
                  <a:pt x="285" y="253"/>
                </a:lnTo>
                <a:lnTo>
                  <a:pt x="286" y="246"/>
                </a:lnTo>
                <a:lnTo>
                  <a:pt x="286" y="246"/>
                </a:lnTo>
                <a:lnTo>
                  <a:pt x="293" y="248"/>
                </a:lnTo>
                <a:lnTo>
                  <a:pt x="301" y="250"/>
                </a:lnTo>
                <a:lnTo>
                  <a:pt x="309" y="252"/>
                </a:lnTo>
                <a:lnTo>
                  <a:pt x="318" y="253"/>
                </a:lnTo>
                <a:lnTo>
                  <a:pt x="318" y="253"/>
                </a:lnTo>
                <a:lnTo>
                  <a:pt x="323" y="252"/>
                </a:lnTo>
                <a:lnTo>
                  <a:pt x="328" y="250"/>
                </a:lnTo>
                <a:lnTo>
                  <a:pt x="331" y="245"/>
                </a:lnTo>
                <a:lnTo>
                  <a:pt x="333" y="240"/>
                </a:lnTo>
                <a:lnTo>
                  <a:pt x="339" y="228"/>
                </a:lnTo>
                <a:lnTo>
                  <a:pt x="344" y="223"/>
                </a:lnTo>
                <a:lnTo>
                  <a:pt x="348" y="220"/>
                </a:lnTo>
                <a:lnTo>
                  <a:pt x="348" y="220"/>
                </a:lnTo>
                <a:lnTo>
                  <a:pt x="344" y="215"/>
                </a:lnTo>
                <a:lnTo>
                  <a:pt x="340" y="211"/>
                </a:lnTo>
                <a:lnTo>
                  <a:pt x="335" y="199"/>
                </a:lnTo>
                <a:lnTo>
                  <a:pt x="331" y="184"/>
                </a:lnTo>
                <a:lnTo>
                  <a:pt x="330" y="177"/>
                </a:lnTo>
                <a:lnTo>
                  <a:pt x="330" y="169"/>
                </a:lnTo>
                <a:lnTo>
                  <a:pt x="330" y="169"/>
                </a:lnTo>
                <a:lnTo>
                  <a:pt x="331" y="162"/>
                </a:lnTo>
                <a:lnTo>
                  <a:pt x="332" y="157"/>
                </a:lnTo>
                <a:lnTo>
                  <a:pt x="339" y="145"/>
                </a:lnTo>
                <a:lnTo>
                  <a:pt x="345" y="134"/>
                </a:lnTo>
                <a:lnTo>
                  <a:pt x="347" y="128"/>
                </a:lnTo>
                <a:lnTo>
                  <a:pt x="348" y="121"/>
                </a:lnTo>
                <a:lnTo>
                  <a:pt x="348" y="121"/>
                </a:lnTo>
                <a:lnTo>
                  <a:pt x="347" y="115"/>
                </a:lnTo>
                <a:lnTo>
                  <a:pt x="344" y="110"/>
                </a:lnTo>
                <a:lnTo>
                  <a:pt x="339" y="105"/>
                </a:lnTo>
                <a:lnTo>
                  <a:pt x="333" y="102"/>
                </a:lnTo>
                <a:lnTo>
                  <a:pt x="328" y="97"/>
                </a:lnTo>
                <a:lnTo>
                  <a:pt x="323" y="92"/>
                </a:lnTo>
                <a:lnTo>
                  <a:pt x="320" y="87"/>
                </a:lnTo>
                <a:lnTo>
                  <a:pt x="318" y="81"/>
                </a:lnTo>
                <a:lnTo>
                  <a:pt x="318" y="81"/>
                </a:lnTo>
                <a:lnTo>
                  <a:pt x="320" y="76"/>
                </a:lnTo>
                <a:lnTo>
                  <a:pt x="322" y="72"/>
                </a:lnTo>
                <a:lnTo>
                  <a:pt x="328" y="61"/>
                </a:lnTo>
                <a:lnTo>
                  <a:pt x="330" y="54"/>
                </a:lnTo>
                <a:lnTo>
                  <a:pt x="330" y="49"/>
                </a:lnTo>
                <a:lnTo>
                  <a:pt x="328" y="41"/>
                </a:lnTo>
                <a:lnTo>
                  <a:pt x="323" y="34"/>
                </a:lnTo>
                <a:lnTo>
                  <a:pt x="323" y="34"/>
                </a:lnTo>
                <a:lnTo>
                  <a:pt x="304" y="42"/>
                </a:lnTo>
                <a:lnTo>
                  <a:pt x="283" y="49"/>
                </a:lnTo>
                <a:lnTo>
                  <a:pt x="272" y="51"/>
                </a:lnTo>
                <a:lnTo>
                  <a:pt x="262" y="53"/>
                </a:lnTo>
                <a:lnTo>
                  <a:pt x="251" y="54"/>
                </a:lnTo>
                <a:lnTo>
                  <a:pt x="238" y="55"/>
                </a:lnTo>
                <a:lnTo>
                  <a:pt x="238" y="55"/>
                </a:lnTo>
                <a:lnTo>
                  <a:pt x="225" y="55"/>
                </a:lnTo>
                <a:lnTo>
                  <a:pt x="218" y="55"/>
                </a:lnTo>
                <a:lnTo>
                  <a:pt x="213" y="54"/>
                </a:lnTo>
                <a:lnTo>
                  <a:pt x="208" y="52"/>
                </a:lnTo>
                <a:lnTo>
                  <a:pt x="205" y="49"/>
                </a:lnTo>
                <a:lnTo>
                  <a:pt x="202" y="44"/>
                </a:lnTo>
                <a:lnTo>
                  <a:pt x="201" y="37"/>
                </a:lnTo>
                <a:lnTo>
                  <a:pt x="201" y="37"/>
                </a:lnTo>
                <a:lnTo>
                  <a:pt x="201" y="37"/>
                </a:lnTo>
                <a:lnTo>
                  <a:pt x="198" y="47"/>
                </a:lnTo>
                <a:lnTo>
                  <a:pt x="198" y="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5" name="Freeform 80"/>
          <p:cNvSpPr>
            <a:spLocks/>
          </p:cNvSpPr>
          <p:nvPr/>
        </p:nvSpPr>
        <p:spPr bwMode="auto">
          <a:xfrm>
            <a:off x="995363" y="4289425"/>
            <a:ext cx="236537" cy="247650"/>
          </a:xfrm>
          <a:custGeom>
            <a:avLst/>
            <a:gdLst/>
            <a:ahLst/>
            <a:cxnLst>
              <a:cxn ang="0">
                <a:pos x="116" y="9"/>
              </a:cxn>
              <a:cxn ang="0">
                <a:pos x="131" y="33"/>
              </a:cxn>
              <a:cxn ang="0">
                <a:pos x="148" y="44"/>
              </a:cxn>
              <a:cxn ang="0">
                <a:pos x="173" y="44"/>
              </a:cxn>
              <a:cxn ang="0">
                <a:pos x="174" y="31"/>
              </a:cxn>
              <a:cxn ang="0">
                <a:pos x="181" y="17"/>
              </a:cxn>
              <a:cxn ang="0">
                <a:pos x="192" y="10"/>
              </a:cxn>
              <a:cxn ang="0">
                <a:pos x="235" y="7"/>
              </a:cxn>
              <a:cxn ang="0">
                <a:pos x="228" y="29"/>
              </a:cxn>
              <a:cxn ang="0">
                <a:pos x="228" y="42"/>
              </a:cxn>
              <a:cxn ang="0">
                <a:pos x="234" y="53"/>
              </a:cxn>
              <a:cxn ang="0">
                <a:pos x="245" y="59"/>
              </a:cxn>
              <a:cxn ang="0">
                <a:pos x="275" y="59"/>
              </a:cxn>
              <a:cxn ang="0">
                <a:pos x="281" y="60"/>
              </a:cxn>
              <a:cxn ang="0">
                <a:pos x="288" y="69"/>
              </a:cxn>
              <a:cxn ang="0">
                <a:pos x="289" y="101"/>
              </a:cxn>
              <a:cxn ang="0">
                <a:pos x="268" y="124"/>
              </a:cxn>
              <a:cxn ang="0">
                <a:pos x="233" y="153"/>
              </a:cxn>
              <a:cxn ang="0">
                <a:pos x="219" y="174"/>
              </a:cxn>
              <a:cxn ang="0">
                <a:pos x="217" y="183"/>
              </a:cxn>
              <a:cxn ang="0">
                <a:pos x="217" y="256"/>
              </a:cxn>
              <a:cxn ang="0">
                <a:pos x="209" y="275"/>
              </a:cxn>
              <a:cxn ang="0">
                <a:pos x="183" y="283"/>
              </a:cxn>
              <a:cxn ang="0">
                <a:pos x="162" y="279"/>
              </a:cxn>
              <a:cxn ang="0">
                <a:pos x="133" y="260"/>
              </a:cxn>
              <a:cxn ang="0">
                <a:pos x="114" y="235"/>
              </a:cxn>
              <a:cxn ang="0">
                <a:pos x="112" y="220"/>
              </a:cxn>
              <a:cxn ang="0">
                <a:pos x="112" y="199"/>
              </a:cxn>
              <a:cxn ang="0">
                <a:pos x="99" y="191"/>
              </a:cxn>
              <a:cxn ang="0">
                <a:pos x="77" y="170"/>
              </a:cxn>
              <a:cxn ang="0">
                <a:pos x="62" y="157"/>
              </a:cxn>
              <a:cxn ang="0">
                <a:pos x="40" y="153"/>
              </a:cxn>
              <a:cxn ang="0">
                <a:pos x="16" y="150"/>
              </a:cxn>
              <a:cxn ang="0">
                <a:pos x="7" y="143"/>
              </a:cxn>
              <a:cxn ang="0">
                <a:pos x="0" y="127"/>
              </a:cxn>
              <a:cxn ang="0">
                <a:pos x="1" y="112"/>
              </a:cxn>
              <a:cxn ang="0">
                <a:pos x="9" y="100"/>
              </a:cxn>
              <a:cxn ang="0">
                <a:pos x="30" y="97"/>
              </a:cxn>
              <a:cxn ang="0">
                <a:pos x="51" y="92"/>
              </a:cxn>
              <a:cxn ang="0">
                <a:pos x="61" y="81"/>
              </a:cxn>
              <a:cxn ang="0">
                <a:pos x="66" y="60"/>
              </a:cxn>
              <a:cxn ang="0">
                <a:pos x="80" y="30"/>
              </a:cxn>
              <a:cxn ang="0">
                <a:pos x="106" y="0"/>
              </a:cxn>
              <a:cxn ang="0">
                <a:pos x="114" y="4"/>
              </a:cxn>
            </a:cxnLst>
            <a:rect l="0" t="0" r="r" b="b"/>
            <a:pathLst>
              <a:path w="290" h="283">
                <a:moveTo>
                  <a:pt x="114" y="4"/>
                </a:moveTo>
                <a:lnTo>
                  <a:pt x="114" y="4"/>
                </a:lnTo>
                <a:lnTo>
                  <a:pt x="116" y="9"/>
                </a:lnTo>
                <a:lnTo>
                  <a:pt x="119" y="15"/>
                </a:lnTo>
                <a:lnTo>
                  <a:pt x="127" y="28"/>
                </a:lnTo>
                <a:lnTo>
                  <a:pt x="131" y="33"/>
                </a:lnTo>
                <a:lnTo>
                  <a:pt x="136" y="38"/>
                </a:lnTo>
                <a:lnTo>
                  <a:pt x="142" y="42"/>
                </a:lnTo>
                <a:lnTo>
                  <a:pt x="148" y="44"/>
                </a:lnTo>
                <a:lnTo>
                  <a:pt x="148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37"/>
                </a:lnTo>
                <a:lnTo>
                  <a:pt x="174" y="31"/>
                </a:lnTo>
                <a:lnTo>
                  <a:pt x="176" y="25"/>
                </a:lnTo>
                <a:lnTo>
                  <a:pt x="179" y="21"/>
                </a:lnTo>
                <a:lnTo>
                  <a:pt x="181" y="17"/>
                </a:lnTo>
                <a:lnTo>
                  <a:pt x="184" y="14"/>
                </a:lnTo>
                <a:lnTo>
                  <a:pt x="189" y="12"/>
                </a:lnTo>
                <a:lnTo>
                  <a:pt x="192" y="10"/>
                </a:lnTo>
                <a:lnTo>
                  <a:pt x="203" y="8"/>
                </a:lnTo>
                <a:lnTo>
                  <a:pt x="213" y="7"/>
                </a:lnTo>
                <a:lnTo>
                  <a:pt x="235" y="7"/>
                </a:lnTo>
                <a:lnTo>
                  <a:pt x="235" y="7"/>
                </a:lnTo>
                <a:lnTo>
                  <a:pt x="230" y="22"/>
                </a:lnTo>
                <a:lnTo>
                  <a:pt x="228" y="29"/>
                </a:lnTo>
                <a:lnTo>
                  <a:pt x="228" y="37"/>
                </a:lnTo>
                <a:lnTo>
                  <a:pt x="228" y="37"/>
                </a:lnTo>
                <a:lnTo>
                  <a:pt x="228" y="42"/>
                </a:lnTo>
                <a:lnTo>
                  <a:pt x="229" y="46"/>
                </a:lnTo>
                <a:lnTo>
                  <a:pt x="232" y="50"/>
                </a:lnTo>
                <a:lnTo>
                  <a:pt x="234" y="53"/>
                </a:lnTo>
                <a:lnTo>
                  <a:pt x="236" y="55"/>
                </a:lnTo>
                <a:lnTo>
                  <a:pt x="241" y="58"/>
                </a:lnTo>
                <a:lnTo>
                  <a:pt x="245" y="59"/>
                </a:lnTo>
                <a:lnTo>
                  <a:pt x="250" y="59"/>
                </a:lnTo>
                <a:lnTo>
                  <a:pt x="250" y="59"/>
                </a:lnTo>
                <a:lnTo>
                  <a:pt x="275" y="59"/>
                </a:lnTo>
                <a:lnTo>
                  <a:pt x="275" y="59"/>
                </a:lnTo>
                <a:lnTo>
                  <a:pt x="279" y="59"/>
                </a:lnTo>
                <a:lnTo>
                  <a:pt x="281" y="60"/>
                </a:lnTo>
                <a:lnTo>
                  <a:pt x="283" y="61"/>
                </a:lnTo>
                <a:lnTo>
                  <a:pt x="286" y="63"/>
                </a:lnTo>
                <a:lnTo>
                  <a:pt x="288" y="69"/>
                </a:lnTo>
                <a:lnTo>
                  <a:pt x="289" y="76"/>
                </a:lnTo>
                <a:lnTo>
                  <a:pt x="289" y="92"/>
                </a:lnTo>
                <a:lnTo>
                  <a:pt x="289" y="101"/>
                </a:lnTo>
                <a:lnTo>
                  <a:pt x="290" y="109"/>
                </a:lnTo>
                <a:lnTo>
                  <a:pt x="290" y="109"/>
                </a:lnTo>
                <a:lnTo>
                  <a:pt x="268" y="124"/>
                </a:lnTo>
                <a:lnTo>
                  <a:pt x="256" y="132"/>
                </a:lnTo>
                <a:lnTo>
                  <a:pt x="244" y="143"/>
                </a:lnTo>
                <a:lnTo>
                  <a:pt x="233" y="153"/>
                </a:lnTo>
                <a:lnTo>
                  <a:pt x="225" y="163"/>
                </a:lnTo>
                <a:lnTo>
                  <a:pt x="221" y="168"/>
                </a:lnTo>
                <a:lnTo>
                  <a:pt x="219" y="174"/>
                </a:lnTo>
                <a:lnTo>
                  <a:pt x="217" y="178"/>
                </a:lnTo>
                <a:lnTo>
                  <a:pt x="217" y="183"/>
                </a:lnTo>
                <a:lnTo>
                  <a:pt x="217" y="183"/>
                </a:lnTo>
                <a:lnTo>
                  <a:pt x="217" y="235"/>
                </a:lnTo>
                <a:lnTo>
                  <a:pt x="217" y="235"/>
                </a:lnTo>
                <a:lnTo>
                  <a:pt x="217" y="256"/>
                </a:lnTo>
                <a:lnTo>
                  <a:pt x="214" y="264"/>
                </a:lnTo>
                <a:lnTo>
                  <a:pt x="212" y="271"/>
                </a:lnTo>
                <a:lnTo>
                  <a:pt x="209" y="275"/>
                </a:lnTo>
                <a:lnTo>
                  <a:pt x="203" y="280"/>
                </a:lnTo>
                <a:lnTo>
                  <a:pt x="195" y="282"/>
                </a:lnTo>
                <a:lnTo>
                  <a:pt x="183" y="283"/>
                </a:lnTo>
                <a:lnTo>
                  <a:pt x="183" y="283"/>
                </a:lnTo>
                <a:lnTo>
                  <a:pt x="174" y="282"/>
                </a:lnTo>
                <a:lnTo>
                  <a:pt x="162" y="279"/>
                </a:lnTo>
                <a:lnTo>
                  <a:pt x="152" y="274"/>
                </a:lnTo>
                <a:lnTo>
                  <a:pt x="142" y="267"/>
                </a:lnTo>
                <a:lnTo>
                  <a:pt x="133" y="260"/>
                </a:lnTo>
                <a:lnTo>
                  <a:pt x="125" y="252"/>
                </a:lnTo>
                <a:lnTo>
                  <a:pt x="119" y="243"/>
                </a:lnTo>
                <a:lnTo>
                  <a:pt x="114" y="235"/>
                </a:lnTo>
                <a:lnTo>
                  <a:pt x="114" y="235"/>
                </a:lnTo>
                <a:lnTo>
                  <a:pt x="113" y="227"/>
                </a:lnTo>
                <a:lnTo>
                  <a:pt x="112" y="220"/>
                </a:lnTo>
                <a:lnTo>
                  <a:pt x="113" y="208"/>
                </a:lnTo>
                <a:lnTo>
                  <a:pt x="113" y="204"/>
                </a:lnTo>
                <a:lnTo>
                  <a:pt x="112" y="199"/>
                </a:lnTo>
                <a:lnTo>
                  <a:pt x="107" y="195"/>
                </a:lnTo>
                <a:lnTo>
                  <a:pt x="99" y="191"/>
                </a:lnTo>
                <a:lnTo>
                  <a:pt x="99" y="191"/>
                </a:lnTo>
                <a:lnTo>
                  <a:pt x="93" y="188"/>
                </a:lnTo>
                <a:lnTo>
                  <a:pt x="88" y="183"/>
                </a:lnTo>
                <a:lnTo>
                  <a:pt x="77" y="170"/>
                </a:lnTo>
                <a:lnTo>
                  <a:pt x="73" y="165"/>
                </a:lnTo>
                <a:lnTo>
                  <a:pt x="67" y="160"/>
                </a:lnTo>
                <a:lnTo>
                  <a:pt x="62" y="157"/>
                </a:lnTo>
                <a:lnTo>
                  <a:pt x="55" y="154"/>
                </a:lnTo>
                <a:lnTo>
                  <a:pt x="55" y="154"/>
                </a:lnTo>
                <a:lnTo>
                  <a:pt x="40" y="153"/>
                </a:lnTo>
                <a:lnTo>
                  <a:pt x="27" y="152"/>
                </a:lnTo>
                <a:lnTo>
                  <a:pt x="22" y="152"/>
                </a:lnTo>
                <a:lnTo>
                  <a:pt x="16" y="150"/>
                </a:lnTo>
                <a:lnTo>
                  <a:pt x="12" y="147"/>
                </a:lnTo>
                <a:lnTo>
                  <a:pt x="7" y="143"/>
                </a:lnTo>
                <a:lnTo>
                  <a:pt x="7" y="143"/>
                </a:lnTo>
                <a:lnTo>
                  <a:pt x="4" y="137"/>
                </a:lnTo>
                <a:lnTo>
                  <a:pt x="1" y="131"/>
                </a:lnTo>
                <a:lnTo>
                  <a:pt x="0" y="127"/>
                </a:lnTo>
                <a:lnTo>
                  <a:pt x="0" y="117"/>
                </a:lnTo>
                <a:lnTo>
                  <a:pt x="0" y="117"/>
                </a:lnTo>
                <a:lnTo>
                  <a:pt x="1" y="112"/>
                </a:lnTo>
                <a:lnTo>
                  <a:pt x="3" y="107"/>
                </a:lnTo>
                <a:lnTo>
                  <a:pt x="6" y="104"/>
                </a:lnTo>
                <a:lnTo>
                  <a:pt x="9" y="100"/>
                </a:lnTo>
                <a:lnTo>
                  <a:pt x="14" y="99"/>
                </a:lnTo>
                <a:lnTo>
                  <a:pt x="19" y="98"/>
                </a:lnTo>
                <a:lnTo>
                  <a:pt x="30" y="97"/>
                </a:lnTo>
                <a:lnTo>
                  <a:pt x="42" y="96"/>
                </a:lnTo>
                <a:lnTo>
                  <a:pt x="46" y="94"/>
                </a:lnTo>
                <a:lnTo>
                  <a:pt x="51" y="92"/>
                </a:lnTo>
                <a:lnTo>
                  <a:pt x="55" y="90"/>
                </a:lnTo>
                <a:lnTo>
                  <a:pt x="59" y="85"/>
                </a:lnTo>
                <a:lnTo>
                  <a:pt x="61" y="81"/>
                </a:lnTo>
                <a:lnTo>
                  <a:pt x="62" y="74"/>
                </a:lnTo>
                <a:lnTo>
                  <a:pt x="62" y="74"/>
                </a:lnTo>
                <a:lnTo>
                  <a:pt x="66" y="60"/>
                </a:lnTo>
                <a:lnTo>
                  <a:pt x="69" y="48"/>
                </a:lnTo>
                <a:lnTo>
                  <a:pt x="74" y="39"/>
                </a:lnTo>
                <a:lnTo>
                  <a:pt x="80" y="30"/>
                </a:lnTo>
                <a:lnTo>
                  <a:pt x="85" y="22"/>
                </a:lnTo>
                <a:lnTo>
                  <a:pt x="91" y="14"/>
                </a:lnTo>
                <a:lnTo>
                  <a:pt x="106" y="0"/>
                </a:lnTo>
                <a:lnTo>
                  <a:pt x="106" y="0"/>
                </a:lnTo>
                <a:lnTo>
                  <a:pt x="114" y="4"/>
                </a:lnTo>
                <a:lnTo>
                  <a:pt x="114" y="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6" name="Freeform 81"/>
          <p:cNvSpPr>
            <a:spLocks/>
          </p:cNvSpPr>
          <p:nvPr/>
        </p:nvSpPr>
        <p:spPr bwMode="auto">
          <a:xfrm>
            <a:off x="1662113" y="4733925"/>
            <a:ext cx="349250" cy="323850"/>
          </a:xfrm>
          <a:custGeom>
            <a:avLst/>
            <a:gdLst/>
            <a:ahLst/>
            <a:cxnLst>
              <a:cxn ang="0">
                <a:pos x="123" y="367"/>
              </a:cxn>
              <a:cxn ang="0">
                <a:pos x="155" y="359"/>
              </a:cxn>
              <a:cxn ang="0">
                <a:pos x="189" y="351"/>
              </a:cxn>
              <a:cxn ang="0">
                <a:pos x="205" y="339"/>
              </a:cxn>
              <a:cxn ang="0">
                <a:pos x="242" y="297"/>
              </a:cxn>
              <a:cxn ang="0">
                <a:pos x="266" y="282"/>
              </a:cxn>
              <a:cxn ang="0">
                <a:pos x="279" y="279"/>
              </a:cxn>
              <a:cxn ang="0">
                <a:pos x="300" y="275"/>
              </a:cxn>
              <a:cxn ang="0">
                <a:pos x="315" y="263"/>
              </a:cxn>
              <a:cxn ang="0">
                <a:pos x="338" y="230"/>
              </a:cxn>
              <a:cxn ang="0">
                <a:pos x="352" y="209"/>
              </a:cxn>
              <a:cxn ang="0">
                <a:pos x="368" y="195"/>
              </a:cxn>
              <a:cxn ang="0">
                <a:pos x="388" y="185"/>
              </a:cxn>
              <a:cxn ang="0">
                <a:pos x="401" y="174"/>
              </a:cxn>
              <a:cxn ang="0">
                <a:pos x="405" y="159"/>
              </a:cxn>
              <a:cxn ang="0">
                <a:pos x="410" y="128"/>
              </a:cxn>
              <a:cxn ang="0">
                <a:pos x="417" y="120"/>
              </a:cxn>
              <a:cxn ang="0">
                <a:pos x="426" y="118"/>
              </a:cxn>
              <a:cxn ang="0">
                <a:pos x="398" y="71"/>
              </a:cxn>
              <a:cxn ang="0">
                <a:pos x="361" y="18"/>
              </a:cxn>
              <a:cxn ang="0">
                <a:pos x="354" y="27"/>
              </a:cxn>
              <a:cxn ang="0">
                <a:pos x="352" y="41"/>
              </a:cxn>
              <a:cxn ang="0">
                <a:pos x="320" y="40"/>
              </a:cxn>
              <a:cxn ang="0">
                <a:pos x="298" y="30"/>
              </a:cxn>
              <a:cxn ang="0">
                <a:pos x="277" y="9"/>
              </a:cxn>
              <a:cxn ang="0">
                <a:pos x="269" y="13"/>
              </a:cxn>
              <a:cxn ang="0">
                <a:pos x="253" y="44"/>
              </a:cxn>
              <a:cxn ang="0">
                <a:pos x="224" y="61"/>
              </a:cxn>
              <a:cxn ang="0">
                <a:pos x="207" y="62"/>
              </a:cxn>
              <a:cxn ang="0">
                <a:pos x="172" y="45"/>
              </a:cxn>
              <a:cxn ang="0">
                <a:pos x="117" y="16"/>
              </a:cxn>
              <a:cxn ang="0">
                <a:pos x="92" y="9"/>
              </a:cxn>
              <a:cxn ang="0">
                <a:pos x="81" y="9"/>
              </a:cxn>
              <a:cxn ang="0">
                <a:pos x="70" y="17"/>
              </a:cxn>
              <a:cxn ang="0">
                <a:pos x="66" y="34"/>
              </a:cxn>
              <a:cxn ang="0">
                <a:pos x="39" y="29"/>
              </a:cxn>
              <a:cxn ang="0">
                <a:pos x="28" y="32"/>
              </a:cxn>
              <a:cxn ang="0">
                <a:pos x="18" y="56"/>
              </a:cxn>
              <a:cxn ang="0">
                <a:pos x="18" y="69"/>
              </a:cxn>
              <a:cxn ang="0">
                <a:pos x="24" y="93"/>
              </a:cxn>
              <a:cxn ang="0">
                <a:pos x="24" y="113"/>
              </a:cxn>
              <a:cxn ang="0">
                <a:pos x="13" y="128"/>
              </a:cxn>
              <a:cxn ang="0">
                <a:pos x="1" y="140"/>
              </a:cxn>
              <a:cxn ang="0">
                <a:pos x="0" y="154"/>
              </a:cxn>
              <a:cxn ang="0">
                <a:pos x="7" y="172"/>
              </a:cxn>
              <a:cxn ang="0">
                <a:pos x="43" y="209"/>
              </a:cxn>
              <a:cxn ang="0">
                <a:pos x="59" y="224"/>
              </a:cxn>
              <a:cxn ang="0">
                <a:pos x="82" y="275"/>
              </a:cxn>
              <a:cxn ang="0">
                <a:pos x="101" y="332"/>
              </a:cxn>
              <a:cxn ang="0">
                <a:pos x="117" y="365"/>
              </a:cxn>
            </a:cxnLst>
            <a:rect l="0" t="0" r="r" b="b"/>
            <a:pathLst>
              <a:path w="426" h="372">
                <a:moveTo>
                  <a:pt x="114" y="372"/>
                </a:moveTo>
                <a:lnTo>
                  <a:pt x="114" y="372"/>
                </a:lnTo>
                <a:lnTo>
                  <a:pt x="123" y="367"/>
                </a:lnTo>
                <a:lnTo>
                  <a:pt x="134" y="363"/>
                </a:lnTo>
                <a:lnTo>
                  <a:pt x="144" y="361"/>
                </a:lnTo>
                <a:lnTo>
                  <a:pt x="155" y="359"/>
                </a:lnTo>
                <a:lnTo>
                  <a:pt x="167" y="357"/>
                </a:lnTo>
                <a:lnTo>
                  <a:pt x="178" y="354"/>
                </a:lnTo>
                <a:lnTo>
                  <a:pt x="189" y="351"/>
                </a:lnTo>
                <a:lnTo>
                  <a:pt x="198" y="346"/>
                </a:lnTo>
                <a:lnTo>
                  <a:pt x="198" y="346"/>
                </a:lnTo>
                <a:lnTo>
                  <a:pt x="205" y="339"/>
                </a:lnTo>
                <a:lnTo>
                  <a:pt x="213" y="329"/>
                </a:lnTo>
                <a:lnTo>
                  <a:pt x="231" y="307"/>
                </a:lnTo>
                <a:lnTo>
                  <a:pt x="242" y="297"/>
                </a:lnTo>
                <a:lnTo>
                  <a:pt x="253" y="288"/>
                </a:lnTo>
                <a:lnTo>
                  <a:pt x="259" y="284"/>
                </a:lnTo>
                <a:lnTo>
                  <a:pt x="266" y="282"/>
                </a:lnTo>
                <a:lnTo>
                  <a:pt x="273" y="281"/>
                </a:lnTo>
                <a:lnTo>
                  <a:pt x="279" y="279"/>
                </a:lnTo>
                <a:lnTo>
                  <a:pt x="279" y="279"/>
                </a:lnTo>
                <a:lnTo>
                  <a:pt x="287" y="279"/>
                </a:lnTo>
                <a:lnTo>
                  <a:pt x="293" y="277"/>
                </a:lnTo>
                <a:lnTo>
                  <a:pt x="300" y="275"/>
                </a:lnTo>
                <a:lnTo>
                  <a:pt x="306" y="271"/>
                </a:lnTo>
                <a:lnTo>
                  <a:pt x="311" y="268"/>
                </a:lnTo>
                <a:lnTo>
                  <a:pt x="315" y="263"/>
                </a:lnTo>
                <a:lnTo>
                  <a:pt x="323" y="253"/>
                </a:lnTo>
                <a:lnTo>
                  <a:pt x="331" y="242"/>
                </a:lnTo>
                <a:lnTo>
                  <a:pt x="338" y="230"/>
                </a:lnTo>
                <a:lnTo>
                  <a:pt x="345" y="218"/>
                </a:lnTo>
                <a:lnTo>
                  <a:pt x="352" y="209"/>
                </a:lnTo>
                <a:lnTo>
                  <a:pt x="352" y="209"/>
                </a:lnTo>
                <a:lnTo>
                  <a:pt x="357" y="204"/>
                </a:lnTo>
                <a:lnTo>
                  <a:pt x="363" y="199"/>
                </a:lnTo>
                <a:lnTo>
                  <a:pt x="368" y="195"/>
                </a:lnTo>
                <a:lnTo>
                  <a:pt x="375" y="193"/>
                </a:lnTo>
                <a:lnTo>
                  <a:pt x="381" y="190"/>
                </a:lnTo>
                <a:lnTo>
                  <a:pt x="388" y="185"/>
                </a:lnTo>
                <a:lnTo>
                  <a:pt x="395" y="181"/>
                </a:lnTo>
                <a:lnTo>
                  <a:pt x="401" y="174"/>
                </a:lnTo>
                <a:lnTo>
                  <a:pt x="401" y="174"/>
                </a:lnTo>
                <a:lnTo>
                  <a:pt x="402" y="170"/>
                </a:lnTo>
                <a:lnTo>
                  <a:pt x="403" y="167"/>
                </a:lnTo>
                <a:lnTo>
                  <a:pt x="405" y="159"/>
                </a:lnTo>
                <a:lnTo>
                  <a:pt x="406" y="140"/>
                </a:lnTo>
                <a:lnTo>
                  <a:pt x="407" y="131"/>
                </a:lnTo>
                <a:lnTo>
                  <a:pt x="410" y="128"/>
                </a:lnTo>
                <a:lnTo>
                  <a:pt x="411" y="124"/>
                </a:lnTo>
                <a:lnTo>
                  <a:pt x="413" y="122"/>
                </a:lnTo>
                <a:lnTo>
                  <a:pt x="417" y="120"/>
                </a:lnTo>
                <a:lnTo>
                  <a:pt x="421" y="118"/>
                </a:lnTo>
                <a:lnTo>
                  <a:pt x="426" y="118"/>
                </a:lnTo>
                <a:lnTo>
                  <a:pt x="426" y="118"/>
                </a:lnTo>
                <a:lnTo>
                  <a:pt x="419" y="108"/>
                </a:lnTo>
                <a:lnTo>
                  <a:pt x="412" y="97"/>
                </a:lnTo>
                <a:lnTo>
                  <a:pt x="398" y="71"/>
                </a:lnTo>
                <a:lnTo>
                  <a:pt x="371" y="15"/>
                </a:lnTo>
                <a:lnTo>
                  <a:pt x="371" y="15"/>
                </a:lnTo>
                <a:lnTo>
                  <a:pt x="361" y="18"/>
                </a:lnTo>
                <a:lnTo>
                  <a:pt x="359" y="21"/>
                </a:lnTo>
                <a:lnTo>
                  <a:pt x="356" y="24"/>
                </a:lnTo>
                <a:lnTo>
                  <a:pt x="354" y="27"/>
                </a:lnTo>
                <a:lnTo>
                  <a:pt x="353" y="31"/>
                </a:lnTo>
                <a:lnTo>
                  <a:pt x="352" y="41"/>
                </a:lnTo>
                <a:lnTo>
                  <a:pt x="352" y="41"/>
                </a:lnTo>
                <a:lnTo>
                  <a:pt x="327" y="41"/>
                </a:lnTo>
                <a:lnTo>
                  <a:pt x="327" y="41"/>
                </a:lnTo>
                <a:lnTo>
                  <a:pt x="320" y="40"/>
                </a:lnTo>
                <a:lnTo>
                  <a:pt x="312" y="38"/>
                </a:lnTo>
                <a:lnTo>
                  <a:pt x="305" y="34"/>
                </a:lnTo>
                <a:lnTo>
                  <a:pt x="298" y="30"/>
                </a:lnTo>
                <a:lnTo>
                  <a:pt x="290" y="24"/>
                </a:lnTo>
                <a:lnTo>
                  <a:pt x="283" y="17"/>
                </a:lnTo>
                <a:lnTo>
                  <a:pt x="277" y="9"/>
                </a:lnTo>
                <a:lnTo>
                  <a:pt x="272" y="0"/>
                </a:lnTo>
                <a:lnTo>
                  <a:pt x="272" y="0"/>
                </a:lnTo>
                <a:lnTo>
                  <a:pt x="269" y="13"/>
                </a:lnTo>
                <a:lnTo>
                  <a:pt x="266" y="24"/>
                </a:lnTo>
                <a:lnTo>
                  <a:pt x="260" y="34"/>
                </a:lnTo>
                <a:lnTo>
                  <a:pt x="253" y="44"/>
                </a:lnTo>
                <a:lnTo>
                  <a:pt x="245" y="52"/>
                </a:lnTo>
                <a:lnTo>
                  <a:pt x="235" y="57"/>
                </a:lnTo>
                <a:lnTo>
                  <a:pt x="224" y="61"/>
                </a:lnTo>
                <a:lnTo>
                  <a:pt x="213" y="63"/>
                </a:lnTo>
                <a:lnTo>
                  <a:pt x="213" y="63"/>
                </a:lnTo>
                <a:lnTo>
                  <a:pt x="207" y="62"/>
                </a:lnTo>
                <a:lnTo>
                  <a:pt x="201" y="60"/>
                </a:lnTo>
                <a:lnTo>
                  <a:pt x="188" y="54"/>
                </a:lnTo>
                <a:lnTo>
                  <a:pt x="172" y="45"/>
                </a:lnTo>
                <a:lnTo>
                  <a:pt x="154" y="36"/>
                </a:lnTo>
                <a:lnTo>
                  <a:pt x="136" y="25"/>
                </a:lnTo>
                <a:lnTo>
                  <a:pt x="117" y="16"/>
                </a:lnTo>
                <a:lnTo>
                  <a:pt x="109" y="13"/>
                </a:lnTo>
                <a:lnTo>
                  <a:pt x="100" y="10"/>
                </a:lnTo>
                <a:lnTo>
                  <a:pt x="92" y="9"/>
                </a:lnTo>
                <a:lnTo>
                  <a:pt x="84" y="8"/>
                </a:lnTo>
                <a:lnTo>
                  <a:pt x="84" y="8"/>
                </a:lnTo>
                <a:lnTo>
                  <a:pt x="81" y="9"/>
                </a:lnTo>
                <a:lnTo>
                  <a:pt x="77" y="10"/>
                </a:lnTo>
                <a:lnTo>
                  <a:pt x="74" y="14"/>
                </a:lnTo>
                <a:lnTo>
                  <a:pt x="70" y="17"/>
                </a:lnTo>
                <a:lnTo>
                  <a:pt x="67" y="25"/>
                </a:lnTo>
                <a:lnTo>
                  <a:pt x="66" y="34"/>
                </a:lnTo>
                <a:lnTo>
                  <a:pt x="66" y="34"/>
                </a:lnTo>
                <a:lnTo>
                  <a:pt x="55" y="33"/>
                </a:lnTo>
                <a:lnTo>
                  <a:pt x="46" y="31"/>
                </a:lnTo>
                <a:lnTo>
                  <a:pt x="39" y="29"/>
                </a:lnTo>
                <a:lnTo>
                  <a:pt x="32" y="26"/>
                </a:lnTo>
                <a:lnTo>
                  <a:pt x="32" y="26"/>
                </a:lnTo>
                <a:lnTo>
                  <a:pt x="28" y="32"/>
                </a:lnTo>
                <a:lnTo>
                  <a:pt x="23" y="40"/>
                </a:lnTo>
                <a:lnTo>
                  <a:pt x="20" y="50"/>
                </a:lnTo>
                <a:lnTo>
                  <a:pt x="18" y="56"/>
                </a:lnTo>
                <a:lnTo>
                  <a:pt x="18" y="63"/>
                </a:lnTo>
                <a:lnTo>
                  <a:pt x="18" y="63"/>
                </a:lnTo>
                <a:lnTo>
                  <a:pt x="18" y="69"/>
                </a:lnTo>
                <a:lnTo>
                  <a:pt x="20" y="75"/>
                </a:lnTo>
                <a:lnTo>
                  <a:pt x="22" y="85"/>
                </a:lnTo>
                <a:lnTo>
                  <a:pt x="24" y="93"/>
                </a:lnTo>
                <a:lnTo>
                  <a:pt x="25" y="103"/>
                </a:lnTo>
                <a:lnTo>
                  <a:pt x="25" y="103"/>
                </a:lnTo>
                <a:lnTo>
                  <a:pt x="24" y="113"/>
                </a:lnTo>
                <a:lnTo>
                  <a:pt x="22" y="120"/>
                </a:lnTo>
                <a:lnTo>
                  <a:pt x="17" y="124"/>
                </a:lnTo>
                <a:lnTo>
                  <a:pt x="13" y="128"/>
                </a:lnTo>
                <a:lnTo>
                  <a:pt x="8" y="131"/>
                </a:lnTo>
                <a:lnTo>
                  <a:pt x="4" y="136"/>
                </a:lnTo>
                <a:lnTo>
                  <a:pt x="1" y="140"/>
                </a:lnTo>
                <a:lnTo>
                  <a:pt x="0" y="147"/>
                </a:lnTo>
                <a:lnTo>
                  <a:pt x="0" y="147"/>
                </a:lnTo>
                <a:lnTo>
                  <a:pt x="0" y="154"/>
                </a:lnTo>
                <a:lnTo>
                  <a:pt x="1" y="161"/>
                </a:lnTo>
                <a:lnTo>
                  <a:pt x="4" y="167"/>
                </a:lnTo>
                <a:lnTo>
                  <a:pt x="7" y="172"/>
                </a:lnTo>
                <a:lnTo>
                  <a:pt x="15" y="183"/>
                </a:lnTo>
                <a:lnTo>
                  <a:pt x="23" y="193"/>
                </a:lnTo>
                <a:lnTo>
                  <a:pt x="43" y="209"/>
                </a:lnTo>
                <a:lnTo>
                  <a:pt x="52" y="217"/>
                </a:lnTo>
                <a:lnTo>
                  <a:pt x="59" y="224"/>
                </a:lnTo>
                <a:lnTo>
                  <a:pt x="59" y="224"/>
                </a:lnTo>
                <a:lnTo>
                  <a:pt x="68" y="239"/>
                </a:lnTo>
                <a:lnTo>
                  <a:pt x="75" y="256"/>
                </a:lnTo>
                <a:lnTo>
                  <a:pt x="82" y="275"/>
                </a:lnTo>
                <a:lnTo>
                  <a:pt x="88" y="294"/>
                </a:lnTo>
                <a:lnTo>
                  <a:pt x="94" y="314"/>
                </a:lnTo>
                <a:lnTo>
                  <a:pt x="101" y="332"/>
                </a:lnTo>
                <a:lnTo>
                  <a:pt x="108" y="350"/>
                </a:lnTo>
                <a:lnTo>
                  <a:pt x="117" y="365"/>
                </a:lnTo>
                <a:lnTo>
                  <a:pt x="117" y="365"/>
                </a:lnTo>
                <a:lnTo>
                  <a:pt x="114" y="372"/>
                </a:lnTo>
                <a:lnTo>
                  <a:pt x="114" y="37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7" name="Freeform 82"/>
          <p:cNvSpPr>
            <a:spLocks/>
          </p:cNvSpPr>
          <p:nvPr/>
        </p:nvSpPr>
        <p:spPr bwMode="auto">
          <a:xfrm>
            <a:off x="1563688" y="4545013"/>
            <a:ext cx="322262" cy="292100"/>
          </a:xfrm>
          <a:custGeom>
            <a:avLst/>
            <a:gdLst/>
            <a:ahLst/>
            <a:cxnLst>
              <a:cxn ang="0">
                <a:pos x="132" y="333"/>
              </a:cxn>
              <a:cxn ang="0">
                <a:pos x="63" y="318"/>
              </a:cxn>
              <a:cxn ang="0">
                <a:pos x="12" y="296"/>
              </a:cxn>
              <a:cxn ang="0">
                <a:pos x="0" y="283"/>
              </a:cxn>
              <a:cxn ang="0">
                <a:pos x="4" y="271"/>
              </a:cxn>
              <a:cxn ang="0">
                <a:pos x="22" y="252"/>
              </a:cxn>
              <a:cxn ang="0">
                <a:pos x="56" y="220"/>
              </a:cxn>
              <a:cxn ang="0">
                <a:pos x="66" y="202"/>
              </a:cxn>
              <a:cxn ang="0">
                <a:pos x="66" y="188"/>
              </a:cxn>
              <a:cxn ang="0">
                <a:pos x="58" y="178"/>
              </a:cxn>
              <a:cxn ang="0">
                <a:pos x="50" y="168"/>
              </a:cxn>
              <a:cxn ang="0">
                <a:pos x="50" y="154"/>
              </a:cxn>
              <a:cxn ang="0">
                <a:pos x="61" y="131"/>
              </a:cxn>
              <a:cxn ang="0">
                <a:pos x="67" y="107"/>
              </a:cxn>
              <a:cxn ang="0">
                <a:pos x="65" y="85"/>
              </a:cxn>
              <a:cxn ang="0">
                <a:pos x="58" y="71"/>
              </a:cxn>
              <a:cxn ang="0">
                <a:pos x="48" y="66"/>
              </a:cxn>
              <a:cxn ang="0">
                <a:pos x="48" y="44"/>
              </a:cxn>
              <a:cxn ang="0">
                <a:pos x="74" y="44"/>
              </a:cxn>
              <a:cxn ang="0">
                <a:pos x="99" y="57"/>
              </a:cxn>
              <a:cxn ang="0">
                <a:pos x="122" y="63"/>
              </a:cxn>
              <a:cxn ang="0">
                <a:pos x="130" y="61"/>
              </a:cxn>
              <a:cxn ang="0">
                <a:pos x="142" y="49"/>
              </a:cxn>
              <a:cxn ang="0">
                <a:pos x="147" y="20"/>
              </a:cxn>
              <a:cxn ang="0">
                <a:pos x="149" y="3"/>
              </a:cxn>
              <a:cxn ang="0">
                <a:pos x="174" y="36"/>
              </a:cxn>
              <a:cxn ang="0">
                <a:pos x="201" y="64"/>
              </a:cxn>
              <a:cxn ang="0">
                <a:pos x="210" y="70"/>
              </a:cxn>
              <a:cxn ang="0">
                <a:pos x="236" y="74"/>
              </a:cxn>
              <a:cxn ang="0">
                <a:pos x="266" y="74"/>
              </a:cxn>
              <a:cxn ang="0">
                <a:pos x="277" y="82"/>
              </a:cxn>
              <a:cxn ang="0">
                <a:pos x="289" y="111"/>
              </a:cxn>
              <a:cxn ang="0">
                <a:pos x="299" y="122"/>
              </a:cxn>
              <a:cxn ang="0">
                <a:pos x="308" y="125"/>
              </a:cxn>
              <a:cxn ang="0">
                <a:pos x="352" y="122"/>
              </a:cxn>
              <a:cxn ang="0">
                <a:pos x="364" y="124"/>
              </a:cxn>
              <a:cxn ang="0">
                <a:pos x="367" y="145"/>
              </a:cxn>
              <a:cxn ang="0">
                <a:pos x="367" y="157"/>
              </a:cxn>
              <a:cxn ang="0">
                <a:pos x="375" y="186"/>
              </a:cxn>
              <a:cxn ang="0">
                <a:pos x="394" y="216"/>
              </a:cxn>
              <a:cxn ang="0">
                <a:pos x="382" y="250"/>
              </a:cxn>
              <a:cxn ang="0">
                <a:pos x="357" y="273"/>
              </a:cxn>
              <a:cxn ang="0">
                <a:pos x="335" y="279"/>
              </a:cxn>
              <a:cxn ang="0">
                <a:pos x="310" y="270"/>
              </a:cxn>
              <a:cxn ang="0">
                <a:pos x="258" y="241"/>
              </a:cxn>
              <a:cxn ang="0">
                <a:pos x="222" y="226"/>
              </a:cxn>
              <a:cxn ang="0">
                <a:pos x="206" y="224"/>
              </a:cxn>
              <a:cxn ang="0">
                <a:pos x="196" y="230"/>
              </a:cxn>
              <a:cxn ang="0">
                <a:pos x="188" y="250"/>
              </a:cxn>
              <a:cxn ang="0">
                <a:pos x="168" y="247"/>
              </a:cxn>
              <a:cxn ang="0">
                <a:pos x="154" y="242"/>
              </a:cxn>
              <a:cxn ang="0">
                <a:pos x="142" y="266"/>
              </a:cxn>
              <a:cxn ang="0">
                <a:pos x="140" y="279"/>
              </a:cxn>
              <a:cxn ang="0">
                <a:pos x="144" y="301"/>
              </a:cxn>
              <a:cxn ang="0">
                <a:pos x="147" y="319"/>
              </a:cxn>
              <a:cxn ang="0">
                <a:pos x="151" y="332"/>
              </a:cxn>
              <a:cxn ang="0">
                <a:pos x="147" y="334"/>
              </a:cxn>
            </a:cxnLst>
            <a:rect l="0" t="0" r="r" b="b"/>
            <a:pathLst>
              <a:path w="394" h="334">
                <a:moveTo>
                  <a:pt x="147" y="334"/>
                </a:moveTo>
                <a:lnTo>
                  <a:pt x="147" y="334"/>
                </a:lnTo>
                <a:lnTo>
                  <a:pt x="132" y="333"/>
                </a:lnTo>
                <a:lnTo>
                  <a:pt x="113" y="330"/>
                </a:lnTo>
                <a:lnTo>
                  <a:pt x="89" y="324"/>
                </a:lnTo>
                <a:lnTo>
                  <a:pt x="63" y="318"/>
                </a:lnTo>
                <a:lnTo>
                  <a:pt x="39" y="310"/>
                </a:lnTo>
                <a:lnTo>
                  <a:pt x="20" y="301"/>
                </a:lnTo>
                <a:lnTo>
                  <a:pt x="12" y="296"/>
                </a:lnTo>
                <a:lnTo>
                  <a:pt x="6" y="292"/>
                </a:lnTo>
                <a:lnTo>
                  <a:pt x="2" y="287"/>
                </a:lnTo>
                <a:lnTo>
                  <a:pt x="0" y="283"/>
                </a:lnTo>
                <a:lnTo>
                  <a:pt x="0" y="283"/>
                </a:lnTo>
                <a:lnTo>
                  <a:pt x="1" y="277"/>
                </a:lnTo>
                <a:lnTo>
                  <a:pt x="4" y="271"/>
                </a:lnTo>
                <a:lnTo>
                  <a:pt x="7" y="265"/>
                </a:lnTo>
                <a:lnTo>
                  <a:pt x="10" y="261"/>
                </a:lnTo>
                <a:lnTo>
                  <a:pt x="22" y="252"/>
                </a:lnTo>
                <a:lnTo>
                  <a:pt x="33" y="241"/>
                </a:lnTo>
                <a:lnTo>
                  <a:pt x="46" y="232"/>
                </a:lnTo>
                <a:lnTo>
                  <a:pt x="56" y="220"/>
                </a:lnTo>
                <a:lnTo>
                  <a:pt x="60" y="215"/>
                </a:lnTo>
                <a:lnTo>
                  <a:pt x="63" y="209"/>
                </a:lnTo>
                <a:lnTo>
                  <a:pt x="66" y="202"/>
                </a:lnTo>
                <a:lnTo>
                  <a:pt x="67" y="195"/>
                </a:lnTo>
                <a:lnTo>
                  <a:pt x="67" y="195"/>
                </a:lnTo>
                <a:lnTo>
                  <a:pt x="66" y="188"/>
                </a:lnTo>
                <a:lnTo>
                  <a:pt x="63" y="185"/>
                </a:lnTo>
                <a:lnTo>
                  <a:pt x="61" y="181"/>
                </a:lnTo>
                <a:lnTo>
                  <a:pt x="58" y="178"/>
                </a:lnTo>
                <a:lnTo>
                  <a:pt x="54" y="176"/>
                </a:lnTo>
                <a:lnTo>
                  <a:pt x="51" y="172"/>
                </a:lnTo>
                <a:lnTo>
                  <a:pt x="50" y="168"/>
                </a:lnTo>
                <a:lnTo>
                  <a:pt x="48" y="162"/>
                </a:lnTo>
                <a:lnTo>
                  <a:pt x="48" y="162"/>
                </a:lnTo>
                <a:lnTo>
                  <a:pt x="50" y="154"/>
                </a:lnTo>
                <a:lnTo>
                  <a:pt x="51" y="148"/>
                </a:lnTo>
                <a:lnTo>
                  <a:pt x="58" y="136"/>
                </a:lnTo>
                <a:lnTo>
                  <a:pt x="61" y="131"/>
                </a:lnTo>
                <a:lnTo>
                  <a:pt x="63" y="124"/>
                </a:lnTo>
                <a:lnTo>
                  <a:pt x="66" y="116"/>
                </a:lnTo>
                <a:lnTo>
                  <a:pt x="67" y="107"/>
                </a:lnTo>
                <a:lnTo>
                  <a:pt x="67" y="107"/>
                </a:lnTo>
                <a:lnTo>
                  <a:pt x="66" y="92"/>
                </a:lnTo>
                <a:lnTo>
                  <a:pt x="65" y="85"/>
                </a:lnTo>
                <a:lnTo>
                  <a:pt x="63" y="79"/>
                </a:lnTo>
                <a:lnTo>
                  <a:pt x="60" y="74"/>
                </a:lnTo>
                <a:lnTo>
                  <a:pt x="58" y="71"/>
                </a:lnTo>
                <a:lnTo>
                  <a:pt x="53" y="67"/>
                </a:lnTo>
                <a:lnTo>
                  <a:pt x="48" y="66"/>
                </a:lnTo>
                <a:lnTo>
                  <a:pt x="48" y="66"/>
                </a:lnTo>
                <a:lnTo>
                  <a:pt x="48" y="44"/>
                </a:lnTo>
                <a:lnTo>
                  <a:pt x="48" y="44"/>
                </a:lnTo>
                <a:lnTo>
                  <a:pt x="48" y="44"/>
                </a:lnTo>
                <a:lnTo>
                  <a:pt x="67" y="44"/>
                </a:lnTo>
                <a:lnTo>
                  <a:pt x="67" y="44"/>
                </a:lnTo>
                <a:lnTo>
                  <a:pt x="74" y="44"/>
                </a:lnTo>
                <a:lnTo>
                  <a:pt x="81" y="47"/>
                </a:lnTo>
                <a:lnTo>
                  <a:pt x="93" y="54"/>
                </a:lnTo>
                <a:lnTo>
                  <a:pt x="99" y="57"/>
                </a:lnTo>
                <a:lnTo>
                  <a:pt x="105" y="59"/>
                </a:lnTo>
                <a:lnTo>
                  <a:pt x="113" y="62"/>
                </a:lnTo>
                <a:lnTo>
                  <a:pt x="122" y="63"/>
                </a:lnTo>
                <a:lnTo>
                  <a:pt x="122" y="63"/>
                </a:lnTo>
                <a:lnTo>
                  <a:pt x="127" y="62"/>
                </a:lnTo>
                <a:lnTo>
                  <a:pt x="130" y="61"/>
                </a:lnTo>
                <a:lnTo>
                  <a:pt x="134" y="58"/>
                </a:lnTo>
                <a:lnTo>
                  <a:pt x="137" y="56"/>
                </a:lnTo>
                <a:lnTo>
                  <a:pt x="142" y="49"/>
                </a:lnTo>
                <a:lnTo>
                  <a:pt x="144" y="41"/>
                </a:lnTo>
                <a:lnTo>
                  <a:pt x="146" y="31"/>
                </a:lnTo>
                <a:lnTo>
                  <a:pt x="147" y="20"/>
                </a:lnTo>
                <a:lnTo>
                  <a:pt x="147" y="0"/>
                </a:lnTo>
                <a:lnTo>
                  <a:pt x="147" y="0"/>
                </a:lnTo>
                <a:lnTo>
                  <a:pt x="149" y="3"/>
                </a:lnTo>
                <a:lnTo>
                  <a:pt x="151" y="9"/>
                </a:lnTo>
                <a:lnTo>
                  <a:pt x="161" y="21"/>
                </a:lnTo>
                <a:lnTo>
                  <a:pt x="174" y="36"/>
                </a:lnTo>
                <a:lnTo>
                  <a:pt x="188" y="51"/>
                </a:lnTo>
                <a:lnTo>
                  <a:pt x="188" y="51"/>
                </a:lnTo>
                <a:lnTo>
                  <a:pt x="201" y="64"/>
                </a:lnTo>
                <a:lnTo>
                  <a:pt x="206" y="69"/>
                </a:lnTo>
                <a:lnTo>
                  <a:pt x="210" y="70"/>
                </a:lnTo>
                <a:lnTo>
                  <a:pt x="210" y="70"/>
                </a:lnTo>
                <a:lnTo>
                  <a:pt x="220" y="72"/>
                </a:lnTo>
                <a:lnTo>
                  <a:pt x="228" y="74"/>
                </a:lnTo>
                <a:lnTo>
                  <a:pt x="236" y="74"/>
                </a:lnTo>
                <a:lnTo>
                  <a:pt x="244" y="74"/>
                </a:lnTo>
                <a:lnTo>
                  <a:pt x="259" y="74"/>
                </a:lnTo>
                <a:lnTo>
                  <a:pt x="266" y="74"/>
                </a:lnTo>
                <a:lnTo>
                  <a:pt x="273" y="77"/>
                </a:lnTo>
                <a:lnTo>
                  <a:pt x="273" y="77"/>
                </a:lnTo>
                <a:lnTo>
                  <a:pt x="277" y="82"/>
                </a:lnTo>
                <a:lnTo>
                  <a:pt x="280" y="88"/>
                </a:lnTo>
                <a:lnTo>
                  <a:pt x="285" y="103"/>
                </a:lnTo>
                <a:lnTo>
                  <a:pt x="289" y="111"/>
                </a:lnTo>
                <a:lnTo>
                  <a:pt x="292" y="117"/>
                </a:lnTo>
                <a:lnTo>
                  <a:pt x="296" y="120"/>
                </a:lnTo>
                <a:lnTo>
                  <a:pt x="299" y="122"/>
                </a:lnTo>
                <a:lnTo>
                  <a:pt x="304" y="124"/>
                </a:lnTo>
                <a:lnTo>
                  <a:pt x="308" y="125"/>
                </a:lnTo>
                <a:lnTo>
                  <a:pt x="308" y="125"/>
                </a:lnTo>
                <a:lnTo>
                  <a:pt x="321" y="124"/>
                </a:lnTo>
                <a:lnTo>
                  <a:pt x="334" y="123"/>
                </a:lnTo>
                <a:lnTo>
                  <a:pt x="352" y="122"/>
                </a:lnTo>
                <a:lnTo>
                  <a:pt x="352" y="122"/>
                </a:lnTo>
                <a:lnTo>
                  <a:pt x="360" y="122"/>
                </a:lnTo>
                <a:lnTo>
                  <a:pt x="364" y="124"/>
                </a:lnTo>
                <a:lnTo>
                  <a:pt x="366" y="127"/>
                </a:lnTo>
                <a:lnTo>
                  <a:pt x="367" y="133"/>
                </a:lnTo>
                <a:lnTo>
                  <a:pt x="367" y="145"/>
                </a:lnTo>
                <a:lnTo>
                  <a:pt x="367" y="150"/>
                </a:lnTo>
                <a:lnTo>
                  <a:pt x="367" y="157"/>
                </a:lnTo>
                <a:lnTo>
                  <a:pt x="367" y="157"/>
                </a:lnTo>
                <a:lnTo>
                  <a:pt x="368" y="163"/>
                </a:lnTo>
                <a:lnTo>
                  <a:pt x="369" y="170"/>
                </a:lnTo>
                <a:lnTo>
                  <a:pt x="375" y="186"/>
                </a:lnTo>
                <a:lnTo>
                  <a:pt x="383" y="202"/>
                </a:lnTo>
                <a:lnTo>
                  <a:pt x="394" y="216"/>
                </a:lnTo>
                <a:lnTo>
                  <a:pt x="394" y="216"/>
                </a:lnTo>
                <a:lnTo>
                  <a:pt x="391" y="229"/>
                </a:lnTo>
                <a:lnTo>
                  <a:pt x="388" y="240"/>
                </a:lnTo>
                <a:lnTo>
                  <a:pt x="382" y="250"/>
                </a:lnTo>
                <a:lnTo>
                  <a:pt x="375" y="260"/>
                </a:lnTo>
                <a:lnTo>
                  <a:pt x="367" y="268"/>
                </a:lnTo>
                <a:lnTo>
                  <a:pt x="357" y="273"/>
                </a:lnTo>
                <a:lnTo>
                  <a:pt x="346" y="277"/>
                </a:lnTo>
                <a:lnTo>
                  <a:pt x="335" y="279"/>
                </a:lnTo>
                <a:lnTo>
                  <a:pt x="335" y="279"/>
                </a:lnTo>
                <a:lnTo>
                  <a:pt x="329" y="278"/>
                </a:lnTo>
                <a:lnTo>
                  <a:pt x="323" y="276"/>
                </a:lnTo>
                <a:lnTo>
                  <a:pt x="310" y="270"/>
                </a:lnTo>
                <a:lnTo>
                  <a:pt x="294" y="261"/>
                </a:lnTo>
                <a:lnTo>
                  <a:pt x="276" y="252"/>
                </a:lnTo>
                <a:lnTo>
                  <a:pt x="258" y="241"/>
                </a:lnTo>
                <a:lnTo>
                  <a:pt x="239" y="232"/>
                </a:lnTo>
                <a:lnTo>
                  <a:pt x="231" y="229"/>
                </a:lnTo>
                <a:lnTo>
                  <a:pt x="222" y="226"/>
                </a:lnTo>
                <a:lnTo>
                  <a:pt x="214" y="225"/>
                </a:lnTo>
                <a:lnTo>
                  <a:pt x="206" y="224"/>
                </a:lnTo>
                <a:lnTo>
                  <a:pt x="206" y="224"/>
                </a:lnTo>
                <a:lnTo>
                  <a:pt x="203" y="225"/>
                </a:lnTo>
                <a:lnTo>
                  <a:pt x="199" y="226"/>
                </a:lnTo>
                <a:lnTo>
                  <a:pt x="196" y="230"/>
                </a:lnTo>
                <a:lnTo>
                  <a:pt x="192" y="233"/>
                </a:lnTo>
                <a:lnTo>
                  <a:pt x="189" y="241"/>
                </a:lnTo>
                <a:lnTo>
                  <a:pt x="188" y="250"/>
                </a:lnTo>
                <a:lnTo>
                  <a:pt x="188" y="250"/>
                </a:lnTo>
                <a:lnTo>
                  <a:pt x="177" y="249"/>
                </a:lnTo>
                <a:lnTo>
                  <a:pt x="168" y="247"/>
                </a:lnTo>
                <a:lnTo>
                  <a:pt x="161" y="245"/>
                </a:lnTo>
                <a:lnTo>
                  <a:pt x="154" y="242"/>
                </a:lnTo>
                <a:lnTo>
                  <a:pt x="154" y="242"/>
                </a:lnTo>
                <a:lnTo>
                  <a:pt x="150" y="248"/>
                </a:lnTo>
                <a:lnTo>
                  <a:pt x="145" y="256"/>
                </a:lnTo>
                <a:lnTo>
                  <a:pt x="142" y="266"/>
                </a:lnTo>
                <a:lnTo>
                  <a:pt x="140" y="272"/>
                </a:lnTo>
                <a:lnTo>
                  <a:pt x="140" y="279"/>
                </a:lnTo>
                <a:lnTo>
                  <a:pt x="140" y="279"/>
                </a:lnTo>
                <a:lnTo>
                  <a:pt x="140" y="285"/>
                </a:lnTo>
                <a:lnTo>
                  <a:pt x="142" y="291"/>
                </a:lnTo>
                <a:lnTo>
                  <a:pt x="144" y="301"/>
                </a:lnTo>
                <a:lnTo>
                  <a:pt x="146" y="309"/>
                </a:lnTo>
                <a:lnTo>
                  <a:pt x="147" y="319"/>
                </a:lnTo>
                <a:lnTo>
                  <a:pt x="147" y="319"/>
                </a:lnTo>
                <a:lnTo>
                  <a:pt x="149" y="325"/>
                </a:lnTo>
                <a:lnTo>
                  <a:pt x="151" y="330"/>
                </a:lnTo>
                <a:lnTo>
                  <a:pt x="151" y="332"/>
                </a:lnTo>
                <a:lnTo>
                  <a:pt x="147" y="334"/>
                </a:lnTo>
                <a:lnTo>
                  <a:pt x="147" y="334"/>
                </a:lnTo>
                <a:lnTo>
                  <a:pt x="147" y="33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8" name="Freeform 83"/>
          <p:cNvSpPr>
            <a:spLocks/>
          </p:cNvSpPr>
          <p:nvPr/>
        </p:nvSpPr>
        <p:spPr bwMode="auto">
          <a:xfrm>
            <a:off x="1035050" y="4086225"/>
            <a:ext cx="207963" cy="241300"/>
          </a:xfrm>
          <a:custGeom>
            <a:avLst/>
            <a:gdLst/>
            <a:ahLst/>
            <a:cxnLst>
              <a:cxn ang="0">
                <a:pos x="0" y="52"/>
              </a:cxn>
              <a:cxn ang="0">
                <a:pos x="6" y="71"/>
              </a:cxn>
              <a:cxn ang="0">
                <a:pos x="10" y="111"/>
              </a:cxn>
              <a:cxn ang="0">
                <a:pos x="15" y="131"/>
              </a:cxn>
              <a:cxn ang="0">
                <a:pos x="21" y="139"/>
              </a:cxn>
              <a:cxn ang="0">
                <a:pos x="42" y="159"/>
              </a:cxn>
              <a:cxn ang="0">
                <a:pos x="54" y="174"/>
              </a:cxn>
              <a:cxn ang="0">
                <a:pos x="59" y="189"/>
              </a:cxn>
              <a:cxn ang="0">
                <a:pos x="59" y="194"/>
              </a:cxn>
              <a:cxn ang="0">
                <a:pos x="59" y="208"/>
              </a:cxn>
              <a:cxn ang="0">
                <a:pos x="63" y="226"/>
              </a:cxn>
              <a:cxn ang="0">
                <a:pos x="72" y="246"/>
              </a:cxn>
              <a:cxn ang="0">
                <a:pos x="84" y="263"/>
              </a:cxn>
              <a:cxn ang="0">
                <a:pos x="101" y="275"/>
              </a:cxn>
              <a:cxn ang="0">
                <a:pos x="126" y="275"/>
              </a:cxn>
              <a:cxn ang="0">
                <a:pos x="126" y="275"/>
              </a:cxn>
              <a:cxn ang="0">
                <a:pos x="127" y="262"/>
              </a:cxn>
              <a:cxn ang="0">
                <a:pos x="132" y="252"/>
              </a:cxn>
              <a:cxn ang="0">
                <a:pos x="137" y="245"/>
              </a:cxn>
              <a:cxn ang="0">
                <a:pos x="145" y="241"/>
              </a:cxn>
              <a:cxn ang="0">
                <a:pos x="166" y="238"/>
              </a:cxn>
              <a:cxn ang="0">
                <a:pos x="188" y="238"/>
              </a:cxn>
              <a:cxn ang="0">
                <a:pos x="197" y="207"/>
              </a:cxn>
              <a:cxn ang="0">
                <a:pos x="211" y="172"/>
              </a:cxn>
              <a:cxn ang="0">
                <a:pos x="213" y="169"/>
              </a:cxn>
              <a:cxn ang="0">
                <a:pos x="236" y="131"/>
              </a:cxn>
              <a:cxn ang="0">
                <a:pos x="236" y="142"/>
              </a:cxn>
              <a:cxn ang="0">
                <a:pos x="236" y="131"/>
              </a:cxn>
              <a:cxn ang="0">
                <a:pos x="239" y="122"/>
              </a:cxn>
              <a:cxn ang="0">
                <a:pos x="251" y="105"/>
              </a:cxn>
              <a:cxn ang="0">
                <a:pos x="255" y="95"/>
              </a:cxn>
              <a:cxn ang="0">
                <a:pos x="254" y="86"/>
              </a:cxn>
              <a:cxn ang="0">
                <a:pos x="250" y="71"/>
              </a:cxn>
              <a:cxn ang="0">
                <a:pos x="243" y="61"/>
              </a:cxn>
              <a:cxn ang="0">
                <a:pos x="231" y="47"/>
              </a:cxn>
              <a:cxn ang="0">
                <a:pos x="218" y="34"/>
              </a:cxn>
              <a:cxn ang="0">
                <a:pos x="211" y="23"/>
              </a:cxn>
              <a:cxn ang="0">
                <a:pos x="208" y="8"/>
              </a:cxn>
              <a:cxn ang="0">
                <a:pos x="206" y="0"/>
              </a:cxn>
              <a:cxn ang="0">
                <a:pos x="203" y="0"/>
              </a:cxn>
              <a:cxn ang="0">
                <a:pos x="197" y="3"/>
              </a:cxn>
              <a:cxn ang="0">
                <a:pos x="179" y="15"/>
              </a:cxn>
              <a:cxn ang="0">
                <a:pos x="170" y="17"/>
              </a:cxn>
              <a:cxn ang="0">
                <a:pos x="166" y="17"/>
              </a:cxn>
              <a:cxn ang="0">
                <a:pos x="159" y="12"/>
              </a:cxn>
              <a:cxn ang="0">
                <a:pos x="151" y="8"/>
              </a:cxn>
              <a:cxn ang="0">
                <a:pos x="148" y="7"/>
              </a:cxn>
              <a:cxn ang="0">
                <a:pos x="140" y="11"/>
              </a:cxn>
              <a:cxn ang="0">
                <a:pos x="135" y="19"/>
              </a:cxn>
              <a:cxn ang="0">
                <a:pos x="128" y="29"/>
              </a:cxn>
              <a:cxn ang="0">
                <a:pos x="119" y="32"/>
              </a:cxn>
              <a:cxn ang="0">
                <a:pos x="111" y="31"/>
              </a:cxn>
              <a:cxn ang="0">
                <a:pos x="99" y="23"/>
              </a:cxn>
              <a:cxn ang="0">
                <a:pos x="89" y="12"/>
              </a:cxn>
              <a:cxn ang="0">
                <a:pos x="76" y="4"/>
              </a:cxn>
              <a:cxn ang="0">
                <a:pos x="67" y="3"/>
              </a:cxn>
              <a:cxn ang="0">
                <a:pos x="61" y="3"/>
              </a:cxn>
              <a:cxn ang="0">
                <a:pos x="51" y="6"/>
              </a:cxn>
              <a:cxn ang="0">
                <a:pos x="38" y="14"/>
              </a:cxn>
              <a:cxn ang="0">
                <a:pos x="18" y="35"/>
              </a:cxn>
              <a:cxn ang="0">
                <a:pos x="0" y="47"/>
              </a:cxn>
              <a:cxn ang="0">
                <a:pos x="0" y="52"/>
              </a:cxn>
            </a:cxnLst>
            <a:rect l="0" t="0" r="r" b="b"/>
            <a:pathLst>
              <a:path w="255" h="275">
                <a:moveTo>
                  <a:pt x="0" y="52"/>
                </a:moveTo>
                <a:lnTo>
                  <a:pt x="0" y="52"/>
                </a:lnTo>
                <a:lnTo>
                  <a:pt x="4" y="61"/>
                </a:lnTo>
                <a:lnTo>
                  <a:pt x="6" y="71"/>
                </a:lnTo>
                <a:lnTo>
                  <a:pt x="8" y="91"/>
                </a:lnTo>
                <a:lnTo>
                  <a:pt x="10" y="111"/>
                </a:lnTo>
                <a:lnTo>
                  <a:pt x="12" y="122"/>
                </a:lnTo>
                <a:lnTo>
                  <a:pt x="15" y="131"/>
                </a:lnTo>
                <a:lnTo>
                  <a:pt x="15" y="131"/>
                </a:lnTo>
                <a:lnTo>
                  <a:pt x="21" y="139"/>
                </a:lnTo>
                <a:lnTo>
                  <a:pt x="27" y="146"/>
                </a:lnTo>
                <a:lnTo>
                  <a:pt x="42" y="159"/>
                </a:lnTo>
                <a:lnTo>
                  <a:pt x="49" y="166"/>
                </a:lnTo>
                <a:lnTo>
                  <a:pt x="54" y="174"/>
                </a:lnTo>
                <a:lnTo>
                  <a:pt x="58" y="183"/>
                </a:lnTo>
                <a:lnTo>
                  <a:pt x="59" y="189"/>
                </a:lnTo>
                <a:lnTo>
                  <a:pt x="59" y="194"/>
                </a:lnTo>
                <a:lnTo>
                  <a:pt x="59" y="194"/>
                </a:lnTo>
                <a:lnTo>
                  <a:pt x="59" y="208"/>
                </a:lnTo>
                <a:lnTo>
                  <a:pt x="59" y="208"/>
                </a:lnTo>
                <a:lnTo>
                  <a:pt x="60" y="217"/>
                </a:lnTo>
                <a:lnTo>
                  <a:pt x="63" y="226"/>
                </a:lnTo>
                <a:lnTo>
                  <a:pt x="67" y="237"/>
                </a:lnTo>
                <a:lnTo>
                  <a:pt x="72" y="246"/>
                </a:lnTo>
                <a:lnTo>
                  <a:pt x="78" y="255"/>
                </a:lnTo>
                <a:lnTo>
                  <a:pt x="84" y="263"/>
                </a:lnTo>
                <a:lnTo>
                  <a:pt x="92" y="270"/>
                </a:lnTo>
                <a:lnTo>
                  <a:pt x="101" y="275"/>
                </a:lnTo>
                <a:lnTo>
                  <a:pt x="101" y="275"/>
                </a:lnTo>
                <a:lnTo>
                  <a:pt x="126" y="275"/>
                </a:lnTo>
                <a:lnTo>
                  <a:pt x="126" y="275"/>
                </a:lnTo>
                <a:lnTo>
                  <a:pt x="126" y="275"/>
                </a:lnTo>
                <a:lnTo>
                  <a:pt x="126" y="268"/>
                </a:lnTo>
                <a:lnTo>
                  <a:pt x="127" y="262"/>
                </a:lnTo>
                <a:lnTo>
                  <a:pt x="129" y="256"/>
                </a:lnTo>
                <a:lnTo>
                  <a:pt x="132" y="252"/>
                </a:lnTo>
                <a:lnTo>
                  <a:pt x="134" y="248"/>
                </a:lnTo>
                <a:lnTo>
                  <a:pt x="137" y="245"/>
                </a:lnTo>
                <a:lnTo>
                  <a:pt x="142" y="243"/>
                </a:lnTo>
                <a:lnTo>
                  <a:pt x="145" y="241"/>
                </a:lnTo>
                <a:lnTo>
                  <a:pt x="156" y="239"/>
                </a:lnTo>
                <a:lnTo>
                  <a:pt x="166" y="238"/>
                </a:lnTo>
                <a:lnTo>
                  <a:pt x="188" y="238"/>
                </a:lnTo>
                <a:lnTo>
                  <a:pt x="188" y="238"/>
                </a:lnTo>
                <a:lnTo>
                  <a:pt x="193" y="221"/>
                </a:lnTo>
                <a:lnTo>
                  <a:pt x="197" y="207"/>
                </a:lnTo>
                <a:lnTo>
                  <a:pt x="205" y="185"/>
                </a:lnTo>
                <a:lnTo>
                  <a:pt x="211" y="172"/>
                </a:lnTo>
                <a:lnTo>
                  <a:pt x="213" y="169"/>
                </a:lnTo>
                <a:lnTo>
                  <a:pt x="213" y="169"/>
                </a:lnTo>
                <a:lnTo>
                  <a:pt x="236" y="131"/>
                </a:lnTo>
                <a:lnTo>
                  <a:pt x="236" y="131"/>
                </a:lnTo>
                <a:lnTo>
                  <a:pt x="236" y="131"/>
                </a:lnTo>
                <a:lnTo>
                  <a:pt x="236" y="142"/>
                </a:lnTo>
                <a:lnTo>
                  <a:pt x="236" y="131"/>
                </a:lnTo>
                <a:lnTo>
                  <a:pt x="236" y="131"/>
                </a:lnTo>
                <a:lnTo>
                  <a:pt x="236" y="126"/>
                </a:lnTo>
                <a:lnTo>
                  <a:pt x="239" y="122"/>
                </a:lnTo>
                <a:lnTo>
                  <a:pt x="246" y="114"/>
                </a:lnTo>
                <a:lnTo>
                  <a:pt x="251" y="105"/>
                </a:lnTo>
                <a:lnTo>
                  <a:pt x="254" y="100"/>
                </a:lnTo>
                <a:lnTo>
                  <a:pt x="255" y="95"/>
                </a:lnTo>
                <a:lnTo>
                  <a:pt x="255" y="95"/>
                </a:lnTo>
                <a:lnTo>
                  <a:pt x="254" y="86"/>
                </a:lnTo>
                <a:lnTo>
                  <a:pt x="252" y="78"/>
                </a:lnTo>
                <a:lnTo>
                  <a:pt x="250" y="71"/>
                </a:lnTo>
                <a:lnTo>
                  <a:pt x="247" y="65"/>
                </a:lnTo>
                <a:lnTo>
                  <a:pt x="243" y="61"/>
                </a:lnTo>
                <a:lnTo>
                  <a:pt x="240" y="56"/>
                </a:lnTo>
                <a:lnTo>
                  <a:pt x="231" y="47"/>
                </a:lnTo>
                <a:lnTo>
                  <a:pt x="221" y="39"/>
                </a:lnTo>
                <a:lnTo>
                  <a:pt x="218" y="34"/>
                </a:lnTo>
                <a:lnTo>
                  <a:pt x="214" y="29"/>
                </a:lnTo>
                <a:lnTo>
                  <a:pt x="211" y="23"/>
                </a:lnTo>
                <a:lnTo>
                  <a:pt x="209" y="16"/>
                </a:lnTo>
                <a:lnTo>
                  <a:pt x="208" y="8"/>
                </a:lnTo>
                <a:lnTo>
                  <a:pt x="206" y="0"/>
                </a:lnTo>
                <a:lnTo>
                  <a:pt x="206" y="0"/>
                </a:lnTo>
                <a:lnTo>
                  <a:pt x="203" y="0"/>
                </a:lnTo>
                <a:lnTo>
                  <a:pt x="203" y="0"/>
                </a:lnTo>
                <a:lnTo>
                  <a:pt x="203" y="0"/>
                </a:lnTo>
                <a:lnTo>
                  <a:pt x="197" y="3"/>
                </a:lnTo>
                <a:lnTo>
                  <a:pt x="189" y="10"/>
                </a:lnTo>
                <a:lnTo>
                  <a:pt x="179" y="15"/>
                </a:lnTo>
                <a:lnTo>
                  <a:pt x="174" y="17"/>
                </a:lnTo>
                <a:lnTo>
                  <a:pt x="170" y="17"/>
                </a:lnTo>
                <a:lnTo>
                  <a:pt x="170" y="17"/>
                </a:lnTo>
                <a:lnTo>
                  <a:pt x="166" y="17"/>
                </a:lnTo>
                <a:lnTo>
                  <a:pt x="164" y="16"/>
                </a:lnTo>
                <a:lnTo>
                  <a:pt x="159" y="12"/>
                </a:lnTo>
                <a:lnTo>
                  <a:pt x="155" y="9"/>
                </a:lnTo>
                <a:lnTo>
                  <a:pt x="151" y="8"/>
                </a:lnTo>
                <a:lnTo>
                  <a:pt x="148" y="7"/>
                </a:lnTo>
                <a:lnTo>
                  <a:pt x="148" y="7"/>
                </a:lnTo>
                <a:lnTo>
                  <a:pt x="143" y="8"/>
                </a:lnTo>
                <a:lnTo>
                  <a:pt x="140" y="11"/>
                </a:lnTo>
                <a:lnTo>
                  <a:pt x="137" y="15"/>
                </a:lnTo>
                <a:lnTo>
                  <a:pt x="135" y="19"/>
                </a:lnTo>
                <a:lnTo>
                  <a:pt x="132" y="24"/>
                </a:lnTo>
                <a:lnTo>
                  <a:pt x="128" y="29"/>
                </a:lnTo>
                <a:lnTo>
                  <a:pt x="125" y="31"/>
                </a:lnTo>
                <a:lnTo>
                  <a:pt x="119" y="32"/>
                </a:lnTo>
                <a:lnTo>
                  <a:pt x="119" y="32"/>
                </a:lnTo>
                <a:lnTo>
                  <a:pt x="111" y="31"/>
                </a:lnTo>
                <a:lnTo>
                  <a:pt x="105" y="27"/>
                </a:lnTo>
                <a:lnTo>
                  <a:pt x="99" y="23"/>
                </a:lnTo>
                <a:lnTo>
                  <a:pt x="94" y="17"/>
                </a:lnTo>
                <a:lnTo>
                  <a:pt x="89" y="12"/>
                </a:lnTo>
                <a:lnTo>
                  <a:pt x="83" y="8"/>
                </a:lnTo>
                <a:lnTo>
                  <a:pt x="76" y="4"/>
                </a:lnTo>
                <a:lnTo>
                  <a:pt x="72" y="3"/>
                </a:lnTo>
                <a:lnTo>
                  <a:pt x="67" y="3"/>
                </a:lnTo>
                <a:lnTo>
                  <a:pt x="67" y="3"/>
                </a:lnTo>
                <a:lnTo>
                  <a:pt x="61" y="3"/>
                </a:lnTo>
                <a:lnTo>
                  <a:pt x="56" y="4"/>
                </a:lnTo>
                <a:lnTo>
                  <a:pt x="51" y="6"/>
                </a:lnTo>
                <a:lnTo>
                  <a:pt x="46" y="8"/>
                </a:lnTo>
                <a:lnTo>
                  <a:pt x="38" y="14"/>
                </a:lnTo>
                <a:lnTo>
                  <a:pt x="31" y="21"/>
                </a:lnTo>
                <a:lnTo>
                  <a:pt x="18" y="35"/>
                </a:lnTo>
                <a:lnTo>
                  <a:pt x="10" y="42"/>
                </a:lnTo>
                <a:lnTo>
                  <a:pt x="0" y="47"/>
                </a:lnTo>
                <a:lnTo>
                  <a:pt x="0" y="47"/>
                </a:lnTo>
                <a:lnTo>
                  <a:pt x="0" y="52"/>
                </a:lnTo>
                <a:lnTo>
                  <a:pt x="0" y="5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89" name="Freeform 84"/>
          <p:cNvSpPr>
            <a:spLocks/>
          </p:cNvSpPr>
          <p:nvPr/>
        </p:nvSpPr>
        <p:spPr bwMode="auto">
          <a:xfrm>
            <a:off x="1082675" y="5154613"/>
            <a:ext cx="228600" cy="439737"/>
          </a:xfrm>
          <a:custGeom>
            <a:avLst/>
            <a:gdLst/>
            <a:ahLst/>
            <a:cxnLst>
              <a:cxn ang="0">
                <a:pos x="210" y="123"/>
              </a:cxn>
              <a:cxn ang="0">
                <a:pos x="199" y="99"/>
              </a:cxn>
              <a:cxn ang="0">
                <a:pos x="204" y="78"/>
              </a:cxn>
              <a:cxn ang="0">
                <a:pos x="228" y="54"/>
              </a:cxn>
              <a:cxn ang="0">
                <a:pos x="221" y="31"/>
              </a:cxn>
              <a:cxn ang="0">
                <a:pos x="208" y="7"/>
              </a:cxn>
              <a:cxn ang="0">
                <a:pos x="189" y="0"/>
              </a:cxn>
              <a:cxn ang="0">
                <a:pos x="162" y="6"/>
              </a:cxn>
              <a:cxn ang="0">
                <a:pos x="122" y="3"/>
              </a:cxn>
              <a:cxn ang="0">
                <a:pos x="83" y="0"/>
              </a:cxn>
              <a:cxn ang="0">
                <a:pos x="67" y="12"/>
              </a:cxn>
              <a:cxn ang="0">
                <a:pos x="89" y="85"/>
              </a:cxn>
              <a:cxn ang="0">
                <a:pos x="96" y="143"/>
              </a:cxn>
              <a:cxn ang="0">
                <a:pos x="103" y="183"/>
              </a:cxn>
              <a:cxn ang="0">
                <a:pos x="132" y="198"/>
              </a:cxn>
              <a:cxn ang="0">
                <a:pos x="132" y="221"/>
              </a:cxn>
              <a:cxn ang="0">
                <a:pos x="111" y="250"/>
              </a:cxn>
              <a:cxn ang="0">
                <a:pos x="113" y="270"/>
              </a:cxn>
              <a:cxn ang="0">
                <a:pos x="122" y="319"/>
              </a:cxn>
              <a:cxn ang="0">
                <a:pos x="115" y="328"/>
              </a:cxn>
              <a:cxn ang="0">
                <a:pos x="78" y="348"/>
              </a:cxn>
              <a:cxn ang="0">
                <a:pos x="68" y="346"/>
              </a:cxn>
              <a:cxn ang="0">
                <a:pos x="52" y="338"/>
              </a:cxn>
              <a:cxn ang="0">
                <a:pos x="43" y="342"/>
              </a:cxn>
              <a:cxn ang="0">
                <a:pos x="37" y="360"/>
              </a:cxn>
              <a:cxn ang="0">
                <a:pos x="50" y="390"/>
              </a:cxn>
              <a:cxn ang="0">
                <a:pos x="51" y="406"/>
              </a:cxn>
              <a:cxn ang="0">
                <a:pos x="36" y="425"/>
              </a:cxn>
              <a:cxn ang="0">
                <a:pos x="6" y="444"/>
              </a:cxn>
              <a:cxn ang="0">
                <a:pos x="0" y="459"/>
              </a:cxn>
              <a:cxn ang="0">
                <a:pos x="12" y="474"/>
              </a:cxn>
              <a:cxn ang="0">
                <a:pos x="37" y="489"/>
              </a:cxn>
              <a:cxn ang="0">
                <a:pos x="52" y="493"/>
              </a:cxn>
              <a:cxn ang="0">
                <a:pos x="107" y="504"/>
              </a:cxn>
              <a:cxn ang="0">
                <a:pos x="155" y="502"/>
              </a:cxn>
              <a:cxn ang="0">
                <a:pos x="243" y="503"/>
              </a:cxn>
              <a:cxn ang="0">
                <a:pos x="224" y="481"/>
              </a:cxn>
              <a:cxn ang="0">
                <a:pos x="224" y="412"/>
              </a:cxn>
              <a:cxn ang="0">
                <a:pos x="250" y="426"/>
              </a:cxn>
              <a:cxn ang="0">
                <a:pos x="273" y="441"/>
              </a:cxn>
              <a:cxn ang="0">
                <a:pos x="281" y="399"/>
              </a:cxn>
              <a:cxn ang="0">
                <a:pos x="281" y="322"/>
              </a:cxn>
              <a:cxn ang="0">
                <a:pos x="274" y="268"/>
              </a:cxn>
              <a:cxn ang="0">
                <a:pos x="258" y="245"/>
              </a:cxn>
              <a:cxn ang="0">
                <a:pos x="241" y="238"/>
              </a:cxn>
              <a:cxn ang="0">
                <a:pos x="205" y="226"/>
              </a:cxn>
              <a:cxn ang="0">
                <a:pos x="199" y="206"/>
              </a:cxn>
              <a:cxn ang="0">
                <a:pos x="207" y="181"/>
              </a:cxn>
              <a:cxn ang="0">
                <a:pos x="236" y="147"/>
              </a:cxn>
            </a:cxnLst>
            <a:rect l="0" t="0" r="r" b="b"/>
            <a:pathLst>
              <a:path w="281" h="506">
                <a:moveTo>
                  <a:pt x="224" y="136"/>
                </a:moveTo>
                <a:lnTo>
                  <a:pt x="224" y="136"/>
                </a:lnTo>
                <a:lnTo>
                  <a:pt x="218" y="130"/>
                </a:lnTo>
                <a:lnTo>
                  <a:pt x="210" y="123"/>
                </a:lnTo>
                <a:lnTo>
                  <a:pt x="205" y="119"/>
                </a:lnTo>
                <a:lnTo>
                  <a:pt x="201" y="113"/>
                </a:lnTo>
                <a:lnTo>
                  <a:pt x="199" y="106"/>
                </a:lnTo>
                <a:lnTo>
                  <a:pt x="199" y="99"/>
                </a:lnTo>
                <a:lnTo>
                  <a:pt x="199" y="99"/>
                </a:lnTo>
                <a:lnTo>
                  <a:pt x="199" y="91"/>
                </a:lnTo>
                <a:lnTo>
                  <a:pt x="201" y="84"/>
                </a:lnTo>
                <a:lnTo>
                  <a:pt x="204" y="78"/>
                </a:lnTo>
                <a:lnTo>
                  <a:pt x="208" y="72"/>
                </a:lnTo>
                <a:lnTo>
                  <a:pt x="212" y="68"/>
                </a:lnTo>
                <a:lnTo>
                  <a:pt x="218" y="63"/>
                </a:lnTo>
                <a:lnTo>
                  <a:pt x="228" y="54"/>
                </a:lnTo>
                <a:lnTo>
                  <a:pt x="228" y="54"/>
                </a:lnTo>
                <a:lnTo>
                  <a:pt x="224" y="48"/>
                </a:lnTo>
                <a:lnTo>
                  <a:pt x="222" y="40"/>
                </a:lnTo>
                <a:lnTo>
                  <a:pt x="221" y="31"/>
                </a:lnTo>
                <a:lnTo>
                  <a:pt x="218" y="22"/>
                </a:lnTo>
                <a:lnTo>
                  <a:pt x="214" y="14"/>
                </a:lnTo>
                <a:lnTo>
                  <a:pt x="212" y="9"/>
                </a:lnTo>
                <a:lnTo>
                  <a:pt x="208" y="7"/>
                </a:lnTo>
                <a:lnTo>
                  <a:pt x="205" y="3"/>
                </a:lnTo>
                <a:lnTo>
                  <a:pt x="200" y="1"/>
                </a:lnTo>
                <a:lnTo>
                  <a:pt x="195" y="0"/>
                </a:lnTo>
                <a:lnTo>
                  <a:pt x="189" y="0"/>
                </a:lnTo>
                <a:lnTo>
                  <a:pt x="189" y="0"/>
                </a:lnTo>
                <a:lnTo>
                  <a:pt x="178" y="1"/>
                </a:lnTo>
                <a:lnTo>
                  <a:pt x="172" y="3"/>
                </a:lnTo>
                <a:lnTo>
                  <a:pt x="162" y="6"/>
                </a:lnTo>
                <a:lnTo>
                  <a:pt x="151" y="7"/>
                </a:lnTo>
                <a:lnTo>
                  <a:pt x="151" y="7"/>
                </a:lnTo>
                <a:lnTo>
                  <a:pt x="135" y="6"/>
                </a:lnTo>
                <a:lnTo>
                  <a:pt x="122" y="3"/>
                </a:lnTo>
                <a:lnTo>
                  <a:pt x="108" y="1"/>
                </a:lnTo>
                <a:lnTo>
                  <a:pt x="92" y="0"/>
                </a:lnTo>
                <a:lnTo>
                  <a:pt x="92" y="0"/>
                </a:lnTo>
                <a:lnTo>
                  <a:pt x="83" y="0"/>
                </a:lnTo>
                <a:lnTo>
                  <a:pt x="77" y="2"/>
                </a:lnTo>
                <a:lnTo>
                  <a:pt x="71" y="6"/>
                </a:lnTo>
                <a:lnTo>
                  <a:pt x="67" y="12"/>
                </a:lnTo>
                <a:lnTo>
                  <a:pt x="67" y="12"/>
                </a:lnTo>
                <a:lnTo>
                  <a:pt x="70" y="29"/>
                </a:lnTo>
                <a:lnTo>
                  <a:pt x="74" y="44"/>
                </a:lnTo>
                <a:lnTo>
                  <a:pt x="84" y="71"/>
                </a:lnTo>
                <a:lnTo>
                  <a:pt x="89" y="85"/>
                </a:lnTo>
                <a:lnTo>
                  <a:pt x="92" y="101"/>
                </a:lnTo>
                <a:lnTo>
                  <a:pt x="94" y="120"/>
                </a:lnTo>
                <a:lnTo>
                  <a:pt x="96" y="143"/>
                </a:lnTo>
                <a:lnTo>
                  <a:pt x="96" y="143"/>
                </a:lnTo>
                <a:lnTo>
                  <a:pt x="96" y="155"/>
                </a:lnTo>
                <a:lnTo>
                  <a:pt x="97" y="167"/>
                </a:lnTo>
                <a:lnTo>
                  <a:pt x="99" y="176"/>
                </a:lnTo>
                <a:lnTo>
                  <a:pt x="103" y="183"/>
                </a:lnTo>
                <a:lnTo>
                  <a:pt x="107" y="189"/>
                </a:lnTo>
                <a:lnTo>
                  <a:pt x="113" y="193"/>
                </a:lnTo>
                <a:lnTo>
                  <a:pt x="122" y="196"/>
                </a:lnTo>
                <a:lnTo>
                  <a:pt x="132" y="198"/>
                </a:lnTo>
                <a:lnTo>
                  <a:pt x="132" y="198"/>
                </a:lnTo>
                <a:lnTo>
                  <a:pt x="132" y="221"/>
                </a:lnTo>
                <a:lnTo>
                  <a:pt x="132" y="221"/>
                </a:lnTo>
                <a:lnTo>
                  <a:pt x="132" y="221"/>
                </a:lnTo>
                <a:lnTo>
                  <a:pt x="124" y="230"/>
                </a:lnTo>
                <a:lnTo>
                  <a:pt x="117" y="238"/>
                </a:lnTo>
                <a:lnTo>
                  <a:pt x="113" y="245"/>
                </a:lnTo>
                <a:lnTo>
                  <a:pt x="111" y="250"/>
                </a:lnTo>
                <a:lnTo>
                  <a:pt x="111" y="253"/>
                </a:lnTo>
                <a:lnTo>
                  <a:pt x="111" y="253"/>
                </a:lnTo>
                <a:lnTo>
                  <a:pt x="111" y="262"/>
                </a:lnTo>
                <a:lnTo>
                  <a:pt x="113" y="270"/>
                </a:lnTo>
                <a:lnTo>
                  <a:pt x="116" y="287"/>
                </a:lnTo>
                <a:lnTo>
                  <a:pt x="120" y="301"/>
                </a:lnTo>
                <a:lnTo>
                  <a:pt x="121" y="310"/>
                </a:lnTo>
                <a:lnTo>
                  <a:pt x="122" y="319"/>
                </a:lnTo>
                <a:lnTo>
                  <a:pt x="122" y="319"/>
                </a:lnTo>
                <a:lnTo>
                  <a:pt x="121" y="321"/>
                </a:lnTo>
                <a:lnTo>
                  <a:pt x="120" y="323"/>
                </a:lnTo>
                <a:lnTo>
                  <a:pt x="115" y="328"/>
                </a:lnTo>
                <a:lnTo>
                  <a:pt x="108" y="334"/>
                </a:lnTo>
                <a:lnTo>
                  <a:pt x="100" y="338"/>
                </a:lnTo>
                <a:lnTo>
                  <a:pt x="84" y="345"/>
                </a:lnTo>
                <a:lnTo>
                  <a:pt x="78" y="348"/>
                </a:lnTo>
                <a:lnTo>
                  <a:pt x="74" y="349"/>
                </a:lnTo>
                <a:lnTo>
                  <a:pt x="74" y="349"/>
                </a:lnTo>
                <a:lnTo>
                  <a:pt x="70" y="348"/>
                </a:lnTo>
                <a:lnTo>
                  <a:pt x="68" y="346"/>
                </a:lnTo>
                <a:lnTo>
                  <a:pt x="63" y="343"/>
                </a:lnTo>
                <a:lnTo>
                  <a:pt x="59" y="339"/>
                </a:lnTo>
                <a:lnTo>
                  <a:pt x="55" y="338"/>
                </a:lnTo>
                <a:lnTo>
                  <a:pt x="52" y="338"/>
                </a:lnTo>
                <a:lnTo>
                  <a:pt x="52" y="338"/>
                </a:lnTo>
                <a:lnTo>
                  <a:pt x="48" y="338"/>
                </a:lnTo>
                <a:lnTo>
                  <a:pt x="45" y="339"/>
                </a:lnTo>
                <a:lnTo>
                  <a:pt x="43" y="342"/>
                </a:lnTo>
                <a:lnTo>
                  <a:pt x="40" y="345"/>
                </a:lnTo>
                <a:lnTo>
                  <a:pt x="38" y="352"/>
                </a:lnTo>
                <a:lnTo>
                  <a:pt x="37" y="360"/>
                </a:lnTo>
                <a:lnTo>
                  <a:pt x="37" y="360"/>
                </a:lnTo>
                <a:lnTo>
                  <a:pt x="38" y="365"/>
                </a:lnTo>
                <a:lnTo>
                  <a:pt x="39" y="371"/>
                </a:lnTo>
                <a:lnTo>
                  <a:pt x="45" y="380"/>
                </a:lnTo>
                <a:lnTo>
                  <a:pt x="50" y="390"/>
                </a:lnTo>
                <a:lnTo>
                  <a:pt x="51" y="395"/>
                </a:lnTo>
                <a:lnTo>
                  <a:pt x="52" y="400"/>
                </a:lnTo>
                <a:lnTo>
                  <a:pt x="52" y="400"/>
                </a:lnTo>
                <a:lnTo>
                  <a:pt x="51" y="406"/>
                </a:lnTo>
                <a:lnTo>
                  <a:pt x="50" y="411"/>
                </a:lnTo>
                <a:lnTo>
                  <a:pt x="47" y="415"/>
                </a:lnTo>
                <a:lnTo>
                  <a:pt x="44" y="419"/>
                </a:lnTo>
                <a:lnTo>
                  <a:pt x="36" y="425"/>
                </a:lnTo>
                <a:lnTo>
                  <a:pt x="27" y="429"/>
                </a:lnTo>
                <a:lnTo>
                  <a:pt x="17" y="435"/>
                </a:lnTo>
                <a:lnTo>
                  <a:pt x="8" y="441"/>
                </a:lnTo>
                <a:lnTo>
                  <a:pt x="6" y="444"/>
                </a:lnTo>
                <a:lnTo>
                  <a:pt x="2" y="449"/>
                </a:lnTo>
                <a:lnTo>
                  <a:pt x="1" y="453"/>
                </a:lnTo>
                <a:lnTo>
                  <a:pt x="0" y="459"/>
                </a:lnTo>
                <a:lnTo>
                  <a:pt x="0" y="459"/>
                </a:lnTo>
                <a:lnTo>
                  <a:pt x="1" y="463"/>
                </a:lnTo>
                <a:lnTo>
                  <a:pt x="2" y="465"/>
                </a:lnTo>
                <a:lnTo>
                  <a:pt x="6" y="471"/>
                </a:lnTo>
                <a:lnTo>
                  <a:pt x="12" y="474"/>
                </a:lnTo>
                <a:lnTo>
                  <a:pt x="17" y="478"/>
                </a:lnTo>
                <a:lnTo>
                  <a:pt x="30" y="483"/>
                </a:lnTo>
                <a:lnTo>
                  <a:pt x="35" y="486"/>
                </a:lnTo>
                <a:lnTo>
                  <a:pt x="37" y="489"/>
                </a:lnTo>
                <a:lnTo>
                  <a:pt x="37" y="489"/>
                </a:lnTo>
                <a:lnTo>
                  <a:pt x="52" y="493"/>
                </a:lnTo>
                <a:lnTo>
                  <a:pt x="52" y="493"/>
                </a:lnTo>
                <a:lnTo>
                  <a:pt x="52" y="493"/>
                </a:lnTo>
                <a:lnTo>
                  <a:pt x="61" y="493"/>
                </a:lnTo>
                <a:lnTo>
                  <a:pt x="70" y="494"/>
                </a:lnTo>
                <a:lnTo>
                  <a:pt x="89" y="499"/>
                </a:lnTo>
                <a:lnTo>
                  <a:pt x="107" y="504"/>
                </a:lnTo>
                <a:lnTo>
                  <a:pt x="116" y="505"/>
                </a:lnTo>
                <a:lnTo>
                  <a:pt x="126" y="506"/>
                </a:lnTo>
                <a:lnTo>
                  <a:pt x="126" y="506"/>
                </a:lnTo>
                <a:lnTo>
                  <a:pt x="155" y="502"/>
                </a:lnTo>
                <a:lnTo>
                  <a:pt x="185" y="499"/>
                </a:lnTo>
                <a:lnTo>
                  <a:pt x="215" y="501"/>
                </a:lnTo>
                <a:lnTo>
                  <a:pt x="243" y="503"/>
                </a:lnTo>
                <a:lnTo>
                  <a:pt x="243" y="503"/>
                </a:lnTo>
                <a:lnTo>
                  <a:pt x="237" y="496"/>
                </a:lnTo>
                <a:lnTo>
                  <a:pt x="234" y="491"/>
                </a:lnTo>
                <a:lnTo>
                  <a:pt x="230" y="488"/>
                </a:lnTo>
                <a:lnTo>
                  <a:pt x="224" y="481"/>
                </a:lnTo>
                <a:lnTo>
                  <a:pt x="224" y="481"/>
                </a:lnTo>
                <a:lnTo>
                  <a:pt x="224" y="412"/>
                </a:lnTo>
                <a:lnTo>
                  <a:pt x="224" y="412"/>
                </a:lnTo>
                <a:lnTo>
                  <a:pt x="224" y="412"/>
                </a:lnTo>
                <a:lnTo>
                  <a:pt x="234" y="414"/>
                </a:lnTo>
                <a:lnTo>
                  <a:pt x="239" y="418"/>
                </a:lnTo>
                <a:lnTo>
                  <a:pt x="245" y="422"/>
                </a:lnTo>
                <a:lnTo>
                  <a:pt x="250" y="426"/>
                </a:lnTo>
                <a:lnTo>
                  <a:pt x="259" y="434"/>
                </a:lnTo>
                <a:lnTo>
                  <a:pt x="265" y="437"/>
                </a:lnTo>
                <a:lnTo>
                  <a:pt x="273" y="441"/>
                </a:lnTo>
                <a:lnTo>
                  <a:pt x="273" y="441"/>
                </a:lnTo>
                <a:lnTo>
                  <a:pt x="276" y="429"/>
                </a:lnTo>
                <a:lnTo>
                  <a:pt x="279" y="419"/>
                </a:lnTo>
                <a:lnTo>
                  <a:pt x="280" y="409"/>
                </a:lnTo>
                <a:lnTo>
                  <a:pt x="281" y="399"/>
                </a:lnTo>
                <a:lnTo>
                  <a:pt x="281" y="379"/>
                </a:lnTo>
                <a:lnTo>
                  <a:pt x="280" y="353"/>
                </a:lnTo>
                <a:lnTo>
                  <a:pt x="280" y="353"/>
                </a:lnTo>
                <a:lnTo>
                  <a:pt x="281" y="322"/>
                </a:lnTo>
                <a:lnTo>
                  <a:pt x="281" y="307"/>
                </a:lnTo>
                <a:lnTo>
                  <a:pt x="280" y="293"/>
                </a:lnTo>
                <a:lnTo>
                  <a:pt x="277" y="280"/>
                </a:lnTo>
                <a:lnTo>
                  <a:pt x="274" y="268"/>
                </a:lnTo>
                <a:lnTo>
                  <a:pt x="271" y="261"/>
                </a:lnTo>
                <a:lnTo>
                  <a:pt x="267" y="255"/>
                </a:lnTo>
                <a:lnTo>
                  <a:pt x="262" y="251"/>
                </a:lnTo>
                <a:lnTo>
                  <a:pt x="258" y="245"/>
                </a:lnTo>
                <a:lnTo>
                  <a:pt x="258" y="245"/>
                </a:lnTo>
                <a:lnTo>
                  <a:pt x="254" y="243"/>
                </a:lnTo>
                <a:lnTo>
                  <a:pt x="250" y="242"/>
                </a:lnTo>
                <a:lnTo>
                  <a:pt x="241" y="238"/>
                </a:lnTo>
                <a:lnTo>
                  <a:pt x="221" y="234"/>
                </a:lnTo>
                <a:lnTo>
                  <a:pt x="213" y="230"/>
                </a:lnTo>
                <a:lnTo>
                  <a:pt x="208" y="228"/>
                </a:lnTo>
                <a:lnTo>
                  <a:pt x="205" y="226"/>
                </a:lnTo>
                <a:lnTo>
                  <a:pt x="203" y="222"/>
                </a:lnTo>
                <a:lnTo>
                  <a:pt x="200" y="217"/>
                </a:lnTo>
                <a:lnTo>
                  <a:pt x="199" y="212"/>
                </a:lnTo>
                <a:lnTo>
                  <a:pt x="199" y="206"/>
                </a:lnTo>
                <a:lnTo>
                  <a:pt x="199" y="206"/>
                </a:lnTo>
                <a:lnTo>
                  <a:pt x="200" y="196"/>
                </a:lnTo>
                <a:lnTo>
                  <a:pt x="203" y="188"/>
                </a:lnTo>
                <a:lnTo>
                  <a:pt x="207" y="181"/>
                </a:lnTo>
                <a:lnTo>
                  <a:pt x="213" y="175"/>
                </a:lnTo>
                <a:lnTo>
                  <a:pt x="226" y="162"/>
                </a:lnTo>
                <a:lnTo>
                  <a:pt x="231" y="155"/>
                </a:lnTo>
                <a:lnTo>
                  <a:pt x="236" y="147"/>
                </a:lnTo>
                <a:lnTo>
                  <a:pt x="236" y="147"/>
                </a:lnTo>
                <a:lnTo>
                  <a:pt x="224" y="136"/>
                </a:lnTo>
                <a:lnTo>
                  <a:pt x="224" y="13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0" name="Freeform 85"/>
          <p:cNvSpPr>
            <a:spLocks/>
          </p:cNvSpPr>
          <p:nvPr/>
        </p:nvSpPr>
        <p:spPr bwMode="auto">
          <a:xfrm>
            <a:off x="614363" y="4759325"/>
            <a:ext cx="455612" cy="550863"/>
          </a:xfrm>
          <a:custGeom>
            <a:avLst/>
            <a:gdLst/>
            <a:ahLst/>
            <a:cxnLst>
              <a:cxn ang="0">
                <a:pos x="482" y="35"/>
              </a:cxn>
              <a:cxn ang="0">
                <a:pos x="448" y="33"/>
              </a:cxn>
              <a:cxn ang="0">
                <a:pos x="404" y="3"/>
              </a:cxn>
              <a:cxn ang="0">
                <a:pos x="375" y="2"/>
              </a:cxn>
              <a:cxn ang="0">
                <a:pos x="375" y="33"/>
              </a:cxn>
              <a:cxn ang="0">
                <a:pos x="323" y="52"/>
              </a:cxn>
              <a:cxn ang="0">
                <a:pos x="311" y="78"/>
              </a:cxn>
              <a:cxn ang="0">
                <a:pos x="283" y="85"/>
              </a:cxn>
              <a:cxn ang="0">
                <a:pos x="261" y="110"/>
              </a:cxn>
              <a:cxn ang="0">
                <a:pos x="235" y="164"/>
              </a:cxn>
              <a:cxn ang="0">
                <a:pos x="199" y="179"/>
              </a:cxn>
              <a:cxn ang="0">
                <a:pos x="170" y="161"/>
              </a:cxn>
              <a:cxn ang="0">
                <a:pos x="124" y="122"/>
              </a:cxn>
              <a:cxn ang="0">
                <a:pos x="108" y="130"/>
              </a:cxn>
              <a:cxn ang="0">
                <a:pos x="86" y="125"/>
              </a:cxn>
              <a:cxn ang="0">
                <a:pos x="59" y="110"/>
              </a:cxn>
              <a:cxn ang="0">
                <a:pos x="12" y="141"/>
              </a:cxn>
              <a:cxn ang="0">
                <a:pos x="44" y="177"/>
              </a:cxn>
              <a:cxn ang="0">
                <a:pos x="89" y="202"/>
              </a:cxn>
              <a:cxn ang="0">
                <a:pos x="85" y="221"/>
              </a:cxn>
              <a:cxn ang="0">
                <a:pos x="25" y="244"/>
              </a:cxn>
              <a:cxn ang="0">
                <a:pos x="71" y="277"/>
              </a:cxn>
              <a:cxn ang="0">
                <a:pos x="120" y="309"/>
              </a:cxn>
              <a:cxn ang="0">
                <a:pos x="114" y="340"/>
              </a:cxn>
              <a:cxn ang="0">
                <a:pos x="97" y="382"/>
              </a:cxn>
              <a:cxn ang="0">
                <a:pos x="116" y="417"/>
              </a:cxn>
              <a:cxn ang="0">
                <a:pos x="137" y="449"/>
              </a:cxn>
              <a:cxn ang="0">
                <a:pos x="130" y="498"/>
              </a:cxn>
              <a:cxn ang="0">
                <a:pos x="150" y="500"/>
              </a:cxn>
              <a:cxn ang="0">
                <a:pos x="174" y="516"/>
              </a:cxn>
              <a:cxn ang="0">
                <a:pos x="199" y="499"/>
              </a:cxn>
              <a:cxn ang="0">
                <a:pos x="230" y="513"/>
              </a:cxn>
              <a:cxn ang="0">
                <a:pos x="250" y="504"/>
              </a:cxn>
              <a:cxn ang="0">
                <a:pos x="273" y="484"/>
              </a:cxn>
              <a:cxn ang="0">
                <a:pos x="288" y="526"/>
              </a:cxn>
              <a:cxn ang="0">
                <a:pos x="327" y="576"/>
              </a:cxn>
              <a:cxn ang="0">
                <a:pos x="345" y="620"/>
              </a:cxn>
              <a:cxn ang="0">
                <a:pos x="379" y="630"/>
              </a:cxn>
              <a:cxn ang="0">
                <a:pos x="398" y="628"/>
              </a:cxn>
              <a:cxn ang="0">
                <a:pos x="407" y="606"/>
              </a:cxn>
              <a:cxn ang="0">
                <a:pos x="420" y="584"/>
              </a:cxn>
              <a:cxn ang="0">
                <a:pos x="494" y="557"/>
              </a:cxn>
              <a:cxn ang="0">
                <a:pos x="518" y="516"/>
              </a:cxn>
              <a:cxn ang="0">
                <a:pos x="501" y="492"/>
              </a:cxn>
              <a:cxn ang="0">
                <a:pos x="482" y="503"/>
              </a:cxn>
              <a:cxn ang="0">
                <a:pos x="471" y="489"/>
              </a:cxn>
              <a:cxn ang="0">
                <a:pos x="467" y="481"/>
              </a:cxn>
              <a:cxn ang="0">
                <a:pos x="448" y="460"/>
              </a:cxn>
              <a:cxn ang="0">
                <a:pos x="412" y="408"/>
              </a:cxn>
              <a:cxn ang="0">
                <a:pos x="422" y="360"/>
              </a:cxn>
              <a:cxn ang="0">
                <a:pos x="414" y="331"/>
              </a:cxn>
              <a:cxn ang="0">
                <a:pos x="394" y="305"/>
              </a:cxn>
              <a:cxn ang="0">
                <a:pos x="421" y="272"/>
              </a:cxn>
              <a:cxn ang="0">
                <a:pos x="458" y="266"/>
              </a:cxn>
              <a:cxn ang="0">
                <a:pos x="503" y="275"/>
              </a:cxn>
              <a:cxn ang="0">
                <a:pos x="516" y="252"/>
              </a:cxn>
              <a:cxn ang="0">
                <a:pos x="516" y="172"/>
              </a:cxn>
              <a:cxn ang="0">
                <a:pos x="545" y="132"/>
              </a:cxn>
              <a:cxn ang="0">
                <a:pos x="559" y="95"/>
              </a:cxn>
              <a:cxn ang="0">
                <a:pos x="539" y="41"/>
              </a:cxn>
              <a:cxn ang="0">
                <a:pos x="518" y="25"/>
              </a:cxn>
            </a:cxnLst>
            <a:rect l="0" t="0" r="r" b="b"/>
            <a:pathLst>
              <a:path w="559" h="632">
                <a:moveTo>
                  <a:pt x="518" y="25"/>
                </a:moveTo>
                <a:lnTo>
                  <a:pt x="518" y="25"/>
                </a:lnTo>
                <a:lnTo>
                  <a:pt x="512" y="26"/>
                </a:lnTo>
                <a:lnTo>
                  <a:pt x="505" y="27"/>
                </a:lnTo>
                <a:lnTo>
                  <a:pt x="494" y="31"/>
                </a:lnTo>
                <a:lnTo>
                  <a:pt x="482" y="35"/>
                </a:lnTo>
                <a:lnTo>
                  <a:pt x="475" y="37"/>
                </a:lnTo>
                <a:lnTo>
                  <a:pt x="467" y="37"/>
                </a:lnTo>
                <a:lnTo>
                  <a:pt x="467" y="37"/>
                </a:lnTo>
                <a:lnTo>
                  <a:pt x="460" y="37"/>
                </a:lnTo>
                <a:lnTo>
                  <a:pt x="453" y="35"/>
                </a:lnTo>
                <a:lnTo>
                  <a:pt x="448" y="33"/>
                </a:lnTo>
                <a:lnTo>
                  <a:pt x="443" y="31"/>
                </a:lnTo>
                <a:lnTo>
                  <a:pt x="434" y="25"/>
                </a:lnTo>
                <a:lnTo>
                  <a:pt x="426" y="18"/>
                </a:lnTo>
                <a:lnTo>
                  <a:pt x="418" y="11"/>
                </a:lnTo>
                <a:lnTo>
                  <a:pt x="409" y="6"/>
                </a:lnTo>
                <a:lnTo>
                  <a:pt x="404" y="3"/>
                </a:lnTo>
                <a:lnTo>
                  <a:pt x="398" y="1"/>
                </a:lnTo>
                <a:lnTo>
                  <a:pt x="392" y="0"/>
                </a:lnTo>
                <a:lnTo>
                  <a:pt x="386" y="0"/>
                </a:lnTo>
                <a:lnTo>
                  <a:pt x="386" y="0"/>
                </a:lnTo>
                <a:lnTo>
                  <a:pt x="380" y="0"/>
                </a:lnTo>
                <a:lnTo>
                  <a:pt x="375" y="2"/>
                </a:lnTo>
                <a:lnTo>
                  <a:pt x="374" y="6"/>
                </a:lnTo>
                <a:lnTo>
                  <a:pt x="374" y="9"/>
                </a:lnTo>
                <a:lnTo>
                  <a:pt x="375" y="19"/>
                </a:lnTo>
                <a:lnTo>
                  <a:pt x="376" y="26"/>
                </a:lnTo>
                <a:lnTo>
                  <a:pt x="375" y="33"/>
                </a:lnTo>
                <a:lnTo>
                  <a:pt x="375" y="33"/>
                </a:lnTo>
                <a:lnTo>
                  <a:pt x="369" y="40"/>
                </a:lnTo>
                <a:lnTo>
                  <a:pt x="363" y="45"/>
                </a:lnTo>
                <a:lnTo>
                  <a:pt x="353" y="48"/>
                </a:lnTo>
                <a:lnTo>
                  <a:pt x="344" y="50"/>
                </a:lnTo>
                <a:lnTo>
                  <a:pt x="335" y="52"/>
                </a:lnTo>
                <a:lnTo>
                  <a:pt x="323" y="52"/>
                </a:lnTo>
                <a:lnTo>
                  <a:pt x="302" y="52"/>
                </a:lnTo>
                <a:lnTo>
                  <a:pt x="302" y="52"/>
                </a:lnTo>
                <a:lnTo>
                  <a:pt x="303" y="57"/>
                </a:lnTo>
                <a:lnTo>
                  <a:pt x="304" y="63"/>
                </a:lnTo>
                <a:lnTo>
                  <a:pt x="307" y="71"/>
                </a:lnTo>
                <a:lnTo>
                  <a:pt x="311" y="78"/>
                </a:lnTo>
                <a:lnTo>
                  <a:pt x="312" y="83"/>
                </a:lnTo>
                <a:lnTo>
                  <a:pt x="313" y="88"/>
                </a:lnTo>
                <a:lnTo>
                  <a:pt x="313" y="88"/>
                </a:lnTo>
                <a:lnTo>
                  <a:pt x="303" y="88"/>
                </a:lnTo>
                <a:lnTo>
                  <a:pt x="295" y="87"/>
                </a:lnTo>
                <a:lnTo>
                  <a:pt x="283" y="85"/>
                </a:lnTo>
                <a:lnTo>
                  <a:pt x="277" y="84"/>
                </a:lnTo>
                <a:lnTo>
                  <a:pt x="273" y="84"/>
                </a:lnTo>
                <a:lnTo>
                  <a:pt x="268" y="85"/>
                </a:lnTo>
                <a:lnTo>
                  <a:pt x="261" y="88"/>
                </a:lnTo>
                <a:lnTo>
                  <a:pt x="261" y="88"/>
                </a:lnTo>
                <a:lnTo>
                  <a:pt x="261" y="110"/>
                </a:lnTo>
                <a:lnTo>
                  <a:pt x="261" y="110"/>
                </a:lnTo>
                <a:lnTo>
                  <a:pt x="260" y="121"/>
                </a:lnTo>
                <a:lnTo>
                  <a:pt x="257" y="132"/>
                </a:lnTo>
                <a:lnTo>
                  <a:pt x="251" y="144"/>
                </a:lnTo>
                <a:lnTo>
                  <a:pt x="244" y="154"/>
                </a:lnTo>
                <a:lnTo>
                  <a:pt x="235" y="164"/>
                </a:lnTo>
                <a:lnTo>
                  <a:pt x="230" y="169"/>
                </a:lnTo>
                <a:lnTo>
                  <a:pt x="224" y="172"/>
                </a:lnTo>
                <a:lnTo>
                  <a:pt x="219" y="176"/>
                </a:lnTo>
                <a:lnTo>
                  <a:pt x="212" y="178"/>
                </a:lnTo>
                <a:lnTo>
                  <a:pt x="206" y="179"/>
                </a:lnTo>
                <a:lnTo>
                  <a:pt x="199" y="179"/>
                </a:lnTo>
                <a:lnTo>
                  <a:pt x="199" y="179"/>
                </a:lnTo>
                <a:lnTo>
                  <a:pt x="193" y="179"/>
                </a:lnTo>
                <a:lnTo>
                  <a:pt x="189" y="177"/>
                </a:lnTo>
                <a:lnTo>
                  <a:pt x="184" y="175"/>
                </a:lnTo>
                <a:lnTo>
                  <a:pt x="180" y="170"/>
                </a:lnTo>
                <a:lnTo>
                  <a:pt x="170" y="161"/>
                </a:lnTo>
                <a:lnTo>
                  <a:pt x="161" y="151"/>
                </a:lnTo>
                <a:lnTo>
                  <a:pt x="152" y="139"/>
                </a:lnTo>
                <a:lnTo>
                  <a:pt x="142" y="130"/>
                </a:lnTo>
                <a:lnTo>
                  <a:pt x="137" y="126"/>
                </a:lnTo>
                <a:lnTo>
                  <a:pt x="131" y="123"/>
                </a:lnTo>
                <a:lnTo>
                  <a:pt x="124" y="122"/>
                </a:lnTo>
                <a:lnTo>
                  <a:pt x="117" y="121"/>
                </a:lnTo>
                <a:lnTo>
                  <a:pt x="117" y="121"/>
                </a:lnTo>
                <a:lnTo>
                  <a:pt x="116" y="122"/>
                </a:lnTo>
                <a:lnTo>
                  <a:pt x="115" y="123"/>
                </a:lnTo>
                <a:lnTo>
                  <a:pt x="112" y="126"/>
                </a:lnTo>
                <a:lnTo>
                  <a:pt x="108" y="130"/>
                </a:lnTo>
                <a:lnTo>
                  <a:pt x="106" y="131"/>
                </a:lnTo>
                <a:lnTo>
                  <a:pt x="104" y="132"/>
                </a:lnTo>
                <a:lnTo>
                  <a:pt x="104" y="132"/>
                </a:lnTo>
                <a:lnTo>
                  <a:pt x="97" y="131"/>
                </a:lnTo>
                <a:lnTo>
                  <a:pt x="91" y="129"/>
                </a:lnTo>
                <a:lnTo>
                  <a:pt x="86" y="125"/>
                </a:lnTo>
                <a:lnTo>
                  <a:pt x="82" y="121"/>
                </a:lnTo>
                <a:lnTo>
                  <a:pt x="77" y="117"/>
                </a:lnTo>
                <a:lnTo>
                  <a:pt x="71" y="114"/>
                </a:lnTo>
                <a:lnTo>
                  <a:pt x="66" y="111"/>
                </a:lnTo>
                <a:lnTo>
                  <a:pt x="59" y="110"/>
                </a:lnTo>
                <a:lnTo>
                  <a:pt x="59" y="110"/>
                </a:lnTo>
                <a:lnTo>
                  <a:pt x="51" y="111"/>
                </a:lnTo>
                <a:lnTo>
                  <a:pt x="43" y="115"/>
                </a:lnTo>
                <a:lnTo>
                  <a:pt x="33" y="121"/>
                </a:lnTo>
                <a:lnTo>
                  <a:pt x="25" y="126"/>
                </a:lnTo>
                <a:lnTo>
                  <a:pt x="18" y="134"/>
                </a:lnTo>
                <a:lnTo>
                  <a:pt x="12" y="141"/>
                </a:lnTo>
                <a:lnTo>
                  <a:pt x="0" y="154"/>
                </a:lnTo>
                <a:lnTo>
                  <a:pt x="0" y="154"/>
                </a:lnTo>
                <a:lnTo>
                  <a:pt x="12" y="163"/>
                </a:lnTo>
                <a:lnTo>
                  <a:pt x="23" y="169"/>
                </a:lnTo>
                <a:lnTo>
                  <a:pt x="33" y="174"/>
                </a:lnTo>
                <a:lnTo>
                  <a:pt x="44" y="177"/>
                </a:lnTo>
                <a:lnTo>
                  <a:pt x="62" y="183"/>
                </a:lnTo>
                <a:lnTo>
                  <a:pt x="69" y="185"/>
                </a:lnTo>
                <a:lnTo>
                  <a:pt x="74" y="187"/>
                </a:lnTo>
                <a:lnTo>
                  <a:pt x="74" y="187"/>
                </a:lnTo>
                <a:lnTo>
                  <a:pt x="85" y="198"/>
                </a:lnTo>
                <a:lnTo>
                  <a:pt x="89" y="202"/>
                </a:lnTo>
                <a:lnTo>
                  <a:pt x="91" y="207"/>
                </a:lnTo>
                <a:lnTo>
                  <a:pt x="92" y="210"/>
                </a:lnTo>
                <a:lnTo>
                  <a:pt x="92" y="214"/>
                </a:lnTo>
                <a:lnTo>
                  <a:pt x="91" y="216"/>
                </a:lnTo>
                <a:lnTo>
                  <a:pt x="89" y="218"/>
                </a:lnTo>
                <a:lnTo>
                  <a:pt x="85" y="221"/>
                </a:lnTo>
                <a:lnTo>
                  <a:pt x="81" y="223"/>
                </a:lnTo>
                <a:lnTo>
                  <a:pt x="67" y="224"/>
                </a:lnTo>
                <a:lnTo>
                  <a:pt x="48" y="223"/>
                </a:lnTo>
                <a:lnTo>
                  <a:pt x="27" y="221"/>
                </a:lnTo>
                <a:lnTo>
                  <a:pt x="27" y="221"/>
                </a:lnTo>
                <a:lnTo>
                  <a:pt x="25" y="244"/>
                </a:lnTo>
                <a:lnTo>
                  <a:pt x="24" y="258"/>
                </a:lnTo>
                <a:lnTo>
                  <a:pt x="27" y="272"/>
                </a:lnTo>
                <a:lnTo>
                  <a:pt x="27" y="272"/>
                </a:lnTo>
                <a:lnTo>
                  <a:pt x="40" y="271"/>
                </a:lnTo>
                <a:lnTo>
                  <a:pt x="55" y="274"/>
                </a:lnTo>
                <a:lnTo>
                  <a:pt x="71" y="277"/>
                </a:lnTo>
                <a:lnTo>
                  <a:pt x="86" y="283"/>
                </a:lnTo>
                <a:lnTo>
                  <a:pt x="100" y="291"/>
                </a:lnTo>
                <a:lnTo>
                  <a:pt x="107" y="294"/>
                </a:lnTo>
                <a:lnTo>
                  <a:pt x="112" y="299"/>
                </a:lnTo>
                <a:lnTo>
                  <a:pt x="116" y="304"/>
                </a:lnTo>
                <a:lnTo>
                  <a:pt x="120" y="309"/>
                </a:lnTo>
                <a:lnTo>
                  <a:pt x="121" y="314"/>
                </a:lnTo>
                <a:lnTo>
                  <a:pt x="122" y="320"/>
                </a:lnTo>
                <a:lnTo>
                  <a:pt x="122" y="320"/>
                </a:lnTo>
                <a:lnTo>
                  <a:pt x="121" y="327"/>
                </a:lnTo>
                <a:lnTo>
                  <a:pt x="119" y="333"/>
                </a:lnTo>
                <a:lnTo>
                  <a:pt x="114" y="340"/>
                </a:lnTo>
                <a:lnTo>
                  <a:pt x="109" y="346"/>
                </a:lnTo>
                <a:lnTo>
                  <a:pt x="105" y="353"/>
                </a:lnTo>
                <a:lnTo>
                  <a:pt x="100" y="361"/>
                </a:lnTo>
                <a:lnTo>
                  <a:pt x="98" y="370"/>
                </a:lnTo>
                <a:lnTo>
                  <a:pt x="97" y="382"/>
                </a:lnTo>
                <a:lnTo>
                  <a:pt x="97" y="382"/>
                </a:lnTo>
                <a:lnTo>
                  <a:pt x="97" y="388"/>
                </a:lnTo>
                <a:lnTo>
                  <a:pt x="98" y="393"/>
                </a:lnTo>
                <a:lnTo>
                  <a:pt x="100" y="398"/>
                </a:lnTo>
                <a:lnTo>
                  <a:pt x="102" y="403"/>
                </a:lnTo>
                <a:lnTo>
                  <a:pt x="109" y="411"/>
                </a:lnTo>
                <a:lnTo>
                  <a:pt x="116" y="417"/>
                </a:lnTo>
                <a:lnTo>
                  <a:pt x="124" y="424"/>
                </a:lnTo>
                <a:lnTo>
                  <a:pt x="130" y="431"/>
                </a:lnTo>
                <a:lnTo>
                  <a:pt x="135" y="439"/>
                </a:lnTo>
                <a:lnTo>
                  <a:pt x="136" y="444"/>
                </a:lnTo>
                <a:lnTo>
                  <a:pt x="137" y="449"/>
                </a:lnTo>
                <a:lnTo>
                  <a:pt x="137" y="449"/>
                </a:lnTo>
                <a:lnTo>
                  <a:pt x="136" y="461"/>
                </a:lnTo>
                <a:lnTo>
                  <a:pt x="134" y="474"/>
                </a:lnTo>
                <a:lnTo>
                  <a:pt x="130" y="487"/>
                </a:lnTo>
                <a:lnTo>
                  <a:pt x="129" y="499"/>
                </a:lnTo>
                <a:lnTo>
                  <a:pt x="129" y="499"/>
                </a:lnTo>
                <a:lnTo>
                  <a:pt x="130" y="498"/>
                </a:lnTo>
                <a:lnTo>
                  <a:pt x="132" y="498"/>
                </a:lnTo>
                <a:lnTo>
                  <a:pt x="136" y="499"/>
                </a:lnTo>
                <a:lnTo>
                  <a:pt x="140" y="499"/>
                </a:lnTo>
                <a:lnTo>
                  <a:pt x="140" y="499"/>
                </a:lnTo>
                <a:lnTo>
                  <a:pt x="145" y="500"/>
                </a:lnTo>
                <a:lnTo>
                  <a:pt x="150" y="500"/>
                </a:lnTo>
                <a:lnTo>
                  <a:pt x="154" y="503"/>
                </a:lnTo>
                <a:lnTo>
                  <a:pt x="158" y="505"/>
                </a:lnTo>
                <a:lnTo>
                  <a:pt x="166" y="512"/>
                </a:lnTo>
                <a:lnTo>
                  <a:pt x="174" y="521"/>
                </a:lnTo>
                <a:lnTo>
                  <a:pt x="174" y="521"/>
                </a:lnTo>
                <a:lnTo>
                  <a:pt x="174" y="516"/>
                </a:lnTo>
                <a:lnTo>
                  <a:pt x="176" y="512"/>
                </a:lnTo>
                <a:lnTo>
                  <a:pt x="178" y="508"/>
                </a:lnTo>
                <a:lnTo>
                  <a:pt x="182" y="505"/>
                </a:lnTo>
                <a:lnTo>
                  <a:pt x="186" y="503"/>
                </a:lnTo>
                <a:lnTo>
                  <a:pt x="190" y="500"/>
                </a:lnTo>
                <a:lnTo>
                  <a:pt x="199" y="499"/>
                </a:lnTo>
                <a:lnTo>
                  <a:pt x="199" y="499"/>
                </a:lnTo>
                <a:lnTo>
                  <a:pt x="205" y="500"/>
                </a:lnTo>
                <a:lnTo>
                  <a:pt x="209" y="501"/>
                </a:lnTo>
                <a:lnTo>
                  <a:pt x="218" y="507"/>
                </a:lnTo>
                <a:lnTo>
                  <a:pt x="226" y="512"/>
                </a:lnTo>
                <a:lnTo>
                  <a:pt x="230" y="513"/>
                </a:lnTo>
                <a:lnTo>
                  <a:pt x="236" y="514"/>
                </a:lnTo>
                <a:lnTo>
                  <a:pt x="236" y="514"/>
                </a:lnTo>
                <a:lnTo>
                  <a:pt x="241" y="513"/>
                </a:lnTo>
                <a:lnTo>
                  <a:pt x="244" y="511"/>
                </a:lnTo>
                <a:lnTo>
                  <a:pt x="247" y="508"/>
                </a:lnTo>
                <a:lnTo>
                  <a:pt x="250" y="504"/>
                </a:lnTo>
                <a:lnTo>
                  <a:pt x="253" y="495"/>
                </a:lnTo>
                <a:lnTo>
                  <a:pt x="255" y="489"/>
                </a:lnTo>
                <a:lnTo>
                  <a:pt x="258" y="484"/>
                </a:lnTo>
                <a:lnTo>
                  <a:pt x="258" y="484"/>
                </a:lnTo>
                <a:lnTo>
                  <a:pt x="273" y="484"/>
                </a:lnTo>
                <a:lnTo>
                  <a:pt x="273" y="484"/>
                </a:lnTo>
                <a:lnTo>
                  <a:pt x="273" y="484"/>
                </a:lnTo>
                <a:lnTo>
                  <a:pt x="273" y="492"/>
                </a:lnTo>
                <a:lnTo>
                  <a:pt x="275" y="500"/>
                </a:lnTo>
                <a:lnTo>
                  <a:pt x="276" y="507"/>
                </a:lnTo>
                <a:lnTo>
                  <a:pt x="280" y="514"/>
                </a:lnTo>
                <a:lnTo>
                  <a:pt x="288" y="526"/>
                </a:lnTo>
                <a:lnTo>
                  <a:pt x="296" y="536"/>
                </a:lnTo>
                <a:lnTo>
                  <a:pt x="314" y="556"/>
                </a:lnTo>
                <a:lnTo>
                  <a:pt x="322" y="566"/>
                </a:lnTo>
                <a:lnTo>
                  <a:pt x="325" y="572"/>
                </a:lnTo>
                <a:lnTo>
                  <a:pt x="327" y="576"/>
                </a:lnTo>
                <a:lnTo>
                  <a:pt x="327" y="576"/>
                </a:lnTo>
                <a:lnTo>
                  <a:pt x="329" y="584"/>
                </a:lnTo>
                <a:lnTo>
                  <a:pt x="331" y="592"/>
                </a:lnTo>
                <a:lnTo>
                  <a:pt x="334" y="607"/>
                </a:lnTo>
                <a:lnTo>
                  <a:pt x="336" y="613"/>
                </a:lnTo>
                <a:lnTo>
                  <a:pt x="339" y="617"/>
                </a:lnTo>
                <a:lnTo>
                  <a:pt x="345" y="620"/>
                </a:lnTo>
                <a:lnTo>
                  <a:pt x="353" y="621"/>
                </a:lnTo>
                <a:lnTo>
                  <a:pt x="353" y="621"/>
                </a:lnTo>
                <a:lnTo>
                  <a:pt x="358" y="621"/>
                </a:lnTo>
                <a:lnTo>
                  <a:pt x="363" y="622"/>
                </a:lnTo>
                <a:lnTo>
                  <a:pt x="372" y="626"/>
                </a:lnTo>
                <a:lnTo>
                  <a:pt x="379" y="630"/>
                </a:lnTo>
                <a:lnTo>
                  <a:pt x="382" y="632"/>
                </a:lnTo>
                <a:lnTo>
                  <a:pt x="386" y="632"/>
                </a:lnTo>
                <a:lnTo>
                  <a:pt x="386" y="632"/>
                </a:lnTo>
                <a:lnTo>
                  <a:pt x="391" y="632"/>
                </a:lnTo>
                <a:lnTo>
                  <a:pt x="395" y="630"/>
                </a:lnTo>
                <a:lnTo>
                  <a:pt x="398" y="628"/>
                </a:lnTo>
                <a:lnTo>
                  <a:pt x="400" y="626"/>
                </a:lnTo>
                <a:lnTo>
                  <a:pt x="403" y="623"/>
                </a:lnTo>
                <a:lnTo>
                  <a:pt x="404" y="619"/>
                </a:lnTo>
                <a:lnTo>
                  <a:pt x="405" y="610"/>
                </a:lnTo>
                <a:lnTo>
                  <a:pt x="405" y="610"/>
                </a:lnTo>
                <a:lnTo>
                  <a:pt x="407" y="606"/>
                </a:lnTo>
                <a:lnTo>
                  <a:pt x="409" y="603"/>
                </a:lnTo>
                <a:lnTo>
                  <a:pt x="410" y="596"/>
                </a:lnTo>
                <a:lnTo>
                  <a:pt x="411" y="592"/>
                </a:lnTo>
                <a:lnTo>
                  <a:pt x="412" y="589"/>
                </a:lnTo>
                <a:lnTo>
                  <a:pt x="415" y="585"/>
                </a:lnTo>
                <a:lnTo>
                  <a:pt x="420" y="584"/>
                </a:lnTo>
                <a:lnTo>
                  <a:pt x="420" y="584"/>
                </a:lnTo>
                <a:lnTo>
                  <a:pt x="437" y="577"/>
                </a:lnTo>
                <a:lnTo>
                  <a:pt x="456" y="573"/>
                </a:lnTo>
                <a:lnTo>
                  <a:pt x="472" y="567"/>
                </a:lnTo>
                <a:lnTo>
                  <a:pt x="487" y="560"/>
                </a:lnTo>
                <a:lnTo>
                  <a:pt x="494" y="557"/>
                </a:lnTo>
                <a:lnTo>
                  <a:pt x="499" y="552"/>
                </a:lnTo>
                <a:lnTo>
                  <a:pt x="505" y="546"/>
                </a:lnTo>
                <a:lnTo>
                  <a:pt x="510" y="541"/>
                </a:lnTo>
                <a:lnTo>
                  <a:pt x="513" y="534"/>
                </a:lnTo>
                <a:lnTo>
                  <a:pt x="516" y="526"/>
                </a:lnTo>
                <a:lnTo>
                  <a:pt x="518" y="516"/>
                </a:lnTo>
                <a:lnTo>
                  <a:pt x="518" y="506"/>
                </a:lnTo>
                <a:lnTo>
                  <a:pt x="518" y="506"/>
                </a:lnTo>
                <a:lnTo>
                  <a:pt x="518" y="492"/>
                </a:lnTo>
                <a:lnTo>
                  <a:pt x="518" y="492"/>
                </a:lnTo>
                <a:lnTo>
                  <a:pt x="501" y="492"/>
                </a:lnTo>
                <a:lnTo>
                  <a:pt x="501" y="492"/>
                </a:lnTo>
                <a:lnTo>
                  <a:pt x="501" y="492"/>
                </a:lnTo>
                <a:lnTo>
                  <a:pt x="496" y="497"/>
                </a:lnTo>
                <a:lnTo>
                  <a:pt x="494" y="500"/>
                </a:lnTo>
                <a:lnTo>
                  <a:pt x="490" y="503"/>
                </a:lnTo>
                <a:lnTo>
                  <a:pt x="482" y="503"/>
                </a:lnTo>
                <a:lnTo>
                  <a:pt x="482" y="503"/>
                </a:lnTo>
                <a:lnTo>
                  <a:pt x="479" y="503"/>
                </a:lnTo>
                <a:lnTo>
                  <a:pt x="475" y="501"/>
                </a:lnTo>
                <a:lnTo>
                  <a:pt x="473" y="499"/>
                </a:lnTo>
                <a:lnTo>
                  <a:pt x="472" y="497"/>
                </a:lnTo>
                <a:lnTo>
                  <a:pt x="471" y="492"/>
                </a:lnTo>
                <a:lnTo>
                  <a:pt x="471" y="489"/>
                </a:lnTo>
                <a:lnTo>
                  <a:pt x="471" y="489"/>
                </a:lnTo>
                <a:lnTo>
                  <a:pt x="471" y="489"/>
                </a:lnTo>
                <a:lnTo>
                  <a:pt x="470" y="489"/>
                </a:lnTo>
                <a:lnTo>
                  <a:pt x="467" y="487"/>
                </a:lnTo>
                <a:lnTo>
                  <a:pt x="467" y="481"/>
                </a:lnTo>
                <a:lnTo>
                  <a:pt x="467" y="481"/>
                </a:lnTo>
                <a:lnTo>
                  <a:pt x="464" y="467"/>
                </a:lnTo>
                <a:lnTo>
                  <a:pt x="464" y="467"/>
                </a:lnTo>
                <a:lnTo>
                  <a:pt x="464" y="467"/>
                </a:lnTo>
                <a:lnTo>
                  <a:pt x="460" y="466"/>
                </a:lnTo>
                <a:lnTo>
                  <a:pt x="456" y="465"/>
                </a:lnTo>
                <a:lnTo>
                  <a:pt x="448" y="460"/>
                </a:lnTo>
                <a:lnTo>
                  <a:pt x="440" y="453"/>
                </a:lnTo>
                <a:lnTo>
                  <a:pt x="430" y="445"/>
                </a:lnTo>
                <a:lnTo>
                  <a:pt x="423" y="436"/>
                </a:lnTo>
                <a:lnTo>
                  <a:pt x="418" y="427"/>
                </a:lnTo>
                <a:lnTo>
                  <a:pt x="413" y="416"/>
                </a:lnTo>
                <a:lnTo>
                  <a:pt x="412" y="408"/>
                </a:lnTo>
                <a:lnTo>
                  <a:pt x="412" y="408"/>
                </a:lnTo>
                <a:lnTo>
                  <a:pt x="412" y="400"/>
                </a:lnTo>
                <a:lnTo>
                  <a:pt x="413" y="393"/>
                </a:lnTo>
                <a:lnTo>
                  <a:pt x="418" y="381"/>
                </a:lnTo>
                <a:lnTo>
                  <a:pt x="421" y="367"/>
                </a:lnTo>
                <a:lnTo>
                  <a:pt x="422" y="360"/>
                </a:lnTo>
                <a:lnTo>
                  <a:pt x="423" y="353"/>
                </a:lnTo>
                <a:lnTo>
                  <a:pt x="423" y="353"/>
                </a:lnTo>
                <a:lnTo>
                  <a:pt x="422" y="348"/>
                </a:lnTo>
                <a:lnTo>
                  <a:pt x="422" y="344"/>
                </a:lnTo>
                <a:lnTo>
                  <a:pt x="419" y="337"/>
                </a:lnTo>
                <a:lnTo>
                  <a:pt x="414" y="331"/>
                </a:lnTo>
                <a:lnTo>
                  <a:pt x="409" y="325"/>
                </a:lnTo>
                <a:lnTo>
                  <a:pt x="403" y="321"/>
                </a:lnTo>
                <a:lnTo>
                  <a:pt x="398" y="316"/>
                </a:lnTo>
                <a:lnTo>
                  <a:pt x="395" y="312"/>
                </a:lnTo>
                <a:lnTo>
                  <a:pt x="394" y="305"/>
                </a:lnTo>
                <a:lnTo>
                  <a:pt x="394" y="305"/>
                </a:lnTo>
                <a:lnTo>
                  <a:pt x="394" y="301"/>
                </a:lnTo>
                <a:lnTo>
                  <a:pt x="395" y="298"/>
                </a:lnTo>
                <a:lnTo>
                  <a:pt x="399" y="291"/>
                </a:lnTo>
                <a:lnTo>
                  <a:pt x="405" y="284"/>
                </a:lnTo>
                <a:lnTo>
                  <a:pt x="412" y="278"/>
                </a:lnTo>
                <a:lnTo>
                  <a:pt x="421" y="272"/>
                </a:lnTo>
                <a:lnTo>
                  <a:pt x="429" y="268"/>
                </a:lnTo>
                <a:lnTo>
                  <a:pt x="437" y="266"/>
                </a:lnTo>
                <a:lnTo>
                  <a:pt x="445" y="264"/>
                </a:lnTo>
                <a:lnTo>
                  <a:pt x="445" y="264"/>
                </a:lnTo>
                <a:lnTo>
                  <a:pt x="451" y="264"/>
                </a:lnTo>
                <a:lnTo>
                  <a:pt x="458" y="266"/>
                </a:lnTo>
                <a:lnTo>
                  <a:pt x="470" y="270"/>
                </a:lnTo>
                <a:lnTo>
                  <a:pt x="480" y="274"/>
                </a:lnTo>
                <a:lnTo>
                  <a:pt x="487" y="275"/>
                </a:lnTo>
                <a:lnTo>
                  <a:pt x="494" y="276"/>
                </a:lnTo>
                <a:lnTo>
                  <a:pt x="494" y="276"/>
                </a:lnTo>
                <a:lnTo>
                  <a:pt x="503" y="275"/>
                </a:lnTo>
                <a:lnTo>
                  <a:pt x="506" y="272"/>
                </a:lnTo>
                <a:lnTo>
                  <a:pt x="509" y="271"/>
                </a:lnTo>
                <a:lnTo>
                  <a:pt x="511" y="269"/>
                </a:lnTo>
                <a:lnTo>
                  <a:pt x="513" y="266"/>
                </a:lnTo>
                <a:lnTo>
                  <a:pt x="516" y="260"/>
                </a:lnTo>
                <a:lnTo>
                  <a:pt x="516" y="252"/>
                </a:lnTo>
                <a:lnTo>
                  <a:pt x="516" y="243"/>
                </a:lnTo>
                <a:lnTo>
                  <a:pt x="514" y="224"/>
                </a:lnTo>
                <a:lnTo>
                  <a:pt x="514" y="224"/>
                </a:lnTo>
                <a:lnTo>
                  <a:pt x="514" y="179"/>
                </a:lnTo>
                <a:lnTo>
                  <a:pt x="514" y="179"/>
                </a:lnTo>
                <a:lnTo>
                  <a:pt x="516" y="172"/>
                </a:lnTo>
                <a:lnTo>
                  <a:pt x="517" y="167"/>
                </a:lnTo>
                <a:lnTo>
                  <a:pt x="519" y="161"/>
                </a:lnTo>
                <a:lnTo>
                  <a:pt x="521" y="156"/>
                </a:lnTo>
                <a:lnTo>
                  <a:pt x="529" y="148"/>
                </a:lnTo>
                <a:lnTo>
                  <a:pt x="537" y="140"/>
                </a:lnTo>
                <a:lnTo>
                  <a:pt x="545" y="132"/>
                </a:lnTo>
                <a:lnTo>
                  <a:pt x="552" y="123"/>
                </a:lnTo>
                <a:lnTo>
                  <a:pt x="555" y="117"/>
                </a:lnTo>
                <a:lnTo>
                  <a:pt x="557" y="111"/>
                </a:lnTo>
                <a:lnTo>
                  <a:pt x="558" y="104"/>
                </a:lnTo>
                <a:lnTo>
                  <a:pt x="559" y="95"/>
                </a:lnTo>
                <a:lnTo>
                  <a:pt x="559" y="95"/>
                </a:lnTo>
                <a:lnTo>
                  <a:pt x="558" y="86"/>
                </a:lnTo>
                <a:lnTo>
                  <a:pt x="556" y="78"/>
                </a:lnTo>
                <a:lnTo>
                  <a:pt x="552" y="70"/>
                </a:lnTo>
                <a:lnTo>
                  <a:pt x="548" y="63"/>
                </a:lnTo>
                <a:lnTo>
                  <a:pt x="541" y="48"/>
                </a:lnTo>
                <a:lnTo>
                  <a:pt x="539" y="41"/>
                </a:lnTo>
                <a:lnTo>
                  <a:pt x="537" y="33"/>
                </a:lnTo>
                <a:lnTo>
                  <a:pt x="537" y="33"/>
                </a:lnTo>
                <a:lnTo>
                  <a:pt x="531" y="29"/>
                </a:lnTo>
                <a:lnTo>
                  <a:pt x="525" y="26"/>
                </a:lnTo>
                <a:lnTo>
                  <a:pt x="518" y="25"/>
                </a:lnTo>
                <a:lnTo>
                  <a:pt x="518" y="25"/>
                </a:lnTo>
                <a:lnTo>
                  <a:pt x="518" y="2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1" name="Freeform 86"/>
          <p:cNvSpPr>
            <a:spLocks/>
          </p:cNvSpPr>
          <p:nvPr/>
        </p:nvSpPr>
        <p:spPr bwMode="auto">
          <a:xfrm>
            <a:off x="733425" y="4346575"/>
            <a:ext cx="250825" cy="352425"/>
          </a:xfrm>
          <a:custGeom>
            <a:avLst/>
            <a:gdLst/>
            <a:ahLst/>
            <a:cxnLst>
              <a:cxn ang="0">
                <a:pos x="204" y="393"/>
              </a:cxn>
              <a:cxn ang="0">
                <a:pos x="214" y="366"/>
              </a:cxn>
              <a:cxn ang="0">
                <a:pos x="241" y="337"/>
              </a:cxn>
              <a:cxn ang="0">
                <a:pos x="267" y="310"/>
              </a:cxn>
              <a:cxn ang="0">
                <a:pos x="279" y="285"/>
              </a:cxn>
              <a:cxn ang="0">
                <a:pos x="279" y="269"/>
              </a:cxn>
              <a:cxn ang="0">
                <a:pos x="273" y="253"/>
              </a:cxn>
              <a:cxn ang="0">
                <a:pos x="276" y="248"/>
              </a:cxn>
              <a:cxn ang="0">
                <a:pos x="296" y="229"/>
              </a:cxn>
              <a:cxn ang="0">
                <a:pos x="296" y="223"/>
              </a:cxn>
              <a:cxn ang="0">
                <a:pos x="273" y="202"/>
              </a:cxn>
              <a:cxn ang="0">
                <a:pos x="274" y="195"/>
              </a:cxn>
              <a:cxn ang="0">
                <a:pos x="287" y="184"/>
              </a:cxn>
              <a:cxn ang="0">
                <a:pos x="286" y="175"/>
              </a:cxn>
              <a:cxn ang="0">
                <a:pos x="283" y="165"/>
              </a:cxn>
              <a:cxn ang="0">
                <a:pos x="297" y="140"/>
              </a:cxn>
              <a:cxn ang="0">
                <a:pos x="289" y="117"/>
              </a:cxn>
              <a:cxn ang="0">
                <a:pos x="239" y="103"/>
              </a:cxn>
              <a:cxn ang="0">
                <a:pos x="166" y="81"/>
              </a:cxn>
              <a:cxn ang="0">
                <a:pos x="157" y="77"/>
              </a:cxn>
              <a:cxn ang="0">
                <a:pos x="140" y="50"/>
              </a:cxn>
              <a:cxn ang="0">
                <a:pos x="125" y="30"/>
              </a:cxn>
              <a:cxn ang="0">
                <a:pos x="111" y="26"/>
              </a:cxn>
              <a:cxn ang="0">
                <a:pos x="85" y="26"/>
              </a:cxn>
              <a:cxn ang="0">
                <a:pos x="71" y="20"/>
              </a:cxn>
              <a:cxn ang="0">
                <a:pos x="59" y="4"/>
              </a:cxn>
              <a:cxn ang="0">
                <a:pos x="51" y="4"/>
              </a:cxn>
              <a:cxn ang="0">
                <a:pos x="42" y="20"/>
              </a:cxn>
              <a:cxn ang="0">
                <a:pos x="34" y="40"/>
              </a:cxn>
              <a:cxn ang="0">
                <a:pos x="26" y="49"/>
              </a:cxn>
              <a:cxn ang="0">
                <a:pos x="5" y="65"/>
              </a:cxn>
              <a:cxn ang="0">
                <a:pos x="0" y="77"/>
              </a:cxn>
              <a:cxn ang="0">
                <a:pos x="3" y="93"/>
              </a:cxn>
              <a:cxn ang="0">
                <a:pos x="11" y="102"/>
              </a:cxn>
              <a:cxn ang="0">
                <a:pos x="36" y="112"/>
              </a:cxn>
              <a:cxn ang="0">
                <a:pos x="45" y="127"/>
              </a:cxn>
              <a:cxn ang="0">
                <a:pos x="49" y="153"/>
              </a:cxn>
              <a:cxn ang="0">
                <a:pos x="53" y="173"/>
              </a:cxn>
              <a:cxn ang="0">
                <a:pos x="66" y="184"/>
              </a:cxn>
              <a:cxn ang="0">
                <a:pos x="105" y="194"/>
              </a:cxn>
              <a:cxn ang="0">
                <a:pos x="119" y="203"/>
              </a:cxn>
              <a:cxn ang="0">
                <a:pos x="121" y="209"/>
              </a:cxn>
              <a:cxn ang="0">
                <a:pos x="120" y="262"/>
              </a:cxn>
              <a:cxn ang="0">
                <a:pos x="120" y="285"/>
              </a:cxn>
              <a:cxn ang="0">
                <a:pos x="126" y="298"/>
              </a:cxn>
              <a:cxn ang="0">
                <a:pos x="138" y="309"/>
              </a:cxn>
              <a:cxn ang="0">
                <a:pos x="155" y="314"/>
              </a:cxn>
              <a:cxn ang="0">
                <a:pos x="163" y="323"/>
              </a:cxn>
              <a:cxn ang="0">
                <a:pos x="203" y="405"/>
              </a:cxn>
            </a:cxnLst>
            <a:rect l="0" t="0" r="r" b="b"/>
            <a:pathLst>
              <a:path w="305" h="405">
                <a:moveTo>
                  <a:pt x="203" y="405"/>
                </a:moveTo>
                <a:lnTo>
                  <a:pt x="203" y="405"/>
                </a:lnTo>
                <a:lnTo>
                  <a:pt x="204" y="393"/>
                </a:lnTo>
                <a:lnTo>
                  <a:pt x="206" y="383"/>
                </a:lnTo>
                <a:lnTo>
                  <a:pt x="210" y="374"/>
                </a:lnTo>
                <a:lnTo>
                  <a:pt x="214" y="366"/>
                </a:lnTo>
                <a:lnTo>
                  <a:pt x="220" y="358"/>
                </a:lnTo>
                <a:lnTo>
                  <a:pt x="227" y="351"/>
                </a:lnTo>
                <a:lnTo>
                  <a:pt x="241" y="337"/>
                </a:lnTo>
                <a:lnTo>
                  <a:pt x="256" y="324"/>
                </a:lnTo>
                <a:lnTo>
                  <a:pt x="262" y="317"/>
                </a:lnTo>
                <a:lnTo>
                  <a:pt x="267" y="310"/>
                </a:lnTo>
                <a:lnTo>
                  <a:pt x="273" y="302"/>
                </a:lnTo>
                <a:lnTo>
                  <a:pt x="276" y="294"/>
                </a:lnTo>
                <a:lnTo>
                  <a:pt x="279" y="285"/>
                </a:lnTo>
                <a:lnTo>
                  <a:pt x="280" y="276"/>
                </a:lnTo>
                <a:lnTo>
                  <a:pt x="280" y="276"/>
                </a:lnTo>
                <a:lnTo>
                  <a:pt x="279" y="269"/>
                </a:lnTo>
                <a:lnTo>
                  <a:pt x="276" y="263"/>
                </a:lnTo>
                <a:lnTo>
                  <a:pt x="274" y="259"/>
                </a:lnTo>
                <a:lnTo>
                  <a:pt x="273" y="253"/>
                </a:lnTo>
                <a:lnTo>
                  <a:pt x="273" y="253"/>
                </a:lnTo>
                <a:lnTo>
                  <a:pt x="273" y="251"/>
                </a:lnTo>
                <a:lnTo>
                  <a:pt x="276" y="248"/>
                </a:lnTo>
                <a:lnTo>
                  <a:pt x="283" y="241"/>
                </a:lnTo>
                <a:lnTo>
                  <a:pt x="293" y="233"/>
                </a:lnTo>
                <a:lnTo>
                  <a:pt x="296" y="229"/>
                </a:lnTo>
                <a:lnTo>
                  <a:pt x="298" y="224"/>
                </a:lnTo>
                <a:lnTo>
                  <a:pt x="298" y="224"/>
                </a:lnTo>
                <a:lnTo>
                  <a:pt x="296" y="223"/>
                </a:lnTo>
                <a:lnTo>
                  <a:pt x="293" y="221"/>
                </a:lnTo>
                <a:lnTo>
                  <a:pt x="283" y="213"/>
                </a:lnTo>
                <a:lnTo>
                  <a:pt x="273" y="202"/>
                </a:lnTo>
                <a:lnTo>
                  <a:pt x="273" y="202"/>
                </a:lnTo>
                <a:lnTo>
                  <a:pt x="273" y="199"/>
                </a:lnTo>
                <a:lnTo>
                  <a:pt x="274" y="195"/>
                </a:lnTo>
                <a:lnTo>
                  <a:pt x="278" y="192"/>
                </a:lnTo>
                <a:lnTo>
                  <a:pt x="282" y="188"/>
                </a:lnTo>
                <a:lnTo>
                  <a:pt x="287" y="184"/>
                </a:lnTo>
                <a:lnTo>
                  <a:pt x="287" y="184"/>
                </a:lnTo>
                <a:lnTo>
                  <a:pt x="287" y="179"/>
                </a:lnTo>
                <a:lnTo>
                  <a:pt x="286" y="175"/>
                </a:lnTo>
                <a:lnTo>
                  <a:pt x="283" y="170"/>
                </a:lnTo>
                <a:lnTo>
                  <a:pt x="283" y="165"/>
                </a:lnTo>
                <a:lnTo>
                  <a:pt x="283" y="165"/>
                </a:lnTo>
                <a:lnTo>
                  <a:pt x="285" y="161"/>
                </a:lnTo>
                <a:lnTo>
                  <a:pt x="290" y="152"/>
                </a:lnTo>
                <a:lnTo>
                  <a:pt x="297" y="140"/>
                </a:lnTo>
                <a:lnTo>
                  <a:pt x="305" y="125"/>
                </a:lnTo>
                <a:lnTo>
                  <a:pt x="305" y="125"/>
                </a:lnTo>
                <a:lnTo>
                  <a:pt x="289" y="117"/>
                </a:lnTo>
                <a:lnTo>
                  <a:pt x="272" y="111"/>
                </a:lnTo>
                <a:lnTo>
                  <a:pt x="256" y="107"/>
                </a:lnTo>
                <a:lnTo>
                  <a:pt x="239" y="103"/>
                </a:lnTo>
                <a:lnTo>
                  <a:pt x="203" y="94"/>
                </a:lnTo>
                <a:lnTo>
                  <a:pt x="184" y="88"/>
                </a:lnTo>
                <a:lnTo>
                  <a:pt x="166" y="81"/>
                </a:lnTo>
                <a:lnTo>
                  <a:pt x="166" y="81"/>
                </a:lnTo>
                <a:lnTo>
                  <a:pt x="161" y="79"/>
                </a:lnTo>
                <a:lnTo>
                  <a:pt x="157" y="77"/>
                </a:lnTo>
                <a:lnTo>
                  <a:pt x="151" y="69"/>
                </a:lnTo>
                <a:lnTo>
                  <a:pt x="145" y="60"/>
                </a:lnTo>
                <a:lnTo>
                  <a:pt x="140" y="50"/>
                </a:lnTo>
                <a:lnTo>
                  <a:pt x="135" y="41"/>
                </a:lnTo>
                <a:lnTo>
                  <a:pt x="128" y="33"/>
                </a:lnTo>
                <a:lnTo>
                  <a:pt x="125" y="30"/>
                </a:lnTo>
                <a:lnTo>
                  <a:pt x="121" y="27"/>
                </a:lnTo>
                <a:lnTo>
                  <a:pt x="117" y="26"/>
                </a:lnTo>
                <a:lnTo>
                  <a:pt x="111" y="26"/>
                </a:lnTo>
                <a:lnTo>
                  <a:pt x="111" y="26"/>
                </a:lnTo>
                <a:lnTo>
                  <a:pt x="85" y="26"/>
                </a:lnTo>
                <a:lnTo>
                  <a:pt x="85" y="26"/>
                </a:lnTo>
                <a:lnTo>
                  <a:pt x="79" y="25"/>
                </a:lnTo>
                <a:lnTo>
                  <a:pt x="74" y="23"/>
                </a:lnTo>
                <a:lnTo>
                  <a:pt x="71" y="20"/>
                </a:lnTo>
                <a:lnTo>
                  <a:pt x="68" y="17"/>
                </a:lnTo>
                <a:lnTo>
                  <a:pt x="62" y="9"/>
                </a:lnTo>
                <a:lnTo>
                  <a:pt x="59" y="4"/>
                </a:lnTo>
                <a:lnTo>
                  <a:pt x="56" y="0"/>
                </a:lnTo>
                <a:lnTo>
                  <a:pt x="56" y="0"/>
                </a:lnTo>
                <a:lnTo>
                  <a:pt x="51" y="4"/>
                </a:lnTo>
                <a:lnTo>
                  <a:pt x="48" y="9"/>
                </a:lnTo>
                <a:lnTo>
                  <a:pt x="44" y="15"/>
                </a:lnTo>
                <a:lnTo>
                  <a:pt x="42" y="20"/>
                </a:lnTo>
                <a:lnTo>
                  <a:pt x="38" y="31"/>
                </a:lnTo>
                <a:lnTo>
                  <a:pt x="36" y="35"/>
                </a:lnTo>
                <a:lnTo>
                  <a:pt x="34" y="40"/>
                </a:lnTo>
                <a:lnTo>
                  <a:pt x="34" y="40"/>
                </a:lnTo>
                <a:lnTo>
                  <a:pt x="30" y="46"/>
                </a:lnTo>
                <a:lnTo>
                  <a:pt x="26" y="49"/>
                </a:lnTo>
                <a:lnTo>
                  <a:pt x="14" y="57"/>
                </a:lnTo>
                <a:lnTo>
                  <a:pt x="8" y="61"/>
                </a:lnTo>
                <a:lnTo>
                  <a:pt x="5" y="65"/>
                </a:lnTo>
                <a:lnTo>
                  <a:pt x="1" y="71"/>
                </a:lnTo>
                <a:lnTo>
                  <a:pt x="0" y="77"/>
                </a:lnTo>
                <a:lnTo>
                  <a:pt x="0" y="77"/>
                </a:lnTo>
                <a:lnTo>
                  <a:pt x="0" y="84"/>
                </a:lnTo>
                <a:lnTo>
                  <a:pt x="1" y="88"/>
                </a:lnTo>
                <a:lnTo>
                  <a:pt x="3" y="93"/>
                </a:lnTo>
                <a:lnTo>
                  <a:pt x="5" y="96"/>
                </a:lnTo>
                <a:lnTo>
                  <a:pt x="7" y="100"/>
                </a:lnTo>
                <a:lnTo>
                  <a:pt x="11" y="102"/>
                </a:lnTo>
                <a:lnTo>
                  <a:pt x="16" y="106"/>
                </a:lnTo>
                <a:lnTo>
                  <a:pt x="30" y="110"/>
                </a:lnTo>
                <a:lnTo>
                  <a:pt x="36" y="112"/>
                </a:lnTo>
                <a:lnTo>
                  <a:pt x="41" y="117"/>
                </a:lnTo>
                <a:lnTo>
                  <a:pt x="41" y="117"/>
                </a:lnTo>
                <a:lnTo>
                  <a:pt x="45" y="127"/>
                </a:lnTo>
                <a:lnTo>
                  <a:pt x="48" y="135"/>
                </a:lnTo>
                <a:lnTo>
                  <a:pt x="49" y="145"/>
                </a:lnTo>
                <a:lnTo>
                  <a:pt x="49" y="153"/>
                </a:lnTo>
                <a:lnTo>
                  <a:pt x="50" y="161"/>
                </a:lnTo>
                <a:lnTo>
                  <a:pt x="51" y="168"/>
                </a:lnTo>
                <a:lnTo>
                  <a:pt x="53" y="173"/>
                </a:lnTo>
                <a:lnTo>
                  <a:pt x="59" y="179"/>
                </a:lnTo>
                <a:lnTo>
                  <a:pt x="59" y="179"/>
                </a:lnTo>
                <a:lnTo>
                  <a:pt x="66" y="184"/>
                </a:lnTo>
                <a:lnTo>
                  <a:pt x="75" y="186"/>
                </a:lnTo>
                <a:lnTo>
                  <a:pt x="96" y="192"/>
                </a:lnTo>
                <a:lnTo>
                  <a:pt x="105" y="194"/>
                </a:lnTo>
                <a:lnTo>
                  <a:pt x="114" y="199"/>
                </a:lnTo>
                <a:lnTo>
                  <a:pt x="117" y="201"/>
                </a:lnTo>
                <a:lnTo>
                  <a:pt x="119" y="203"/>
                </a:lnTo>
                <a:lnTo>
                  <a:pt x="121" y="206"/>
                </a:lnTo>
                <a:lnTo>
                  <a:pt x="121" y="209"/>
                </a:lnTo>
                <a:lnTo>
                  <a:pt x="121" y="209"/>
                </a:lnTo>
                <a:lnTo>
                  <a:pt x="121" y="249"/>
                </a:lnTo>
                <a:lnTo>
                  <a:pt x="121" y="249"/>
                </a:lnTo>
                <a:lnTo>
                  <a:pt x="120" y="262"/>
                </a:lnTo>
                <a:lnTo>
                  <a:pt x="119" y="274"/>
                </a:lnTo>
                <a:lnTo>
                  <a:pt x="119" y="279"/>
                </a:lnTo>
                <a:lnTo>
                  <a:pt x="120" y="285"/>
                </a:lnTo>
                <a:lnTo>
                  <a:pt x="122" y="291"/>
                </a:lnTo>
                <a:lnTo>
                  <a:pt x="126" y="298"/>
                </a:lnTo>
                <a:lnTo>
                  <a:pt x="126" y="298"/>
                </a:lnTo>
                <a:lnTo>
                  <a:pt x="129" y="303"/>
                </a:lnTo>
                <a:lnTo>
                  <a:pt x="134" y="307"/>
                </a:lnTo>
                <a:lnTo>
                  <a:pt x="138" y="309"/>
                </a:lnTo>
                <a:lnTo>
                  <a:pt x="144" y="310"/>
                </a:lnTo>
                <a:lnTo>
                  <a:pt x="149" y="312"/>
                </a:lnTo>
                <a:lnTo>
                  <a:pt x="155" y="314"/>
                </a:lnTo>
                <a:lnTo>
                  <a:pt x="159" y="317"/>
                </a:lnTo>
                <a:lnTo>
                  <a:pt x="163" y="323"/>
                </a:lnTo>
                <a:lnTo>
                  <a:pt x="163" y="323"/>
                </a:lnTo>
                <a:lnTo>
                  <a:pt x="203" y="405"/>
                </a:lnTo>
                <a:lnTo>
                  <a:pt x="203" y="405"/>
                </a:lnTo>
                <a:lnTo>
                  <a:pt x="203" y="40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2" name="Freeform 87"/>
          <p:cNvSpPr>
            <a:spLocks/>
          </p:cNvSpPr>
          <p:nvPr/>
        </p:nvSpPr>
        <p:spPr bwMode="auto">
          <a:xfrm>
            <a:off x="2754313" y="2995613"/>
            <a:ext cx="101600" cy="92075"/>
          </a:xfrm>
          <a:custGeom>
            <a:avLst/>
            <a:gdLst/>
            <a:ahLst/>
            <a:cxnLst>
              <a:cxn ang="0">
                <a:pos x="106" y="55"/>
              </a:cxn>
              <a:cxn ang="0">
                <a:pos x="106" y="55"/>
              </a:cxn>
              <a:cxn ang="0">
                <a:pos x="104" y="54"/>
              </a:cxn>
              <a:cxn ang="0">
                <a:pos x="102" y="53"/>
              </a:cxn>
              <a:cxn ang="0">
                <a:pos x="99" y="47"/>
              </a:cxn>
              <a:cxn ang="0">
                <a:pos x="89" y="30"/>
              </a:cxn>
              <a:cxn ang="0">
                <a:pos x="77" y="0"/>
              </a:cxn>
              <a:cxn ang="0">
                <a:pos x="77" y="0"/>
              </a:cxn>
              <a:cxn ang="0">
                <a:pos x="63" y="2"/>
              </a:cxn>
              <a:cxn ang="0">
                <a:pos x="50" y="7"/>
              </a:cxn>
              <a:cxn ang="0">
                <a:pos x="38" y="12"/>
              </a:cxn>
              <a:cxn ang="0">
                <a:pos x="25" y="20"/>
              </a:cxn>
              <a:cxn ang="0">
                <a:pos x="20" y="25"/>
              </a:cxn>
              <a:cxn ang="0">
                <a:pos x="15" y="30"/>
              </a:cxn>
              <a:cxn ang="0">
                <a:pos x="10" y="35"/>
              </a:cxn>
              <a:cxn ang="0">
                <a:pos x="7" y="42"/>
              </a:cxn>
              <a:cxn ang="0">
                <a:pos x="3" y="49"/>
              </a:cxn>
              <a:cxn ang="0">
                <a:pos x="1" y="56"/>
              </a:cxn>
              <a:cxn ang="0">
                <a:pos x="0" y="64"/>
              </a:cxn>
              <a:cxn ang="0">
                <a:pos x="0" y="73"/>
              </a:cxn>
              <a:cxn ang="0">
                <a:pos x="0" y="73"/>
              </a:cxn>
              <a:cxn ang="0">
                <a:pos x="0" y="87"/>
              </a:cxn>
              <a:cxn ang="0">
                <a:pos x="0" y="93"/>
              </a:cxn>
              <a:cxn ang="0">
                <a:pos x="2" y="97"/>
              </a:cxn>
              <a:cxn ang="0">
                <a:pos x="3" y="102"/>
              </a:cxn>
              <a:cxn ang="0">
                <a:pos x="7" y="104"/>
              </a:cxn>
              <a:cxn ang="0">
                <a:pos x="11" y="106"/>
              </a:cxn>
              <a:cxn ang="0">
                <a:pos x="17" y="107"/>
              </a:cxn>
              <a:cxn ang="0">
                <a:pos x="17" y="107"/>
              </a:cxn>
              <a:cxn ang="0">
                <a:pos x="25" y="106"/>
              </a:cxn>
              <a:cxn ang="0">
                <a:pos x="32" y="104"/>
              </a:cxn>
              <a:cxn ang="0">
                <a:pos x="45" y="101"/>
              </a:cxn>
              <a:cxn ang="0">
                <a:pos x="55" y="96"/>
              </a:cxn>
              <a:cxn ang="0">
                <a:pos x="60" y="95"/>
              </a:cxn>
              <a:cxn ang="0">
                <a:pos x="65" y="95"/>
              </a:cxn>
              <a:cxn ang="0">
                <a:pos x="65" y="95"/>
              </a:cxn>
              <a:cxn ang="0">
                <a:pos x="106" y="95"/>
              </a:cxn>
              <a:cxn ang="0">
                <a:pos x="106" y="95"/>
              </a:cxn>
              <a:cxn ang="0">
                <a:pos x="110" y="95"/>
              </a:cxn>
              <a:cxn ang="0">
                <a:pos x="116" y="93"/>
              </a:cxn>
              <a:cxn ang="0">
                <a:pos x="119" y="92"/>
              </a:cxn>
              <a:cxn ang="0">
                <a:pos x="122" y="89"/>
              </a:cxn>
              <a:cxn ang="0">
                <a:pos x="123" y="85"/>
              </a:cxn>
              <a:cxn ang="0">
                <a:pos x="124" y="80"/>
              </a:cxn>
              <a:cxn ang="0">
                <a:pos x="124" y="80"/>
              </a:cxn>
              <a:cxn ang="0">
                <a:pos x="124" y="76"/>
              </a:cxn>
              <a:cxn ang="0">
                <a:pos x="122" y="72"/>
              </a:cxn>
              <a:cxn ang="0">
                <a:pos x="118" y="63"/>
              </a:cxn>
              <a:cxn ang="0">
                <a:pos x="111" y="57"/>
              </a:cxn>
              <a:cxn ang="0">
                <a:pos x="109" y="55"/>
              </a:cxn>
              <a:cxn ang="0">
                <a:pos x="106" y="55"/>
              </a:cxn>
              <a:cxn ang="0">
                <a:pos x="106" y="55"/>
              </a:cxn>
              <a:cxn ang="0">
                <a:pos x="106" y="55"/>
              </a:cxn>
            </a:cxnLst>
            <a:rect l="0" t="0" r="r" b="b"/>
            <a:pathLst>
              <a:path w="124" h="107">
                <a:moveTo>
                  <a:pt x="106" y="55"/>
                </a:moveTo>
                <a:lnTo>
                  <a:pt x="106" y="55"/>
                </a:lnTo>
                <a:lnTo>
                  <a:pt x="104" y="54"/>
                </a:lnTo>
                <a:lnTo>
                  <a:pt x="102" y="53"/>
                </a:lnTo>
                <a:lnTo>
                  <a:pt x="99" y="47"/>
                </a:lnTo>
                <a:lnTo>
                  <a:pt x="89" y="30"/>
                </a:lnTo>
                <a:lnTo>
                  <a:pt x="77" y="0"/>
                </a:lnTo>
                <a:lnTo>
                  <a:pt x="77" y="0"/>
                </a:lnTo>
                <a:lnTo>
                  <a:pt x="63" y="2"/>
                </a:lnTo>
                <a:lnTo>
                  <a:pt x="50" y="7"/>
                </a:lnTo>
                <a:lnTo>
                  <a:pt x="38" y="12"/>
                </a:lnTo>
                <a:lnTo>
                  <a:pt x="25" y="20"/>
                </a:lnTo>
                <a:lnTo>
                  <a:pt x="20" y="25"/>
                </a:lnTo>
                <a:lnTo>
                  <a:pt x="15" y="30"/>
                </a:lnTo>
                <a:lnTo>
                  <a:pt x="10" y="35"/>
                </a:lnTo>
                <a:lnTo>
                  <a:pt x="7" y="42"/>
                </a:lnTo>
                <a:lnTo>
                  <a:pt x="3" y="49"/>
                </a:lnTo>
                <a:lnTo>
                  <a:pt x="1" y="56"/>
                </a:lnTo>
                <a:lnTo>
                  <a:pt x="0" y="64"/>
                </a:lnTo>
                <a:lnTo>
                  <a:pt x="0" y="73"/>
                </a:lnTo>
                <a:lnTo>
                  <a:pt x="0" y="73"/>
                </a:lnTo>
                <a:lnTo>
                  <a:pt x="0" y="87"/>
                </a:lnTo>
                <a:lnTo>
                  <a:pt x="0" y="93"/>
                </a:lnTo>
                <a:lnTo>
                  <a:pt x="2" y="97"/>
                </a:lnTo>
                <a:lnTo>
                  <a:pt x="3" y="102"/>
                </a:lnTo>
                <a:lnTo>
                  <a:pt x="7" y="104"/>
                </a:lnTo>
                <a:lnTo>
                  <a:pt x="11" y="106"/>
                </a:lnTo>
                <a:lnTo>
                  <a:pt x="17" y="107"/>
                </a:lnTo>
                <a:lnTo>
                  <a:pt x="17" y="107"/>
                </a:lnTo>
                <a:lnTo>
                  <a:pt x="25" y="106"/>
                </a:lnTo>
                <a:lnTo>
                  <a:pt x="32" y="104"/>
                </a:lnTo>
                <a:lnTo>
                  <a:pt x="45" y="101"/>
                </a:lnTo>
                <a:lnTo>
                  <a:pt x="55" y="96"/>
                </a:lnTo>
                <a:lnTo>
                  <a:pt x="60" y="95"/>
                </a:lnTo>
                <a:lnTo>
                  <a:pt x="65" y="95"/>
                </a:lnTo>
                <a:lnTo>
                  <a:pt x="65" y="95"/>
                </a:lnTo>
                <a:lnTo>
                  <a:pt x="106" y="95"/>
                </a:lnTo>
                <a:lnTo>
                  <a:pt x="106" y="95"/>
                </a:lnTo>
                <a:lnTo>
                  <a:pt x="110" y="95"/>
                </a:lnTo>
                <a:lnTo>
                  <a:pt x="116" y="93"/>
                </a:lnTo>
                <a:lnTo>
                  <a:pt x="119" y="92"/>
                </a:lnTo>
                <a:lnTo>
                  <a:pt x="122" y="89"/>
                </a:lnTo>
                <a:lnTo>
                  <a:pt x="123" y="85"/>
                </a:lnTo>
                <a:lnTo>
                  <a:pt x="124" y="80"/>
                </a:lnTo>
                <a:lnTo>
                  <a:pt x="124" y="80"/>
                </a:lnTo>
                <a:lnTo>
                  <a:pt x="124" y="76"/>
                </a:lnTo>
                <a:lnTo>
                  <a:pt x="122" y="72"/>
                </a:lnTo>
                <a:lnTo>
                  <a:pt x="118" y="63"/>
                </a:lnTo>
                <a:lnTo>
                  <a:pt x="111" y="57"/>
                </a:lnTo>
                <a:lnTo>
                  <a:pt x="109" y="55"/>
                </a:lnTo>
                <a:lnTo>
                  <a:pt x="106" y="55"/>
                </a:lnTo>
                <a:lnTo>
                  <a:pt x="106" y="55"/>
                </a:lnTo>
                <a:lnTo>
                  <a:pt x="106" y="5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3" name="Freeform 88"/>
          <p:cNvSpPr>
            <a:spLocks/>
          </p:cNvSpPr>
          <p:nvPr/>
        </p:nvSpPr>
        <p:spPr bwMode="auto">
          <a:xfrm>
            <a:off x="1857375" y="3890963"/>
            <a:ext cx="571500" cy="715962"/>
          </a:xfrm>
          <a:custGeom>
            <a:avLst/>
            <a:gdLst/>
            <a:ahLst/>
            <a:cxnLst>
              <a:cxn ang="0">
                <a:pos x="638" y="327"/>
              </a:cxn>
              <a:cxn ang="0">
                <a:pos x="687" y="359"/>
              </a:cxn>
              <a:cxn ang="0">
                <a:pos x="698" y="395"/>
              </a:cxn>
              <a:cxn ang="0">
                <a:pos x="660" y="435"/>
              </a:cxn>
              <a:cxn ang="0">
                <a:pos x="623" y="477"/>
              </a:cxn>
              <a:cxn ang="0">
                <a:pos x="618" y="565"/>
              </a:cxn>
              <a:cxn ang="0">
                <a:pos x="592" y="585"/>
              </a:cxn>
              <a:cxn ang="0">
                <a:pos x="554" y="588"/>
              </a:cxn>
              <a:cxn ang="0">
                <a:pos x="459" y="533"/>
              </a:cxn>
              <a:cxn ang="0">
                <a:pos x="428" y="557"/>
              </a:cxn>
              <a:cxn ang="0">
                <a:pos x="395" y="630"/>
              </a:cxn>
              <a:cxn ang="0">
                <a:pos x="363" y="637"/>
              </a:cxn>
              <a:cxn ang="0">
                <a:pos x="345" y="624"/>
              </a:cxn>
              <a:cxn ang="0">
                <a:pos x="317" y="639"/>
              </a:cxn>
              <a:cxn ang="0">
                <a:pos x="307" y="698"/>
              </a:cxn>
              <a:cxn ang="0">
                <a:pos x="287" y="729"/>
              </a:cxn>
              <a:cxn ang="0">
                <a:pos x="259" y="761"/>
              </a:cxn>
              <a:cxn ang="0">
                <a:pos x="259" y="807"/>
              </a:cxn>
              <a:cxn ang="0">
                <a:pos x="237" y="801"/>
              </a:cxn>
              <a:cxn ang="0">
                <a:pos x="195" y="701"/>
              </a:cxn>
              <a:cxn ang="0">
                <a:pos x="211" y="674"/>
              </a:cxn>
              <a:cxn ang="0">
                <a:pos x="206" y="647"/>
              </a:cxn>
              <a:cxn ang="0">
                <a:pos x="198" y="607"/>
              </a:cxn>
              <a:cxn ang="0">
                <a:pos x="182" y="591"/>
              </a:cxn>
              <a:cxn ang="0">
                <a:pos x="163" y="570"/>
              </a:cxn>
              <a:cxn ang="0">
                <a:pos x="146" y="554"/>
              </a:cxn>
              <a:cxn ang="0">
                <a:pos x="119" y="539"/>
              </a:cxn>
              <a:cxn ang="0">
                <a:pos x="67" y="531"/>
              </a:cxn>
              <a:cxn ang="0">
                <a:pos x="27" y="507"/>
              </a:cxn>
              <a:cxn ang="0">
                <a:pos x="1" y="485"/>
              </a:cxn>
              <a:cxn ang="0">
                <a:pos x="20" y="447"/>
              </a:cxn>
              <a:cxn ang="0">
                <a:pos x="59" y="426"/>
              </a:cxn>
              <a:cxn ang="0">
                <a:pos x="92" y="441"/>
              </a:cxn>
              <a:cxn ang="0">
                <a:pos x="122" y="426"/>
              </a:cxn>
              <a:cxn ang="0">
                <a:pos x="136" y="404"/>
              </a:cxn>
              <a:cxn ang="0">
                <a:pos x="74" y="324"/>
              </a:cxn>
              <a:cxn ang="0">
                <a:pos x="99" y="302"/>
              </a:cxn>
              <a:cxn ang="0">
                <a:pos x="118" y="280"/>
              </a:cxn>
              <a:cxn ang="0">
                <a:pos x="202" y="282"/>
              </a:cxn>
              <a:cxn ang="0">
                <a:pos x="233" y="257"/>
              </a:cxn>
              <a:cxn ang="0">
                <a:pos x="257" y="140"/>
              </a:cxn>
              <a:cxn ang="0">
                <a:pos x="328" y="20"/>
              </a:cxn>
              <a:cxn ang="0">
                <a:pos x="357" y="8"/>
              </a:cxn>
              <a:cxn ang="0">
                <a:pos x="396" y="5"/>
              </a:cxn>
              <a:cxn ang="0">
                <a:pos x="412" y="28"/>
              </a:cxn>
              <a:cxn ang="0">
                <a:pos x="419" y="74"/>
              </a:cxn>
              <a:cxn ang="0">
                <a:pos x="380" y="170"/>
              </a:cxn>
              <a:cxn ang="0">
                <a:pos x="356" y="199"/>
              </a:cxn>
              <a:cxn ang="0">
                <a:pos x="352" y="226"/>
              </a:cxn>
              <a:cxn ang="0">
                <a:pos x="357" y="283"/>
              </a:cxn>
              <a:cxn ang="0">
                <a:pos x="370" y="304"/>
              </a:cxn>
              <a:cxn ang="0">
                <a:pos x="389" y="334"/>
              </a:cxn>
              <a:cxn ang="0">
                <a:pos x="415" y="321"/>
              </a:cxn>
              <a:cxn ang="0">
                <a:pos x="454" y="292"/>
              </a:cxn>
              <a:cxn ang="0">
                <a:pos x="504" y="297"/>
              </a:cxn>
              <a:cxn ang="0">
                <a:pos x="540" y="287"/>
              </a:cxn>
              <a:cxn ang="0">
                <a:pos x="550" y="317"/>
              </a:cxn>
              <a:cxn ang="0">
                <a:pos x="577" y="313"/>
              </a:cxn>
              <a:cxn ang="0">
                <a:pos x="607" y="297"/>
              </a:cxn>
            </a:cxnLst>
            <a:rect l="0" t="0" r="r" b="b"/>
            <a:pathLst>
              <a:path w="699" h="820">
                <a:moveTo>
                  <a:pt x="625" y="297"/>
                </a:moveTo>
                <a:lnTo>
                  <a:pt x="625" y="297"/>
                </a:lnTo>
                <a:lnTo>
                  <a:pt x="626" y="307"/>
                </a:lnTo>
                <a:lnTo>
                  <a:pt x="629" y="315"/>
                </a:lnTo>
                <a:lnTo>
                  <a:pt x="633" y="321"/>
                </a:lnTo>
                <a:lnTo>
                  <a:pt x="638" y="327"/>
                </a:lnTo>
                <a:lnTo>
                  <a:pt x="643" y="332"/>
                </a:lnTo>
                <a:lnTo>
                  <a:pt x="649" y="336"/>
                </a:lnTo>
                <a:lnTo>
                  <a:pt x="663" y="343"/>
                </a:lnTo>
                <a:lnTo>
                  <a:pt x="676" y="350"/>
                </a:lnTo>
                <a:lnTo>
                  <a:pt x="681" y="355"/>
                </a:lnTo>
                <a:lnTo>
                  <a:pt x="687" y="359"/>
                </a:lnTo>
                <a:lnTo>
                  <a:pt x="692" y="364"/>
                </a:lnTo>
                <a:lnTo>
                  <a:pt x="695" y="371"/>
                </a:lnTo>
                <a:lnTo>
                  <a:pt x="698" y="378"/>
                </a:lnTo>
                <a:lnTo>
                  <a:pt x="699" y="386"/>
                </a:lnTo>
                <a:lnTo>
                  <a:pt x="699" y="386"/>
                </a:lnTo>
                <a:lnTo>
                  <a:pt x="698" y="395"/>
                </a:lnTo>
                <a:lnTo>
                  <a:pt x="695" y="403"/>
                </a:lnTo>
                <a:lnTo>
                  <a:pt x="692" y="410"/>
                </a:lnTo>
                <a:lnTo>
                  <a:pt x="686" y="416"/>
                </a:lnTo>
                <a:lnTo>
                  <a:pt x="680" y="422"/>
                </a:lnTo>
                <a:lnTo>
                  <a:pt x="675" y="426"/>
                </a:lnTo>
                <a:lnTo>
                  <a:pt x="660" y="435"/>
                </a:lnTo>
                <a:lnTo>
                  <a:pt x="646" y="445"/>
                </a:lnTo>
                <a:lnTo>
                  <a:pt x="639" y="450"/>
                </a:lnTo>
                <a:lnTo>
                  <a:pt x="633" y="455"/>
                </a:lnTo>
                <a:lnTo>
                  <a:pt x="629" y="462"/>
                </a:lnTo>
                <a:lnTo>
                  <a:pt x="625" y="469"/>
                </a:lnTo>
                <a:lnTo>
                  <a:pt x="623" y="477"/>
                </a:lnTo>
                <a:lnTo>
                  <a:pt x="622" y="485"/>
                </a:lnTo>
                <a:lnTo>
                  <a:pt x="622" y="485"/>
                </a:lnTo>
                <a:lnTo>
                  <a:pt x="622" y="559"/>
                </a:lnTo>
                <a:lnTo>
                  <a:pt x="622" y="559"/>
                </a:lnTo>
                <a:lnTo>
                  <a:pt x="618" y="565"/>
                </a:lnTo>
                <a:lnTo>
                  <a:pt x="618" y="565"/>
                </a:lnTo>
                <a:lnTo>
                  <a:pt x="618" y="565"/>
                </a:lnTo>
                <a:lnTo>
                  <a:pt x="612" y="568"/>
                </a:lnTo>
                <a:lnTo>
                  <a:pt x="607" y="571"/>
                </a:lnTo>
                <a:lnTo>
                  <a:pt x="602" y="575"/>
                </a:lnTo>
                <a:lnTo>
                  <a:pt x="596" y="579"/>
                </a:lnTo>
                <a:lnTo>
                  <a:pt x="592" y="585"/>
                </a:lnTo>
                <a:lnTo>
                  <a:pt x="588" y="592"/>
                </a:lnTo>
                <a:lnTo>
                  <a:pt x="584" y="599"/>
                </a:lnTo>
                <a:lnTo>
                  <a:pt x="580" y="607"/>
                </a:lnTo>
                <a:lnTo>
                  <a:pt x="580" y="607"/>
                </a:lnTo>
                <a:lnTo>
                  <a:pt x="569" y="599"/>
                </a:lnTo>
                <a:lnTo>
                  <a:pt x="554" y="588"/>
                </a:lnTo>
                <a:lnTo>
                  <a:pt x="520" y="564"/>
                </a:lnTo>
                <a:lnTo>
                  <a:pt x="503" y="553"/>
                </a:lnTo>
                <a:lnTo>
                  <a:pt x="487" y="542"/>
                </a:lnTo>
                <a:lnTo>
                  <a:pt x="472" y="535"/>
                </a:lnTo>
                <a:lnTo>
                  <a:pt x="465" y="533"/>
                </a:lnTo>
                <a:lnTo>
                  <a:pt x="459" y="533"/>
                </a:lnTo>
                <a:lnTo>
                  <a:pt x="459" y="533"/>
                </a:lnTo>
                <a:lnTo>
                  <a:pt x="451" y="534"/>
                </a:lnTo>
                <a:lnTo>
                  <a:pt x="444" y="538"/>
                </a:lnTo>
                <a:lnTo>
                  <a:pt x="439" y="542"/>
                </a:lnTo>
                <a:lnTo>
                  <a:pt x="433" y="549"/>
                </a:lnTo>
                <a:lnTo>
                  <a:pt x="428" y="557"/>
                </a:lnTo>
                <a:lnTo>
                  <a:pt x="425" y="567"/>
                </a:lnTo>
                <a:lnTo>
                  <a:pt x="417" y="586"/>
                </a:lnTo>
                <a:lnTo>
                  <a:pt x="409" y="606"/>
                </a:lnTo>
                <a:lnTo>
                  <a:pt x="405" y="615"/>
                </a:lnTo>
                <a:lnTo>
                  <a:pt x="400" y="623"/>
                </a:lnTo>
                <a:lnTo>
                  <a:pt x="395" y="630"/>
                </a:lnTo>
                <a:lnTo>
                  <a:pt x="388" y="634"/>
                </a:lnTo>
                <a:lnTo>
                  <a:pt x="380" y="638"/>
                </a:lnTo>
                <a:lnTo>
                  <a:pt x="372" y="639"/>
                </a:lnTo>
                <a:lnTo>
                  <a:pt x="372" y="639"/>
                </a:lnTo>
                <a:lnTo>
                  <a:pt x="366" y="639"/>
                </a:lnTo>
                <a:lnTo>
                  <a:pt x="363" y="637"/>
                </a:lnTo>
                <a:lnTo>
                  <a:pt x="360" y="634"/>
                </a:lnTo>
                <a:lnTo>
                  <a:pt x="358" y="632"/>
                </a:lnTo>
                <a:lnTo>
                  <a:pt x="356" y="630"/>
                </a:lnTo>
                <a:lnTo>
                  <a:pt x="354" y="626"/>
                </a:lnTo>
                <a:lnTo>
                  <a:pt x="350" y="625"/>
                </a:lnTo>
                <a:lnTo>
                  <a:pt x="345" y="624"/>
                </a:lnTo>
                <a:lnTo>
                  <a:pt x="345" y="624"/>
                </a:lnTo>
                <a:lnTo>
                  <a:pt x="340" y="626"/>
                </a:lnTo>
                <a:lnTo>
                  <a:pt x="329" y="631"/>
                </a:lnTo>
                <a:lnTo>
                  <a:pt x="320" y="636"/>
                </a:lnTo>
                <a:lnTo>
                  <a:pt x="318" y="638"/>
                </a:lnTo>
                <a:lnTo>
                  <a:pt x="317" y="639"/>
                </a:lnTo>
                <a:lnTo>
                  <a:pt x="317" y="639"/>
                </a:lnTo>
                <a:lnTo>
                  <a:pt x="314" y="646"/>
                </a:lnTo>
                <a:lnTo>
                  <a:pt x="312" y="653"/>
                </a:lnTo>
                <a:lnTo>
                  <a:pt x="311" y="670"/>
                </a:lnTo>
                <a:lnTo>
                  <a:pt x="310" y="689"/>
                </a:lnTo>
                <a:lnTo>
                  <a:pt x="307" y="698"/>
                </a:lnTo>
                <a:lnTo>
                  <a:pt x="305" y="706"/>
                </a:lnTo>
                <a:lnTo>
                  <a:pt x="305" y="706"/>
                </a:lnTo>
                <a:lnTo>
                  <a:pt x="304" y="712"/>
                </a:lnTo>
                <a:lnTo>
                  <a:pt x="302" y="715"/>
                </a:lnTo>
                <a:lnTo>
                  <a:pt x="295" y="723"/>
                </a:lnTo>
                <a:lnTo>
                  <a:pt x="287" y="729"/>
                </a:lnTo>
                <a:lnTo>
                  <a:pt x="279" y="735"/>
                </a:lnTo>
                <a:lnTo>
                  <a:pt x="271" y="741"/>
                </a:lnTo>
                <a:lnTo>
                  <a:pt x="267" y="745"/>
                </a:lnTo>
                <a:lnTo>
                  <a:pt x="264" y="750"/>
                </a:lnTo>
                <a:lnTo>
                  <a:pt x="261" y="755"/>
                </a:lnTo>
                <a:lnTo>
                  <a:pt x="259" y="761"/>
                </a:lnTo>
                <a:lnTo>
                  <a:pt x="258" y="768"/>
                </a:lnTo>
                <a:lnTo>
                  <a:pt x="257" y="775"/>
                </a:lnTo>
                <a:lnTo>
                  <a:pt x="257" y="775"/>
                </a:lnTo>
                <a:lnTo>
                  <a:pt x="258" y="785"/>
                </a:lnTo>
                <a:lnTo>
                  <a:pt x="259" y="796"/>
                </a:lnTo>
                <a:lnTo>
                  <a:pt x="259" y="807"/>
                </a:lnTo>
                <a:lnTo>
                  <a:pt x="257" y="820"/>
                </a:lnTo>
                <a:lnTo>
                  <a:pt x="257" y="820"/>
                </a:lnTo>
                <a:lnTo>
                  <a:pt x="252" y="817"/>
                </a:lnTo>
                <a:lnTo>
                  <a:pt x="248" y="813"/>
                </a:lnTo>
                <a:lnTo>
                  <a:pt x="242" y="808"/>
                </a:lnTo>
                <a:lnTo>
                  <a:pt x="237" y="801"/>
                </a:lnTo>
                <a:lnTo>
                  <a:pt x="227" y="785"/>
                </a:lnTo>
                <a:lnTo>
                  <a:pt x="217" y="767"/>
                </a:lnTo>
                <a:lnTo>
                  <a:pt x="209" y="747"/>
                </a:lnTo>
                <a:lnTo>
                  <a:pt x="202" y="729"/>
                </a:lnTo>
                <a:lnTo>
                  <a:pt x="197" y="713"/>
                </a:lnTo>
                <a:lnTo>
                  <a:pt x="195" y="701"/>
                </a:lnTo>
                <a:lnTo>
                  <a:pt x="195" y="701"/>
                </a:lnTo>
                <a:lnTo>
                  <a:pt x="196" y="695"/>
                </a:lnTo>
                <a:lnTo>
                  <a:pt x="198" y="690"/>
                </a:lnTo>
                <a:lnTo>
                  <a:pt x="200" y="685"/>
                </a:lnTo>
                <a:lnTo>
                  <a:pt x="204" y="680"/>
                </a:lnTo>
                <a:lnTo>
                  <a:pt x="211" y="674"/>
                </a:lnTo>
                <a:lnTo>
                  <a:pt x="212" y="669"/>
                </a:lnTo>
                <a:lnTo>
                  <a:pt x="213" y="666"/>
                </a:lnTo>
                <a:lnTo>
                  <a:pt x="213" y="666"/>
                </a:lnTo>
                <a:lnTo>
                  <a:pt x="213" y="661"/>
                </a:lnTo>
                <a:lnTo>
                  <a:pt x="211" y="656"/>
                </a:lnTo>
                <a:lnTo>
                  <a:pt x="206" y="647"/>
                </a:lnTo>
                <a:lnTo>
                  <a:pt x="200" y="639"/>
                </a:lnTo>
                <a:lnTo>
                  <a:pt x="199" y="636"/>
                </a:lnTo>
                <a:lnTo>
                  <a:pt x="198" y="632"/>
                </a:lnTo>
                <a:lnTo>
                  <a:pt x="198" y="632"/>
                </a:lnTo>
                <a:lnTo>
                  <a:pt x="198" y="607"/>
                </a:lnTo>
                <a:lnTo>
                  <a:pt x="198" y="607"/>
                </a:lnTo>
                <a:lnTo>
                  <a:pt x="195" y="606"/>
                </a:lnTo>
                <a:lnTo>
                  <a:pt x="191" y="606"/>
                </a:lnTo>
                <a:lnTo>
                  <a:pt x="188" y="603"/>
                </a:lnTo>
                <a:lnTo>
                  <a:pt x="187" y="602"/>
                </a:lnTo>
                <a:lnTo>
                  <a:pt x="183" y="596"/>
                </a:lnTo>
                <a:lnTo>
                  <a:pt x="182" y="591"/>
                </a:lnTo>
                <a:lnTo>
                  <a:pt x="181" y="579"/>
                </a:lnTo>
                <a:lnTo>
                  <a:pt x="180" y="573"/>
                </a:lnTo>
                <a:lnTo>
                  <a:pt x="179" y="571"/>
                </a:lnTo>
                <a:lnTo>
                  <a:pt x="176" y="570"/>
                </a:lnTo>
                <a:lnTo>
                  <a:pt x="176" y="570"/>
                </a:lnTo>
                <a:lnTo>
                  <a:pt x="163" y="570"/>
                </a:lnTo>
                <a:lnTo>
                  <a:pt x="163" y="570"/>
                </a:lnTo>
                <a:lnTo>
                  <a:pt x="158" y="569"/>
                </a:lnTo>
                <a:lnTo>
                  <a:pt x="156" y="568"/>
                </a:lnTo>
                <a:lnTo>
                  <a:pt x="153" y="565"/>
                </a:lnTo>
                <a:lnTo>
                  <a:pt x="151" y="562"/>
                </a:lnTo>
                <a:lnTo>
                  <a:pt x="146" y="554"/>
                </a:lnTo>
                <a:lnTo>
                  <a:pt x="143" y="550"/>
                </a:lnTo>
                <a:lnTo>
                  <a:pt x="139" y="548"/>
                </a:lnTo>
                <a:lnTo>
                  <a:pt x="139" y="548"/>
                </a:lnTo>
                <a:lnTo>
                  <a:pt x="134" y="544"/>
                </a:lnTo>
                <a:lnTo>
                  <a:pt x="127" y="541"/>
                </a:lnTo>
                <a:lnTo>
                  <a:pt x="119" y="539"/>
                </a:lnTo>
                <a:lnTo>
                  <a:pt x="111" y="539"/>
                </a:lnTo>
                <a:lnTo>
                  <a:pt x="93" y="538"/>
                </a:lnTo>
                <a:lnTo>
                  <a:pt x="83" y="537"/>
                </a:lnTo>
                <a:lnTo>
                  <a:pt x="74" y="533"/>
                </a:lnTo>
                <a:lnTo>
                  <a:pt x="74" y="533"/>
                </a:lnTo>
                <a:lnTo>
                  <a:pt x="67" y="531"/>
                </a:lnTo>
                <a:lnTo>
                  <a:pt x="60" y="529"/>
                </a:lnTo>
                <a:lnTo>
                  <a:pt x="55" y="526"/>
                </a:lnTo>
                <a:lnTo>
                  <a:pt x="51" y="523"/>
                </a:lnTo>
                <a:lnTo>
                  <a:pt x="42" y="515"/>
                </a:lnTo>
                <a:lnTo>
                  <a:pt x="35" y="511"/>
                </a:lnTo>
                <a:lnTo>
                  <a:pt x="27" y="507"/>
                </a:lnTo>
                <a:lnTo>
                  <a:pt x="27" y="507"/>
                </a:lnTo>
                <a:lnTo>
                  <a:pt x="23" y="507"/>
                </a:lnTo>
                <a:lnTo>
                  <a:pt x="19" y="504"/>
                </a:lnTo>
                <a:lnTo>
                  <a:pt x="11" y="498"/>
                </a:lnTo>
                <a:lnTo>
                  <a:pt x="4" y="488"/>
                </a:lnTo>
                <a:lnTo>
                  <a:pt x="1" y="485"/>
                </a:lnTo>
                <a:lnTo>
                  <a:pt x="0" y="481"/>
                </a:lnTo>
                <a:lnTo>
                  <a:pt x="0" y="481"/>
                </a:lnTo>
                <a:lnTo>
                  <a:pt x="1" y="475"/>
                </a:lnTo>
                <a:lnTo>
                  <a:pt x="6" y="465"/>
                </a:lnTo>
                <a:lnTo>
                  <a:pt x="12" y="456"/>
                </a:lnTo>
                <a:lnTo>
                  <a:pt x="20" y="447"/>
                </a:lnTo>
                <a:lnTo>
                  <a:pt x="29" y="439"/>
                </a:lnTo>
                <a:lnTo>
                  <a:pt x="39" y="433"/>
                </a:lnTo>
                <a:lnTo>
                  <a:pt x="50" y="428"/>
                </a:lnTo>
                <a:lnTo>
                  <a:pt x="54" y="427"/>
                </a:lnTo>
                <a:lnTo>
                  <a:pt x="59" y="426"/>
                </a:lnTo>
                <a:lnTo>
                  <a:pt x="59" y="426"/>
                </a:lnTo>
                <a:lnTo>
                  <a:pt x="65" y="427"/>
                </a:lnTo>
                <a:lnTo>
                  <a:pt x="68" y="428"/>
                </a:lnTo>
                <a:lnTo>
                  <a:pt x="76" y="434"/>
                </a:lnTo>
                <a:lnTo>
                  <a:pt x="83" y="439"/>
                </a:lnTo>
                <a:lnTo>
                  <a:pt x="88" y="441"/>
                </a:lnTo>
                <a:lnTo>
                  <a:pt x="92" y="441"/>
                </a:lnTo>
                <a:lnTo>
                  <a:pt x="92" y="441"/>
                </a:lnTo>
                <a:lnTo>
                  <a:pt x="97" y="440"/>
                </a:lnTo>
                <a:lnTo>
                  <a:pt x="103" y="439"/>
                </a:lnTo>
                <a:lnTo>
                  <a:pt x="112" y="432"/>
                </a:lnTo>
                <a:lnTo>
                  <a:pt x="116" y="428"/>
                </a:lnTo>
                <a:lnTo>
                  <a:pt x="122" y="426"/>
                </a:lnTo>
                <a:lnTo>
                  <a:pt x="129" y="424"/>
                </a:lnTo>
                <a:lnTo>
                  <a:pt x="136" y="423"/>
                </a:lnTo>
                <a:lnTo>
                  <a:pt x="136" y="423"/>
                </a:lnTo>
                <a:lnTo>
                  <a:pt x="136" y="404"/>
                </a:lnTo>
                <a:lnTo>
                  <a:pt x="136" y="404"/>
                </a:lnTo>
                <a:lnTo>
                  <a:pt x="136" y="404"/>
                </a:lnTo>
                <a:lnTo>
                  <a:pt x="122" y="388"/>
                </a:lnTo>
                <a:lnTo>
                  <a:pt x="100" y="363"/>
                </a:lnTo>
                <a:lnTo>
                  <a:pt x="82" y="338"/>
                </a:lnTo>
                <a:lnTo>
                  <a:pt x="76" y="328"/>
                </a:lnTo>
                <a:lnTo>
                  <a:pt x="74" y="324"/>
                </a:lnTo>
                <a:lnTo>
                  <a:pt x="74" y="324"/>
                </a:lnTo>
                <a:lnTo>
                  <a:pt x="76" y="320"/>
                </a:lnTo>
                <a:lnTo>
                  <a:pt x="81" y="317"/>
                </a:lnTo>
                <a:lnTo>
                  <a:pt x="92" y="309"/>
                </a:lnTo>
                <a:lnTo>
                  <a:pt x="92" y="309"/>
                </a:lnTo>
                <a:lnTo>
                  <a:pt x="96" y="305"/>
                </a:lnTo>
                <a:lnTo>
                  <a:pt x="99" y="302"/>
                </a:lnTo>
                <a:lnTo>
                  <a:pt x="104" y="293"/>
                </a:lnTo>
                <a:lnTo>
                  <a:pt x="106" y="288"/>
                </a:lnTo>
                <a:lnTo>
                  <a:pt x="110" y="285"/>
                </a:lnTo>
                <a:lnTo>
                  <a:pt x="113" y="281"/>
                </a:lnTo>
                <a:lnTo>
                  <a:pt x="118" y="280"/>
                </a:lnTo>
                <a:lnTo>
                  <a:pt x="118" y="280"/>
                </a:lnTo>
                <a:lnTo>
                  <a:pt x="129" y="279"/>
                </a:lnTo>
                <a:lnTo>
                  <a:pt x="145" y="281"/>
                </a:lnTo>
                <a:lnTo>
                  <a:pt x="164" y="282"/>
                </a:lnTo>
                <a:lnTo>
                  <a:pt x="183" y="283"/>
                </a:lnTo>
                <a:lnTo>
                  <a:pt x="192" y="283"/>
                </a:lnTo>
                <a:lnTo>
                  <a:pt x="202" y="282"/>
                </a:lnTo>
                <a:lnTo>
                  <a:pt x="210" y="281"/>
                </a:lnTo>
                <a:lnTo>
                  <a:pt x="218" y="279"/>
                </a:lnTo>
                <a:lnTo>
                  <a:pt x="223" y="275"/>
                </a:lnTo>
                <a:lnTo>
                  <a:pt x="228" y="271"/>
                </a:lnTo>
                <a:lnTo>
                  <a:pt x="232" y="265"/>
                </a:lnTo>
                <a:lnTo>
                  <a:pt x="233" y="257"/>
                </a:lnTo>
                <a:lnTo>
                  <a:pt x="233" y="257"/>
                </a:lnTo>
                <a:lnTo>
                  <a:pt x="233" y="234"/>
                </a:lnTo>
                <a:lnTo>
                  <a:pt x="236" y="213"/>
                </a:lnTo>
                <a:lnTo>
                  <a:pt x="241" y="195"/>
                </a:lnTo>
                <a:lnTo>
                  <a:pt x="245" y="176"/>
                </a:lnTo>
                <a:lnTo>
                  <a:pt x="257" y="140"/>
                </a:lnTo>
                <a:lnTo>
                  <a:pt x="261" y="119"/>
                </a:lnTo>
                <a:lnTo>
                  <a:pt x="265" y="96"/>
                </a:lnTo>
                <a:lnTo>
                  <a:pt x="265" y="96"/>
                </a:lnTo>
                <a:lnTo>
                  <a:pt x="287" y="68"/>
                </a:lnTo>
                <a:lnTo>
                  <a:pt x="307" y="43"/>
                </a:lnTo>
                <a:lnTo>
                  <a:pt x="328" y="20"/>
                </a:lnTo>
                <a:lnTo>
                  <a:pt x="339" y="10"/>
                </a:lnTo>
                <a:lnTo>
                  <a:pt x="350" y="0"/>
                </a:lnTo>
                <a:lnTo>
                  <a:pt x="350" y="0"/>
                </a:lnTo>
                <a:lnTo>
                  <a:pt x="351" y="4"/>
                </a:lnTo>
                <a:lnTo>
                  <a:pt x="354" y="6"/>
                </a:lnTo>
                <a:lnTo>
                  <a:pt x="357" y="8"/>
                </a:lnTo>
                <a:lnTo>
                  <a:pt x="359" y="8"/>
                </a:lnTo>
                <a:lnTo>
                  <a:pt x="367" y="8"/>
                </a:lnTo>
                <a:lnTo>
                  <a:pt x="375" y="7"/>
                </a:lnTo>
                <a:lnTo>
                  <a:pt x="385" y="6"/>
                </a:lnTo>
                <a:lnTo>
                  <a:pt x="393" y="5"/>
                </a:lnTo>
                <a:lnTo>
                  <a:pt x="396" y="5"/>
                </a:lnTo>
                <a:lnTo>
                  <a:pt x="400" y="6"/>
                </a:lnTo>
                <a:lnTo>
                  <a:pt x="402" y="8"/>
                </a:lnTo>
                <a:lnTo>
                  <a:pt x="404" y="12"/>
                </a:lnTo>
                <a:lnTo>
                  <a:pt x="404" y="12"/>
                </a:lnTo>
                <a:lnTo>
                  <a:pt x="410" y="20"/>
                </a:lnTo>
                <a:lnTo>
                  <a:pt x="412" y="28"/>
                </a:lnTo>
                <a:lnTo>
                  <a:pt x="415" y="37"/>
                </a:lnTo>
                <a:lnTo>
                  <a:pt x="415" y="45"/>
                </a:lnTo>
                <a:lnTo>
                  <a:pt x="415" y="61"/>
                </a:lnTo>
                <a:lnTo>
                  <a:pt x="416" y="68"/>
                </a:lnTo>
                <a:lnTo>
                  <a:pt x="419" y="74"/>
                </a:lnTo>
                <a:lnTo>
                  <a:pt x="419" y="74"/>
                </a:lnTo>
                <a:lnTo>
                  <a:pt x="410" y="86"/>
                </a:lnTo>
                <a:lnTo>
                  <a:pt x="403" y="99"/>
                </a:lnTo>
                <a:lnTo>
                  <a:pt x="397" y="113"/>
                </a:lnTo>
                <a:lnTo>
                  <a:pt x="393" y="128"/>
                </a:lnTo>
                <a:lnTo>
                  <a:pt x="385" y="157"/>
                </a:lnTo>
                <a:lnTo>
                  <a:pt x="380" y="170"/>
                </a:lnTo>
                <a:lnTo>
                  <a:pt x="375" y="180"/>
                </a:lnTo>
                <a:lnTo>
                  <a:pt x="375" y="180"/>
                </a:lnTo>
                <a:lnTo>
                  <a:pt x="372" y="185"/>
                </a:lnTo>
                <a:lnTo>
                  <a:pt x="368" y="189"/>
                </a:lnTo>
                <a:lnTo>
                  <a:pt x="359" y="196"/>
                </a:lnTo>
                <a:lnTo>
                  <a:pt x="356" y="199"/>
                </a:lnTo>
                <a:lnTo>
                  <a:pt x="352" y="204"/>
                </a:lnTo>
                <a:lnTo>
                  <a:pt x="350" y="210"/>
                </a:lnTo>
                <a:lnTo>
                  <a:pt x="350" y="217"/>
                </a:lnTo>
                <a:lnTo>
                  <a:pt x="350" y="217"/>
                </a:lnTo>
                <a:lnTo>
                  <a:pt x="350" y="223"/>
                </a:lnTo>
                <a:lnTo>
                  <a:pt x="352" y="226"/>
                </a:lnTo>
                <a:lnTo>
                  <a:pt x="356" y="229"/>
                </a:lnTo>
                <a:lnTo>
                  <a:pt x="359" y="233"/>
                </a:lnTo>
                <a:lnTo>
                  <a:pt x="368" y="236"/>
                </a:lnTo>
                <a:lnTo>
                  <a:pt x="375" y="239"/>
                </a:lnTo>
                <a:lnTo>
                  <a:pt x="375" y="239"/>
                </a:lnTo>
                <a:lnTo>
                  <a:pt x="357" y="283"/>
                </a:lnTo>
                <a:lnTo>
                  <a:pt x="357" y="283"/>
                </a:lnTo>
                <a:lnTo>
                  <a:pt x="357" y="283"/>
                </a:lnTo>
                <a:lnTo>
                  <a:pt x="360" y="286"/>
                </a:lnTo>
                <a:lnTo>
                  <a:pt x="363" y="288"/>
                </a:lnTo>
                <a:lnTo>
                  <a:pt x="366" y="296"/>
                </a:lnTo>
                <a:lnTo>
                  <a:pt x="370" y="304"/>
                </a:lnTo>
                <a:lnTo>
                  <a:pt x="372" y="313"/>
                </a:lnTo>
                <a:lnTo>
                  <a:pt x="375" y="321"/>
                </a:lnTo>
                <a:lnTo>
                  <a:pt x="380" y="328"/>
                </a:lnTo>
                <a:lnTo>
                  <a:pt x="382" y="331"/>
                </a:lnTo>
                <a:lnTo>
                  <a:pt x="385" y="333"/>
                </a:lnTo>
                <a:lnTo>
                  <a:pt x="389" y="334"/>
                </a:lnTo>
                <a:lnTo>
                  <a:pt x="393" y="335"/>
                </a:lnTo>
                <a:lnTo>
                  <a:pt x="393" y="335"/>
                </a:lnTo>
                <a:lnTo>
                  <a:pt x="397" y="334"/>
                </a:lnTo>
                <a:lnTo>
                  <a:pt x="401" y="333"/>
                </a:lnTo>
                <a:lnTo>
                  <a:pt x="408" y="328"/>
                </a:lnTo>
                <a:lnTo>
                  <a:pt x="415" y="321"/>
                </a:lnTo>
                <a:lnTo>
                  <a:pt x="421" y="312"/>
                </a:lnTo>
                <a:lnTo>
                  <a:pt x="428" y="304"/>
                </a:lnTo>
                <a:lnTo>
                  <a:pt x="436" y="297"/>
                </a:lnTo>
                <a:lnTo>
                  <a:pt x="442" y="295"/>
                </a:lnTo>
                <a:lnTo>
                  <a:pt x="447" y="293"/>
                </a:lnTo>
                <a:lnTo>
                  <a:pt x="454" y="292"/>
                </a:lnTo>
                <a:lnTo>
                  <a:pt x="459" y="290"/>
                </a:lnTo>
                <a:lnTo>
                  <a:pt x="459" y="290"/>
                </a:lnTo>
                <a:lnTo>
                  <a:pt x="470" y="292"/>
                </a:lnTo>
                <a:lnTo>
                  <a:pt x="480" y="294"/>
                </a:lnTo>
                <a:lnTo>
                  <a:pt x="492" y="296"/>
                </a:lnTo>
                <a:lnTo>
                  <a:pt x="504" y="297"/>
                </a:lnTo>
                <a:lnTo>
                  <a:pt x="504" y="297"/>
                </a:lnTo>
                <a:lnTo>
                  <a:pt x="510" y="297"/>
                </a:lnTo>
                <a:lnTo>
                  <a:pt x="515" y="296"/>
                </a:lnTo>
                <a:lnTo>
                  <a:pt x="524" y="294"/>
                </a:lnTo>
                <a:lnTo>
                  <a:pt x="531" y="290"/>
                </a:lnTo>
                <a:lnTo>
                  <a:pt x="540" y="287"/>
                </a:lnTo>
                <a:lnTo>
                  <a:pt x="540" y="287"/>
                </a:lnTo>
                <a:lnTo>
                  <a:pt x="541" y="298"/>
                </a:lnTo>
                <a:lnTo>
                  <a:pt x="542" y="304"/>
                </a:lnTo>
                <a:lnTo>
                  <a:pt x="545" y="309"/>
                </a:lnTo>
                <a:lnTo>
                  <a:pt x="547" y="313"/>
                </a:lnTo>
                <a:lnTo>
                  <a:pt x="550" y="317"/>
                </a:lnTo>
                <a:lnTo>
                  <a:pt x="554" y="319"/>
                </a:lnTo>
                <a:lnTo>
                  <a:pt x="559" y="320"/>
                </a:lnTo>
                <a:lnTo>
                  <a:pt x="559" y="320"/>
                </a:lnTo>
                <a:lnTo>
                  <a:pt x="565" y="319"/>
                </a:lnTo>
                <a:lnTo>
                  <a:pt x="571" y="317"/>
                </a:lnTo>
                <a:lnTo>
                  <a:pt x="577" y="313"/>
                </a:lnTo>
                <a:lnTo>
                  <a:pt x="581" y="309"/>
                </a:lnTo>
                <a:lnTo>
                  <a:pt x="587" y="305"/>
                </a:lnTo>
                <a:lnTo>
                  <a:pt x="593" y="301"/>
                </a:lnTo>
                <a:lnTo>
                  <a:pt x="599" y="298"/>
                </a:lnTo>
                <a:lnTo>
                  <a:pt x="607" y="297"/>
                </a:lnTo>
                <a:lnTo>
                  <a:pt x="607" y="297"/>
                </a:lnTo>
                <a:lnTo>
                  <a:pt x="625" y="297"/>
                </a:lnTo>
                <a:lnTo>
                  <a:pt x="625" y="29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4" name="Freeform 89"/>
          <p:cNvSpPr>
            <a:spLocks/>
          </p:cNvSpPr>
          <p:nvPr/>
        </p:nvSpPr>
        <p:spPr bwMode="auto">
          <a:xfrm>
            <a:off x="3587750" y="4668838"/>
            <a:ext cx="901700" cy="735012"/>
          </a:xfrm>
          <a:custGeom>
            <a:avLst/>
            <a:gdLst/>
            <a:ahLst/>
            <a:cxnLst>
              <a:cxn ang="0">
                <a:pos x="748" y="769"/>
              </a:cxn>
              <a:cxn ang="0">
                <a:pos x="779" y="761"/>
              </a:cxn>
              <a:cxn ang="0">
                <a:pos x="821" y="723"/>
              </a:cxn>
              <a:cxn ang="0">
                <a:pos x="853" y="716"/>
              </a:cxn>
              <a:cxn ang="0">
                <a:pos x="885" y="713"/>
              </a:cxn>
              <a:cxn ang="0">
                <a:pos x="922" y="729"/>
              </a:cxn>
              <a:cxn ang="0">
                <a:pos x="958" y="723"/>
              </a:cxn>
              <a:cxn ang="0">
                <a:pos x="978" y="727"/>
              </a:cxn>
              <a:cxn ang="0">
                <a:pos x="1021" y="703"/>
              </a:cxn>
              <a:cxn ang="0">
                <a:pos x="1046" y="637"/>
              </a:cxn>
              <a:cxn ang="0">
                <a:pos x="1074" y="595"/>
              </a:cxn>
              <a:cxn ang="0">
                <a:pos x="1102" y="556"/>
              </a:cxn>
              <a:cxn ang="0">
                <a:pos x="1087" y="518"/>
              </a:cxn>
              <a:cxn ang="0">
                <a:pos x="1018" y="492"/>
              </a:cxn>
              <a:cxn ang="0">
                <a:pos x="1003" y="451"/>
              </a:cxn>
              <a:cxn ang="0">
                <a:pos x="1035" y="388"/>
              </a:cxn>
              <a:cxn ang="0">
                <a:pos x="1051" y="353"/>
              </a:cxn>
              <a:cxn ang="0">
                <a:pos x="1038" y="330"/>
              </a:cxn>
              <a:cxn ang="0">
                <a:pos x="991" y="309"/>
              </a:cxn>
              <a:cxn ang="0">
                <a:pos x="958" y="257"/>
              </a:cxn>
              <a:cxn ang="0">
                <a:pos x="915" y="222"/>
              </a:cxn>
              <a:cxn ang="0">
                <a:pos x="870" y="206"/>
              </a:cxn>
              <a:cxn ang="0">
                <a:pos x="798" y="218"/>
              </a:cxn>
              <a:cxn ang="0">
                <a:pos x="768" y="206"/>
              </a:cxn>
              <a:cxn ang="0">
                <a:pos x="763" y="129"/>
              </a:cxn>
              <a:cxn ang="0">
                <a:pos x="743" y="85"/>
              </a:cxn>
              <a:cxn ang="0">
                <a:pos x="722" y="62"/>
              </a:cxn>
              <a:cxn ang="0">
                <a:pos x="680" y="35"/>
              </a:cxn>
              <a:cxn ang="0">
                <a:pos x="645" y="43"/>
              </a:cxn>
              <a:cxn ang="0">
                <a:pos x="592" y="87"/>
              </a:cxn>
              <a:cxn ang="0">
                <a:pos x="555" y="85"/>
              </a:cxn>
              <a:cxn ang="0">
                <a:pos x="491" y="49"/>
              </a:cxn>
              <a:cxn ang="0">
                <a:pos x="425" y="43"/>
              </a:cxn>
              <a:cxn ang="0">
                <a:pos x="371" y="20"/>
              </a:cxn>
              <a:cxn ang="0">
                <a:pos x="273" y="6"/>
              </a:cxn>
              <a:cxn ang="0">
                <a:pos x="226" y="6"/>
              </a:cxn>
              <a:cxn ang="0">
                <a:pos x="186" y="62"/>
              </a:cxn>
              <a:cxn ang="0">
                <a:pos x="150" y="151"/>
              </a:cxn>
              <a:cxn ang="0">
                <a:pos x="112" y="177"/>
              </a:cxn>
              <a:cxn ang="0">
                <a:pos x="73" y="206"/>
              </a:cxn>
              <a:cxn ang="0">
                <a:pos x="46" y="273"/>
              </a:cxn>
              <a:cxn ang="0">
                <a:pos x="26" y="306"/>
              </a:cxn>
              <a:cxn ang="0">
                <a:pos x="25" y="326"/>
              </a:cxn>
              <a:cxn ang="0">
                <a:pos x="0" y="365"/>
              </a:cxn>
              <a:cxn ang="0">
                <a:pos x="21" y="414"/>
              </a:cxn>
              <a:cxn ang="0">
                <a:pos x="38" y="501"/>
              </a:cxn>
              <a:cxn ang="0">
                <a:pos x="86" y="530"/>
              </a:cxn>
              <a:cxn ang="0">
                <a:pos x="191" y="556"/>
              </a:cxn>
              <a:cxn ang="0">
                <a:pos x="286" y="593"/>
              </a:cxn>
              <a:cxn ang="0">
                <a:pos x="327" y="624"/>
              </a:cxn>
              <a:cxn ang="0">
                <a:pos x="349" y="680"/>
              </a:cxn>
              <a:cxn ang="0">
                <a:pos x="418" y="688"/>
              </a:cxn>
              <a:cxn ang="0">
                <a:pos x="472" y="716"/>
              </a:cxn>
              <a:cxn ang="0">
                <a:pos x="523" y="727"/>
              </a:cxn>
              <a:cxn ang="0">
                <a:pos x="580" y="710"/>
              </a:cxn>
              <a:cxn ang="0">
                <a:pos x="598" y="724"/>
              </a:cxn>
              <a:cxn ang="0">
                <a:pos x="590" y="755"/>
              </a:cxn>
              <a:cxn ang="0">
                <a:pos x="596" y="782"/>
              </a:cxn>
              <a:cxn ang="0">
                <a:pos x="605" y="813"/>
              </a:cxn>
              <a:cxn ang="0">
                <a:pos x="621" y="843"/>
              </a:cxn>
              <a:cxn ang="0">
                <a:pos x="632" y="814"/>
              </a:cxn>
              <a:cxn ang="0">
                <a:pos x="698" y="791"/>
              </a:cxn>
            </a:cxnLst>
            <a:rect l="0" t="0" r="r" b="b"/>
            <a:pathLst>
              <a:path w="1102" h="843">
                <a:moveTo>
                  <a:pt x="698" y="784"/>
                </a:moveTo>
                <a:lnTo>
                  <a:pt x="698" y="784"/>
                </a:lnTo>
                <a:lnTo>
                  <a:pt x="713" y="779"/>
                </a:lnTo>
                <a:lnTo>
                  <a:pt x="726" y="775"/>
                </a:lnTo>
                <a:lnTo>
                  <a:pt x="741" y="770"/>
                </a:lnTo>
                <a:lnTo>
                  <a:pt x="748" y="769"/>
                </a:lnTo>
                <a:lnTo>
                  <a:pt x="756" y="769"/>
                </a:lnTo>
                <a:lnTo>
                  <a:pt x="756" y="769"/>
                </a:lnTo>
                <a:lnTo>
                  <a:pt x="763" y="768"/>
                </a:lnTo>
                <a:lnTo>
                  <a:pt x="769" y="767"/>
                </a:lnTo>
                <a:lnTo>
                  <a:pt x="775" y="764"/>
                </a:lnTo>
                <a:lnTo>
                  <a:pt x="779" y="761"/>
                </a:lnTo>
                <a:lnTo>
                  <a:pt x="789" y="754"/>
                </a:lnTo>
                <a:lnTo>
                  <a:pt x="798" y="745"/>
                </a:lnTo>
                <a:lnTo>
                  <a:pt x="805" y="737"/>
                </a:lnTo>
                <a:lnTo>
                  <a:pt x="813" y="729"/>
                </a:lnTo>
                <a:lnTo>
                  <a:pt x="817" y="725"/>
                </a:lnTo>
                <a:lnTo>
                  <a:pt x="821" y="723"/>
                </a:lnTo>
                <a:lnTo>
                  <a:pt x="825" y="722"/>
                </a:lnTo>
                <a:lnTo>
                  <a:pt x="830" y="721"/>
                </a:lnTo>
                <a:lnTo>
                  <a:pt x="830" y="721"/>
                </a:lnTo>
                <a:lnTo>
                  <a:pt x="837" y="721"/>
                </a:lnTo>
                <a:lnTo>
                  <a:pt x="843" y="719"/>
                </a:lnTo>
                <a:lnTo>
                  <a:pt x="853" y="716"/>
                </a:lnTo>
                <a:lnTo>
                  <a:pt x="863" y="711"/>
                </a:lnTo>
                <a:lnTo>
                  <a:pt x="870" y="710"/>
                </a:lnTo>
                <a:lnTo>
                  <a:pt x="877" y="710"/>
                </a:lnTo>
                <a:lnTo>
                  <a:pt x="877" y="710"/>
                </a:lnTo>
                <a:lnTo>
                  <a:pt x="882" y="710"/>
                </a:lnTo>
                <a:lnTo>
                  <a:pt x="885" y="713"/>
                </a:lnTo>
                <a:lnTo>
                  <a:pt x="892" y="718"/>
                </a:lnTo>
                <a:lnTo>
                  <a:pt x="898" y="724"/>
                </a:lnTo>
                <a:lnTo>
                  <a:pt x="900" y="726"/>
                </a:lnTo>
                <a:lnTo>
                  <a:pt x="904" y="729"/>
                </a:lnTo>
                <a:lnTo>
                  <a:pt x="904" y="729"/>
                </a:lnTo>
                <a:lnTo>
                  <a:pt x="922" y="729"/>
                </a:lnTo>
                <a:lnTo>
                  <a:pt x="922" y="714"/>
                </a:lnTo>
                <a:lnTo>
                  <a:pt x="947" y="714"/>
                </a:lnTo>
                <a:lnTo>
                  <a:pt x="947" y="714"/>
                </a:lnTo>
                <a:lnTo>
                  <a:pt x="947" y="714"/>
                </a:lnTo>
                <a:lnTo>
                  <a:pt x="952" y="717"/>
                </a:lnTo>
                <a:lnTo>
                  <a:pt x="958" y="723"/>
                </a:lnTo>
                <a:lnTo>
                  <a:pt x="960" y="724"/>
                </a:lnTo>
                <a:lnTo>
                  <a:pt x="964" y="726"/>
                </a:lnTo>
                <a:lnTo>
                  <a:pt x="968" y="727"/>
                </a:lnTo>
                <a:lnTo>
                  <a:pt x="973" y="729"/>
                </a:lnTo>
                <a:lnTo>
                  <a:pt x="973" y="729"/>
                </a:lnTo>
                <a:lnTo>
                  <a:pt x="978" y="727"/>
                </a:lnTo>
                <a:lnTo>
                  <a:pt x="984" y="726"/>
                </a:lnTo>
                <a:lnTo>
                  <a:pt x="992" y="724"/>
                </a:lnTo>
                <a:lnTo>
                  <a:pt x="999" y="718"/>
                </a:lnTo>
                <a:lnTo>
                  <a:pt x="1006" y="714"/>
                </a:lnTo>
                <a:lnTo>
                  <a:pt x="1013" y="708"/>
                </a:lnTo>
                <a:lnTo>
                  <a:pt x="1021" y="703"/>
                </a:lnTo>
                <a:lnTo>
                  <a:pt x="1033" y="700"/>
                </a:lnTo>
                <a:lnTo>
                  <a:pt x="1038" y="699"/>
                </a:lnTo>
                <a:lnTo>
                  <a:pt x="1046" y="699"/>
                </a:lnTo>
                <a:lnTo>
                  <a:pt x="1046" y="699"/>
                </a:lnTo>
                <a:lnTo>
                  <a:pt x="1046" y="637"/>
                </a:lnTo>
                <a:lnTo>
                  <a:pt x="1046" y="637"/>
                </a:lnTo>
                <a:lnTo>
                  <a:pt x="1048" y="630"/>
                </a:lnTo>
                <a:lnTo>
                  <a:pt x="1049" y="623"/>
                </a:lnTo>
                <a:lnTo>
                  <a:pt x="1051" y="617"/>
                </a:lnTo>
                <a:lnTo>
                  <a:pt x="1056" y="612"/>
                </a:lnTo>
                <a:lnTo>
                  <a:pt x="1064" y="603"/>
                </a:lnTo>
                <a:lnTo>
                  <a:pt x="1074" y="595"/>
                </a:lnTo>
                <a:lnTo>
                  <a:pt x="1084" y="586"/>
                </a:lnTo>
                <a:lnTo>
                  <a:pt x="1089" y="581"/>
                </a:lnTo>
                <a:lnTo>
                  <a:pt x="1094" y="577"/>
                </a:lnTo>
                <a:lnTo>
                  <a:pt x="1097" y="571"/>
                </a:lnTo>
                <a:lnTo>
                  <a:pt x="1099" y="564"/>
                </a:lnTo>
                <a:lnTo>
                  <a:pt x="1102" y="556"/>
                </a:lnTo>
                <a:lnTo>
                  <a:pt x="1102" y="548"/>
                </a:lnTo>
                <a:lnTo>
                  <a:pt x="1102" y="548"/>
                </a:lnTo>
                <a:lnTo>
                  <a:pt x="1100" y="539"/>
                </a:lnTo>
                <a:lnTo>
                  <a:pt x="1097" y="530"/>
                </a:lnTo>
                <a:lnTo>
                  <a:pt x="1092" y="524"/>
                </a:lnTo>
                <a:lnTo>
                  <a:pt x="1087" y="518"/>
                </a:lnTo>
                <a:lnTo>
                  <a:pt x="1079" y="515"/>
                </a:lnTo>
                <a:lnTo>
                  <a:pt x="1071" y="511"/>
                </a:lnTo>
                <a:lnTo>
                  <a:pt x="1052" y="505"/>
                </a:lnTo>
                <a:lnTo>
                  <a:pt x="1034" y="500"/>
                </a:lnTo>
                <a:lnTo>
                  <a:pt x="1026" y="496"/>
                </a:lnTo>
                <a:lnTo>
                  <a:pt x="1018" y="492"/>
                </a:lnTo>
                <a:lnTo>
                  <a:pt x="1012" y="487"/>
                </a:lnTo>
                <a:lnTo>
                  <a:pt x="1006" y="479"/>
                </a:lnTo>
                <a:lnTo>
                  <a:pt x="1004" y="471"/>
                </a:lnTo>
                <a:lnTo>
                  <a:pt x="1003" y="460"/>
                </a:lnTo>
                <a:lnTo>
                  <a:pt x="1003" y="460"/>
                </a:lnTo>
                <a:lnTo>
                  <a:pt x="1003" y="451"/>
                </a:lnTo>
                <a:lnTo>
                  <a:pt x="1005" y="442"/>
                </a:lnTo>
                <a:lnTo>
                  <a:pt x="1007" y="434"/>
                </a:lnTo>
                <a:lnTo>
                  <a:pt x="1010" y="426"/>
                </a:lnTo>
                <a:lnTo>
                  <a:pt x="1018" y="412"/>
                </a:lnTo>
                <a:lnTo>
                  <a:pt x="1027" y="400"/>
                </a:lnTo>
                <a:lnTo>
                  <a:pt x="1035" y="388"/>
                </a:lnTo>
                <a:lnTo>
                  <a:pt x="1043" y="376"/>
                </a:lnTo>
                <a:lnTo>
                  <a:pt x="1046" y="371"/>
                </a:lnTo>
                <a:lnTo>
                  <a:pt x="1049" y="365"/>
                </a:lnTo>
                <a:lnTo>
                  <a:pt x="1050" y="359"/>
                </a:lnTo>
                <a:lnTo>
                  <a:pt x="1051" y="353"/>
                </a:lnTo>
                <a:lnTo>
                  <a:pt x="1051" y="353"/>
                </a:lnTo>
                <a:lnTo>
                  <a:pt x="1050" y="348"/>
                </a:lnTo>
                <a:lnTo>
                  <a:pt x="1049" y="343"/>
                </a:lnTo>
                <a:lnTo>
                  <a:pt x="1048" y="339"/>
                </a:lnTo>
                <a:lnTo>
                  <a:pt x="1045" y="335"/>
                </a:lnTo>
                <a:lnTo>
                  <a:pt x="1042" y="333"/>
                </a:lnTo>
                <a:lnTo>
                  <a:pt x="1038" y="330"/>
                </a:lnTo>
                <a:lnTo>
                  <a:pt x="1031" y="327"/>
                </a:lnTo>
                <a:lnTo>
                  <a:pt x="1013" y="321"/>
                </a:lnTo>
                <a:lnTo>
                  <a:pt x="1004" y="318"/>
                </a:lnTo>
                <a:lnTo>
                  <a:pt x="996" y="313"/>
                </a:lnTo>
                <a:lnTo>
                  <a:pt x="996" y="313"/>
                </a:lnTo>
                <a:lnTo>
                  <a:pt x="991" y="309"/>
                </a:lnTo>
                <a:lnTo>
                  <a:pt x="987" y="302"/>
                </a:lnTo>
                <a:lnTo>
                  <a:pt x="977" y="287"/>
                </a:lnTo>
                <a:lnTo>
                  <a:pt x="970" y="272"/>
                </a:lnTo>
                <a:lnTo>
                  <a:pt x="966" y="258"/>
                </a:lnTo>
                <a:lnTo>
                  <a:pt x="966" y="258"/>
                </a:lnTo>
                <a:lnTo>
                  <a:pt x="958" y="257"/>
                </a:lnTo>
                <a:lnTo>
                  <a:pt x="951" y="255"/>
                </a:lnTo>
                <a:lnTo>
                  <a:pt x="945" y="252"/>
                </a:lnTo>
                <a:lnTo>
                  <a:pt x="939" y="249"/>
                </a:lnTo>
                <a:lnTo>
                  <a:pt x="931" y="241"/>
                </a:lnTo>
                <a:lnTo>
                  <a:pt x="924" y="230"/>
                </a:lnTo>
                <a:lnTo>
                  <a:pt x="915" y="222"/>
                </a:lnTo>
                <a:lnTo>
                  <a:pt x="911" y="218"/>
                </a:lnTo>
                <a:lnTo>
                  <a:pt x="905" y="214"/>
                </a:lnTo>
                <a:lnTo>
                  <a:pt x="899" y="211"/>
                </a:lnTo>
                <a:lnTo>
                  <a:pt x="891" y="208"/>
                </a:lnTo>
                <a:lnTo>
                  <a:pt x="882" y="207"/>
                </a:lnTo>
                <a:lnTo>
                  <a:pt x="870" y="206"/>
                </a:lnTo>
                <a:lnTo>
                  <a:pt x="870" y="206"/>
                </a:lnTo>
                <a:lnTo>
                  <a:pt x="859" y="207"/>
                </a:lnTo>
                <a:lnTo>
                  <a:pt x="848" y="208"/>
                </a:lnTo>
                <a:lnTo>
                  <a:pt x="828" y="212"/>
                </a:lnTo>
                <a:lnTo>
                  <a:pt x="808" y="217"/>
                </a:lnTo>
                <a:lnTo>
                  <a:pt x="798" y="218"/>
                </a:lnTo>
                <a:lnTo>
                  <a:pt x="786" y="218"/>
                </a:lnTo>
                <a:lnTo>
                  <a:pt x="786" y="218"/>
                </a:lnTo>
                <a:lnTo>
                  <a:pt x="779" y="217"/>
                </a:lnTo>
                <a:lnTo>
                  <a:pt x="775" y="214"/>
                </a:lnTo>
                <a:lnTo>
                  <a:pt x="771" y="211"/>
                </a:lnTo>
                <a:lnTo>
                  <a:pt x="768" y="206"/>
                </a:lnTo>
                <a:lnTo>
                  <a:pt x="766" y="200"/>
                </a:lnTo>
                <a:lnTo>
                  <a:pt x="764" y="196"/>
                </a:lnTo>
                <a:lnTo>
                  <a:pt x="763" y="189"/>
                </a:lnTo>
                <a:lnTo>
                  <a:pt x="763" y="189"/>
                </a:lnTo>
                <a:lnTo>
                  <a:pt x="763" y="129"/>
                </a:lnTo>
                <a:lnTo>
                  <a:pt x="763" y="129"/>
                </a:lnTo>
                <a:lnTo>
                  <a:pt x="762" y="120"/>
                </a:lnTo>
                <a:lnTo>
                  <a:pt x="760" y="112"/>
                </a:lnTo>
                <a:lnTo>
                  <a:pt x="755" y="105"/>
                </a:lnTo>
                <a:lnTo>
                  <a:pt x="751" y="98"/>
                </a:lnTo>
                <a:lnTo>
                  <a:pt x="746" y="92"/>
                </a:lnTo>
                <a:lnTo>
                  <a:pt x="743" y="85"/>
                </a:lnTo>
                <a:lnTo>
                  <a:pt x="739" y="77"/>
                </a:lnTo>
                <a:lnTo>
                  <a:pt x="738" y="67"/>
                </a:lnTo>
                <a:lnTo>
                  <a:pt x="738" y="67"/>
                </a:lnTo>
                <a:lnTo>
                  <a:pt x="733" y="67"/>
                </a:lnTo>
                <a:lnTo>
                  <a:pt x="729" y="66"/>
                </a:lnTo>
                <a:lnTo>
                  <a:pt x="722" y="62"/>
                </a:lnTo>
                <a:lnTo>
                  <a:pt x="714" y="57"/>
                </a:lnTo>
                <a:lnTo>
                  <a:pt x="707" y="51"/>
                </a:lnTo>
                <a:lnTo>
                  <a:pt x="700" y="45"/>
                </a:lnTo>
                <a:lnTo>
                  <a:pt x="693" y="39"/>
                </a:lnTo>
                <a:lnTo>
                  <a:pt x="685" y="36"/>
                </a:lnTo>
                <a:lnTo>
                  <a:pt x="680" y="35"/>
                </a:lnTo>
                <a:lnTo>
                  <a:pt x="676" y="35"/>
                </a:lnTo>
                <a:lnTo>
                  <a:pt x="676" y="35"/>
                </a:lnTo>
                <a:lnTo>
                  <a:pt x="667" y="35"/>
                </a:lnTo>
                <a:lnTo>
                  <a:pt x="659" y="37"/>
                </a:lnTo>
                <a:lnTo>
                  <a:pt x="652" y="39"/>
                </a:lnTo>
                <a:lnTo>
                  <a:pt x="645" y="43"/>
                </a:lnTo>
                <a:lnTo>
                  <a:pt x="633" y="52"/>
                </a:lnTo>
                <a:lnTo>
                  <a:pt x="622" y="61"/>
                </a:lnTo>
                <a:lnTo>
                  <a:pt x="613" y="72"/>
                </a:lnTo>
                <a:lnTo>
                  <a:pt x="602" y="81"/>
                </a:lnTo>
                <a:lnTo>
                  <a:pt x="598" y="84"/>
                </a:lnTo>
                <a:lnTo>
                  <a:pt x="592" y="87"/>
                </a:lnTo>
                <a:lnTo>
                  <a:pt x="586" y="89"/>
                </a:lnTo>
                <a:lnTo>
                  <a:pt x="580" y="89"/>
                </a:lnTo>
                <a:lnTo>
                  <a:pt x="580" y="89"/>
                </a:lnTo>
                <a:lnTo>
                  <a:pt x="571" y="89"/>
                </a:lnTo>
                <a:lnTo>
                  <a:pt x="563" y="87"/>
                </a:lnTo>
                <a:lnTo>
                  <a:pt x="555" y="85"/>
                </a:lnTo>
                <a:lnTo>
                  <a:pt x="548" y="82"/>
                </a:lnTo>
                <a:lnTo>
                  <a:pt x="535" y="75"/>
                </a:lnTo>
                <a:lnTo>
                  <a:pt x="524" y="67"/>
                </a:lnTo>
                <a:lnTo>
                  <a:pt x="512" y="59"/>
                </a:lnTo>
                <a:lnTo>
                  <a:pt x="499" y="52"/>
                </a:lnTo>
                <a:lnTo>
                  <a:pt x="491" y="49"/>
                </a:lnTo>
                <a:lnTo>
                  <a:pt x="483" y="46"/>
                </a:lnTo>
                <a:lnTo>
                  <a:pt x="473" y="45"/>
                </a:lnTo>
                <a:lnTo>
                  <a:pt x="463" y="45"/>
                </a:lnTo>
                <a:lnTo>
                  <a:pt x="463" y="45"/>
                </a:lnTo>
                <a:lnTo>
                  <a:pt x="436" y="44"/>
                </a:lnTo>
                <a:lnTo>
                  <a:pt x="425" y="43"/>
                </a:lnTo>
                <a:lnTo>
                  <a:pt x="412" y="40"/>
                </a:lnTo>
                <a:lnTo>
                  <a:pt x="402" y="37"/>
                </a:lnTo>
                <a:lnTo>
                  <a:pt x="392" y="32"/>
                </a:lnTo>
                <a:lnTo>
                  <a:pt x="381" y="27"/>
                </a:lnTo>
                <a:lnTo>
                  <a:pt x="371" y="20"/>
                </a:lnTo>
                <a:lnTo>
                  <a:pt x="371" y="20"/>
                </a:lnTo>
                <a:lnTo>
                  <a:pt x="309" y="20"/>
                </a:lnTo>
                <a:lnTo>
                  <a:pt x="309" y="20"/>
                </a:lnTo>
                <a:lnTo>
                  <a:pt x="309" y="20"/>
                </a:lnTo>
                <a:lnTo>
                  <a:pt x="296" y="15"/>
                </a:lnTo>
                <a:lnTo>
                  <a:pt x="281" y="8"/>
                </a:lnTo>
                <a:lnTo>
                  <a:pt x="273" y="6"/>
                </a:lnTo>
                <a:lnTo>
                  <a:pt x="264" y="4"/>
                </a:lnTo>
                <a:lnTo>
                  <a:pt x="255" y="1"/>
                </a:lnTo>
                <a:lnTo>
                  <a:pt x="245" y="0"/>
                </a:lnTo>
                <a:lnTo>
                  <a:pt x="245" y="0"/>
                </a:lnTo>
                <a:lnTo>
                  <a:pt x="235" y="3"/>
                </a:lnTo>
                <a:lnTo>
                  <a:pt x="226" y="6"/>
                </a:lnTo>
                <a:lnTo>
                  <a:pt x="217" y="12"/>
                </a:lnTo>
                <a:lnTo>
                  <a:pt x="210" y="19"/>
                </a:lnTo>
                <a:lnTo>
                  <a:pt x="203" y="28"/>
                </a:lnTo>
                <a:lnTo>
                  <a:pt x="196" y="39"/>
                </a:lnTo>
                <a:lnTo>
                  <a:pt x="191" y="50"/>
                </a:lnTo>
                <a:lnTo>
                  <a:pt x="186" y="62"/>
                </a:lnTo>
                <a:lnTo>
                  <a:pt x="176" y="88"/>
                </a:lnTo>
                <a:lnTo>
                  <a:pt x="168" y="112"/>
                </a:lnTo>
                <a:lnTo>
                  <a:pt x="159" y="135"/>
                </a:lnTo>
                <a:lnTo>
                  <a:pt x="155" y="144"/>
                </a:lnTo>
                <a:lnTo>
                  <a:pt x="150" y="151"/>
                </a:lnTo>
                <a:lnTo>
                  <a:pt x="150" y="151"/>
                </a:lnTo>
                <a:lnTo>
                  <a:pt x="147" y="157"/>
                </a:lnTo>
                <a:lnTo>
                  <a:pt x="143" y="161"/>
                </a:lnTo>
                <a:lnTo>
                  <a:pt x="138" y="166"/>
                </a:lnTo>
                <a:lnTo>
                  <a:pt x="133" y="169"/>
                </a:lnTo>
                <a:lnTo>
                  <a:pt x="122" y="174"/>
                </a:lnTo>
                <a:lnTo>
                  <a:pt x="112" y="177"/>
                </a:lnTo>
                <a:lnTo>
                  <a:pt x="100" y="182"/>
                </a:lnTo>
                <a:lnTo>
                  <a:pt x="90" y="188"/>
                </a:lnTo>
                <a:lnTo>
                  <a:pt x="86" y="191"/>
                </a:lnTo>
                <a:lnTo>
                  <a:pt x="81" y="195"/>
                </a:lnTo>
                <a:lnTo>
                  <a:pt x="77" y="200"/>
                </a:lnTo>
                <a:lnTo>
                  <a:pt x="73" y="206"/>
                </a:lnTo>
                <a:lnTo>
                  <a:pt x="73" y="206"/>
                </a:lnTo>
                <a:lnTo>
                  <a:pt x="68" y="215"/>
                </a:lnTo>
                <a:lnTo>
                  <a:pt x="65" y="223"/>
                </a:lnTo>
                <a:lnTo>
                  <a:pt x="58" y="243"/>
                </a:lnTo>
                <a:lnTo>
                  <a:pt x="51" y="263"/>
                </a:lnTo>
                <a:lnTo>
                  <a:pt x="46" y="273"/>
                </a:lnTo>
                <a:lnTo>
                  <a:pt x="40" y="283"/>
                </a:lnTo>
                <a:lnTo>
                  <a:pt x="40" y="283"/>
                </a:lnTo>
                <a:lnTo>
                  <a:pt x="14" y="280"/>
                </a:lnTo>
                <a:lnTo>
                  <a:pt x="26" y="306"/>
                </a:lnTo>
                <a:lnTo>
                  <a:pt x="26" y="306"/>
                </a:lnTo>
                <a:lnTo>
                  <a:pt x="26" y="306"/>
                </a:lnTo>
                <a:lnTo>
                  <a:pt x="29" y="306"/>
                </a:lnTo>
                <a:lnTo>
                  <a:pt x="28" y="307"/>
                </a:lnTo>
                <a:lnTo>
                  <a:pt x="27" y="312"/>
                </a:lnTo>
                <a:lnTo>
                  <a:pt x="26" y="320"/>
                </a:lnTo>
                <a:lnTo>
                  <a:pt x="26" y="320"/>
                </a:lnTo>
                <a:lnTo>
                  <a:pt x="25" y="326"/>
                </a:lnTo>
                <a:lnTo>
                  <a:pt x="22" y="330"/>
                </a:lnTo>
                <a:lnTo>
                  <a:pt x="13" y="339"/>
                </a:lnTo>
                <a:lnTo>
                  <a:pt x="8" y="343"/>
                </a:lnTo>
                <a:lnTo>
                  <a:pt x="4" y="349"/>
                </a:lnTo>
                <a:lnTo>
                  <a:pt x="2" y="356"/>
                </a:lnTo>
                <a:lnTo>
                  <a:pt x="0" y="365"/>
                </a:lnTo>
                <a:lnTo>
                  <a:pt x="0" y="365"/>
                </a:lnTo>
                <a:lnTo>
                  <a:pt x="0" y="373"/>
                </a:lnTo>
                <a:lnTo>
                  <a:pt x="4" y="381"/>
                </a:lnTo>
                <a:lnTo>
                  <a:pt x="7" y="390"/>
                </a:lnTo>
                <a:lnTo>
                  <a:pt x="12" y="398"/>
                </a:lnTo>
                <a:lnTo>
                  <a:pt x="21" y="414"/>
                </a:lnTo>
                <a:lnTo>
                  <a:pt x="29" y="427"/>
                </a:lnTo>
                <a:lnTo>
                  <a:pt x="29" y="427"/>
                </a:lnTo>
                <a:lnTo>
                  <a:pt x="29" y="489"/>
                </a:lnTo>
                <a:lnTo>
                  <a:pt x="29" y="489"/>
                </a:lnTo>
                <a:lnTo>
                  <a:pt x="29" y="489"/>
                </a:lnTo>
                <a:lnTo>
                  <a:pt x="38" y="501"/>
                </a:lnTo>
                <a:lnTo>
                  <a:pt x="48" y="516"/>
                </a:lnTo>
                <a:lnTo>
                  <a:pt x="48" y="516"/>
                </a:lnTo>
                <a:lnTo>
                  <a:pt x="84" y="526"/>
                </a:lnTo>
                <a:lnTo>
                  <a:pt x="84" y="526"/>
                </a:lnTo>
                <a:lnTo>
                  <a:pt x="84" y="526"/>
                </a:lnTo>
                <a:lnTo>
                  <a:pt x="86" y="530"/>
                </a:lnTo>
                <a:lnTo>
                  <a:pt x="89" y="532"/>
                </a:lnTo>
                <a:lnTo>
                  <a:pt x="100" y="536"/>
                </a:lnTo>
                <a:lnTo>
                  <a:pt x="115" y="541"/>
                </a:lnTo>
                <a:lnTo>
                  <a:pt x="134" y="546"/>
                </a:lnTo>
                <a:lnTo>
                  <a:pt x="168" y="551"/>
                </a:lnTo>
                <a:lnTo>
                  <a:pt x="191" y="556"/>
                </a:lnTo>
                <a:lnTo>
                  <a:pt x="191" y="556"/>
                </a:lnTo>
                <a:lnTo>
                  <a:pt x="209" y="559"/>
                </a:lnTo>
                <a:lnTo>
                  <a:pt x="226" y="564"/>
                </a:lnTo>
                <a:lnTo>
                  <a:pt x="242" y="570"/>
                </a:lnTo>
                <a:lnTo>
                  <a:pt x="257" y="577"/>
                </a:lnTo>
                <a:lnTo>
                  <a:pt x="286" y="593"/>
                </a:lnTo>
                <a:lnTo>
                  <a:pt x="312" y="607"/>
                </a:lnTo>
                <a:lnTo>
                  <a:pt x="312" y="607"/>
                </a:lnTo>
                <a:lnTo>
                  <a:pt x="317" y="610"/>
                </a:lnTo>
                <a:lnTo>
                  <a:pt x="321" y="615"/>
                </a:lnTo>
                <a:lnTo>
                  <a:pt x="325" y="619"/>
                </a:lnTo>
                <a:lnTo>
                  <a:pt x="327" y="624"/>
                </a:lnTo>
                <a:lnTo>
                  <a:pt x="332" y="633"/>
                </a:lnTo>
                <a:lnTo>
                  <a:pt x="335" y="645"/>
                </a:lnTo>
                <a:lnTo>
                  <a:pt x="338" y="655"/>
                </a:lnTo>
                <a:lnTo>
                  <a:pt x="341" y="665"/>
                </a:lnTo>
                <a:lnTo>
                  <a:pt x="346" y="676"/>
                </a:lnTo>
                <a:lnTo>
                  <a:pt x="349" y="680"/>
                </a:lnTo>
                <a:lnTo>
                  <a:pt x="352" y="684"/>
                </a:lnTo>
                <a:lnTo>
                  <a:pt x="352" y="684"/>
                </a:lnTo>
                <a:lnTo>
                  <a:pt x="358" y="686"/>
                </a:lnTo>
                <a:lnTo>
                  <a:pt x="365" y="688"/>
                </a:lnTo>
                <a:lnTo>
                  <a:pt x="382" y="689"/>
                </a:lnTo>
                <a:lnTo>
                  <a:pt x="418" y="688"/>
                </a:lnTo>
                <a:lnTo>
                  <a:pt x="418" y="688"/>
                </a:lnTo>
                <a:lnTo>
                  <a:pt x="424" y="689"/>
                </a:lnTo>
                <a:lnTo>
                  <a:pt x="430" y="691"/>
                </a:lnTo>
                <a:lnTo>
                  <a:pt x="440" y="696"/>
                </a:lnTo>
                <a:lnTo>
                  <a:pt x="461" y="709"/>
                </a:lnTo>
                <a:lnTo>
                  <a:pt x="472" y="716"/>
                </a:lnTo>
                <a:lnTo>
                  <a:pt x="485" y="723"/>
                </a:lnTo>
                <a:lnTo>
                  <a:pt x="499" y="726"/>
                </a:lnTo>
                <a:lnTo>
                  <a:pt x="506" y="727"/>
                </a:lnTo>
                <a:lnTo>
                  <a:pt x="514" y="729"/>
                </a:lnTo>
                <a:lnTo>
                  <a:pt x="514" y="729"/>
                </a:lnTo>
                <a:lnTo>
                  <a:pt x="523" y="727"/>
                </a:lnTo>
                <a:lnTo>
                  <a:pt x="531" y="725"/>
                </a:lnTo>
                <a:lnTo>
                  <a:pt x="547" y="719"/>
                </a:lnTo>
                <a:lnTo>
                  <a:pt x="563" y="713"/>
                </a:lnTo>
                <a:lnTo>
                  <a:pt x="571" y="710"/>
                </a:lnTo>
                <a:lnTo>
                  <a:pt x="580" y="710"/>
                </a:lnTo>
                <a:lnTo>
                  <a:pt x="580" y="710"/>
                </a:lnTo>
                <a:lnTo>
                  <a:pt x="585" y="710"/>
                </a:lnTo>
                <a:lnTo>
                  <a:pt x="590" y="711"/>
                </a:lnTo>
                <a:lnTo>
                  <a:pt x="593" y="714"/>
                </a:lnTo>
                <a:lnTo>
                  <a:pt x="595" y="717"/>
                </a:lnTo>
                <a:lnTo>
                  <a:pt x="596" y="721"/>
                </a:lnTo>
                <a:lnTo>
                  <a:pt x="598" y="724"/>
                </a:lnTo>
                <a:lnTo>
                  <a:pt x="599" y="732"/>
                </a:lnTo>
                <a:lnTo>
                  <a:pt x="599" y="732"/>
                </a:lnTo>
                <a:lnTo>
                  <a:pt x="598" y="737"/>
                </a:lnTo>
                <a:lnTo>
                  <a:pt x="596" y="740"/>
                </a:lnTo>
                <a:lnTo>
                  <a:pt x="593" y="747"/>
                </a:lnTo>
                <a:lnTo>
                  <a:pt x="590" y="755"/>
                </a:lnTo>
                <a:lnTo>
                  <a:pt x="587" y="760"/>
                </a:lnTo>
                <a:lnTo>
                  <a:pt x="587" y="765"/>
                </a:lnTo>
                <a:lnTo>
                  <a:pt x="587" y="765"/>
                </a:lnTo>
                <a:lnTo>
                  <a:pt x="588" y="770"/>
                </a:lnTo>
                <a:lnTo>
                  <a:pt x="591" y="775"/>
                </a:lnTo>
                <a:lnTo>
                  <a:pt x="596" y="782"/>
                </a:lnTo>
                <a:lnTo>
                  <a:pt x="600" y="786"/>
                </a:lnTo>
                <a:lnTo>
                  <a:pt x="603" y="791"/>
                </a:lnTo>
                <a:lnTo>
                  <a:pt x="606" y="795"/>
                </a:lnTo>
                <a:lnTo>
                  <a:pt x="606" y="801"/>
                </a:lnTo>
                <a:lnTo>
                  <a:pt x="606" y="801"/>
                </a:lnTo>
                <a:lnTo>
                  <a:pt x="605" y="813"/>
                </a:lnTo>
                <a:lnTo>
                  <a:pt x="602" y="822"/>
                </a:lnTo>
                <a:lnTo>
                  <a:pt x="600" y="832"/>
                </a:lnTo>
                <a:lnTo>
                  <a:pt x="599" y="843"/>
                </a:lnTo>
                <a:lnTo>
                  <a:pt x="599" y="843"/>
                </a:lnTo>
                <a:lnTo>
                  <a:pt x="621" y="843"/>
                </a:lnTo>
                <a:lnTo>
                  <a:pt x="621" y="843"/>
                </a:lnTo>
                <a:lnTo>
                  <a:pt x="621" y="843"/>
                </a:lnTo>
                <a:lnTo>
                  <a:pt x="622" y="836"/>
                </a:lnTo>
                <a:lnTo>
                  <a:pt x="623" y="830"/>
                </a:lnTo>
                <a:lnTo>
                  <a:pt x="625" y="824"/>
                </a:lnTo>
                <a:lnTo>
                  <a:pt x="629" y="818"/>
                </a:lnTo>
                <a:lnTo>
                  <a:pt x="632" y="814"/>
                </a:lnTo>
                <a:lnTo>
                  <a:pt x="636" y="810"/>
                </a:lnTo>
                <a:lnTo>
                  <a:pt x="646" y="803"/>
                </a:lnTo>
                <a:lnTo>
                  <a:pt x="656" y="798"/>
                </a:lnTo>
                <a:lnTo>
                  <a:pt x="669" y="794"/>
                </a:lnTo>
                <a:lnTo>
                  <a:pt x="683" y="792"/>
                </a:lnTo>
                <a:lnTo>
                  <a:pt x="698" y="791"/>
                </a:lnTo>
                <a:lnTo>
                  <a:pt x="698" y="791"/>
                </a:lnTo>
                <a:lnTo>
                  <a:pt x="698" y="784"/>
                </a:lnTo>
                <a:lnTo>
                  <a:pt x="698" y="78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5" name="Freeform 90"/>
          <p:cNvSpPr>
            <a:spLocks/>
          </p:cNvSpPr>
          <p:nvPr/>
        </p:nvSpPr>
        <p:spPr bwMode="auto">
          <a:xfrm>
            <a:off x="393700" y="3081338"/>
            <a:ext cx="152400" cy="193675"/>
          </a:xfrm>
          <a:custGeom>
            <a:avLst/>
            <a:gdLst/>
            <a:ahLst/>
            <a:cxnLst>
              <a:cxn ang="0">
                <a:pos x="185" y="147"/>
              </a:cxn>
              <a:cxn ang="0">
                <a:pos x="185" y="147"/>
              </a:cxn>
              <a:cxn ang="0">
                <a:pos x="185" y="155"/>
              </a:cxn>
              <a:cxn ang="0">
                <a:pos x="183" y="163"/>
              </a:cxn>
              <a:cxn ang="0">
                <a:pos x="180" y="169"/>
              </a:cxn>
              <a:cxn ang="0">
                <a:pos x="177" y="175"/>
              </a:cxn>
              <a:cxn ang="0">
                <a:pos x="174" y="180"/>
              </a:cxn>
              <a:cxn ang="0">
                <a:pos x="169" y="184"/>
              </a:cxn>
              <a:cxn ang="0">
                <a:pos x="159" y="191"/>
              </a:cxn>
              <a:cxn ang="0">
                <a:pos x="148" y="196"/>
              </a:cxn>
              <a:cxn ang="0">
                <a:pos x="137" y="202"/>
              </a:cxn>
              <a:cxn ang="0">
                <a:pos x="126" y="207"/>
              </a:cxn>
              <a:cxn ang="0">
                <a:pos x="118" y="214"/>
              </a:cxn>
              <a:cxn ang="0">
                <a:pos x="118" y="214"/>
              </a:cxn>
              <a:cxn ang="0">
                <a:pos x="111" y="221"/>
              </a:cxn>
              <a:cxn ang="0">
                <a:pos x="111" y="221"/>
              </a:cxn>
              <a:cxn ang="0">
                <a:pos x="111" y="221"/>
              </a:cxn>
              <a:cxn ang="0">
                <a:pos x="100" y="201"/>
              </a:cxn>
              <a:cxn ang="0">
                <a:pos x="86" y="181"/>
              </a:cxn>
              <a:cxn ang="0">
                <a:pos x="57" y="141"/>
              </a:cxn>
              <a:cxn ang="0">
                <a:pos x="42" y="120"/>
              </a:cxn>
              <a:cxn ang="0">
                <a:pos x="29" y="99"/>
              </a:cxn>
              <a:cxn ang="0">
                <a:pos x="16" y="76"/>
              </a:cxn>
              <a:cxn ang="0">
                <a:pos x="4" y="51"/>
              </a:cxn>
              <a:cxn ang="0">
                <a:pos x="4" y="51"/>
              </a:cxn>
              <a:cxn ang="0">
                <a:pos x="1" y="39"/>
              </a:cxn>
              <a:cxn ang="0">
                <a:pos x="0" y="31"/>
              </a:cxn>
              <a:cxn ang="0">
                <a:pos x="1" y="27"/>
              </a:cxn>
              <a:cxn ang="0">
                <a:pos x="2" y="24"/>
              </a:cxn>
              <a:cxn ang="0">
                <a:pos x="6" y="19"/>
              </a:cxn>
              <a:cxn ang="0">
                <a:pos x="10" y="17"/>
              </a:cxn>
              <a:cxn ang="0">
                <a:pos x="17" y="13"/>
              </a:cxn>
              <a:cxn ang="0">
                <a:pos x="24" y="11"/>
              </a:cxn>
              <a:cxn ang="0">
                <a:pos x="31" y="8"/>
              </a:cxn>
              <a:cxn ang="0">
                <a:pos x="31" y="8"/>
              </a:cxn>
              <a:cxn ang="0">
                <a:pos x="37" y="4"/>
              </a:cxn>
              <a:cxn ang="0">
                <a:pos x="42" y="2"/>
              </a:cxn>
              <a:cxn ang="0">
                <a:pos x="48" y="1"/>
              </a:cxn>
              <a:cxn ang="0">
                <a:pos x="52" y="0"/>
              </a:cxn>
              <a:cxn ang="0">
                <a:pos x="56" y="1"/>
              </a:cxn>
              <a:cxn ang="0">
                <a:pos x="60" y="2"/>
              </a:cxn>
              <a:cxn ang="0">
                <a:pos x="69" y="7"/>
              </a:cxn>
              <a:cxn ang="0">
                <a:pos x="78" y="11"/>
              </a:cxn>
              <a:cxn ang="0">
                <a:pos x="92" y="17"/>
              </a:cxn>
              <a:cxn ang="0">
                <a:pos x="100" y="19"/>
              </a:cxn>
              <a:cxn ang="0">
                <a:pos x="109" y="20"/>
              </a:cxn>
              <a:cxn ang="0">
                <a:pos x="121" y="22"/>
              </a:cxn>
              <a:cxn ang="0">
                <a:pos x="133" y="22"/>
              </a:cxn>
              <a:cxn ang="0">
                <a:pos x="133" y="22"/>
              </a:cxn>
              <a:cxn ang="0">
                <a:pos x="160" y="66"/>
              </a:cxn>
              <a:cxn ang="0">
                <a:pos x="160" y="66"/>
              </a:cxn>
              <a:cxn ang="0">
                <a:pos x="168" y="84"/>
              </a:cxn>
              <a:cxn ang="0">
                <a:pos x="175" y="102"/>
              </a:cxn>
              <a:cxn ang="0">
                <a:pos x="182" y="123"/>
              </a:cxn>
              <a:cxn ang="0">
                <a:pos x="185" y="147"/>
              </a:cxn>
              <a:cxn ang="0">
                <a:pos x="185" y="147"/>
              </a:cxn>
              <a:cxn ang="0">
                <a:pos x="185" y="147"/>
              </a:cxn>
            </a:cxnLst>
            <a:rect l="0" t="0" r="r" b="b"/>
            <a:pathLst>
              <a:path w="185" h="221">
                <a:moveTo>
                  <a:pt x="185" y="147"/>
                </a:moveTo>
                <a:lnTo>
                  <a:pt x="185" y="147"/>
                </a:lnTo>
                <a:lnTo>
                  <a:pt x="185" y="155"/>
                </a:lnTo>
                <a:lnTo>
                  <a:pt x="183" y="163"/>
                </a:lnTo>
                <a:lnTo>
                  <a:pt x="180" y="169"/>
                </a:lnTo>
                <a:lnTo>
                  <a:pt x="177" y="175"/>
                </a:lnTo>
                <a:lnTo>
                  <a:pt x="174" y="180"/>
                </a:lnTo>
                <a:lnTo>
                  <a:pt x="169" y="184"/>
                </a:lnTo>
                <a:lnTo>
                  <a:pt x="159" y="191"/>
                </a:lnTo>
                <a:lnTo>
                  <a:pt x="148" y="196"/>
                </a:lnTo>
                <a:lnTo>
                  <a:pt x="137" y="202"/>
                </a:lnTo>
                <a:lnTo>
                  <a:pt x="126" y="207"/>
                </a:lnTo>
                <a:lnTo>
                  <a:pt x="118" y="214"/>
                </a:lnTo>
                <a:lnTo>
                  <a:pt x="118" y="214"/>
                </a:lnTo>
                <a:lnTo>
                  <a:pt x="111" y="221"/>
                </a:lnTo>
                <a:lnTo>
                  <a:pt x="111" y="221"/>
                </a:lnTo>
                <a:lnTo>
                  <a:pt x="111" y="221"/>
                </a:lnTo>
                <a:lnTo>
                  <a:pt x="100" y="201"/>
                </a:lnTo>
                <a:lnTo>
                  <a:pt x="86" y="181"/>
                </a:lnTo>
                <a:lnTo>
                  <a:pt x="57" y="141"/>
                </a:lnTo>
                <a:lnTo>
                  <a:pt x="42" y="120"/>
                </a:lnTo>
                <a:lnTo>
                  <a:pt x="29" y="99"/>
                </a:lnTo>
                <a:lnTo>
                  <a:pt x="16" y="76"/>
                </a:lnTo>
                <a:lnTo>
                  <a:pt x="4" y="51"/>
                </a:lnTo>
                <a:lnTo>
                  <a:pt x="4" y="51"/>
                </a:lnTo>
                <a:lnTo>
                  <a:pt x="1" y="39"/>
                </a:lnTo>
                <a:lnTo>
                  <a:pt x="0" y="31"/>
                </a:lnTo>
                <a:lnTo>
                  <a:pt x="1" y="27"/>
                </a:lnTo>
                <a:lnTo>
                  <a:pt x="2" y="24"/>
                </a:lnTo>
                <a:lnTo>
                  <a:pt x="6" y="19"/>
                </a:lnTo>
                <a:lnTo>
                  <a:pt x="10" y="17"/>
                </a:lnTo>
                <a:lnTo>
                  <a:pt x="17" y="13"/>
                </a:lnTo>
                <a:lnTo>
                  <a:pt x="24" y="11"/>
                </a:lnTo>
                <a:lnTo>
                  <a:pt x="31" y="8"/>
                </a:lnTo>
                <a:lnTo>
                  <a:pt x="31" y="8"/>
                </a:lnTo>
                <a:lnTo>
                  <a:pt x="37" y="4"/>
                </a:lnTo>
                <a:lnTo>
                  <a:pt x="42" y="2"/>
                </a:lnTo>
                <a:lnTo>
                  <a:pt x="48" y="1"/>
                </a:lnTo>
                <a:lnTo>
                  <a:pt x="52" y="0"/>
                </a:lnTo>
                <a:lnTo>
                  <a:pt x="56" y="1"/>
                </a:lnTo>
                <a:lnTo>
                  <a:pt x="60" y="2"/>
                </a:lnTo>
                <a:lnTo>
                  <a:pt x="69" y="7"/>
                </a:lnTo>
                <a:lnTo>
                  <a:pt x="78" y="11"/>
                </a:lnTo>
                <a:lnTo>
                  <a:pt x="92" y="17"/>
                </a:lnTo>
                <a:lnTo>
                  <a:pt x="100" y="19"/>
                </a:lnTo>
                <a:lnTo>
                  <a:pt x="109" y="20"/>
                </a:lnTo>
                <a:lnTo>
                  <a:pt x="121" y="22"/>
                </a:lnTo>
                <a:lnTo>
                  <a:pt x="133" y="22"/>
                </a:lnTo>
                <a:lnTo>
                  <a:pt x="133" y="22"/>
                </a:lnTo>
                <a:lnTo>
                  <a:pt x="160" y="66"/>
                </a:lnTo>
                <a:lnTo>
                  <a:pt x="160" y="66"/>
                </a:lnTo>
                <a:lnTo>
                  <a:pt x="168" y="84"/>
                </a:lnTo>
                <a:lnTo>
                  <a:pt x="175" y="102"/>
                </a:lnTo>
                <a:lnTo>
                  <a:pt x="182" y="123"/>
                </a:lnTo>
                <a:lnTo>
                  <a:pt x="185" y="147"/>
                </a:lnTo>
                <a:lnTo>
                  <a:pt x="185" y="147"/>
                </a:lnTo>
                <a:lnTo>
                  <a:pt x="185" y="1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6" name="Freeform 91"/>
          <p:cNvSpPr>
            <a:spLocks/>
          </p:cNvSpPr>
          <p:nvPr/>
        </p:nvSpPr>
        <p:spPr bwMode="auto">
          <a:xfrm>
            <a:off x="739775" y="4197350"/>
            <a:ext cx="265113" cy="260350"/>
          </a:xfrm>
          <a:custGeom>
            <a:avLst/>
            <a:gdLst/>
            <a:ahLst/>
            <a:cxnLst>
              <a:cxn ang="0">
                <a:pos x="312" y="234"/>
              </a:cxn>
              <a:cxn ang="0">
                <a:pos x="319" y="250"/>
              </a:cxn>
              <a:cxn ang="0">
                <a:pos x="321" y="254"/>
              </a:cxn>
              <a:cxn ang="0">
                <a:pos x="324" y="258"/>
              </a:cxn>
              <a:cxn ang="0">
                <a:pos x="317" y="279"/>
              </a:cxn>
              <a:cxn ang="0">
                <a:pos x="301" y="302"/>
              </a:cxn>
              <a:cxn ang="0">
                <a:pos x="231" y="277"/>
              </a:cxn>
              <a:cxn ang="0">
                <a:pos x="158" y="254"/>
              </a:cxn>
              <a:cxn ang="0">
                <a:pos x="149" y="250"/>
              </a:cxn>
              <a:cxn ang="0">
                <a:pos x="132" y="223"/>
              </a:cxn>
              <a:cxn ang="0">
                <a:pos x="117" y="203"/>
              </a:cxn>
              <a:cxn ang="0">
                <a:pos x="103" y="199"/>
              </a:cxn>
              <a:cxn ang="0">
                <a:pos x="77" y="199"/>
              </a:cxn>
              <a:cxn ang="0">
                <a:pos x="61" y="195"/>
              </a:cxn>
              <a:cxn ang="0">
                <a:pos x="44" y="177"/>
              </a:cxn>
              <a:cxn ang="0">
                <a:pos x="43" y="167"/>
              </a:cxn>
              <a:cxn ang="0">
                <a:pos x="43" y="140"/>
              </a:cxn>
              <a:cxn ang="0">
                <a:pos x="36" y="129"/>
              </a:cxn>
              <a:cxn ang="0">
                <a:pos x="14" y="108"/>
              </a:cxn>
              <a:cxn ang="0">
                <a:pos x="2" y="88"/>
              </a:cxn>
              <a:cxn ang="0">
                <a:pos x="2" y="70"/>
              </a:cxn>
              <a:cxn ang="0">
                <a:pos x="16" y="47"/>
              </a:cxn>
              <a:cxn ang="0">
                <a:pos x="41" y="30"/>
              </a:cxn>
              <a:cxn ang="0">
                <a:pos x="52" y="31"/>
              </a:cxn>
              <a:cxn ang="0">
                <a:pos x="59" y="37"/>
              </a:cxn>
              <a:cxn ang="0">
                <a:pos x="67" y="32"/>
              </a:cxn>
              <a:cxn ang="0">
                <a:pos x="90" y="5"/>
              </a:cxn>
              <a:cxn ang="0">
                <a:pos x="96" y="4"/>
              </a:cxn>
              <a:cxn ang="0">
                <a:pos x="110" y="7"/>
              </a:cxn>
              <a:cxn ang="0">
                <a:pos x="132" y="4"/>
              </a:cxn>
              <a:cxn ang="0">
                <a:pos x="155" y="0"/>
              </a:cxn>
              <a:cxn ang="0">
                <a:pos x="182" y="5"/>
              </a:cxn>
              <a:cxn ang="0">
                <a:pos x="196" y="14"/>
              </a:cxn>
              <a:cxn ang="0">
                <a:pos x="208" y="39"/>
              </a:cxn>
              <a:cxn ang="0">
                <a:pos x="213" y="67"/>
              </a:cxn>
              <a:cxn ang="0">
                <a:pos x="219" y="71"/>
              </a:cxn>
              <a:cxn ang="0">
                <a:pos x="247" y="81"/>
              </a:cxn>
              <a:cxn ang="0">
                <a:pos x="257" y="89"/>
              </a:cxn>
              <a:cxn ang="0">
                <a:pos x="264" y="107"/>
              </a:cxn>
              <a:cxn ang="0">
                <a:pos x="277" y="175"/>
              </a:cxn>
              <a:cxn ang="0">
                <a:pos x="286" y="199"/>
              </a:cxn>
              <a:cxn ang="0">
                <a:pos x="304" y="221"/>
              </a:cxn>
              <a:cxn ang="0">
                <a:pos x="312" y="224"/>
              </a:cxn>
            </a:cxnLst>
            <a:rect l="0" t="0" r="r" b="b"/>
            <a:pathLst>
              <a:path w="324" h="302">
                <a:moveTo>
                  <a:pt x="312" y="224"/>
                </a:moveTo>
                <a:lnTo>
                  <a:pt x="312" y="224"/>
                </a:lnTo>
                <a:lnTo>
                  <a:pt x="312" y="234"/>
                </a:lnTo>
                <a:lnTo>
                  <a:pt x="313" y="238"/>
                </a:lnTo>
                <a:lnTo>
                  <a:pt x="316" y="244"/>
                </a:lnTo>
                <a:lnTo>
                  <a:pt x="319" y="250"/>
                </a:lnTo>
                <a:lnTo>
                  <a:pt x="319" y="250"/>
                </a:lnTo>
                <a:lnTo>
                  <a:pt x="320" y="252"/>
                </a:lnTo>
                <a:lnTo>
                  <a:pt x="321" y="254"/>
                </a:lnTo>
                <a:lnTo>
                  <a:pt x="323" y="256"/>
                </a:lnTo>
                <a:lnTo>
                  <a:pt x="324" y="258"/>
                </a:lnTo>
                <a:lnTo>
                  <a:pt x="324" y="258"/>
                </a:lnTo>
                <a:lnTo>
                  <a:pt x="323" y="262"/>
                </a:lnTo>
                <a:lnTo>
                  <a:pt x="321" y="267"/>
                </a:lnTo>
                <a:lnTo>
                  <a:pt x="317" y="279"/>
                </a:lnTo>
                <a:lnTo>
                  <a:pt x="309" y="290"/>
                </a:lnTo>
                <a:lnTo>
                  <a:pt x="301" y="302"/>
                </a:lnTo>
                <a:lnTo>
                  <a:pt x="301" y="302"/>
                </a:lnTo>
                <a:lnTo>
                  <a:pt x="283" y="294"/>
                </a:lnTo>
                <a:lnTo>
                  <a:pt x="266" y="288"/>
                </a:lnTo>
                <a:lnTo>
                  <a:pt x="231" y="277"/>
                </a:lnTo>
                <a:lnTo>
                  <a:pt x="195" y="267"/>
                </a:lnTo>
                <a:lnTo>
                  <a:pt x="176" y="261"/>
                </a:lnTo>
                <a:lnTo>
                  <a:pt x="158" y="254"/>
                </a:lnTo>
                <a:lnTo>
                  <a:pt x="158" y="254"/>
                </a:lnTo>
                <a:lnTo>
                  <a:pt x="153" y="252"/>
                </a:lnTo>
                <a:lnTo>
                  <a:pt x="149" y="250"/>
                </a:lnTo>
                <a:lnTo>
                  <a:pt x="143" y="242"/>
                </a:lnTo>
                <a:lnTo>
                  <a:pt x="137" y="233"/>
                </a:lnTo>
                <a:lnTo>
                  <a:pt x="132" y="223"/>
                </a:lnTo>
                <a:lnTo>
                  <a:pt x="127" y="214"/>
                </a:lnTo>
                <a:lnTo>
                  <a:pt x="120" y="206"/>
                </a:lnTo>
                <a:lnTo>
                  <a:pt x="117" y="203"/>
                </a:lnTo>
                <a:lnTo>
                  <a:pt x="113" y="200"/>
                </a:lnTo>
                <a:lnTo>
                  <a:pt x="109" y="199"/>
                </a:lnTo>
                <a:lnTo>
                  <a:pt x="103" y="199"/>
                </a:lnTo>
                <a:lnTo>
                  <a:pt x="103" y="199"/>
                </a:lnTo>
                <a:lnTo>
                  <a:pt x="77" y="199"/>
                </a:lnTo>
                <a:lnTo>
                  <a:pt x="77" y="199"/>
                </a:lnTo>
                <a:lnTo>
                  <a:pt x="71" y="198"/>
                </a:lnTo>
                <a:lnTo>
                  <a:pt x="66" y="197"/>
                </a:lnTo>
                <a:lnTo>
                  <a:pt x="61" y="195"/>
                </a:lnTo>
                <a:lnTo>
                  <a:pt x="58" y="192"/>
                </a:lnTo>
                <a:lnTo>
                  <a:pt x="51" y="185"/>
                </a:lnTo>
                <a:lnTo>
                  <a:pt x="44" y="177"/>
                </a:lnTo>
                <a:lnTo>
                  <a:pt x="44" y="177"/>
                </a:lnTo>
                <a:lnTo>
                  <a:pt x="43" y="173"/>
                </a:lnTo>
                <a:lnTo>
                  <a:pt x="43" y="167"/>
                </a:lnTo>
                <a:lnTo>
                  <a:pt x="44" y="154"/>
                </a:lnTo>
                <a:lnTo>
                  <a:pt x="44" y="147"/>
                </a:lnTo>
                <a:lnTo>
                  <a:pt x="43" y="140"/>
                </a:lnTo>
                <a:lnTo>
                  <a:pt x="41" y="135"/>
                </a:lnTo>
                <a:lnTo>
                  <a:pt x="36" y="129"/>
                </a:lnTo>
                <a:lnTo>
                  <a:pt x="36" y="129"/>
                </a:lnTo>
                <a:lnTo>
                  <a:pt x="31" y="123"/>
                </a:lnTo>
                <a:lnTo>
                  <a:pt x="26" y="119"/>
                </a:lnTo>
                <a:lnTo>
                  <a:pt x="14" y="108"/>
                </a:lnTo>
                <a:lnTo>
                  <a:pt x="8" y="102"/>
                </a:lnTo>
                <a:lnTo>
                  <a:pt x="4" y="96"/>
                </a:lnTo>
                <a:lnTo>
                  <a:pt x="2" y="88"/>
                </a:lnTo>
                <a:lnTo>
                  <a:pt x="0" y="77"/>
                </a:lnTo>
                <a:lnTo>
                  <a:pt x="0" y="77"/>
                </a:lnTo>
                <a:lnTo>
                  <a:pt x="2" y="70"/>
                </a:lnTo>
                <a:lnTo>
                  <a:pt x="5" y="63"/>
                </a:lnTo>
                <a:lnTo>
                  <a:pt x="11" y="55"/>
                </a:lnTo>
                <a:lnTo>
                  <a:pt x="16" y="47"/>
                </a:lnTo>
                <a:lnTo>
                  <a:pt x="25" y="40"/>
                </a:lnTo>
                <a:lnTo>
                  <a:pt x="33" y="35"/>
                </a:lnTo>
                <a:lnTo>
                  <a:pt x="41" y="30"/>
                </a:lnTo>
                <a:lnTo>
                  <a:pt x="48" y="25"/>
                </a:lnTo>
                <a:lnTo>
                  <a:pt x="48" y="25"/>
                </a:lnTo>
                <a:lnTo>
                  <a:pt x="52" y="31"/>
                </a:lnTo>
                <a:lnTo>
                  <a:pt x="56" y="36"/>
                </a:lnTo>
                <a:lnTo>
                  <a:pt x="57" y="37"/>
                </a:lnTo>
                <a:lnTo>
                  <a:pt x="59" y="37"/>
                </a:lnTo>
                <a:lnTo>
                  <a:pt x="59" y="37"/>
                </a:lnTo>
                <a:lnTo>
                  <a:pt x="63" y="36"/>
                </a:lnTo>
                <a:lnTo>
                  <a:pt x="67" y="32"/>
                </a:lnTo>
                <a:lnTo>
                  <a:pt x="75" y="23"/>
                </a:lnTo>
                <a:lnTo>
                  <a:pt x="84" y="10"/>
                </a:lnTo>
                <a:lnTo>
                  <a:pt x="90" y="5"/>
                </a:lnTo>
                <a:lnTo>
                  <a:pt x="95" y="0"/>
                </a:lnTo>
                <a:lnTo>
                  <a:pt x="95" y="0"/>
                </a:lnTo>
                <a:lnTo>
                  <a:pt x="96" y="4"/>
                </a:lnTo>
                <a:lnTo>
                  <a:pt x="98" y="6"/>
                </a:lnTo>
                <a:lnTo>
                  <a:pt x="103" y="7"/>
                </a:lnTo>
                <a:lnTo>
                  <a:pt x="110" y="7"/>
                </a:lnTo>
                <a:lnTo>
                  <a:pt x="110" y="7"/>
                </a:lnTo>
                <a:lnTo>
                  <a:pt x="121" y="7"/>
                </a:lnTo>
                <a:lnTo>
                  <a:pt x="132" y="4"/>
                </a:lnTo>
                <a:lnTo>
                  <a:pt x="143" y="1"/>
                </a:lnTo>
                <a:lnTo>
                  <a:pt x="155" y="0"/>
                </a:lnTo>
                <a:lnTo>
                  <a:pt x="155" y="0"/>
                </a:lnTo>
                <a:lnTo>
                  <a:pt x="170" y="1"/>
                </a:lnTo>
                <a:lnTo>
                  <a:pt x="176" y="4"/>
                </a:lnTo>
                <a:lnTo>
                  <a:pt x="182" y="5"/>
                </a:lnTo>
                <a:lnTo>
                  <a:pt x="187" y="8"/>
                </a:lnTo>
                <a:lnTo>
                  <a:pt x="191" y="10"/>
                </a:lnTo>
                <a:lnTo>
                  <a:pt x="196" y="14"/>
                </a:lnTo>
                <a:lnTo>
                  <a:pt x="198" y="18"/>
                </a:lnTo>
                <a:lnTo>
                  <a:pt x="204" y="28"/>
                </a:lnTo>
                <a:lnTo>
                  <a:pt x="208" y="39"/>
                </a:lnTo>
                <a:lnTo>
                  <a:pt x="210" y="52"/>
                </a:lnTo>
                <a:lnTo>
                  <a:pt x="213" y="67"/>
                </a:lnTo>
                <a:lnTo>
                  <a:pt x="213" y="67"/>
                </a:lnTo>
                <a:lnTo>
                  <a:pt x="213" y="68"/>
                </a:lnTo>
                <a:lnTo>
                  <a:pt x="214" y="69"/>
                </a:lnTo>
                <a:lnTo>
                  <a:pt x="219" y="71"/>
                </a:lnTo>
                <a:lnTo>
                  <a:pt x="233" y="75"/>
                </a:lnTo>
                <a:lnTo>
                  <a:pt x="240" y="77"/>
                </a:lnTo>
                <a:lnTo>
                  <a:pt x="247" y="81"/>
                </a:lnTo>
                <a:lnTo>
                  <a:pt x="254" y="84"/>
                </a:lnTo>
                <a:lnTo>
                  <a:pt x="256" y="86"/>
                </a:lnTo>
                <a:lnTo>
                  <a:pt x="257" y="89"/>
                </a:lnTo>
                <a:lnTo>
                  <a:pt x="257" y="89"/>
                </a:lnTo>
                <a:lnTo>
                  <a:pt x="260" y="98"/>
                </a:lnTo>
                <a:lnTo>
                  <a:pt x="264" y="107"/>
                </a:lnTo>
                <a:lnTo>
                  <a:pt x="267" y="124"/>
                </a:lnTo>
                <a:lnTo>
                  <a:pt x="273" y="159"/>
                </a:lnTo>
                <a:lnTo>
                  <a:pt x="277" y="175"/>
                </a:lnTo>
                <a:lnTo>
                  <a:pt x="279" y="183"/>
                </a:lnTo>
                <a:lnTo>
                  <a:pt x="281" y="191"/>
                </a:lnTo>
                <a:lnTo>
                  <a:pt x="286" y="199"/>
                </a:lnTo>
                <a:lnTo>
                  <a:pt x="290" y="207"/>
                </a:lnTo>
                <a:lnTo>
                  <a:pt x="297" y="214"/>
                </a:lnTo>
                <a:lnTo>
                  <a:pt x="304" y="221"/>
                </a:lnTo>
                <a:lnTo>
                  <a:pt x="304" y="221"/>
                </a:lnTo>
                <a:lnTo>
                  <a:pt x="312" y="224"/>
                </a:lnTo>
                <a:lnTo>
                  <a:pt x="312" y="22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7" name="Freeform 92"/>
          <p:cNvSpPr>
            <a:spLocks/>
          </p:cNvSpPr>
          <p:nvPr/>
        </p:nvSpPr>
        <p:spPr bwMode="auto">
          <a:xfrm>
            <a:off x="3209925" y="3122613"/>
            <a:ext cx="74613" cy="109537"/>
          </a:xfrm>
          <a:custGeom>
            <a:avLst/>
            <a:gdLst/>
            <a:ahLst/>
            <a:cxnLst>
              <a:cxn ang="0">
                <a:pos x="65" y="51"/>
              </a:cxn>
              <a:cxn ang="0">
                <a:pos x="65" y="51"/>
              </a:cxn>
              <a:cxn ang="0">
                <a:pos x="63" y="49"/>
              </a:cxn>
              <a:cxn ang="0">
                <a:pos x="62" y="47"/>
              </a:cxn>
              <a:cxn ang="0">
                <a:pos x="63" y="38"/>
              </a:cxn>
              <a:cxn ang="0">
                <a:pos x="64" y="29"/>
              </a:cxn>
              <a:cxn ang="0">
                <a:pos x="65" y="25"/>
              </a:cxn>
              <a:cxn ang="0">
                <a:pos x="65" y="25"/>
              </a:cxn>
              <a:cxn ang="0">
                <a:pos x="64" y="22"/>
              </a:cxn>
              <a:cxn ang="0">
                <a:pos x="62" y="17"/>
              </a:cxn>
              <a:cxn ang="0">
                <a:pos x="58" y="15"/>
              </a:cxn>
              <a:cxn ang="0">
                <a:pos x="54" y="11"/>
              </a:cxn>
              <a:cxn ang="0">
                <a:pos x="45" y="6"/>
              </a:cxn>
              <a:cxn ang="0">
                <a:pos x="37" y="0"/>
              </a:cxn>
              <a:cxn ang="0">
                <a:pos x="37" y="0"/>
              </a:cxn>
              <a:cxn ang="0">
                <a:pos x="33" y="6"/>
              </a:cxn>
              <a:cxn ang="0">
                <a:pos x="29" y="10"/>
              </a:cxn>
              <a:cxn ang="0">
                <a:pos x="17" y="21"/>
              </a:cxn>
              <a:cxn ang="0">
                <a:pos x="10" y="25"/>
              </a:cxn>
              <a:cxn ang="0">
                <a:pos x="6" y="31"/>
              </a:cxn>
              <a:cxn ang="0">
                <a:pos x="1" y="37"/>
              </a:cxn>
              <a:cxn ang="0">
                <a:pos x="0" y="40"/>
              </a:cxn>
              <a:cxn ang="0">
                <a:pos x="0" y="44"/>
              </a:cxn>
              <a:cxn ang="0">
                <a:pos x="0" y="44"/>
              </a:cxn>
              <a:cxn ang="0">
                <a:pos x="2" y="49"/>
              </a:cxn>
              <a:cxn ang="0">
                <a:pos x="9" y="60"/>
              </a:cxn>
              <a:cxn ang="0">
                <a:pos x="27" y="87"/>
              </a:cxn>
              <a:cxn ang="0">
                <a:pos x="47" y="113"/>
              </a:cxn>
              <a:cxn ang="0">
                <a:pos x="55" y="121"/>
              </a:cxn>
              <a:cxn ang="0">
                <a:pos x="58" y="124"/>
              </a:cxn>
              <a:cxn ang="0">
                <a:pos x="58" y="124"/>
              </a:cxn>
              <a:cxn ang="0">
                <a:pos x="65" y="124"/>
              </a:cxn>
              <a:cxn ang="0">
                <a:pos x="71" y="122"/>
              </a:cxn>
              <a:cxn ang="0">
                <a:pos x="77" y="117"/>
              </a:cxn>
              <a:cxn ang="0">
                <a:pos x="82" y="113"/>
              </a:cxn>
              <a:cxn ang="0">
                <a:pos x="85" y="108"/>
              </a:cxn>
              <a:cxn ang="0">
                <a:pos x="88" y="101"/>
              </a:cxn>
              <a:cxn ang="0">
                <a:pos x="91" y="95"/>
              </a:cxn>
              <a:cxn ang="0">
                <a:pos x="91" y="89"/>
              </a:cxn>
              <a:cxn ang="0">
                <a:pos x="91" y="89"/>
              </a:cxn>
              <a:cxn ang="0">
                <a:pos x="91" y="84"/>
              </a:cxn>
              <a:cxn ang="0">
                <a:pos x="88" y="79"/>
              </a:cxn>
              <a:cxn ang="0">
                <a:pos x="83" y="67"/>
              </a:cxn>
              <a:cxn ang="0">
                <a:pos x="78" y="61"/>
              </a:cxn>
              <a:cxn ang="0">
                <a:pos x="75" y="55"/>
              </a:cxn>
              <a:cxn ang="0">
                <a:pos x="70" y="52"/>
              </a:cxn>
              <a:cxn ang="0">
                <a:pos x="65" y="51"/>
              </a:cxn>
              <a:cxn ang="0">
                <a:pos x="65" y="51"/>
              </a:cxn>
              <a:cxn ang="0">
                <a:pos x="65" y="51"/>
              </a:cxn>
            </a:cxnLst>
            <a:rect l="0" t="0" r="r" b="b"/>
            <a:pathLst>
              <a:path w="91" h="124">
                <a:moveTo>
                  <a:pt x="65" y="51"/>
                </a:moveTo>
                <a:lnTo>
                  <a:pt x="65" y="51"/>
                </a:lnTo>
                <a:lnTo>
                  <a:pt x="63" y="49"/>
                </a:lnTo>
                <a:lnTo>
                  <a:pt x="62" y="47"/>
                </a:lnTo>
                <a:lnTo>
                  <a:pt x="63" y="38"/>
                </a:lnTo>
                <a:lnTo>
                  <a:pt x="64" y="29"/>
                </a:lnTo>
                <a:lnTo>
                  <a:pt x="65" y="25"/>
                </a:lnTo>
                <a:lnTo>
                  <a:pt x="65" y="25"/>
                </a:lnTo>
                <a:lnTo>
                  <a:pt x="64" y="22"/>
                </a:lnTo>
                <a:lnTo>
                  <a:pt x="62" y="17"/>
                </a:lnTo>
                <a:lnTo>
                  <a:pt x="58" y="15"/>
                </a:lnTo>
                <a:lnTo>
                  <a:pt x="54" y="11"/>
                </a:lnTo>
                <a:lnTo>
                  <a:pt x="45" y="6"/>
                </a:lnTo>
                <a:lnTo>
                  <a:pt x="37" y="0"/>
                </a:lnTo>
                <a:lnTo>
                  <a:pt x="37" y="0"/>
                </a:lnTo>
                <a:lnTo>
                  <a:pt x="33" y="6"/>
                </a:lnTo>
                <a:lnTo>
                  <a:pt x="29" y="10"/>
                </a:lnTo>
                <a:lnTo>
                  <a:pt x="17" y="21"/>
                </a:lnTo>
                <a:lnTo>
                  <a:pt x="10" y="25"/>
                </a:lnTo>
                <a:lnTo>
                  <a:pt x="6" y="31"/>
                </a:lnTo>
                <a:lnTo>
                  <a:pt x="1" y="37"/>
                </a:lnTo>
                <a:lnTo>
                  <a:pt x="0" y="40"/>
                </a:lnTo>
                <a:lnTo>
                  <a:pt x="0" y="44"/>
                </a:lnTo>
                <a:lnTo>
                  <a:pt x="0" y="44"/>
                </a:lnTo>
                <a:lnTo>
                  <a:pt x="2" y="49"/>
                </a:lnTo>
                <a:lnTo>
                  <a:pt x="9" y="60"/>
                </a:lnTo>
                <a:lnTo>
                  <a:pt x="27" y="87"/>
                </a:lnTo>
                <a:lnTo>
                  <a:pt x="47" y="113"/>
                </a:lnTo>
                <a:lnTo>
                  <a:pt x="55" y="121"/>
                </a:lnTo>
                <a:lnTo>
                  <a:pt x="58" y="124"/>
                </a:lnTo>
                <a:lnTo>
                  <a:pt x="58" y="124"/>
                </a:lnTo>
                <a:lnTo>
                  <a:pt x="65" y="124"/>
                </a:lnTo>
                <a:lnTo>
                  <a:pt x="71" y="122"/>
                </a:lnTo>
                <a:lnTo>
                  <a:pt x="77" y="117"/>
                </a:lnTo>
                <a:lnTo>
                  <a:pt x="82" y="113"/>
                </a:lnTo>
                <a:lnTo>
                  <a:pt x="85" y="108"/>
                </a:lnTo>
                <a:lnTo>
                  <a:pt x="88" y="101"/>
                </a:lnTo>
                <a:lnTo>
                  <a:pt x="91" y="95"/>
                </a:lnTo>
                <a:lnTo>
                  <a:pt x="91" y="89"/>
                </a:lnTo>
                <a:lnTo>
                  <a:pt x="91" y="89"/>
                </a:lnTo>
                <a:lnTo>
                  <a:pt x="91" y="84"/>
                </a:lnTo>
                <a:lnTo>
                  <a:pt x="88" y="79"/>
                </a:lnTo>
                <a:lnTo>
                  <a:pt x="83" y="67"/>
                </a:lnTo>
                <a:lnTo>
                  <a:pt x="78" y="61"/>
                </a:lnTo>
                <a:lnTo>
                  <a:pt x="75" y="55"/>
                </a:lnTo>
                <a:lnTo>
                  <a:pt x="70" y="52"/>
                </a:lnTo>
                <a:lnTo>
                  <a:pt x="65" y="51"/>
                </a:lnTo>
                <a:lnTo>
                  <a:pt x="65" y="51"/>
                </a:lnTo>
                <a:lnTo>
                  <a:pt x="65" y="5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8" name="Freeform 93"/>
          <p:cNvSpPr>
            <a:spLocks/>
          </p:cNvSpPr>
          <p:nvPr/>
        </p:nvSpPr>
        <p:spPr bwMode="auto">
          <a:xfrm>
            <a:off x="3044825" y="2862263"/>
            <a:ext cx="30163" cy="68262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0" y="15"/>
              </a:cxn>
              <a:cxn ang="0">
                <a:pos x="0" y="7"/>
              </a:cxn>
              <a:cxn ang="0">
                <a:pos x="1" y="3"/>
              </a:cxn>
              <a:cxn ang="0">
                <a:pos x="3" y="2"/>
              </a:cxn>
              <a:cxn ang="0">
                <a:pos x="4" y="1"/>
              </a:cxn>
              <a:cxn ang="0">
                <a:pos x="7" y="1"/>
              </a:cxn>
              <a:cxn ang="0">
                <a:pos x="15" y="0"/>
              </a:cxn>
              <a:cxn ang="0">
                <a:pos x="15" y="0"/>
              </a:cxn>
              <a:cxn ang="0">
                <a:pos x="21" y="1"/>
              </a:cxn>
              <a:cxn ang="0">
                <a:pos x="27" y="3"/>
              </a:cxn>
              <a:cxn ang="0">
                <a:pos x="30" y="6"/>
              </a:cxn>
              <a:cxn ang="0">
                <a:pos x="33" y="10"/>
              </a:cxn>
              <a:cxn ang="0">
                <a:pos x="35" y="15"/>
              </a:cxn>
              <a:cxn ang="0">
                <a:pos x="36" y="21"/>
              </a:cxn>
              <a:cxn ang="0">
                <a:pos x="37" y="33"/>
              </a:cxn>
              <a:cxn ang="0">
                <a:pos x="37" y="33"/>
              </a:cxn>
              <a:cxn ang="0">
                <a:pos x="37" y="70"/>
              </a:cxn>
              <a:cxn ang="0">
                <a:pos x="37" y="70"/>
              </a:cxn>
              <a:cxn ang="0">
                <a:pos x="36" y="72"/>
              </a:cxn>
              <a:cxn ang="0">
                <a:pos x="35" y="74"/>
              </a:cxn>
              <a:cxn ang="0">
                <a:pos x="31" y="76"/>
              </a:cxn>
              <a:cxn ang="0">
                <a:pos x="27" y="77"/>
              </a:cxn>
              <a:cxn ang="0">
                <a:pos x="22" y="77"/>
              </a:cxn>
              <a:cxn ang="0">
                <a:pos x="22" y="77"/>
              </a:cxn>
              <a:cxn ang="0">
                <a:pos x="18" y="77"/>
              </a:cxn>
              <a:cxn ang="0">
                <a:pos x="15" y="76"/>
              </a:cxn>
              <a:cxn ang="0">
                <a:pos x="14" y="75"/>
              </a:cxn>
              <a:cxn ang="0">
                <a:pos x="13" y="72"/>
              </a:cxn>
              <a:cxn ang="0">
                <a:pos x="14" y="67"/>
              </a:cxn>
              <a:cxn ang="0">
                <a:pos x="15" y="59"/>
              </a:cxn>
              <a:cxn ang="0">
                <a:pos x="15" y="59"/>
              </a:cxn>
              <a:cxn ang="0">
                <a:pos x="14" y="53"/>
              </a:cxn>
              <a:cxn ang="0">
                <a:pos x="13" y="48"/>
              </a:cxn>
              <a:cxn ang="0">
                <a:pos x="8" y="38"/>
              </a:cxn>
              <a:cxn ang="0">
                <a:pos x="3" y="28"/>
              </a:cxn>
              <a:cxn ang="0">
                <a:pos x="1" y="21"/>
              </a:cxn>
              <a:cxn ang="0">
                <a:pos x="0" y="15"/>
              </a:cxn>
              <a:cxn ang="0">
                <a:pos x="0" y="15"/>
              </a:cxn>
              <a:cxn ang="0">
                <a:pos x="0" y="15"/>
              </a:cxn>
            </a:cxnLst>
            <a:rect l="0" t="0" r="r" b="b"/>
            <a:pathLst>
              <a:path w="37" h="77">
                <a:moveTo>
                  <a:pt x="0" y="15"/>
                </a:moveTo>
                <a:lnTo>
                  <a:pt x="0" y="15"/>
                </a:lnTo>
                <a:lnTo>
                  <a:pt x="0" y="7"/>
                </a:lnTo>
                <a:lnTo>
                  <a:pt x="1" y="3"/>
                </a:lnTo>
                <a:lnTo>
                  <a:pt x="3" y="2"/>
                </a:lnTo>
                <a:lnTo>
                  <a:pt x="4" y="1"/>
                </a:lnTo>
                <a:lnTo>
                  <a:pt x="7" y="1"/>
                </a:lnTo>
                <a:lnTo>
                  <a:pt x="15" y="0"/>
                </a:lnTo>
                <a:lnTo>
                  <a:pt x="15" y="0"/>
                </a:lnTo>
                <a:lnTo>
                  <a:pt x="21" y="1"/>
                </a:lnTo>
                <a:lnTo>
                  <a:pt x="27" y="3"/>
                </a:lnTo>
                <a:lnTo>
                  <a:pt x="30" y="6"/>
                </a:lnTo>
                <a:lnTo>
                  <a:pt x="33" y="10"/>
                </a:lnTo>
                <a:lnTo>
                  <a:pt x="35" y="15"/>
                </a:lnTo>
                <a:lnTo>
                  <a:pt x="36" y="21"/>
                </a:lnTo>
                <a:lnTo>
                  <a:pt x="37" y="33"/>
                </a:lnTo>
                <a:lnTo>
                  <a:pt x="37" y="33"/>
                </a:lnTo>
                <a:lnTo>
                  <a:pt x="37" y="70"/>
                </a:lnTo>
                <a:lnTo>
                  <a:pt x="37" y="70"/>
                </a:lnTo>
                <a:lnTo>
                  <a:pt x="36" y="72"/>
                </a:lnTo>
                <a:lnTo>
                  <a:pt x="35" y="74"/>
                </a:lnTo>
                <a:lnTo>
                  <a:pt x="31" y="76"/>
                </a:lnTo>
                <a:lnTo>
                  <a:pt x="27" y="77"/>
                </a:lnTo>
                <a:lnTo>
                  <a:pt x="22" y="77"/>
                </a:lnTo>
                <a:lnTo>
                  <a:pt x="22" y="77"/>
                </a:lnTo>
                <a:lnTo>
                  <a:pt x="18" y="77"/>
                </a:lnTo>
                <a:lnTo>
                  <a:pt x="15" y="76"/>
                </a:lnTo>
                <a:lnTo>
                  <a:pt x="14" y="75"/>
                </a:lnTo>
                <a:lnTo>
                  <a:pt x="13" y="72"/>
                </a:lnTo>
                <a:lnTo>
                  <a:pt x="14" y="67"/>
                </a:lnTo>
                <a:lnTo>
                  <a:pt x="15" y="59"/>
                </a:lnTo>
                <a:lnTo>
                  <a:pt x="15" y="59"/>
                </a:lnTo>
                <a:lnTo>
                  <a:pt x="14" y="53"/>
                </a:lnTo>
                <a:lnTo>
                  <a:pt x="13" y="48"/>
                </a:lnTo>
                <a:lnTo>
                  <a:pt x="8" y="38"/>
                </a:lnTo>
                <a:lnTo>
                  <a:pt x="3" y="28"/>
                </a:lnTo>
                <a:lnTo>
                  <a:pt x="1" y="21"/>
                </a:lnTo>
                <a:lnTo>
                  <a:pt x="0" y="15"/>
                </a:lnTo>
                <a:lnTo>
                  <a:pt x="0" y="15"/>
                </a:lnTo>
                <a:lnTo>
                  <a:pt x="0" y="1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99" name="Freeform 94"/>
          <p:cNvSpPr>
            <a:spLocks/>
          </p:cNvSpPr>
          <p:nvPr/>
        </p:nvSpPr>
        <p:spPr bwMode="auto">
          <a:xfrm>
            <a:off x="3776663" y="2900363"/>
            <a:ext cx="66675" cy="52387"/>
          </a:xfrm>
          <a:custGeom>
            <a:avLst/>
            <a:gdLst/>
            <a:ahLst/>
            <a:cxnLst>
              <a:cxn ang="0">
                <a:pos x="70" y="19"/>
              </a:cxn>
              <a:cxn ang="0">
                <a:pos x="70" y="0"/>
              </a:cxn>
              <a:cxn ang="0">
                <a:pos x="70" y="0"/>
              </a:cxn>
              <a:cxn ang="0">
                <a:pos x="70" y="0"/>
              </a:cxn>
              <a:cxn ang="0">
                <a:pos x="48" y="0"/>
              </a:cxn>
              <a:cxn ang="0">
                <a:pos x="48" y="0"/>
              </a:cxn>
              <a:cxn ang="0">
                <a:pos x="41" y="1"/>
              </a:cxn>
              <a:cxn ang="0">
                <a:pos x="33" y="2"/>
              </a:cxn>
              <a:cxn ang="0">
                <a:pos x="25" y="5"/>
              </a:cxn>
              <a:cxn ang="0">
                <a:pos x="17" y="10"/>
              </a:cxn>
              <a:cxn ang="0">
                <a:pos x="10" y="16"/>
              </a:cxn>
              <a:cxn ang="0">
                <a:pos x="5" y="23"/>
              </a:cxn>
              <a:cxn ang="0">
                <a:pos x="1" y="31"/>
              </a:cxn>
              <a:cxn ang="0">
                <a:pos x="0" y="40"/>
              </a:cxn>
              <a:cxn ang="0">
                <a:pos x="0" y="40"/>
              </a:cxn>
              <a:cxn ang="0">
                <a:pos x="1" y="45"/>
              </a:cxn>
              <a:cxn ang="0">
                <a:pos x="3" y="48"/>
              </a:cxn>
              <a:cxn ang="0">
                <a:pos x="6" y="51"/>
              </a:cxn>
              <a:cxn ang="0">
                <a:pos x="10" y="54"/>
              </a:cxn>
              <a:cxn ang="0">
                <a:pos x="19" y="57"/>
              </a:cxn>
              <a:cxn ang="0">
                <a:pos x="26" y="58"/>
              </a:cxn>
              <a:cxn ang="0">
                <a:pos x="26" y="58"/>
              </a:cxn>
              <a:cxn ang="0">
                <a:pos x="41" y="57"/>
              </a:cxn>
              <a:cxn ang="0">
                <a:pos x="54" y="56"/>
              </a:cxn>
              <a:cxn ang="0">
                <a:pos x="66" y="56"/>
              </a:cxn>
              <a:cxn ang="0">
                <a:pos x="73" y="56"/>
              </a:cxn>
              <a:cxn ang="0">
                <a:pos x="81" y="58"/>
              </a:cxn>
              <a:cxn ang="0">
                <a:pos x="81" y="58"/>
              </a:cxn>
              <a:cxn ang="0">
                <a:pos x="81" y="40"/>
              </a:cxn>
              <a:cxn ang="0">
                <a:pos x="81" y="40"/>
              </a:cxn>
              <a:cxn ang="0">
                <a:pos x="81" y="40"/>
              </a:cxn>
              <a:cxn ang="0">
                <a:pos x="73" y="39"/>
              </a:cxn>
              <a:cxn ang="0">
                <a:pos x="67" y="36"/>
              </a:cxn>
              <a:cxn ang="0">
                <a:pos x="63" y="34"/>
              </a:cxn>
              <a:cxn ang="0">
                <a:pos x="58" y="33"/>
              </a:cxn>
              <a:cxn ang="0">
                <a:pos x="58" y="33"/>
              </a:cxn>
              <a:cxn ang="0">
                <a:pos x="64" y="30"/>
              </a:cxn>
              <a:cxn ang="0">
                <a:pos x="67" y="26"/>
              </a:cxn>
              <a:cxn ang="0">
                <a:pos x="70" y="22"/>
              </a:cxn>
              <a:cxn ang="0">
                <a:pos x="70" y="19"/>
              </a:cxn>
              <a:cxn ang="0">
                <a:pos x="70" y="19"/>
              </a:cxn>
              <a:cxn ang="0">
                <a:pos x="70" y="19"/>
              </a:cxn>
            </a:cxnLst>
            <a:rect l="0" t="0" r="r" b="b"/>
            <a:pathLst>
              <a:path w="81" h="58">
                <a:moveTo>
                  <a:pt x="70" y="19"/>
                </a:moveTo>
                <a:lnTo>
                  <a:pt x="70" y="0"/>
                </a:lnTo>
                <a:lnTo>
                  <a:pt x="70" y="0"/>
                </a:lnTo>
                <a:lnTo>
                  <a:pt x="70" y="0"/>
                </a:lnTo>
                <a:lnTo>
                  <a:pt x="48" y="0"/>
                </a:lnTo>
                <a:lnTo>
                  <a:pt x="48" y="0"/>
                </a:lnTo>
                <a:lnTo>
                  <a:pt x="41" y="1"/>
                </a:lnTo>
                <a:lnTo>
                  <a:pt x="33" y="2"/>
                </a:lnTo>
                <a:lnTo>
                  <a:pt x="25" y="5"/>
                </a:lnTo>
                <a:lnTo>
                  <a:pt x="17" y="10"/>
                </a:lnTo>
                <a:lnTo>
                  <a:pt x="10" y="16"/>
                </a:lnTo>
                <a:lnTo>
                  <a:pt x="5" y="23"/>
                </a:lnTo>
                <a:lnTo>
                  <a:pt x="1" y="31"/>
                </a:lnTo>
                <a:lnTo>
                  <a:pt x="0" y="40"/>
                </a:lnTo>
                <a:lnTo>
                  <a:pt x="0" y="40"/>
                </a:lnTo>
                <a:lnTo>
                  <a:pt x="1" y="45"/>
                </a:lnTo>
                <a:lnTo>
                  <a:pt x="3" y="48"/>
                </a:lnTo>
                <a:lnTo>
                  <a:pt x="6" y="51"/>
                </a:lnTo>
                <a:lnTo>
                  <a:pt x="10" y="54"/>
                </a:lnTo>
                <a:lnTo>
                  <a:pt x="19" y="57"/>
                </a:lnTo>
                <a:lnTo>
                  <a:pt x="26" y="58"/>
                </a:lnTo>
                <a:lnTo>
                  <a:pt x="26" y="58"/>
                </a:lnTo>
                <a:lnTo>
                  <a:pt x="41" y="57"/>
                </a:lnTo>
                <a:lnTo>
                  <a:pt x="54" y="56"/>
                </a:lnTo>
                <a:lnTo>
                  <a:pt x="66" y="56"/>
                </a:lnTo>
                <a:lnTo>
                  <a:pt x="73" y="56"/>
                </a:lnTo>
                <a:lnTo>
                  <a:pt x="81" y="58"/>
                </a:lnTo>
                <a:lnTo>
                  <a:pt x="81" y="58"/>
                </a:lnTo>
                <a:lnTo>
                  <a:pt x="81" y="40"/>
                </a:lnTo>
                <a:lnTo>
                  <a:pt x="81" y="40"/>
                </a:lnTo>
                <a:lnTo>
                  <a:pt x="81" y="40"/>
                </a:lnTo>
                <a:lnTo>
                  <a:pt x="73" y="39"/>
                </a:lnTo>
                <a:lnTo>
                  <a:pt x="67" y="36"/>
                </a:lnTo>
                <a:lnTo>
                  <a:pt x="63" y="34"/>
                </a:lnTo>
                <a:lnTo>
                  <a:pt x="58" y="33"/>
                </a:lnTo>
                <a:lnTo>
                  <a:pt x="58" y="33"/>
                </a:lnTo>
                <a:lnTo>
                  <a:pt x="64" y="30"/>
                </a:lnTo>
                <a:lnTo>
                  <a:pt x="67" y="26"/>
                </a:lnTo>
                <a:lnTo>
                  <a:pt x="70" y="22"/>
                </a:lnTo>
                <a:lnTo>
                  <a:pt x="70" y="19"/>
                </a:lnTo>
                <a:lnTo>
                  <a:pt x="70" y="19"/>
                </a:lnTo>
                <a:lnTo>
                  <a:pt x="70" y="1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0" name="Freeform 95"/>
          <p:cNvSpPr>
            <a:spLocks/>
          </p:cNvSpPr>
          <p:nvPr/>
        </p:nvSpPr>
        <p:spPr bwMode="auto">
          <a:xfrm>
            <a:off x="3925888" y="2984500"/>
            <a:ext cx="31750" cy="254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2"/>
              </a:cxn>
              <a:cxn ang="0">
                <a:pos x="0" y="22"/>
              </a:cxn>
              <a:cxn ang="0">
                <a:pos x="0" y="22"/>
              </a:cxn>
              <a:cxn ang="0">
                <a:pos x="3" y="25"/>
              </a:cxn>
              <a:cxn ang="0">
                <a:pos x="8" y="27"/>
              </a:cxn>
              <a:cxn ang="0">
                <a:pos x="12" y="28"/>
              </a:cxn>
              <a:cxn ang="0">
                <a:pos x="18" y="27"/>
              </a:cxn>
              <a:cxn ang="0">
                <a:pos x="24" y="25"/>
              </a:cxn>
              <a:cxn ang="0">
                <a:pos x="28" y="22"/>
              </a:cxn>
              <a:cxn ang="0">
                <a:pos x="33" y="17"/>
              </a:cxn>
              <a:cxn ang="0">
                <a:pos x="36" y="12"/>
              </a:cxn>
              <a:cxn ang="0">
                <a:pos x="36" y="12"/>
              </a:cxn>
              <a:cxn ang="0">
                <a:pos x="31" y="12"/>
              </a:cxn>
              <a:cxn ang="0">
                <a:pos x="25" y="11"/>
              </a:cxn>
              <a:cxn ang="0">
                <a:pos x="17" y="7"/>
              </a:cxn>
              <a:cxn ang="0">
                <a:pos x="9" y="4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36" h="28">
                <a:moveTo>
                  <a:pt x="0" y="0"/>
                </a:moveTo>
                <a:lnTo>
                  <a:pt x="0" y="22"/>
                </a:lnTo>
                <a:lnTo>
                  <a:pt x="0" y="22"/>
                </a:lnTo>
                <a:lnTo>
                  <a:pt x="0" y="22"/>
                </a:lnTo>
                <a:lnTo>
                  <a:pt x="3" y="25"/>
                </a:lnTo>
                <a:lnTo>
                  <a:pt x="8" y="27"/>
                </a:lnTo>
                <a:lnTo>
                  <a:pt x="12" y="28"/>
                </a:lnTo>
                <a:lnTo>
                  <a:pt x="18" y="27"/>
                </a:lnTo>
                <a:lnTo>
                  <a:pt x="24" y="25"/>
                </a:lnTo>
                <a:lnTo>
                  <a:pt x="28" y="22"/>
                </a:lnTo>
                <a:lnTo>
                  <a:pt x="33" y="17"/>
                </a:lnTo>
                <a:lnTo>
                  <a:pt x="36" y="12"/>
                </a:lnTo>
                <a:lnTo>
                  <a:pt x="36" y="12"/>
                </a:lnTo>
                <a:lnTo>
                  <a:pt x="31" y="12"/>
                </a:lnTo>
                <a:lnTo>
                  <a:pt x="25" y="11"/>
                </a:lnTo>
                <a:lnTo>
                  <a:pt x="17" y="7"/>
                </a:lnTo>
                <a:lnTo>
                  <a:pt x="9" y="4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1" name="Freeform 96"/>
          <p:cNvSpPr>
            <a:spLocks/>
          </p:cNvSpPr>
          <p:nvPr/>
        </p:nvSpPr>
        <p:spPr bwMode="auto">
          <a:xfrm>
            <a:off x="4008438" y="3087688"/>
            <a:ext cx="60325" cy="41275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40" y="0"/>
              </a:cxn>
              <a:cxn ang="0">
                <a:pos x="39" y="2"/>
              </a:cxn>
              <a:cxn ang="0">
                <a:pos x="38" y="5"/>
              </a:cxn>
              <a:cxn ang="0">
                <a:pos x="33" y="10"/>
              </a:cxn>
              <a:cxn ang="0">
                <a:pos x="26" y="12"/>
              </a:cxn>
              <a:cxn ang="0">
                <a:pos x="19" y="16"/>
              </a:cxn>
              <a:cxn ang="0">
                <a:pos x="11" y="18"/>
              </a:cxn>
              <a:cxn ang="0">
                <a:pos x="5" y="22"/>
              </a:cxn>
              <a:cxn ang="0">
                <a:pos x="2" y="26"/>
              </a:cxn>
              <a:cxn ang="0">
                <a:pos x="0" y="30"/>
              </a:cxn>
              <a:cxn ang="0">
                <a:pos x="0" y="32"/>
              </a:cxn>
              <a:cxn ang="0">
                <a:pos x="0" y="32"/>
              </a:cxn>
              <a:cxn ang="0">
                <a:pos x="1" y="37"/>
              </a:cxn>
              <a:cxn ang="0">
                <a:pos x="2" y="39"/>
              </a:cxn>
              <a:cxn ang="0">
                <a:pos x="4" y="42"/>
              </a:cxn>
              <a:cxn ang="0">
                <a:pos x="7" y="43"/>
              </a:cxn>
              <a:cxn ang="0">
                <a:pos x="12" y="46"/>
              </a:cxn>
              <a:cxn ang="0">
                <a:pos x="19" y="47"/>
              </a:cxn>
              <a:cxn ang="0">
                <a:pos x="19" y="47"/>
              </a:cxn>
              <a:cxn ang="0">
                <a:pos x="24" y="46"/>
              </a:cxn>
              <a:cxn ang="0">
                <a:pos x="32" y="43"/>
              </a:cxn>
              <a:cxn ang="0">
                <a:pos x="50" y="34"/>
              </a:cxn>
              <a:cxn ang="0">
                <a:pos x="58" y="30"/>
              </a:cxn>
              <a:cxn ang="0">
                <a:pos x="66" y="24"/>
              </a:cxn>
              <a:cxn ang="0">
                <a:pos x="71" y="18"/>
              </a:cxn>
              <a:cxn ang="0">
                <a:pos x="73" y="16"/>
              </a:cxn>
              <a:cxn ang="0">
                <a:pos x="73" y="14"/>
              </a:cxn>
              <a:cxn ang="0">
                <a:pos x="73" y="14"/>
              </a:cxn>
              <a:cxn ang="0">
                <a:pos x="72" y="11"/>
              </a:cxn>
              <a:cxn ang="0">
                <a:pos x="70" y="9"/>
              </a:cxn>
              <a:cxn ang="0">
                <a:pos x="66" y="5"/>
              </a:cxn>
              <a:cxn ang="0">
                <a:pos x="61" y="4"/>
              </a:cxn>
              <a:cxn ang="0">
                <a:pos x="50" y="1"/>
              </a:cxn>
              <a:cxn ang="0">
                <a:pos x="40" y="0"/>
              </a:cxn>
              <a:cxn ang="0">
                <a:pos x="40" y="0"/>
              </a:cxn>
              <a:cxn ang="0">
                <a:pos x="40" y="0"/>
              </a:cxn>
            </a:cxnLst>
            <a:rect l="0" t="0" r="r" b="b"/>
            <a:pathLst>
              <a:path w="73" h="47">
                <a:moveTo>
                  <a:pt x="40" y="0"/>
                </a:moveTo>
                <a:lnTo>
                  <a:pt x="40" y="0"/>
                </a:lnTo>
                <a:lnTo>
                  <a:pt x="39" y="2"/>
                </a:lnTo>
                <a:lnTo>
                  <a:pt x="38" y="5"/>
                </a:lnTo>
                <a:lnTo>
                  <a:pt x="33" y="10"/>
                </a:lnTo>
                <a:lnTo>
                  <a:pt x="26" y="12"/>
                </a:lnTo>
                <a:lnTo>
                  <a:pt x="19" y="16"/>
                </a:lnTo>
                <a:lnTo>
                  <a:pt x="11" y="18"/>
                </a:lnTo>
                <a:lnTo>
                  <a:pt x="5" y="22"/>
                </a:lnTo>
                <a:lnTo>
                  <a:pt x="2" y="26"/>
                </a:lnTo>
                <a:lnTo>
                  <a:pt x="0" y="30"/>
                </a:lnTo>
                <a:lnTo>
                  <a:pt x="0" y="32"/>
                </a:lnTo>
                <a:lnTo>
                  <a:pt x="0" y="32"/>
                </a:lnTo>
                <a:lnTo>
                  <a:pt x="1" y="37"/>
                </a:lnTo>
                <a:lnTo>
                  <a:pt x="2" y="39"/>
                </a:lnTo>
                <a:lnTo>
                  <a:pt x="4" y="42"/>
                </a:lnTo>
                <a:lnTo>
                  <a:pt x="7" y="43"/>
                </a:lnTo>
                <a:lnTo>
                  <a:pt x="12" y="46"/>
                </a:lnTo>
                <a:lnTo>
                  <a:pt x="19" y="47"/>
                </a:lnTo>
                <a:lnTo>
                  <a:pt x="19" y="47"/>
                </a:lnTo>
                <a:lnTo>
                  <a:pt x="24" y="46"/>
                </a:lnTo>
                <a:lnTo>
                  <a:pt x="32" y="43"/>
                </a:lnTo>
                <a:lnTo>
                  <a:pt x="50" y="34"/>
                </a:lnTo>
                <a:lnTo>
                  <a:pt x="58" y="30"/>
                </a:lnTo>
                <a:lnTo>
                  <a:pt x="66" y="24"/>
                </a:lnTo>
                <a:lnTo>
                  <a:pt x="71" y="18"/>
                </a:lnTo>
                <a:lnTo>
                  <a:pt x="73" y="16"/>
                </a:lnTo>
                <a:lnTo>
                  <a:pt x="73" y="14"/>
                </a:lnTo>
                <a:lnTo>
                  <a:pt x="73" y="14"/>
                </a:lnTo>
                <a:lnTo>
                  <a:pt x="72" y="11"/>
                </a:lnTo>
                <a:lnTo>
                  <a:pt x="70" y="9"/>
                </a:lnTo>
                <a:lnTo>
                  <a:pt x="66" y="5"/>
                </a:lnTo>
                <a:lnTo>
                  <a:pt x="61" y="4"/>
                </a:lnTo>
                <a:lnTo>
                  <a:pt x="50" y="1"/>
                </a:lnTo>
                <a:lnTo>
                  <a:pt x="40" y="0"/>
                </a:lnTo>
                <a:lnTo>
                  <a:pt x="40" y="0"/>
                </a:lnTo>
                <a:lnTo>
                  <a:pt x="4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2" name="Freeform 97"/>
          <p:cNvSpPr>
            <a:spLocks/>
          </p:cNvSpPr>
          <p:nvPr/>
        </p:nvSpPr>
        <p:spPr bwMode="auto">
          <a:xfrm>
            <a:off x="7902575" y="4197350"/>
            <a:ext cx="714375" cy="825500"/>
          </a:xfrm>
          <a:custGeom>
            <a:avLst/>
            <a:gdLst/>
            <a:ahLst/>
            <a:cxnLst>
              <a:cxn ang="0">
                <a:pos x="136" y="279"/>
              </a:cxn>
              <a:cxn ang="0">
                <a:pos x="106" y="224"/>
              </a:cxn>
              <a:cxn ang="0">
                <a:pos x="87" y="184"/>
              </a:cxn>
              <a:cxn ang="0">
                <a:pos x="34" y="127"/>
              </a:cxn>
              <a:cxn ang="0">
                <a:pos x="0" y="91"/>
              </a:cxn>
              <a:cxn ang="0">
                <a:pos x="6" y="85"/>
              </a:cxn>
              <a:cxn ang="0">
                <a:pos x="38" y="84"/>
              </a:cxn>
              <a:cxn ang="0">
                <a:pos x="56" y="70"/>
              </a:cxn>
              <a:cxn ang="0">
                <a:pos x="44" y="31"/>
              </a:cxn>
              <a:cxn ang="0">
                <a:pos x="39" y="0"/>
              </a:cxn>
              <a:cxn ang="0">
                <a:pos x="102" y="29"/>
              </a:cxn>
              <a:cxn ang="0">
                <a:pos x="158" y="71"/>
              </a:cxn>
              <a:cxn ang="0">
                <a:pos x="239" y="169"/>
              </a:cxn>
              <a:cxn ang="0">
                <a:pos x="297" y="231"/>
              </a:cxn>
              <a:cxn ang="0">
                <a:pos x="396" y="299"/>
              </a:cxn>
              <a:cxn ang="0">
                <a:pos x="547" y="372"/>
              </a:cxn>
              <a:cxn ang="0">
                <a:pos x="599" y="401"/>
              </a:cxn>
              <a:cxn ang="0">
                <a:pos x="670" y="449"/>
              </a:cxn>
              <a:cxn ang="0">
                <a:pos x="676" y="467"/>
              </a:cxn>
              <a:cxn ang="0">
                <a:pos x="623" y="455"/>
              </a:cxn>
              <a:cxn ang="0">
                <a:pos x="565" y="437"/>
              </a:cxn>
              <a:cxn ang="0">
                <a:pos x="541" y="443"/>
              </a:cxn>
              <a:cxn ang="0">
                <a:pos x="532" y="459"/>
              </a:cxn>
              <a:cxn ang="0">
                <a:pos x="534" y="547"/>
              </a:cxn>
              <a:cxn ang="0">
                <a:pos x="555" y="583"/>
              </a:cxn>
              <a:cxn ang="0">
                <a:pos x="576" y="635"/>
              </a:cxn>
              <a:cxn ang="0">
                <a:pos x="591" y="655"/>
              </a:cxn>
              <a:cxn ang="0">
                <a:pos x="618" y="693"/>
              </a:cxn>
              <a:cxn ang="0">
                <a:pos x="654" y="716"/>
              </a:cxn>
              <a:cxn ang="0">
                <a:pos x="739" y="739"/>
              </a:cxn>
              <a:cxn ang="0">
                <a:pos x="821" y="761"/>
              </a:cxn>
              <a:cxn ang="0">
                <a:pos x="852" y="783"/>
              </a:cxn>
              <a:cxn ang="0">
                <a:pos x="874" y="819"/>
              </a:cxn>
              <a:cxn ang="0">
                <a:pos x="829" y="801"/>
              </a:cxn>
              <a:cxn ang="0">
                <a:pos x="797" y="791"/>
              </a:cxn>
              <a:cxn ang="0">
                <a:pos x="771" y="795"/>
              </a:cxn>
              <a:cxn ang="0">
                <a:pos x="738" y="823"/>
              </a:cxn>
              <a:cxn ang="0">
                <a:pos x="736" y="838"/>
              </a:cxn>
              <a:cxn ang="0">
                <a:pos x="762" y="895"/>
              </a:cxn>
              <a:cxn ang="0">
                <a:pos x="782" y="948"/>
              </a:cxn>
              <a:cxn ang="0">
                <a:pos x="744" y="924"/>
              </a:cxn>
              <a:cxn ang="0">
                <a:pos x="676" y="854"/>
              </a:cxn>
              <a:cxn ang="0">
                <a:pos x="601" y="742"/>
              </a:cxn>
              <a:cxn ang="0">
                <a:pos x="538" y="674"/>
              </a:cxn>
              <a:cxn ang="0">
                <a:pos x="491" y="646"/>
              </a:cxn>
              <a:cxn ang="0">
                <a:pos x="451" y="587"/>
              </a:cxn>
              <a:cxn ang="0">
                <a:pos x="382" y="474"/>
              </a:cxn>
              <a:cxn ang="0">
                <a:pos x="298" y="375"/>
              </a:cxn>
              <a:cxn ang="0">
                <a:pos x="220" y="315"/>
              </a:cxn>
              <a:cxn ang="0">
                <a:pos x="178" y="299"/>
              </a:cxn>
              <a:cxn ang="0">
                <a:pos x="150" y="298"/>
              </a:cxn>
            </a:cxnLst>
            <a:rect l="0" t="0" r="r" b="b"/>
            <a:pathLst>
              <a:path w="874" h="948">
                <a:moveTo>
                  <a:pt x="150" y="298"/>
                </a:moveTo>
                <a:lnTo>
                  <a:pt x="150" y="298"/>
                </a:lnTo>
                <a:lnTo>
                  <a:pt x="142" y="288"/>
                </a:lnTo>
                <a:lnTo>
                  <a:pt x="136" y="279"/>
                </a:lnTo>
                <a:lnTo>
                  <a:pt x="127" y="261"/>
                </a:lnTo>
                <a:lnTo>
                  <a:pt x="119" y="244"/>
                </a:lnTo>
                <a:lnTo>
                  <a:pt x="113" y="235"/>
                </a:lnTo>
                <a:lnTo>
                  <a:pt x="106" y="224"/>
                </a:lnTo>
                <a:lnTo>
                  <a:pt x="106" y="224"/>
                </a:lnTo>
                <a:lnTo>
                  <a:pt x="102" y="211"/>
                </a:lnTo>
                <a:lnTo>
                  <a:pt x="95" y="198"/>
                </a:lnTo>
                <a:lnTo>
                  <a:pt x="87" y="184"/>
                </a:lnTo>
                <a:lnTo>
                  <a:pt x="77" y="172"/>
                </a:lnTo>
                <a:lnTo>
                  <a:pt x="67" y="160"/>
                </a:lnTo>
                <a:lnTo>
                  <a:pt x="56" y="149"/>
                </a:lnTo>
                <a:lnTo>
                  <a:pt x="34" y="127"/>
                </a:lnTo>
                <a:lnTo>
                  <a:pt x="15" y="109"/>
                </a:lnTo>
                <a:lnTo>
                  <a:pt x="7" y="102"/>
                </a:lnTo>
                <a:lnTo>
                  <a:pt x="3" y="96"/>
                </a:lnTo>
                <a:lnTo>
                  <a:pt x="0" y="91"/>
                </a:lnTo>
                <a:lnTo>
                  <a:pt x="0" y="89"/>
                </a:lnTo>
                <a:lnTo>
                  <a:pt x="1" y="88"/>
                </a:lnTo>
                <a:lnTo>
                  <a:pt x="3" y="86"/>
                </a:lnTo>
                <a:lnTo>
                  <a:pt x="6" y="85"/>
                </a:lnTo>
                <a:lnTo>
                  <a:pt x="14" y="84"/>
                </a:lnTo>
                <a:lnTo>
                  <a:pt x="14" y="84"/>
                </a:lnTo>
                <a:lnTo>
                  <a:pt x="28" y="85"/>
                </a:lnTo>
                <a:lnTo>
                  <a:pt x="38" y="84"/>
                </a:lnTo>
                <a:lnTo>
                  <a:pt x="45" y="82"/>
                </a:lnTo>
                <a:lnTo>
                  <a:pt x="51" y="78"/>
                </a:lnTo>
                <a:lnTo>
                  <a:pt x="54" y="75"/>
                </a:lnTo>
                <a:lnTo>
                  <a:pt x="56" y="70"/>
                </a:lnTo>
                <a:lnTo>
                  <a:pt x="56" y="65"/>
                </a:lnTo>
                <a:lnTo>
                  <a:pt x="54" y="59"/>
                </a:lnTo>
                <a:lnTo>
                  <a:pt x="50" y="46"/>
                </a:lnTo>
                <a:lnTo>
                  <a:pt x="44" y="31"/>
                </a:lnTo>
                <a:lnTo>
                  <a:pt x="41" y="23"/>
                </a:lnTo>
                <a:lnTo>
                  <a:pt x="39" y="16"/>
                </a:lnTo>
                <a:lnTo>
                  <a:pt x="38" y="8"/>
                </a:lnTo>
                <a:lnTo>
                  <a:pt x="39" y="0"/>
                </a:lnTo>
                <a:lnTo>
                  <a:pt x="39" y="0"/>
                </a:lnTo>
                <a:lnTo>
                  <a:pt x="62" y="10"/>
                </a:lnTo>
                <a:lnTo>
                  <a:pt x="83" y="20"/>
                </a:lnTo>
                <a:lnTo>
                  <a:pt x="102" y="29"/>
                </a:lnTo>
                <a:lnTo>
                  <a:pt x="118" y="39"/>
                </a:lnTo>
                <a:lnTo>
                  <a:pt x="133" y="50"/>
                </a:lnTo>
                <a:lnTo>
                  <a:pt x="145" y="60"/>
                </a:lnTo>
                <a:lnTo>
                  <a:pt x="158" y="71"/>
                </a:lnTo>
                <a:lnTo>
                  <a:pt x="168" y="83"/>
                </a:lnTo>
                <a:lnTo>
                  <a:pt x="190" y="107"/>
                </a:lnTo>
                <a:lnTo>
                  <a:pt x="213" y="136"/>
                </a:lnTo>
                <a:lnTo>
                  <a:pt x="239" y="169"/>
                </a:lnTo>
                <a:lnTo>
                  <a:pt x="271" y="206"/>
                </a:lnTo>
                <a:lnTo>
                  <a:pt x="271" y="206"/>
                </a:lnTo>
                <a:lnTo>
                  <a:pt x="283" y="219"/>
                </a:lnTo>
                <a:lnTo>
                  <a:pt x="297" y="231"/>
                </a:lnTo>
                <a:lnTo>
                  <a:pt x="312" y="244"/>
                </a:lnTo>
                <a:lnTo>
                  <a:pt x="328" y="256"/>
                </a:lnTo>
                <a:lnTo>
                  <a:pt x="362" y="279"/>
                </a:lnTo>
                <a:lnTo>
                  <a:pt x="396" y="299"/>
                </a:lnTo>
                <a:lnTo>
                  <a:pt x="433" y="320"/>
                </a:lnTo>
                <a:lnTo>
                  <a:pt x="471" y="338"/>
                </a:lnTo>
                <a:lnTo>
                  <a:pt x="509" y="356"/>
                </a:lnTo>
                <a:lnTo>
                  <a:pt x="547" y="372"/>
                </a:lnTo>
                <a:lnTo>
                  <a:pt x="547" y="372"/>
                </a:lnTo>
                <a:lnTo>
                  <a:pt x="568" y="381"/>
                </a:lnTo>
                <a:lnTo>
                  <a:pt x="584" y="391"/>
                </a:lnTo>
                <a:lnTo>
                  <a:pt x="599" y="401"/>
                </a:lnTo>
                <a:lnTo>
                  <a:pt x="612" y="412"/>
                </a:lnTo>
                <a:lnTo>
                  <a:pt x="629" y="424"/>
                </a:lnTo>
                <a:lnTo>
                  <a:pt x="647" y="435"/>
                </a:lnTo>
                <a:lnTo>
                  <a:pt x="670" y="449"/>
                </a:lnTo>
                <a:lnTo>
                  <a:pt x="701" y="464"/>
                </a:lnTo>
                <a:lnTo>
                  <a:pt x="701" y="464"/>
                </a:lnTo>
                <a:lnTo>
                  <a:pt x="688" y="466"/>
                </a:lnTo>
                <a:lnTo>
                  <a:pt x="676" y="467"/>
                </a:lnTo>
                <a:lnTo>
                  <a:pt x="662" y="466"/>
                </a:lnTo>
                <a:lnTo>
                  <a:pt x="649" y="463"/>
                </a:lnTo>
                <a:lnTo>
                  <a:pt x="636" y="459"/>
                </a:lnTo>
                <a:lnTo>
                  <a:pt x="623" y="455"/>
                </a:lnTo>
                <a:lnTo>
                  <a:pt x="599" y="447"/>
                </a:lnTo>
                <a:lnTo>
                  <a:pt x="587" y="442"/>
                </a:lnTo>
                <a:lnTo>
                  <a:pt x="576" y="439"/>
                </a:lnTo>
                <a:lnTo>
                  <a:pt x="565" y="437"/>
                </a:lnTo>
                <a:lnTo>
                  <a:pt x="557" y="437"/>
                </a:lnTo>
                <a:lnTo>
                  <a:pt x="548" y="439"/>
                </a:lnTo>
                <a:lnTo>
                  <a:pt x="545" y="441"/>
                </a:lnTo>
                <a:lnTo>
                  <a:pt x="541" y="443"/>
                </a:lnTo>
                <a:lnTo>
                  <a:pt x="539" y="445"/>
                </a:lnTo>
                <a:lnTo>
                  <a:pt x="537" y="450"/>
                </a:lnTo>
                <a:lnTo>
                  <a:pt x="532" y="459"/>
                </a:lnTo>
                <a:lnTo>
                  <a:pt x="532" y="459"/>
                </a:lnTo>
                <a:lnTo>
                  <a:pt x="527" y="540"/>
                </a:lnTo>
                <a:lnTo>
                  <a:pt x="527" y="540"/>
                </a:lnTo>
                <a:lnTo>
                  <a:pt x="527" y="540"/>
                </a:lnTo>
                <a:lnTo>
                  <a:pt x="534" y="547"/>
                </a:lnTo>
                <a:lnTo>
                  <a:pt x="540" y="554"/>
                </a:lnTo>
                <a:lnTo>
                  <a:pt x="545" y="560"/>
                </a:lnTo>
                <a:lnTo>
                  <a:pt x="548" y="567"/>
                </a:lnTo>
                <a:lnTo>
                  <a:pt x="555" y="583"/>
                </a:lnTo>
                <a:lnTo>
                  <a:pt x="561" y="598"/>
                </a:lnTo>
                <a:lnTo>
                  <a:pt x="565" y="615"/>
                </a:lnTo>
                <a:lnTo>
                  <a:pt x="572" y="628"/>
                </a:lnTo>
                <a:lnTo>
                  <a:pt x="576" y="635"/>
                </a:lnTo>
                <a:lnTo>
                  <a:pt x="580" y="642"/>
                </a:lnTo>
                <a:lnTo>
                  <a:pt x="585" y="649"/>
                </a:lnTo>
                <a:lnTo>
                  <a:pt x="591" y="655"/>
                </a:lnTo>
                <a:lnTo>
                  <a:pt x="591" y="655"/>
                </a:lnTo>
                <a:lnTo>
                  <a:pt x="596" y="665"/>
                </a:lnTo>
                <a:lnTo>
                  <a:pt x="603" y="676"/>
                </a:lnTo>
                <a:lnTo>
                  <a:pt x="610" y="685"/>
                </a:lnTo>
                <a:lnTo>
                  <a:pt x="618" y="693"/>
                </a:lnTo>
                <a:lnTo>
                  <a:pt x="626" y="700"/>
                </a:lnTo>
                <a:lnTo>
                  <a:pt x="636" y="705"/>
                </a:lnTo>
                <a:lnTo>
                  <a:pt x="645" y="711"/>
                </a:lnTo>
                <a:lnTo>
                  <a:pt x="654" y="716"/>
                </a:lnTo>
                <a:lnTo>
                  <a:pt x="675" y="724"/>
                </a:lnTo>
                <a:lnTo>
                  <a:pt x="695" y="730"/>
                </a:lnTo>
                <a:lnTo>
                  <a:pt x="717" y="734"/>
                </a:lnTo>
                <a:lnTo>
                  <a:pt x="739" y="739"/>
                </a:lnTo>
                <a:lnTo>
                  <a:pt x="761" y="742"/>
                </a:lnTo>
                <a:lnTo>
                  <a:pt x="782" y="747"/>
                </a:lnTo>
                <a:lnTo>
                  <a:pt x="802" y="753"/>
                </a:lnTo>
                <a:lnTo>
                  <a:pt x="821" y="761"/>
                </a:lnTo>
                <a:lnTo>
                  <a:pt x="829" y="765"/>
                </a:lnTo>
                <a:lnTo>
                  <a:pt x="837" y="770"/>
                </a:lnTo>
                <a:lnTo>
                  <a:pt x="845" y="776"/>
                </a:lnTo>
                <a:lnTo>
                  <a:pt x="852" y="783"/>
                </a:lnTo>
                <a:lnTo>
                  <a:pt x="859" y="791"/>
                </a:lnTo>
                <a:lnTo>
                  <a:pt x="864" y="799"/>
                </a:lnTo>
                <a:lnTo>
                  <a:pt x="869" y="809"/>
                </a:lnTo>
                <a:lnTo>
                  <a:pt x="874" y="819"/>
                </a:lnTo>
                <a:lnTo>
                  <a:pt x="874" y="819"/>
                </a:lnTo>
                <a:lnTo>
                  <a:pt x="860" y="815"/>
                </a:lnTo>
                <a:lnTo>
                  <a:pt x="848" y="810"/>
                </a:lnTo>
                <a:lnTo>
                  <a:pt x="829" y="801"/>
                </a:lnTo>
                <a:lnTo>
                  <a:pt x="821" y="796"/>
                </a:lnTo>
                <a:lnTo>
                  <a:pt x="814" y="793"/>
                </a:lnTo>
                <a:lnTo>
                  <a:pt x="806" y="791"/>
                </a:lnTo>
                <a:lnTo>
                  <a:pt x="797" y="791"/>
                </a:lnTo>
                <a:lnTo>
                  <a:pt x="797" y="791"/>
                </a:lnTo>
                <a:lnTo>
                  <a:pt x="787" y="791"/>
                </a:lnTo>
                <a:lnTo>
                  <a:pt x="779" y="793"/>
                </a:lnTo>
                <a:lnTo>
                  <a:pt x="771" y="795"/>
                </a:lnTo>
                <a:lnTo>
                  <a:pt x="764" y="800"/>
                </a:lnTo>
                <a:lnTo>
                  <a:pt x="757" y="804"/>
                </a:lnTo>
                <a:lnTo>
                  <a:pt x="751" y="810"/>
                </a:lnTo>
                <a:lnTo>
                  <a:pt x="738" y="823"/>
                </a:lnTo>
                <a:lnTo>
                  <a:pt x="738" y="823"/>
                </a:lnTo>
                <a:lnTo>
                  <a:pt x="736" y="827"/>
                </a:lnTo>
                <a:lnTo>
                  <a:pt x="736" y="832"/>
                </a:lnTo>
                <a:lnTo>
                  <a:pt x="736" y="838"/>
                </a:lnTo>
                <a:lnTo>
                  <a:pt x="738" y="845"/>
                </a:lnTo>
                <a:lnTo>
                  <a:pt x="744" y="860"/>
                </a:lnTo>
                <a:lnTo>
                  <a:pt x="753" y="877"/>
                </a:lnTo>
                <a:lnTo>
                  <a:pt x="762" y="895"/>
                </a:lnTo>
                <a:lnTo>
                  <a:pt x="771" y="914"/>
                </a:lnTo>
                <a:lnTo>
                  <a:pt x="778" y="932"/>
                </a:lnTo>
                <a:lnTo>
                  <a:pt x="780" y="940"/>
                </a:lnTo>
                <a:lnTo>
                  <a:pt x="782" y="948"/>
                </a:lnTo>
                <a:lnTo>
                  <a:pt x="782" y="948"/>
                </a:lnTo>
                <a:lnTo>
                  <a:pt x="769" y="941"/>
                </a:lnTo>
                <a:lnTo>
                  <a:pt x="756" y="933"/>
                </a:lnTo>
                <a:lnTo>
                  <a:pt x="744" y="924"/>
                </a:lnTo>
                <a:lnTo>
                  <a:pt x="732" y="915"/>
                </a:lnTo>
                <a:lnTo>
                  <a:pt x="711" y="896"/>
                </a:lnTo>
                <a:lnTo>
                  <a:pt x="693" y="876"/>
                </a:lnTo>
                <a:lnTo>
                  <a:pt x="676" y="854"/>
                </a:lnTo>
                <a:lnTo>
                  <a:pt x="661" y="832"/>
                </a:lnTo>
                <a:lnTo>
                  <a:pt x="631" y="787"/>
                </a:lnTo>
                <a:lnTo>
                  <a:pt x="616" y="764"/>
                </a:lnTo>
                <a:lnTo>
                  <a:pt x="601" y="742"/>
                </a:lnTo>
                <a:lnTo>
                  <a:pt x="585" y="722"/>
                </a:lnTo>
                <a:lnTo>
                  <a:pt x="568" y="702"/>
                </a:lnTo>
                <a:lnTo>
                  <a:pt x="548" y="684"/>
                </a:lnTo>
                <a:lnTo>
                  <a:pt x="538" y="674"/>
                </a:lnTo>
                <a:lnTo>
                  <a:pt x="527" y="666"/>
                </a:lnTo>
                <a:lnTo>
                  <a:pt x="516" y="659"/>
                </a:lnTo>
                <a:lnTo>
                  <a:pt x="503" y="653"/>
                </a:lnTo>
                <a:lnTo>
                  <a:pt x="491" y="646"/>
                </a:lnTo>
                <a:lnTo>
                  <a:pt x="477" y="640"/>
                </a:lnTo>
                <a:lnTo>
                  <a:pt x="477" y="640"/>
                </a:lnTo>
                <a:lnTo>
                  <a:pt x="465" y="613"/>
                </a:lnTo>
                <a:lnTo>
                  <a:pt x="451" y="587"/>
                </a:lnTo>
                <a:lnTo>
                  <a:pt x="436" y="558"/>
                </a:lnTo>
                <a:lnTo>
                  <a:pt x="420" y="531"/>
                </a:lnTo>
                <a:lnTo>
                  <a:pt x="402" y="503"/>
                </a:lnTo>
                <a:lnTo>
                  <a:pt x="382" y="474"/>
                </a:lnTo>
                <a:lnTo>
                  <a:pt x="363" y="448"/>
                </a:lnTo>
                <a:lnTo>
                  <a:pt x="341" y="422"/>
                </a:lnTo>
                <a:lnTo>
                  <a:pt x="320" y="397"/>
                </a:lnTo>
                <a:lnTo>
                  <a:pt x="298" y="375"/>
                </a:lnTo>
                <a:lnTo>
                  <a:pt x="275" y="354"/>
                </a:lnTo>
                <a:lnTo>
                  <a:pt x="253" y="337"/>
                </a:lnTo>
                <a:lnTo>
                  <a:pt x="232" y="322"/>
                </a:lnTo>
                <a:lnTo>
                  <a:pt x="220" y="315"/>
                </a:lnTo>
                <a:lnTo>
                  <a:pt x="210" y="310"/>
                </a:lnTo>
                <a:lnTo>
                  <a:pt x="198" y="306"/>
                </a:lnTo>
                <a:lnTo>
                  <a:pt x="188" y="302"/>
                </a:lnTo>
                <a:lnTo>
                  <a:pt x="178" y="299"/>
                </a:lnTo>
                <a:lnTo>
                  <a:pt x="168" y="298"/>
                </a:lnTo>
                <a:lnTo>
                  <a:pt x="168" y="298"/>
                </a:lnTo>
                <a:lnTo>
                  <a:pt x="150" y="298"/>
                </a:lnTo>
                <a:lnTo>
                  <a:pt x="150" y="29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3" name="Freeform 98"/>
          <p:cNvSpPr>
            <a:spLocks/>
          </p:cNvSpPr>
          <p:nvPr/>
        </p:nvSpPr>
        <p:spPr bwMode="auto">
          <a:xfrm>
            <a:off x="7142163" y="736600"/>
            <a:ext cx="1152525" cy="2725738"/>
          </a:xfrm>
          <a:custGeom>
            <a:avLst/>
            <a:gdLst/>
            <a:ahLst/>
            <a:cxnLst>
              <a:cxn ang="0">
                <a:pos x="305" y="1897"/>
              </a:cxn>
              <a:cxn ang="0">
                <a:pos x="235" y="1990"/>
              </a:cxn>
              <a:cxn ang="0">
                <a:pos x="212" y="2080"/>
              </a:cxn>
              <a:cxn ang="0">
                <a:pos x="233" y="2157"/>
              </a:cxn>
              <a:cxn ang="0">
                <a:pos x="295" y="2300"/>
              </a:cxn>
              <a:cxn ang="0">
                <a:pos x="246" y="2439"/>
              </a:cxn>
              <a:cxn ang="0">
                <a:pos x="167" y="2480"/>
              </a:cxn>
              <a:cxn ang="0">
                <a:pos x="162" y="2567"/>
              </a:cxn>
              <a:cxn ang="0">
                <a:pos x="86" y="2679"/>
              </a:cxn>
              <a:cxn ang="0">
                <a:pos x="199" y="2853"/>
              </a:cxn>
              <a:cxn ang="0">
                <a:pos x="255" y="2945"/>
              </a:cxn>
              <a:cxn ang="0">
                <a:pos x="427" y="2957"/>
              </a:cxn>
              <a:cxn ang="0">
                <a:pos x="454" y="3091"/>
              </a:cxn>
              <a:cxn ang="0">
                <a:pos x="585" y="3075"/>
              </a:cxn>
              <a:cxn ang="0">
                <a:pos x="684" y="3085"/>
              </a:cxn>
              <a:cxn ang="0">
                <a:pos x="731" y="2922"/>
              </a:cxn>
              <a:cxn ang="0">
                <a:pos x="882" y="2908"/>
              </a:cxn>
              <a:cxn ang="0">
                <a:pos x="974" y="2774"/>
              </a:cxn>
              <a:cxn ang="0">
                <a:pos x="1023" y="2621"/>
              </a:cxn>
              <a:cxn ang="0">
                <a:pos x="888" y="2471"/>
              </a:cxn>
              <a:cxn ang="0">
                <a:pos x="883" y="2168"/>
              </a:cxn>
              <a:cxn ang="0">
                <a:pos x="952" y="2127"/>
              </a:cxn>
              <a:cxn ang="0">
                <a:pos x="1064" y="2201"/>
              </a:cxn>
              <a:cxn ang="0">
                <a:pos x="1052" y="2076"/>
              </a:cxn>
              <a:cxn ang="0">
                <a:pos x="1027" y="1976"/>
              </a:cxn>
              <a:cxn ang="0">
                <a:pos x="967" y="1966"/>
              </a:cxn>
              <a:cxn ang="0">
                <a:pos x="858" y="1882"/>
              </a:cxn>
              <a:cxn ang="0">
                <a:pos x="724" y="1764"/>
              </a:cxn>
              <a:cxn ang="0">
                <a:pos x="661" y="1706"/>
              </a:cxn>
              <a:cxn ang="0">
                <a:pos x="715" y="1605"/>
              </a:cxn>
              <a:cxn ang="0">
                <a:pos x="914" y="1426"/>
              </a:cxn>
              <a:cxn ang="0">
                <a:pos x="1020" y="1468"/>
              </a:cxn>
              <a:cxn ang="0">
                <a:pos x="1205" y="1440"/>
              </a:cxn>
              <a:cxn ang="0">
                <a:pos x="1267" y="1240"/>
              </a:cxn>
              <a:cxn ang="0">
                <a:pos x="1367" y="1180"/>
              </a:cxn>
              <a:cxn ang="0">
                <a:pos x="1411" y="857"/>
              </a:cxn>
              <a:cxn ang="0">
                <a:pos x="1266" y="796"/>
              </a:cxn>
              <a:cxn ang="0">
                <a:pos x="1012" y="908"/>
              </a:cxn>
              <a:cxn ang="0">
                <a:pos x="1061" y="800"/>
              </a:cxn>
              <a:cxn ang="0">
                <a:pos x="1012" y="623"/>
              </a:cxn>
              <a:cxn ang="0">
                <a:pos x="888" y="546"/>
              </a:cxn>
              <a:cxn ang="0">
                <a:pos x="1014" y="463"/>
              </a:cxn>
              <a:cxn ang="0">
                <a:pos x="1138" y="393"/>
              </a:cxn>
              <a:cxn ang="0">
                <a:pos x="1262" y="254"/>
              </a:cxn>
              <a:cxn ang="0">
                <a:pos x="1163" y="188"/>
              </a:cxn>
              <a:cxn ang="0">
                <a:pos x="1072" y="155"/>
              </a:cxn>
              <a:cxn ang="0">
                <a:pos x="955" y="38"/>
              </a:cxn>
              <a:cxn ang="0">
                <a:pos x="919" y="217"/>
              </a:cxn>
              <a:cxn ang="0">
                <a:pos x="850" y="275"/>
              </a:cxn>
              <a:cxn ang="0">
                <a:pos x="460" y="475"/>
              </a:cxn>
              <a:cxn ang="0">
                <a:pos x="145" y="912"/>
              </a:cxn>
              <a:cxn ang="0">
                <a:pos x="295" y="961"/>
              </a:cxn>
              <a:cxn ang="0">
                <a:pos x="257" y="1052"/>
              </a:cxn>
              <a:cxn ang="0">
                <a:pos x="121" y="1058"/>
              </a:cxn>
              <a:cxn ang="0">
                <a:pos x="33" y="1266"/>
              </a:cxn>
              <a:cxn ang="0">
                <a:pos x="34" y="1364"/>
              </a:cxn>
              <a:cxn ang="0">
                <a:pos x="155" y="1485"/>
              </a:cxn>
              <a:cxn ang="0">
                <a:pos x="82" y="1643"/>
              </a:cxn>
              <a:cxn ang="0">
                <a:pos x="122" y="1739"/>
              </a:cxn>
              <a:cxn ang="0">
                <a:pos x="257" y="1762"/>
              </a:cxn>
            </a:cxnLst>
            <a:rect l="0" t="0" r="r" b="b"/>
            <a:pathLst>
              <a:path w="1411" h="3127">
                <a:moveTo>
                  <a:pt x="302" y="1820"/>
                </a:moveTo>
                <a:lnTo>
                  <a:pt x="302" y="1820"/>
                </a:lnTo>
                <a:lnTo>
                  <a:pt x="302" y="1820"/>
                </a:lnTo>
                <a:lnTo>
                  <a:pt x="302" y="1820"/>
                </a:lnTo>
                <a:lnTo>
                  <a:pt x="308" y="1825"/>
                </a:lnTo>
                <a:lnTo>
                  <a:pt x="316" y="1835"/>
                </a:lnTo>
                <a:lnTo>
                  <a:pt x="324" y="1844"/>
                </a:lnTo>
                <a:lnTo>
                  <a:pt x="326" y="1848"/>
                </a:lnTo>
                <a:lnTo>
                  <a:pt x="327" y="1852"/>
                </a:lnTo>
                <a:lnTo>
                  <a:pt x="327" y="1852"/>
                </a:lnTo>
                <a:lnTo>
                  <a:pt x="326" y="1859"/>
                </a:lnTo>
                <a:lnTo>
                  <a:pt x="324" y="1865"/>
                </a:lnTo>
                <a:lnTo>
                  <a:pt x="320" y="1869"/>
                </a:lnTo>
                <a:lnTo>
                  <a:pt x="317" y="1875"/>
                </a:lnTo>
                <a:lnTo>
                  <a:pt x="312" y="1880"/>
                </a:lnTo>
                <a:lnTo>
                  <a:pt x="309" y="1884"/>
                </a:lnTo>
                <a:lnTo>
                  <a:pt x="306" y="1890"/>
                </a:lnTo>
                <a:lnTo>
                  <a:pt x="305" y="1897"/>
                </a:lnTo>
                <a:lnTo>
                  <a:pt x="305" y="1897"/>
                </a:lnTo>
                <a:lnTo>
                  <a:pt x="305" y="1937"/>
                </a:lnTo>
                <a:lnTo>
                  <a:pt x="305" y="1937"/>
                </a:lnTo>
                <a:lnTo>
                  <a:pt x="300" y="1938"/>
                </a:lnTo>
                <a:lnTo>
                  <a:pt x="292" y="1938"/>
                </a:lnTo>
                <a:lnTo>
                  <a:pt x="282" y="1937"/>
                </a:lnTo>
                <a:lnTo>
                  <a:pt x="272" y="1937"/>
                </a:lnTo>
                <a:lnTo>
                  <a:pt x="272" y="1937"/>
                </a:lnTo>
                <a:lnTo>
                  <a:pt x="266" y="1938"/>
                </a:lnTo>
                <a:lnTo>
                  <a:pt x="263" y="1941"/>
                </a:lnTo>
                <a:lnTo>
                  <a:pt x="262" y="1944"/>
                </a:lnTo>
                <a:lnTo>
                  <a:pt x="260" y="1949"/>
                </a:lnTo>
                <a:lnTo>
                  <a:pt x="259" y="1959"/>
                </a:lnTo>
                <a:lnTo>
                  <a:pt x="257" y="1965"/>
                </a:lnTo>
                <a:lnTo>
                  <a:pt x="254" y="1970"/>
                </a:lnTo>
                <a:lnTo>
                  <a:pt x="254" y="1970"/>
                </a:lnTo>
                <a:lnTo>
                  <a:pt x="250" y="1976"/>
                </a:lnTo>
                <a:lnTo>
                  <a:pt x="246" y="1981"/>
                </a:lnTo>
                <a:lnTo>
                  <a:pt x="241" y="1985"/>
                </a:lnTo>
                <a:lnTo>
                  <a:pt x="235" y="1990"/>
                </a:lnTo>
                <a:lnTo>
                  <a:pt x="222" y="1997"/>
                </a:lnTo>
                <a:lnTo>
                  <a:pt x="211" y="2004"/>
                </a:lnTo>
                <a:lnTo>
                  <a:pt x="199" y="2011"/>
                </a:lnTo>
                <a:lnTo>
                  <a:pt x="194" y="2015"/>
                </a:lnTo>
                <a:lnTo>
                  <a:pt x="189" y="2020"/>
                </a:lnTo>
                <a:lnTo>
                  <a:pt x="186" y="2025"/>
                </a:lnTo>
                <a:lnTo>
                  <a:pt x="183" y="2030"/>
                </a:lnTo>
                <a:lnTo>
                  <a:pt x="181" y="2036"/>
                </a:lnTo>
                <a:lnTo>
                  <a:pt x="181" y="2043"/>
                </a:lnTo>
                <a:lnTo>
                  <a:pt x="181" y="2043"/>
                </a:lnTo>
                <a:lnTo>
                  <a:pt x="181" y="2048"/>
                </a:lnTo>
                <a:lnTo>
                  <a:pt x="182" y="2051"/>
                </a:lnTo>
                <a:lnTo>
                  <a:pt x="186" y="2057"/>
                </a:lnTo>
                <a:lnTo>
                  <a:pt x="190" y="2061"/>
                </a:lnTo>
                <a:lnTo>
                  <a:pt x="196" y="2065"/>
                </a:lnTo>
                <a:lnTo>
                  <a:pt x="202" y="2068"/>
                </a:lnTo>
                <a:lnTo>
                  <a:pt x="206" y="2072"/>
                </a:lnTo>
                <a:lnTo>
                  <a:pt x="211" y="2076"/>
                </a:lnTo>
                <a:lnTo>
                  <a:pt x="212" y="2080"/>
                </a:lnTo>
                <a:lnTo>
                  <a:pt x="213" y="2083"/>
                </a:lnTo>
                <a:lnTo>
                  <a:pt x="213" y="2083"/>
                </a:lnTo>
                <a:lnTo>
                  <a:pt x="206" y="2089"/>
                </a:lnTo>
                <a:lnTo>
                  <a:pt x="198" y="2097"/>
                </a:lnTo>
                <a:lnTo>
                  <a:pt x="191" y="2107"/>
                </a:lnTo>
                <a:lnTo>
                  <a:pt x="189" y="2112"/>
                </a:lnTo>
                <a:lnTo>
                  <a:pt x="188" y="2117"/>
                </a:lnTo>
                <a:lnTo>
                  <a:pt x="188" y="2117"/>
                </a:lnTo>
                <a:lnTo>
                  <a:pt x="189" y="2122"/>
                </a:lnTo>
                <a:lnTo>
                  <a:pt x="189" y="2127"/>
                </a:lnTo>
                <a:lnTo>
                  <a:pt x="191" y="2132"/>
                </a:lnTo>
                <a:lnTo>
                  <a:pt x="194" y="2135"/>
                </a:lnTo>
                <a:lnTo>
                  <a:pt x="199" y="2140"/>
                </a:lnTo>
                <a:lnTo>
                  <a:pt x="206" y="2142"/>
                </a:lnTo>
                <a:lnTo>
                  <a:pt x="220" y="2148"/>
                </a:lnTo>
                <a:lnTo>
                  <a:pt x="227" y="2151"/>
                </a:lnTo>
                <a:lnTo>
                  <a:pt x="229" y="2153"/>
                </a:lnTo>
                <a:lnTo>
                  <a:pt x="233" y="2157"/>
                </a:lnTo>
                <a:lnTo>
                  <a:pt x="233" y="2157"/>
                </a:lnTo>
                <a:lnTo>
                  <a:pt x="235" y="2165"/>
                </a:lnTo>
                <a:lnTo>
                  <a:pt x="237" y="2174"/>
                </a:lnTo>
                <a:lnTo>
                  <a:pt x="239" y="2184"/>
                </a:lnTo>
                <a:lnTo>
                  <a:pt x="240" y="2196"/>
                </a:lnTo>
                <a:lnTo>
                  <a:pt x="240" y="2217"/>
                </a:lnTo>
                <a:lnTo>
                  <a:pt x="240" y="2235"/>
                </a:lnTo>
                <a:lnTo>
                  <a:pt x="240" y="2235"/>
                </a:lnTo>
                <a:lnTo>
                  <a:pt x="241" y="2239"/>
                </a:lnTo>
                <a:lnTo>
                  <a:pt x="244" y="2242"/>
                </a:lnTo>
                <a:lnTo>
                  <a:pt x="251" y="2248"/>
                </a:lnTo>
                <a:lnTo>
                  <a:pt x="270" y="2260"/>
                </a:lnTo>
                <a:lnTo>
                  <a:pt x="279" y="2266"/>
                </a:lnTo>
                <a:lnTo>
                  <a:pt x="287" y="2274"/>
                </a:lnTo>
                <a:lnTo>
                  <a:pt x="290" y="2279"/>
                </a:lnTo>
                <a:lnTo>
                  <a:pt x="293" y="2285"/>
                </a:lnTo>
                <a:lnTo>
                  <a:pt x="294" y="2290"/>
                </a:lnTo>
                <a:lnTo>
                  <a:pt x="295" y="2297"/>
                </a:lnTo>
                <a:lnTo>
                  <a:pt x="295" y="2297"/>
                </a:lnTo>
                <a:lnTo>
                  <a:pt x="295" y="2300"/>
                </a:lnTo>
                <a:lnTo>
                  <a:pt x="296" y="2302"/>
                </a:lnTo>
                <a:lnTo>
                  <a:pt x="301" y="2309"/>
                </a:lnTo>
                <a:lnTo>
                  <a:pt x="304" y="2315"/>
                </a:lnTo>
                <a:lnTo>
                  <a:pt x="305" y="2319"/>
                </a:lnTo>
                <a:lnTo>
                  <a:pt x="305" y="2323"/>
                </a:lnTo>
                <a:lnTo>
                  <a:pt x="305" y="2323"/>
                </a:lnTo>
                <a:lnTo>
                  <a:pt x="297" y="2327"/>
                </a:lnTo>
                <a:lnTo>
                  <a:pt x="292" y="2334"/>
                </a:lnTo>
                <a:lnTo>
                  <a:pt x="286" y="2342"/>
                </a:lnTo>
                <a:lnTo>
                  <a:pt x="282" y="2350"/>
                </a:lnTo>
                <a:lnTo>
                  <a:pt x="279" y="2359"/>
                </a:lnTo>
                <a:lnTo>
                  <a:pt x="277" y="2370"/>
                </a:lnTo>
                <a:lnTo>
                  <a:pt x="273" y="2389"/>
                </a:lnTo>
                <a:lnTo>
                  <a:pt x="270" y="2409"/>
                </a:lnTo>
                <a:lnTo>
                  <a:pt x="267" y="2418"/>
                </a:lnTo>
                <a:lnTo>
                  <a:pt x="263" y="2425"/>
                </a:lnTo>
                <a:lnTo>
                  <a:pt x="258" y="2432"/>
                </a:lnTo>
                <a:lnTo>
                  <a:pt x="252" y="2436"/>
                </a:lnTo>
                <a:lnTo>
                  <a:pt x="246" y="2439"/>
                </a:lnTo>
                <a:lnTo>
                  <a:pt x="236" y="2440"/>
                </a:lnTo>
                <a:lnTo>
                  <a:pt x="236" y="2440"/>
                </a:lnTo>
                <a:lnTo>
                  <a:pt x="228" y="2440"/>
                </a:lnTo>
                <a:lnTo>
                  <a:pt x="222" y="2439"/>
                </a:lnTo>
                <a:lnTo>
                  <a:pt x="214" y="2435"/>
                </a:lnTo>
                <a:lnTo>
                  <a:pt x="206" y="2431"/>
                </a:lnTo>
                <a:lnTo>
                  <a:pt x="202" y="2430"/>
                </a:lnTo>
                <a:lnTo>
                  <a:pt x="195" y="2430"/>
                </a:lnTo>
                <a:lnTo>
                  <a:pt x="195" y="2430"/>
                </a:lnTo>
                <a:lnTo>
                  <a:pt x="191" y="2431"/>
                </a:lnTo>
                <a:lnTo>
                  <a:pt x="189" y="2433"/>
                </a:lnTo>
                <a:lnTo>
                  <a:pt x="187" y="2438"/>
                </a:lnTo>
                <a:lnTo>
                  <a:pt x="185" y="2442"/>
                </a:lnTo>
                <a:lnTo>
                  <a:pt x="182" y="2454"/>
                </a:lnTo>
                <a:lnTo>
                  <a:pt x="181" y="2462"/>
                </a:lnTo>
                <a:lnTo>
                  <a:pt x="181" y="2462"/>
                </a:lnTo>
                <a:lnTo>
                  <a:pt x="178" y="2468"/>
                </a:lnTo>
                <a:lnTo>
                  <a:pt x="175" y="2472"/>
                </a:lnTo>
                <a:lnTo>
                  <a:pt x="167" y="2480"/>
                </a:lnTo>
                <a:lnTo>
                  <a:pt x="158" y="2487"/>
                </a:lnTo>
                <a:lnTo>
                  <a:pt x="149" y="2493"/>
                </a:lnTo>
                <a:lnTo>
                  <a:pt x="140" y="2500"/>
                </a:lnTo>
                <a:lnTo>
                  <a:pt x="133" y="2507"/>
                </a:lnTo>
                <a:lnTo>
                  <a:pt x="129" y="2510"/>
                </a:lnTo>
                <a:lnTo>
                  <a:pt x="127" y="2515"/>
                </a:lnTo>
                <a:lnTo>
                  <a:pt x="126" y="2519"/>
                </a:lnTo>
                <a:lnTo>
                  <a:pt x="125" y="2524"/>
                </a:lnTo>
                <a:lnTo>
                  <a:pt x="125" y="2524"/>
                </a:lnTo>
                <a:lnTo>
                  <a:pt x="126" y="2527"/>
                </a:lnTo>
                <a:lnTo>
                  <a:pt x="127" y="2531"/>
                </a:lnTo>
                <a:lnTo>
                  <a:pt x="130" y="2535"/>
                </a:lnTo>
                <a:lnTo>
                  <a:pt x="137" y="2540"/>
                </a:lnTo>
                <a:lnTo>
                  <a:pt x="144" y="2544"/>
                </a:lnTo>
                <a:lnTo>
                  <a:pt x="150" y="2549"/>
                </a:lnTo>
                <a:lnTo>
                  <a:pt x="157" y="2555"/>
                </a:lnTo>
                <a:lnTo>
                  <a:pt x="159" y="2558"/>
                </a:lnTo>
                <a:lnTo>
                  <a:pt x="160" y="2562"/>
                </a:lnTo>
                <a:lnTo>
                  <a:pt x="162" y="2567"/>
                </a:lnTo>
                <a:lnTo>
                  <a:pt x="163" y="2572"/>
                </a:lnTo>
                <a:lnTo>
                  <a:pt x="163" y="2572"/>
                </a:lnTo>
                <a:lnTo>
                  <a:pt x="162" y="2580"/>
                </a:lnTo>
                <a:lnTo>
                  <a:pt x="160" y="2585"/>
                </a:lnTo>
                <a:lnTo>
                  <a:pt x="159" y="2588"/>
                </a:lnTo>
                <a:lnTo>
                  <a:pt x="156" y="2590"/>
                </a:lnTo>
                <a:lnTo>
                  <a:pt x="147" y="2592"/>
                </a:lnTo>
                <a:lnTo>
                  <a:pt x="141" y="2592"/>
                </a:lnTo>
                <a:lnTo>
                  <a:pt x="133" y="2594"/>
                </a:lnTo>
                <a:lnTo>
                  <a:pt x="133" y="2594"/>
                </a:lnTo>
                <a:lnTo>
                  <a:pt x="124" y="2600"/>
                </a:lnTo>
                <a:lnTo>
                  <a:pt x="114" y="2608"/>
                </a:lnTo>
                <a:lnTo>
                  <a:pt x="106" y="2617"/>
                </a:lnTo>
                <a:lnTo>
                  <a:pt x="99" y="2629"/>
                </a:lnTo>
                <a:lnTo>
                  <a:pt x="94" y="2640"/>
                </a:lnTo>
                <a:lnTo>
                  <a:pt x="89" y="2653"/>
                </a:lnTo>
                <a:lnTo>
                  <a:pt x="87" y="2667"/>
                </a:lnTo>
                <a:lnTo>
                  <a:pt x="86" y="2679"/>
                </a:lnTo>
                <a:lnTo>
                  <a:pt x="86" y="2679"/>
                </a:lnTo>
                <a:lnTo>
                  <a:pt x="86" y="2693"/>
                </a:lnTo>
                <a:lnTo>
                  <a:pt x="87" y="2706"/>
                </a:lnTo>
                <a:lnTo>
                  <a:pt x="89" y="2717"/>
                </a:lnTo>
                <a:lnTo>
                  <a:pt x="92" y="2728"/>
                </a:lnTo>
                <a:lnTo>
                  <a:pt x="96" y="2737"/>
                </a:lnTo>
                <a:lnTo>
                  <a:pt x="99" y="2746"/>
                </a:lnTo>
                <a:lnTo>
                  <a:pt x="109" y="2761"/>
                </a:lnTo>
                <a:lnTo>
                  <a:pt x="119" y="2776"/>
                </a:lnTo>
                <a:lnTo>
                  <a:pt x="130" y="2791"/>
                </a:lnTo>
                <a:lnTo>
                  <a:pt x="141" y="2805"/>
                </a:lnTo>
                <a:lnTo>
                  <a:pt x="151" y="2822"/>
                </a:lnTo>
                <a:lnTo>
                  <a:pt x="151" y="2822"/>
                </a:lnTo>
                <a:lnTo>
                  <a:pt x="153" y="2825"/>
                </a:lnTo>
                <a:lnTo>
                  <a:pt x="157" y="2829"/>
                </a:lnTo>
                <a:lnTo>
                  <a:pt x="165" y="2835"/>
                </a:lnTo>
                <a:lnTo>
                  <a:pt x="173" y="2839"/>
                </a:lnTo>
                <a:lnTo>
                  <a:pt x="183" y="2844"/>
                </a:lnTo>
                <a:lnTo>
                  <a:pt x="191" y="2848"/>
                </a:lnTo>
                <a:lnTo>
                  <a:pt x="199" y="2853"/>
                </a:lnTo>
                <a:lnTo>
                  <a:pt x="202" y="2857"/>
                </a:lnTo>
                <a:lnTo>
                  <a:pt x="204" y="2861"/>
                </a:lnTo>
                <a:lnTo>
                  <a:pt x="206" y="2865"/>
                </a:lnTo>
                <a:lnTo>
                  <a:pt x="206" y="2870"/>
                </a:lnTo>
                <a:lnTo>
                  <a:pt x="206" y="2870"/>
                </a:lnTo>
                <a:lnTo>
                  <a:pt x="206" y="2896"/>
                </a:lnTo>
                <a:lnTo>
                  <a:pt x="206" y="2896"/>
                </a:lnTo>
                <a:lnTo>
                  <a:pt x="208" y="2901"/>
                </a:lnTo>
                <a:lnTo>
                  <a:pt x="210" y="2907"/>
                </a:lnTo>
                <a:lnTo>
                  <a:pt x="217" y="2919"/>
                </a:lnTo>
                <a:lnTo>
                  <a:pt x="221" y="2926"/>
                </a:lnTo>
                <a:lnTo>
                  <a:pt x="225" y="2932"/>
                </a:lnTo>
                <a:lnTo>
                  <a:pt x="227" y="2941"/>
                </a:lnTo>
                <a:lnTo>
                  <a:pt x="228" y="2951"/>
                </a:lnTo>
                <a:lnTo>
                  <a:pt x="228" y="2951"/>
                </a:lnTo>
                <a:lnTo>
                  <a:pt x="247" y="2951"/>
                </a:lnTo>
                <a:lnTo>
                  <a:pt x="247" y="2951"/>
                </a:lnTo>
                <a:lnTo>
                  <a:pt x="247" y="2951"/>
                </a:lnTo>
                <a:lnTo>
                  <a:pt x="255" y="2945"/>
                </a:lnTo>
                <a:lnTo>
                  <a:pt x="263" y="2937"/>
                </a:lnTo>
                <a:lnTo>
                  <a:pt x="281" y="2919"/>
                </a:lnTo>
                <a:lnTo>
                  <a:pt x="290" y="2909"/>
                </a:lnTo>
                <a:lnTo>
                  <a:pt x="298" y="2903"/>
                </a:lnTo>
                <a:lnTo>
                  <a:pt x="306" y="2897"/>
                </a:lnTo>
                <a:lnTo>
                  <a:pt x="310" y="2896"/>
                </a:lnTo>
                <a:lnTo>
                  <a:pt x="312" y="2896"/>
                </a:lnTo>
                <a:lnTo>
                  <a:pt x="312" y="2896"/>
                </a:lnTo>
                <a:lnTo>
                  <a:pt x="323" y="2896"/>
                </a:lnTo>
                <a:lnTo>
                  <a:pt x="333" y="2898"/>
                </a:lnTo>
                <a:lnTo>
                  <a:pt x="344" y="2901"/>
                </a:lnTo>
                <a:lnTo>
                  <a:pt x="356" y="2905"/>
                </a:lnTo>
                <a:lnTo>
                  <a:pt x="367" y="2911"/>
                </a:lnTo>
                <a:lnTo>
                  <a:pt x="379" y="2916"/>
                </a:lnTo>
                <a:lnTo>
                  <a:pt x="389" y="2923"/>
                </a:lnTo>
                <a:lnTo>
                  <a:pt x="400" y="2930"/>
                </a:lnTo>
                <a:lnTo>
                  <a:pt x="410" y="2938"/>
                </a:lnTo>
                <a:lnTo>
                  <a:pt x="419" y="2947"/>
                </a:lnTo>
                <a:lnTo>
                  <a:pt x="427" y="2957"/>
                </a:lnTo>
                <a:lnTo>
                  <a:pt x="434" y="2967"/>
                </a:lnTo>
                <a:lnTo>
                  <a:pt x="440" y="2977"/>
                </a:lnTo>
                <a:lnTo>
                  <a:pt x="445" y="2988"/>
                </a:lnTo>
                <a:lnTo>
                  <a:pt x="448" y="2998"/>
                </a:lnTo>
                <a:lnTo>
                  <a:pt x="449" y="3010"/>
                </a:lnTo>
                <a:lnTo>
                  <a:pt x="449" y="3010"/>
                </a:lnTo>
                <a:lnTo>
                  <a:pt x="448" y="3014"/>
                </a:lnTo>
                <a:lnTo>
                  <a:pt x="447" y="3020"/>
                </a:lnTo>
                <a:lnTo>
                  <a:pt x="441" y="3028"/>
                </a:lnTo>
                <a:lnTo>
                  <a:pt x="437" y="3038"/>
                </a:lnTo>
                <a:lnTo>
                  <a:pt x="434" y="3044"/>
                </a:lnTo>
                <a:lnTo>
                  <a:pt x="434" y="3050"/>
                </a:lnTo>
                <a:lnTo>
                  <a:pt x="434" y="3050"/>
                </a:lnTo>
                <a:lnTo>
                  <a:pt x="434" y="3060"/>
                </a:lnTo>
                <a:lnTo>
                  <a:pt x="437" y="3069"/>
                </a:lnTo>
                <a:lnTo>
                  <a:pt x="439" y="3077"/>
                </a:lnTo>
                <a:lnTo>
                  <a:pt x="442" y="3083"/>
                </a:lnTo>
                <a:lnTo>
                  <a:pt x="448" y="3088"/>
                </a:lnTo>
                <a:lnTo>
                  <a:pt x="454" y="3091"/>
                </a:lnTo>
                <a:lnTo>
                  <a:pt x="462" y="3094"/>
                </a:lnTo>
                <a:lnTo>
                  <a:pt x="471" y="3095"/>
                </a:lnTo>
                <a:lnTo>
                  <a:pt x="471" y="3095"/>
                </a:lnTo>
                <a:lnTo>
                  <a:pt x="480" y="3094"/>
                </a:lnTo>
                <a:lnTo>
                  <a:pt x="487" y="3090"/>
                </a:lnTo>
                <a:lnTo>
                  <a:pt x="492" y="3085"/>
                </a:lnTo>
                <a:lnTo>
                  <a:pt x="495" y="3081"/>
                </a:lnTo>
                <a:lnTo>
                  <a:pt x="499" y="3076"/>
                </a:lnTo>
                <a:lnTo>
                  <a:pt x="503" y="3073"/>
                </a:lnTo>
                <a:lnTo>
                  <a:pt x="508" y="3069"/>
                </a:lnTo>
                <a:lnTo>
                  <a:pt x="515" y="3068"/>
                </a:lnTo>
                <a:lnTo>
                  <a:pt x="515" y="3068"/>
                </a:lnTo>
                <a:lnTo>
                  <a:pt x="526" y="3069"/>
                </a:lnTo>
                <a:lnTo>
                  <a:pt x="534" y="3072"/>
                </a:lnTo>
                <a:lnTo>
                  <a:pt x="542" y="3074"/>
                </a:lnTo>
                <a:lnTo>
                  <a:pt x="552" y="3075"/>
                </a:lnTo>
                <a:lnTo>
                  <a:pt x="552" y="3075"/>
                </a:lnTo>
                <a:lnTo>
                  <a:pt x="585" y="3075"/>
                </a:lnTo>
                <a:lnTo>
                  <a:pt x="585" y="3075"/>
                </a:lnTo>
                <a:lnTo>
                  <a:pt x="588" y="3076"/>
                </a:lnTo>
                <a:lnTo>
                  <a:pt x="592" y="3077"/>
                </a:lnTo>
                <a:lnTo>
                  <a:pt x="594" y="3079"/>
                </a:lnTo>
                <a:lnTo>
                  <a:pt x="598" y="3082"/>
                </a:lnTo>
                <a:lnTo>
                  <a:pt x="601" y="3089"/>
                </a:lnTo>
                <a:lnTo>
                  <a:pt x="606" y="3097"/>
                </a:lnTo>
                <a:lnTo>
                  <a:pt x="609" y="3105"/>
                </a:lnTo>
                <a:lnTo>
                  <a:pt x="614" y="3113"/>
                </a:lnTo>
                <a:lnTo>
                  <a:pt x="621" y="3119"/>
                </a:lnTo>
                <a:lnTo>
                  <a:pt x="624" y="3122"/>
                </a:lnTo>
                <a:lnTo>
                  <a:pt x="629" y="3123"/>
                </a:lnTo>
                <a:lnTo>
                  <a:pt x="629" y="3123"/>
                </a:lnTo>
                <a:lnTo>
                  <a:pt x="629" y="3123"/>
                </a:lnTo>
                <a:lnTo>
                  <a:pt x="629" y="3127"/>
                </a:lnTo>
                <a:lnTo>
                  <a:pt x="629" y="3127"/>
                </a:lnTo>
                <a:lnTo>
                  <a:pt x="629" y="3127"/>
                </a:lnTo>
                <a:lnTo>
                  <a:pt x="640" y="3118"/>
                </a:lnTo>
                <a:lnTo>
                  <a:pt x="654" y="3107"/>
                </a:lnTo>
                <a:lnTo>
                  <a:pt x="684" y="3085"/>
                </a:lnTo>
                <a:lnTo>
                  <a:pt x="699" y="3073"/>
                </a:lnTo>
                <a:lnTo>
                  <a:pt x="715" y="3060"/>
                </a:lnTo>
                <a:lnTo>
                  <a:pt x="731" y="3044"/>
                </a:lnTo>
                <a:lnTo>
                  <a:pt x="746" y="3028"/>
                </a:lnTo>
                <a:lnTo>
                  <a:pt x="746" y="3028"/>
                </a:lnTo>
                <a:lnTo>
                  <a:pt x="738" y="3019"/>
                </a:lnTo>
                <a:lnTo>
                  <a:pt x="730" y="3010"/>
                </a:lnTo>
                <a:lnTo>
                  <a:pt x="721" y="2998"/>
                </a:lnTo>
                <a:lnTo>
                  <a:pt x="713" y="2984"/>
                </a:lnTo>
                <a:lnTo>
                  <a:pt x="710" y="2977"/>
                </a:lnTo>
                <a:lnTo>
                  <a:pt x="708" y="2970"/>
                </a:lnTo>
                <a:lnTo>
                  <a:pt x="706" y="2964"/>
                </a:lnTo>
                <a:lnTo>
                  <a:pt x="706" y="2957"/>
                </a:lnTo>
                <a:lnTo>
                  <a:pt x="707" y="2950"/>
                </a:lnTo>
                <a:lnTo>
                  <a:pt x="709" y="2943"/>
                </a:lnTo>
                <a:lnTo>
                  <a:pt x="709" y="2943"/>
                </a:lnTo>
                <a:lnTo>
                  <a:pt x="715" y="2936"/>
                </a:lnTo>
                <a:lnTo>
                  <a:pt x="722" y="2929"/>
                </a:lnTo>
                <a:lnTo>
                  <a:pt x="731" y="2922"/>
                </a:lnTo>
                <a:lnTo>
                  <a:pt x="740" y="2915"/>
                </a:lnTo>
                <a:lnTo>
                  <a:pt x="762" y="2903"/>
                </a:lnTo>
                <a:lnTo>
                  <a:pt x="786" y="2889"/>
                </a:lnTo>
                <a:lnTo>
                  <a:pt x="813" y="2875"/>
                </a:lnTo>
                <a:lnTo>
                  <a:pt x="839" y="2860"/>
                </a:lnTo>
                <a:lnTo>
                  <a:pt x="863" y="2844"/>
                </a:lnTo>
                <a:lnTo>
                  <a:pt x="875" y="2836"/>
                </a:lnTo>
                <a:lnTo>
                  <a:pt x="886" y="2827"/>
                </a:lnTo>
                <a:lnTo>
                  <a:pt x="886" y="2827"/>
                </a:lnTo>
                <a:lnTo>
                  <a:pt x="889" y="2827"/>
                </a:lnTo>
                <a:lnTo>
                  <a:pt x="891" y="2828"/>
                </a:lnTo>
                <a:lnTo>
                  <a:pt x="893" y="2830"/>
                </a:lnTo>
                <a:lnTo>
                  <a:pt x="894" y="2832"/>
                </a:lnTo>
                <a:lnTo>
                  <a:pt x="896" y="2838"/>
                </a:lnTo>
                <a:lnTo>
                  <a:pt x="894" y="2845"/>
                </a:lnTo>
                <a:lnTo>
                  <a:pt x="892" y="2863"/>
                </a:lnTo>
                <a:lnTo>
                  <a:pt x="886" y="2883"/>
                </a:lnTo>
                <a:lnTo>
                  <a:pt x="883" y="2901"/>
                </a:lnTo>
                <a:lnTo>
                  <a:pt x="882" y="2908"/>
                </a:lnTo>
                <a:lnTo>
                  <a:pt x="883" y="2915"/>
                </a:lnTo>
                <a:lnTo>
                  <a:pt x="885" y="2919"/>
                </a:lnTo>
                <a:lnTo>
                  <a:pt x="886" y="2921"/>
                </a:lnTo>
                <a:lnTo>
                  <a:pt x="889" y="2921"/>
                </a:lnTo>
                <a:lnTo>
                  <a:pt x="896" y="2921"/>
                </a:lnTo>
                <a:lnTo>
                  <a:pt x="905" y="2917"/>
                </a:lnTo>
                <a:lnTo>
                  <a:pt x="905" y="2917"/>
                </a:lnTo>
                <a:lnTo>
                  <a:pt x="909" y="2905"/>
                </a:lnTo>
                <a:lnTo>
                  <a:pt x="915" y="2893"/>
                </a:lnTo>
                <a:lnTo>
                  <a:pt x="922" y="2882"/>
                </a:lnTo>
                <a:lnTo>
                  <a:pt x="928" y="2871"/>
                </a:lnTo>
                <a:lnTo>
                  <a:pt x="942" y="2853"/>
                </a:lnTo>
                <a:lnTo>
                  <a:pt x="954" y="2836"/>
                </a:lnTo>
                <a:lnTo>
                  <a:pt x="960" y="2827"/>
                </a:lnTo>
                <a:lnTo>
                  <a:pt x="965" y="2817"/>
                </a:lnTo>
                <a:lnTo>
                  <a:pt x="968" y="2808"/>
                </a:lnTo>
                <a:lnTo>
                  <a:pt x="972" y="2798"/>
                </a:lnTo>
                <a:lnTo>
                  <a:pt x="973" y="2786"/>
                </a:lnTo>
                <a:lnTo>
                  <a:pt x="974" y="2774"/>
                </a:lnTo>
                <a:lnTo>
                  <a:pt x="973" y="2760"/>
                </a:lnTo>
                <a:lnTo>
                  <a:pt x="970" y="2745"/>
                </a:lnTo>
                <a:lnTo>
                  <a:pt x="970" y="2745"/>
                </a:lnTo>
                <a:lnTo>
                  <a:pt x="981" y="2729"/>
                </a:lnTo>
                <a:lnTo>
                  <a:pt x="992" y="2715"/>
                </a:lnTo>
                <a:lnTo>
                  <a:pt x="1003" y="2702"/>
                </a:lnTo>
                <a:lnTo>
                  <a:pt x="1013" y="2688"/>
                </a:lnTo>
                <a:lnTo>
                  <a:pt x="1022" y="2675"/>
                </a:lnTo>
                <a:lnTo>
                  <a:pt x="1029" y="2660"/>
                </a:lnTo>
                <a:lnTo>
                  <a:pt x="1031" y="2652"/>
                </a:lnTo>
                <a:lnTo>
                  <a:pt x="1034" y="2644"/>
                </a:lnTo>
                <a:lnTo>
                  <a:pt x="1036" y="2633"/>
                </a:lnTo>
                <a:lnTo>
                  <a:pt x="1037" y="2624"/>
                </a:lnTo>
                <a:lnTo>
                  <a:pt x="1037" y="2624"/>
                </a:lnTo>
                <a:lnTo>
                  <a:pt x="1036" y="2618"/>
                </a:lnTo>
                <a:lnTo>
                  <a:pt x="1035" y="2617"/>
                </a:lnTo>
                <a:lnTo>
                  <a:pt x="1033" y="2617"/>
                </a:lnTo>
                <a:lnTo>
                  <a:pt x="1029" y="2617"/>
                </a:lnTo>
                <a:lnTo>
                  <a:pt x="1023" y="2621"/>
                </a:lnTo>
                <a:lnTo>
                  <a:pt x="1011" y="2633"/>
                </a:lnTo>
                <a:lnTo>
                  <a:pt x="993" y="2648"/>
                </a:lnTo>
                <a:lnTo>
                  <a:pt x="977" y="2664"/>
                </a:lnTo>
                <a:lnTo>
                  <a:pt x="968" y="2672"/>
                </a:lnTo>
                <a:lnTo>
                  <a:pt x="961" y="2678"/>
                </a:lnTo>
                <a:lnTo>
                  <a:pt x="953" y="2682"/>
                </a:lnTo>
                <a:lnTo>
                  <a:pt x="947" y="2684"/>
                </a:lnTo>
                <a:lnTo>
                  <a:pt x="944" y="2684"/>
                </a:lnTo>
                <a:lnTo>
                  <a:pt x="942" y="2683"/>
                </a:lnTo>
                <a:lnTo>
                  <a:pt x="939" y="2682"/>
                </a:lnTo>
                <a:lnTo>
                  <a:pt x="937" y="2679"/>
                </a:lnTo>
                <a:lnTo>
                  <a:pt x="937" y="2679"/>
                </a:lnTo>
                <a:lnTo>
                  <a:pt x="931" y="2667"/>
                </a:lnTo>
                <a:lnTo>
                  <a:pt x="926" y="2651"/>
                </a:lnTo>
                <a:lnTo>
                  <a:pt x="920" y="2632"/>
                </a:lnTo>
                <a:lnTo>
                  <a:pt x="915" y="2611"/>
                </a:lnTo>
                <a:lnTo>
                  <a:pt x="906" y="2567"/>
                </a:lnTo>
                <a:lnTo>
                  <a:pt x="897" y="2518"/>
                </a:lnTo>
                <a:lnTo>
                  <a:pt x="888" y="2471"/>
                </a:lnTo>
                <a:lnTo>
                  <a:pt x="878" y="2428"/>
                </a:lnTo>
                <a:lnTo>
                  <a:pt x="874" y="2411"/>
                </a:lnTo>
                <a:lnTo>
                  <a:pt x="868" y="2395"/>
                </a:lnTo>
                <a:lnTo>
                  <a:pt x="862" y="2382"/>
                </a:lnTo>
                <a:lnTo>
                  <a:pt x="857" y="2374"/>
                </a:lnTo>
                <a:lnTo>
                  <a:pt x="857" y="2374"/>
                </a:lnTo>
                <a:lnTo>
                  <a:pt x="847" y="2363"/>
                </a:lnTo>
                <a:lnTo>
                  <a:pt x="840" y="2352"/>
                </a:lnTo>
                <a:lnTo>
                  <a:pt x="836" y="2341"/>
                </a:lnTo>
                <a:lnTo>
                  <a:pt x="832" y="2328"/>
                </a:lnTo>
                <a:lnTo>
                  <a:pt x="832" y="2317"/>
                </a:lnTo>
                <a:lnTo>
                  <a:pt x="834" y="2304"/>
                </a:lnTo>
                <a:lnTo>
                  <a:pt x="836" y="2292"/>
                </a:lnTo>
                <a:lnTo>
                  <a:pt x="839" y="2278"/>
                </a:lnTo>
                <a:lnTo>
                  <a:pt x="850" y="2251"/>
                </a:lnTo>
                <a:lnTo>
                  <a:pt x="861" y="2224"/>
                </a:lnTo>
                <a:lnTo>
                  <a:pt x="873" y="2196"/>
                </a:lnTo>
                <a:lnTo>
                  <a:pt x="878" y="2182"/>
                </a:lnTo>
                <a:lnTo>
                  <a:pt x="883" y="2168"/>
                </a:lnTo>
                <a:lnTo>
                  <a:pt x="883" y="2168"/>
                </a:lnTo>
                <a:lnTo>
                  <a:pt x="894" y="2171"/>
                </a:lnTo>
                <a:lnTo>
                  <a:pt x="905" y="2171"/>
                </a:lnTo>
                <a:lnTo>
                  <a:pt x="913" y="2170"/>
                </a:lnTo>
                <a:lnTo>
                  <a:pt x="918" y="2165"/>
                </a:lnTo>
                <a:lnTo>
                  <a:pt x="922" y="2159"/>
                </a:lnTo>
                <a:lnTo>
                  <a:pt x="924" y="2153"/>
                </a:lnTo>
                <a:lnTo>
                  <a:pt x="926" y="2145"/>
                </a:lnTo>
                <a:lnTo>
                  <a:pt x="926" y="2137"/>
                </a:lnTo>
                <a:lnTo>
                  <a:pt x="924" y="2121"/>
                </a:lnTo>
                <a:lnTo>
                  <a:pt x="923" y="2107"/>
                </a:lnTo>
                <a:lnTo>
                  <a:pt x="923" y="2103"/>
                </a:lnTo>
                <a:lnTo>
                  <a:pt x="924" y="2099"/>
                </a:lnTo>
                <a:lnTo>
                  <a:pt x="927" y="2097"/>
                </a:lnTo>
                <a:lnTo>
                  <a:pt x="930" y="2098"/>
                </a:lnTo>
                <a:lnTo>
                  <a:pt x="930" y="2098"/>
                </a:lnTo>
                <a:lnTo>
                  <a:pt x="935" y="2103"/>
                </a:lnTo>
                <a:lnTo>
                  <a:pt x="941" y="2110"/>
                </a:lnTo>
                <a:lnTo>
                  <a:pt x="952" y="2127"/>
                </a:lnTo>
                <a:lnTo>
                  <a:pt x="977" y="2171"/>
                </a:lnTo>
                <a:lnTo>
                  <a:pt x="989" y="2190"/>
                </a:lnTo>
                <a:lnTo>
                  <a:pt x="995" y="2198"/>
                </a:lnTo>
                <a:lnTo>
                  <a:pt x="1000" y="2205"/>
                </a:lnTo>
                <a:lnTo>
                  <a:pt x="1005" y="2209"/>
                </a:lnTo>
                <a:lnTo>
                  <a:pt x="1011" y="2211"/>
                </a:lnTo>
                <a:lnTo>
                  <a:pt x="1013" y="2211"/>
                </a:lnTo>
                <a:lnTo>
                  <a:pt x="1014" y="2210"/>
                </a:lnTo>
                <a:lnTo>
                  <a:pt x="1019" y="2205"/>
                </a:lnTo>
                <a:lnTo>
                  <a:pt x="1019" y="2205"/>
                </a:lnTo>
                <a:lnTo>
                  <a:pt x="1025" y="2194"/>
                </a:lnTo>
                <a:lnTo>
                  <a:pt x="1030" y="2186"/>
                </a:lnTo>
                <a:lnTo>
                  <a:pt x="1035" y="2181"/>
                </a:lnTo>
                <a:lnTo>
                  <a:pt x="1039" y="2180"/>
                </a:lnTo>
                <a:lnTo>
                  <a:pt x="1044" y="2180"/>
                </a:lnTo>
                <a:lnTo>
                  <a:pt x="1049" y="2182"/>
                </a:lnTo>
                <a:lnTo>
                  <a:pt x="1052" y="2186"/>
                </a:lnTo>
                <a:lnTo>
                  <a:pt x="1056" y="2190"/>
                </a:lnTo>
                <a:lnTo>
                  <a:pt x="1064" y="2201"/>
                </a:lnTo>
                <a:lnTo>
                  <a:pt x="1071" y="2211"/>
                </a:lnTo>
                <a:lnTo>
                  <a:pt x="1075" y="2214"/>
                </a:lnTo>
                <a:lnTo>
                  <a:pt x="1079" y="2217"/>
                </a:lnTo>
                <a:lnTo>
                  <a:pt x="1083" y="2217"/>
                </a:lnTo>
                <a:lnTo>
                  <a:pt x="1088" y="2216"/>
                </a:lnTo>
                <a:lnTo>
                  <a:pt x="1088" y="2216"/>
                </a:lnTo>
                <a:lnTo>
                  <a:pt x="1092" y="2213"/>
                </a:lnTo>
                <a:lnTo>
                  <a:pt x="1096" y="2210"/>
                </a:lnTo>
                <a:lnTo>
                  <a:pt x="1098" y="2206"/>
                </a:lnTo>
                <a:lnTo>
                  <a:pt x="1099" y="2203"/>
                </a:lnTo>
                <a:lnTo>
                  <a:pt x="1100" y="2198"/>
                </a:lnTo>
                <a:lnTo>
                  <a:pt x="1102" y="2195"/>
                </a:lnTo>
                <a:lnTo>
                  <a:pt x="1099" y="2184"/>
                </a:lnTo>
                <a:lnTo>
                  <a:pt x="1096" y="2173"/>
                </a:lnTo>
                <a:lnTo>
                  <a:pt x="1091" y="2161"/>
                </a:lnTo>
                <a:lnTo>
                  <a:pt x="1077" y="2135"/>
                </a:lnTo>
                <a:lnTo>
                  <a:pt x="1064" y="2106"/>
                </a:lnTo>
                <a:lnTo>
                  <a:pt x="1057" y="2091"/>
                </a:lnTo>
                <a:lnTo>
                  <a:pt x="1052" y="2076"/>
                </a:lnTo>
                <a:lnTo>
                  <a:pt x="1049" y="2061"/>
                </a:lnTo>
                <a:lnTo>
                  <a:pt x="1046" y="2046"/>
                </a:lnTo>
                <a:lnTo>
                  <a:pt x="1046" y="2038"/>
                </a:lnTo>
                <a:lnTo>
                  <a:pt x="1048" y="2031"/>
                </a:lnTo>
                <a:lnTo>
                  <a:pt x="1049" y="2025"/>
                </a:lnTo>
                <a:lnTo>
                  <a:pt x="1051" y="2018"/>
                </a:lnTo>
                <a:lnTo>
                  <a:pt x="1051" y="2018"/>
                </a:lnTo>
                <a:lnTo>
                  <a:pt x="1054" y="2010"/>
                </a:lnTo>
                <a:lnTo>
                  <a:pt x="1057" y="2002"/>
                </a:lnTo>
                <a:lnTo>
                  <a:pt x="1058" y="1993"/>
                </a:lnTo>
                <a:lnTo>
                  <a:pt x="1059" y="1985"/>
                </a:lnTo>
                <a:lnTo>
                  <a:pt x="1058" y="1969"/>
                </a:lnTo>
                <a:lnTo>
                  <a:pt x="1054" y="1955"/>
                </a:lnTo>
                <a:lnTo>
                  <a:pt x="1054" y="1955"/>
                </a:lnTo>
                <a:lnTo>
                  <a:pt x="1049" y="1961"/>
                </a:lnTo>
                <a:lnTo>
                  <a:pt x="1042" y="1969"/>
                </a:lnTo>
                <a:lnTo>
                  <a:pt x="1037" y="1972"/>
                </a:lnTo>
                <a:lnTo>
                  <a:pt x="1033" y="1975"/>
                </a:lnTo>
                <a:lnTo>
                  <a:pt x="1027" y="1976"/>
                </a:lnTo>
                <a:lnTo>
                  <a:pt x="1022" y="1977"/>
                </a:lnTo>
                <a:lnTo>
                  <a:pt x="1022" y="1977"/>
                </a:lnTo>
                <a:lnTo>
                  <a:pt x="1018" y="1976"/>
                </a:lnTo>
                <a:lnTo>
                  <a:pt x="1013" y="1975"/>
                </a:lnTo>
                <a:lnTo>
                  <a:pt x="1008" y="1973"/>
                </a:lnTo>
                <a:lnTo>
                  <a:pt x="1005" y="1970"/>
                </a:lnTo>
                <a:lnTo>
                  <a:pt x="1002" y="1967"/>
                </a:lnTo>
                <a:lnTo>
                  <a:pt x="998" y="1964"/>
                </a:lnTo>
                <a:lnTo>
                  <a:pt x="997" y="1959"/>
                </a:lnTo>
                <a:lnTo>
                  <a:pt x="996" y="1955"/>
                </a:lnTo>
                <a:lnTo>
                  <a:pt x="996" y="1955"/>
                </a:lnTo>
                <a:lnTo>
                  <a:pt x="992" y="1955"/>
                </a:lnTo>
                <a:lnTo>
                  <a:pt x="989" y="1957"/>
                </a:lnTo>
                <a:lnTo>
                  <a:pt x="984" y="1961"/>
                </a:lnTo>
                <a:lnTo>
                  <a:pt x="978" y="1965"/>
                </a:lnTo>
                <a:lnTo>
                  <a:pt x="975" y="1966"/>
                </a:lnTo>
                <a:lnTo>
                  <a:pt x="970" y="1967"/>
                </a:lnTo>
                <a:lnTo>
                  <a:pt x="970" y="1967"/>
                </a:lnTo>
                <a:lnTo>
                  <a:pt x="967" y="1966"/>
                </a:lnTo>
                <a:lnTo>
                  <a:pt x="965" y="1964"/>
                </a:lnTo>
                <a:lnTo>
                  <a:pt x="962" y="1960"/>
                </a:lnTo>
                <a:lnTo>
                  <a:pt x="960" y="1955"/>
                </a:lnTo>
                <a:lnTo>
                  <a:pt x="957" y="1944"/>
                </a:lnTo>
                <a:lnTo>
                  <a:pt x="953" y="1931"/>
                </a:lnTo>
                <a:lnTo>
                  <a:pt x="949" y="1918"/>
                </a:lnTo>
                <a:lnTo>
                  <a:pt x="946" y="1912"/>
                </a:lnTo>
                <a:lnTo>
                  <a:pt x="943" y="1906"/>
                </a:lnTo>
                <a:lnTo>
                  <a:pt x="939" y="1901"/>
                </a:lnTo>
                <a:lnTo>
                  <a:pt x="935" y="1897"/>
                </a:lnTo>
                <a:lnTo>
                  <a:pt x="929" y="1895"/>
                </a:lnTo>
                <a:lnTo>
                  <a:pt x="922" y="1893"/>
                </a:lnTo>
                <a:lnTo>
                  <a:pt x="922" y="1893"/>
                </a:lnTo>
                <a:lnTo>
                  <a:pt x="906" y="1891"/>
                </a:lnTo>
                <a:lnTo>
                  <a:pt x="892" y="1890"/>
                </a:lnTo>
                <a:lnTo>
                  <a:pt x="878" y="1889"/>
                </a:lnTo>
                <a:lnTo>
                  <a:pt x="868" y="1886"/>
                </a:lnTo>
                <a:lnTo>
                  <a:pt x="862" y="1884"/>
                </a:lnTo>
                <a:lnTo>
                  <a:pt x="858" y="1882"/>
                </a:lnTo>
                <a:lnTo>
                  <a:pt x="854" y="1877"/>
                </a:lnTo>
                <a:lnTo>
                  <a:pt x="851" y="1873"/>
                </a:lnTo>
                <a:lnTo>
                  <a:pt x="848" y="1867"/>
                </a:lnTo>
                <a:lnTo>
                  <a:pt x="847" y="1860"/>
                </a:lnTo>
                <a:lnTo>
                  <a:pt x="846" y="1852"/>
                </a:lnTo>
                <a:lnTo>
                  <a:pt x="845" y="1842"/>
                </a:lnTo>
                <a:lnTo>
                  <a:pt x="845" y="1842"/>
                </a:lnTo>
                <a:lnTo>
                  <a:pt x="779" y="1786"/>
                </a:lnTo>
                <a:lnTo>
                  <a:pt x="779" y="1786"/>
                </a:lnTo>
                <a:lnTo>
                  <a:pt x="779" y="1786"/>
                </a:lnTo>
                <a:lnTo>
                  <a:pt x="762" y="1785"/>
                </a:lnTo>
                <a:lnTo>
                  <a:pt x="753" y="1785"/>
                </a:lnTo>
                <a:lnTo>
                  <a:pt x="745" y="1783"/>
                </a:lnTo>
                <a:lnTo>
                  <a:pt x="738" y="1781"/>
                </a:lnTo>
                <a:lnTo>
                  <a:pt x="731" y="1777"/>
                </a:lnTo>
                <a:lnTo>
                  <a:pt x="726" y="1771"/>
                </a:lnTo>
                <a:lnTo>
                  <a:pt x="725" y="1768"/>
                </a:lnTo>
                <a:lnTo>
                  <a:pt x="724" y="1764"/>
                </a:lnTo>
                <a:lnTo>
                  <a:pt x="724" y="1764"/>
                </a:lnTo>
                <a:lnTo>
                  <a:pt x="725" y="1750"/>
                </a:lnTo>
                <a:lnTo>
                  <a:pt x="728" y="1735"/>
                </a:lnTo>
                <a:lnTo>
                  <a:pt x="728" y="1728"/>
                </a:lnTo>
                <a:lnTo>
                  <a:pt x="725" y="1721"/>
                </a:lnTo>
                <a:lnTo>
                  <a:pt x="722" y="1716"/>
                </a:lnTo>
                <a:lnTo>
                  <a:pt x="720" y="1714"/>
                </a:lnTo>
                <a:lnTo>
                  <a:pt x="716" y="1713"/>
                </a:lnTo>
                <a:lnTo>
                  <a:pt x="716" y="1713"/>
                </a:lnTo>
                <a:lnTo>
                  <a:pt x="703" y="1710"/>
                </a:lnTo>
                <a:lnTo>
                  <a:pt x="687" y="1710"/>
                </a:lnTo>
                <a:lnTo>
                  <a:pt x="674" y="1710"/>
                </a:lnTo>
                <a:lnTo>
                  <a:pt x="667" y="1710"/>
                </a:lnTo>
                <a:lnTo>
                  <a:pt x="662" y="1709"/>
                </a:lnTo>
                <a:lnTo>
                  <a:pt x="662" y="1709"/>
                </a:lnTo>
                <a:lnTo>
                  <a:pt x="666" y="1709"/>
                </a:lnTo>
                <a:lnTo>
                  <a:pt x="662" y="1709"/>
                </a:lnTo>
                <a:lnTo>
                  <a:pt x="662" y="1709"/>
                </a:lnTo>
                <a:lnTo>
                  <a:pt x="662" y="1709"/>
                </a:lnTo>
                <a:lnTo>
                  <a:pt x="661" y="1706"/>
                </a:lnTo>
                <a:lnTo>
                  <a:pt x="661" y="1702"/>
                </a:lnTo>
                <a:lnTo>
                  <a:pt x="661" y="1694"/>
                </a:lnTo>
                <a:lnTo>
                  <a:pt x="662" y="1685"/>
                </a:lnTo>
                <a:lnTo>
                  <a:pt x="662" y="1676"/>
                </a:lnTo>
                <a:lnTo>
                  <a:pt x="662" y="1676"/>
                </a:lnTo>
                <a:lnTo>
                  <a:pt x="663" y="1659"/>
                </a:lnTo>
                <a:lnTo>
                  <a:pt x="666" y="1646"/>
                </a:lnTo>
                <a:lnTo>
                  <a:pt x="667" y="1643"/>
                </a:lnTo>
                <a:lnTo>
                  <a:pt x="669" y="1639"/>
                </a:lnTo>
                <a:lnTo>
                  <a:pt x="672" y="1636"/>
                </a:lnTo>
                <a:lnTo>
                  <a:pt x="675" y="1634"/>
                </a:lnTo>
                <a:lnTo>
                  <a:pt x="682" y="1631"/>
                </a:lnTo>
                <a:lnTo>
                  <a:pt x="690" y="1628"/>
                </a:lnTo>
                <a:lnTo>
                  <a:pt x="699" y="1624"/>
                </a:lnTo>
                <a:lnTo>
                  <a:pt x="709" y="1617"/>
                </a:lnTo>
                <a:lnTo>
                  <a:pt x="709" y="1617"/>
                </a:lnTo>
                <a:lnTo>
                  <a:pt x="713" y="1614"/>
                </a:lnTo>
                <a:lnTo>
                  <a:pt x="715" y="1610"/>
                </a:lnTo>
                <a:lnTo>
                  <a:pt x="715" y="1605"/>
                </a:lnTo>
                <a:lnTo>
                  <a:pt x="715" y="1600"/>
                </a:lnTo>
                <a:lnTo>
                  <a:pt x="714" y="1590"/>
                </a:lnTo>
                <a:lnTo>
                  <a:pt x="715" y="1585"/>
                </a:lnTo>
                <a:lnTo>
                  <a:pt x="716" y="1580"/>
                </a:lnTo>
                <a:lnTo>
                  <a:pt x="716" y="1580"/>
                </a:lnTo>
                <a:lnTo>
                  <a:pt x="738" y="1563"/>
                </a:lnTo>
                <a:lnTo>
                  <a:pt x="758" y="1549"/>
                </a:lnTo>
                <a:lnTo>
                  <a:pt x="767" y="1541"/>
                </a:lnTo>
                <a:lnTo>
                  <a:pt x="775" y="1533"/>
                </a:lnTo>
                <a:lnTo>
                  <a:pt x="783" y="1524"/>
                </a:lnTo>
                <a:lnTo>
                  <a:pt x="790" y="1515"/>
                </a:lnTo>
                <a:lnTo>
                  <a:pt x="790" y="1515"/>
                </a:lnTo>
                <a:lnTo>
                  <a:pt x="805" y="1495"/>
                </a:lnTo>
                <a:lnTo>
                  <a:pt x="820" y="1479"/>
                </a:lnTo>
                <a:lnTo>
                  <a:pt x="836" y="1464"/>
                </a:lnTo>
                <a:lnTo>
                  <a:pt x="853" y="1453"/>
                </a:lnTo>
                <a:lnTo>
                  <a:pt x="871" y="1442"/>
                </a:lnTo>
                <a:lnTo>
                  <a:pt x="892" y="1434"/>
                </a:lnTo>
                <a:lnTo>
                  <a:pt x="914" y="1426"/>
                </a:lnTo>
                <a:lnTo>
                  <a:pt x="937" y="1419"/>
                </a:lnTo>
                <a:lnTo>
                  <a:pt x="937" y="1419"/>
                </a:lnTo>
                <a:lnTo>
                  <a:pt x="944" y="1416"/>
                </a:lnTo>
                <a:lnTo>
                  <a:pt x="949" y="1410"/>
                </a:lnTo>
                <a:lnTo>
                  <a:pt x="959" y="1400"/>
                </a:lnTo>
                <a:lnTo>
                  <a:pt x="964" y="1394"/>
                </a:lnTo>
                <a:lnTo>
                  <a:pt x="969" y="1389"/>
                </a:lnTo>
                <a:lnTo>
                  <a:pt x="976" y="1387"/>
                </a:lnTo>
                <a:lnTo>
                  <a:pt x="984" y="1386"/>
                </a:lnTo>
                <a:lnTo>
                  <a:pt x="984" y="1386"/>
                </a:lnTo>
                <a:lnTo>
                  <a:pt x="991" y="1387"/>
                </a:lnTo>
                <a:lnTo>
                  <a:pt x="996" y="1391"/>
                </a:lnTo>
                <a:lnTo>
                  <a:pt x="1000" y="1395"/>
                </a:lnTo>
                <a:lnTo>
                  <a:pt x="1004" y="1402"/>
                </a:lnTo>
                <a:lnTo>
                  <a:pt x="1006" y="1410"/>
                </a:lnTo>
                <a:lnTo>
                  <a:pt x="1008" y="1419"/>
                </a:lnTo>
                <a:lnTo>
                  <a:pt x="1013" y="1439"/>
                </a:lnTo>
                <a:lnTo>
                  <a:pt x="1018" y="1458"/>
                </a:lnTo>
                <a:lnTo>
                  <a:pt x="1020" y="1468"/>
                </a:lnTo>
                <a:lnTo>
                  <a:pt x="1025" y="1476"/>
                </a:lnTo>
                <a:lnTo>
                  <a:pt x="1029" y="1483"/>
                </a:lnTo>
                <a:lnTo>
                  <a:pt x="1035" y="1488"/>
                </a:lnTo>
                <a:lnTo>
                  <a:pt x="1043" y="1492"/>
                </a:lnTo>
                <a:lnTo>
                  <a:pt x="1051" y="1493"/>
                </a:lnTo>
                <a:lnTo>
                  <a:pt x="1051" y="1493"/>
                </a:lnTo>
                <a:lnTo>
                  <a:pt x="1058" y="1492"/>
                </a:lnTo>
                <a:lnTo>
                  <a:pt x="1066" y="1488"/>
                </a:lnTo>
                <a:lnTo>
                  <a:pt x="1074" y="1484"/>
                </a:lnTo>
                <a:lnTo>
                  <a:pt x="1082" y="1479"/>
                </a:lnTo>
                <a:lnTo>
                  <a:pt x="1106" y="1460"/>
                </a:lnTo>
                <a:lnTo>
                  <a:pt x="1106" y="1460"/>
                </a:lnTo>
                <a:lnTo>
                  <a:pt x="1114" y="1455"/>
                </a:lnTo>
                <a:lnTo>
                  <a:pt x="1123" y="1453"/>
                </a:lnTo>
                <a:lnTo>
                  <a:pt x="1143" y="1449"/>
                </a:lnTo>
                <a:lnTo>
                  <a:pt x="1165" y="1447"/>
                </a:lnTo>
                <a:lnTo>
                  <a:pt x="1186" y="1445"/>
                </a:lnTo>
                <a:lnTo>
                  <a:pt x="1196" y="1442"/>
                </a:lnTo>
                <a:lnTo>
                  <a:pt x="1205" y="1440"/>
                </a:lnTo>
                <a:lnTo>
                  <a:pt x="1213" y="1437"/>
                </a:lnTo>
                <a:lnTo>
                  <a:pt x="1220" y="1432"/>
                </a:lnTo>
                <a:lnTo>
                  <a:pt x="1226" y="1425"/>
                </a:lnTo>
                <a:lnTo>
                  <a:pt x="1230" y="1418"/>
                </a:lnTo>
                <a:lnTo>
                  <a:pt x="1234" y="1408"/>
                </a:lnTo>
                <a:lnTo>
                  <a:pt x="1235" y="1396"/>
                </a:lnTo>
                <a:lnTo>
                  <a:pt x="1235" y="1396"/>
                </a:lnTo>
                <a:lnTo>
                  <a:pt x="1235" y="1361"/>
                </a:lnTo>
                <a:lnTo>
                  <a:pt x="1235" y="1361"/>
                </a:lnTo>
                <a:lnTo>
                  <a:pt x="1235" y="1346"/>
                </a:lnTo>
                <a:lnTo>
                  <a:pt x="1237" y="1332"/>
                </a:lnTo>
                <a:lnTo>
                  <a:pt x="1241" y="1319"/>
                </a:lnTo>
                <a:lnTo>
                  <a:pt x="1245" y="1308"/>
                </a:lnTo>
                <a:lnTo>
                  <a:pt x="1255" y="1285"/>
                </a:lnTo>
                <a:lnTo>
                  <a:pt x="1259" y="1273"/>
                </a:lnTo>
                <a:lnTo>
                  <a:pt x="1264" y="1260"/>
                </a:lnTo>
                <a:lnTo>
                  <a:pt x="1264" y="1260"/>
                </a:lnTo>
                <a:lnTo>
                  <a:pt x="1266" y="1250"/>
                </a:lnTo>
                <a:lnTo>
                  <a:pt x="1267" y="1240"/>
                </a:lnTo>
                <a:lnTo>
                  <a:pt x="1270" y="1219"/>
                </a:lnTo>
                <a:lnTo>
                  <a:pt x="1271" y="1210"/>
                </a:lnTo>
                <a:lnTo>
                  <a:pt x="1273" y="1201"/>
                </a:lnTo>
                <a:lnTo>
                  <a:pt x="1277" y="1193"/>
                </a:lnTo>
                <a:lnTo>
                  <a:pt x="1283" y="1183"/>
                </a:lnTo>
                <a:lnTo>
                  <a:pt x="1283" y="1183"/>
                </a:lnTo>
                <a:lnTo>
                  <a:pt x="1296" y="1194"/>
                </a:lnTo>
                <a:lnTo>
                  <a:pt x="1303" y="1197"/>
                </a:lnTo>
                <a:lnTo>
                  <a:pt x="1308" y="1198"/>
                </a:lnTo>
                <a:lnTo>
                  <a:pt x="1312" y="1198"/>
                </a:lnTo>
                <a:lnTo>
                  <a:pt x="1312" y="1198"/>
                </a:lnTo>
                <a:lnTo>
                  <a:pt x="1320" y="1198"/>
                </a:lnTo>
                <a:lnTo>
                  <a:pt x="1326" y="1196"/>
                </a:lnTo>
                <a:lnTo>
                  <a:pt x="1339" y="1189"/>
                </a:lnTo>
                <a:lnTo>
                  <a:pt x="1344" y="1186"/>
                </a:lnTo>
                <a:lnTo>
                  <a:pt x="1351" y="1182"/>
                </a:lnTo>
                <a:lnTo>
                  <a:pt x="1358" y="1180"/>
                </a:lnTo>
                <a:lnTo>
                  <a:pt x="1367" y="1180"/>
                </a:lnTo>
                <a:lnTo>
                  <a:pt x="1367" y="1180"/>
                </a:lnTo>
                <a:lnTo>
                  <a:pt x="1357" y="1134"/>
                </a:lnTo>
                <a:lnTo>
                  <a:pt x="1347" y="1086"/>
                </a:lnTo>
                <a:lnTo>
                  <a:pt x="1338" y="1034"/>
                </a:lnTo>
                <a:lnTo>
                  <a:pt x="1327" y="982"/>
                </a:lnTo>
                <a:lnTo>
                  <a:pt x="1327" y="982"/>
                </a:lnTo>
                <a:lnTo>
                  <a:pt x="1326" y="975"/>
                </a:lnTo>
                <a:lnTo>
                  <a:pt x="1327" y="969"/>
                </a:lnTo>
                <a:lnTo>
                  <a:pt x="1331" y="962"/>
                </a:lnTo>
                <a:lnTo>
                  <a:pt x="1335" y="956"/>
                </a:lnTo>
                <a:lnTo>
                  <a:pt x="1349" y="942"/>
                </a:lnTo>
                <a:lnTo>
                  <a:pt x="1365" y="928"/>
                </a:lnTo>
                <a:lnTo>
                  <a:pt x="1381" y="912"/>
                </a:lnTo>
                <a:lnTo>
                  <a:pt x="1389" y="904"/>
                </a:lnTo>
                <a:lnTo>
                  <a:pt x="1396" y="895"/>
                </a:lnTo>
                <a:lnTo>
                  <a:pt x="1402" y="886"/>
                </a:lnTo>
                <a:lnTo>
                  <a:pt x="1407" y="876"/>
                </a:lnTo>
                <a:lnTo>
                  <a:pt x="1410" y="867"/>
                </a:lnTo>
                <a:lnTo>
                  <a:pt x="1411" y="857"/>
                </a:lnTo>
                <a:lnTo>
                  <a:pt x="1411" y="857"/>
                </a:lnTo>
                <a:lnTo>
                  <a:pt x="1411" y="851"/>
                </a:lnTo>
                <a:lnTo>
                  <a:pt x="1410" y="844"/>
                </a:lnTo>
                <a:lnTo>
                  <a:pt x="1408" y="837"/>
                </a:lnTo>
                <a:lnTo>
                  <a:pt x="1405" y="831"/>
                </a:lnTo>
                <a:lnTo>
                  <a:pt x="1402" y="824"/>
                </a:lnTo>
                <a:lnTo>
                  <a:pt x="1398" y="819"/>
                </a:lnTo>
                <a:lnTo>
                  <a:pt x="1393" y="813"/>
                </a:lnTo>
                <a:lnTo>
                  <a:pt x="1387" y="807"/>
                </a:lnTo>
                <a:lnTo>
                  <a:pt x="1380" y="802"/>
                </a:lnTo>
                <a:lnTo>
                  <a:pt x="1373" y="798"/>
                </a:lnTo>
                <a:lnTo>
                  <a:pt x="1365" y="794"/>
                </a:lnTo>
                <a:lnTo>
                  <a:pt x="1355" y="791"/>
                </a:lnTo>
                <a:lnTo>
                  <a:pt x="1346" y="790"/>
                </a:lnTo>
                <a:lnTo>
                  <a:pt x="1334" y="789"/>
                </a:lnTo>
                <a:lnTo>
                  <a:pt x="1321" y="789"/>
                </a:lnTo>
                <a:lnTo>
                  <a:pt x="1309" y="791"/>
                </a:lnTo>
                <a:lnTo>
                  <a:pt x="1309" y="791"/>
                </a:lnTo>
                <a:lnTo>
                  <a:pt x="1287" y="793"/>
                </a:lnTo>
                <a:lnTo>
                  <a:pt x="1266" y="796"/>
                </a:lnTo>
                <a:lnTo>
                  <a:pt x="1245" y="797"/>
                </a:lnTo>
                <a:lnTo>
                  <a:pt x="1227" y="797"/>
                </a:lnTo>
                <a:lnTo>
                  <a:pt x="1191" y="796"/>
                </a:lnTo>
                <a:lnTo>
                  <a:pt x="1174" y="796"/>
                </a:lnTo>
                <a:lnTo>
                  <a:pt x="1158" y="797"/>
                </a:lnTo>
                <a:lnTo>
                  <a:pt x="1143" y="800"/>
                </a:lnTo>
                <a:lnTo>
                  <a:pt x="1128" y="804"/>
                </a:lnTo>
                <a:lnTo>
                  <a:pt x="1114" y="811"/>
                </a:lnTo>
                <a:lnTo>
                  <a:pt x="1102" y="819"/>
                </a:lnTo>
                <a:lnTo>
                  <a:pt x="1089" y="830"/>
                </a:lnTo>
                <a:lnTo>
                  <a:pt x="1076" y="845"/>
                </a:lnTo>
                <a:lnTo>
                  <a:pt x="1066" y="863"/>
                </a:lnTo>
                <a:lnTo>
                  <a:pt x="1054" y="886"/>
                </a:lnTo>
                <a:lnTo>
                  <a:pt x="1054" y="886"/>
                </a:lnTo>
                <a:lnTo>
                  <a:pt x="1046" y="895"/>
                </a:lnTo>
                <a:lnTo>
                  <a:pt x="1037" y="901"/>
                </a:lnTo>
                <a:lnTo>
                  <a:pt x="1029" y="905"/>
                </a:lnTo>
                <a:lnTo>
                  <a:pt x="1020" y="907"/>
                </a:lnTo>
                <a:lnTo>
                  <a:pt x="1012" y="908"/>
                </a:lnTo>
                <a:lnTo>
                  <a:pt x="1004" y="907"/>
                </a:lnTo>
                <a:lnTo>
                  <a:pt x="997" y="905"/>
                </a:lnTo>
                <a:lnTo>
                  <a:pt x="990" y="901"/>
                </a:lnTo>
                <a:lnTo>
                  <a:pt x="984" y="898"/>
                </a:lnTo>
                <a:lnTo>
                  <a:pt x="981" y="892"/>
                </a:lnTo>
                <a:lnTo>
                  <a:pt x="977" y="888"/>
                </a:lnTo>
                <a:lnTo>
                  <a:pt x="976" y="881"/>
                </a:lnTo>
                <a:lnTo>
                  <a:pt x="976" y="875"/>
                </a:lnTo>
                <a:lnTo>
                  <a:pt x="978" y="869"/>
                </a:lnTo>
                <a:lnTo>
                  <a:pt x="983" y="862"/>
                </a:lnTo>
                <a:lnTo>
                  <a:pt x="989" y="857"/>
                </a:lnTo>
                <a:lnTo>
                  <a:pt x="989" y="857"/>
                </a:lnTo>
                <a:lnTo>
                  <a:pt x="997" y="851"/>
                </a:lnTo>
                <a:lnTo>
                  <a:pt x="1005" y="844"/>
                </a:lnTo>
                <a:lnTo>
                  <a:pt x="1021" y="834"/>
                </a:lnTo>
                <a:lnTo>
                  <a:pt x="1036" y="823"/>
                </a:lnTo>
                <a:lnTo>
                  <a:pt x="1050" y="813"/>
                </a:lnTo>
                <a:lnTo>
                  <a:pt x="1057" y="807"/>
                </a:lnTo>
                <a:lnTo>
                  <a:pt x="1061" y="800"/>
                </a:lnTo>
                <a:lnTo>
                  <a:pt x="1067" y="793"/>
                </a:lnTo>
                <a:lnTo>
                  <a:pt x="1071" y="785"/>
                </a:lnTo>
                <a:lnTo>
                  <a:pt x="1073" y="776"/>
                </a:lnTo>
                <a:lnTo>
                  <a:pt x="1074" y="765"/>
                </a:lnTo>
                <a:lnTo>
                  <a:pt x="1074" y="753"/>
                </a:lnTo>
                <a:lnTo>
                  <a:pt x="1073" y="739"/>
                </a:lnTo>
                <a:lnTo>
                  <a:pt x="1073" y="739"/>
                </a:lnTo>
                <a:lnTo>
                  <a:pt x="1071" y="722"/>
                </a:lnTo>
                <a:lnTo>
                  <a:pt x="1067" y="707"/>
                </a:lnTo>
                <a:lnTo>
                  <a:pt x="1064" y="693"/>
                </a:lnTo>
                <a:lnTo>
                  <a:pt x="1060" y="681"/>
                </a:lnTo>
                <a:lnTo>
                  <a:pt x="1056" y="669"/>
                </a:lnTo>
                <a:lnTo>
                  <a:pt x="1050" y="660"/>
                </a:lnTo>
                <a:lnTo>
                  <a:pt x="1044" y="651"/>
                </a:lnTo>
                <a:lnTo>
                  <a:pt x="1038" y="644"/>
                </a:lnTo>
                <a:lnTo>
                  <a:pt x="1033" y="637"/>
                </a:lnTo>
                <a:lnTo>
                  <a:pt x="1026" y="631"/>
                </a:lnTo>
                <a:lnTo>
                  <a:pt x="1019" y="626"/>
                </a:lnTo>
                <a:lnTo>
                  <a:pt x="1012" y="623"/>
                </a:lnTo>
                <a:lnTo>
                  <a:pt x="997" y="616"/>
                </a:lnTo>
                <a:lnTo>
                  <a:pt x="982" y="613"/>
                </a:lnTo>
                <a:lnTo>
                  <a:pt x="966" y="610"/>
                </a:lnTo>
                <a:lnTo>
                  <a:pt x="951" y="608"/>
                </a:lnTo>
                <a:lnTo>
                  <a:pt x="936" y="607"/>
                </a:lnTo>
                <a:lnTo>
                  <a:pt x="921" y="605"/>
                </a:lnTo>
                <a:lnTo>
                  <a:pt x="908" y="600"/>
                </a:lnTo>
                <a:lnTo>
                  <a:pt x="903" y="598"/>
                </a:lnTo>
                <a:lnTo>
                  <a:pt x="897" y="594"/>
                </a:lnTo>
                <a:lnTo>
                  <a:pt x="891" y="591"/>
                </a:lnTo>
                <a:lnTo>
                  <a:pt x="886" y="586"/>
                </a:lnTo>
                <a:lnTo>
                  <a:pt x="882" y="580"/>
                </a:lnTo>
                <a:lnTo>
                  <a:pt x="878" y="575"/>
                </a:lnTo>
                <a:lnTo>
                  <a:pt x="878" y="575"/>
                </a:lnTo>
                <a:lnTo>
                  <a:pt x="878" y="567"/>
                </a:lnTo>
                <a:lnTo>
                  <a:pt x="880" y="560"/>
                </a:lnTo>
                <a:lnTo>
                  <a:pt x="881" y="554"/>
                </a:lnTo>
                <a:lnTo>
                  <a:pt x="884" y="549"/>
                </a:lnTo>
                <a:lnTo>
                  <a:pt x="888" y="546"/>
                </a:lnTo>
                <a:lnTo>
                  <a:pt x="891" y="542"/>
                </a:lnTo>
                <a:lnTo>
                  <a:pt x="897" y="540"/>
                </a:lnTo>
                <a:lnTo>
                  <a:pt x="901" y="539"/>
                </a:lnTo>
                <a:lnTo>
                  <a:pt x="914" y="537"/>
                </a:lnTo>
                <a:lnTo>
                  <a:pt x="928" y="537"/>
                </a:lnTo>
                <a:lnTo>
                  <a:pt x="958" y="537"/>
                </a:lnTo>
                <a:lnTo>
                  <a:pt x="972" y="537"/>
                </a:lnTo>
                <a:lnTo>
                  <a:pt x="985" y="536"/>
                </a:lnTo>
                <a:lnTo>
                  <a:pt x="998" y="532"/>
                </a:lnTo>
                <a:lnTo>
                  <a:pt x="1003" y="529"/>
                </a:lnTo>
                <a:lnTo>
                  <a:pt x="1007" y="525"/>
                </a:lnTo>
                <a:lnTo>
                  <a:pt x="1012" y="522"/>
                </a:lnTo>
                <a:lnTo>
                  <a:pt x="1015" y="517"/>
                </a:lnTo>
                <a:lnTo>
                  <a:pt x="1018" y="510"/>
                </a:lnTo>
                <a:lnTo>
                  <a:pt x="1019" y="503"/>
                </a:lnTo>
                <a:lnTo>
                  <a:pt x="1019" y="495"/>
                </a:lnTo>
                <a:lnTo>
                  <a:pt x="1019" y="486"/>
                </a:lnTo>
                <a:lnTo>
                  <a:pt x="1018" y="476"/>
                </a:lnTo>
                <a:lnTo>
                  <a:pt x="1014" y="463"/>
                </a:lnTo>
                <a:lnTo>
                  <a:pt x="1014" y="463"/>
                </a:lnTo>
                <a:lnTo>
                  <a:pt x="1013" y="449"/>
                </a:lnTo>
                <a:lnTo>
                  <a:pt x="1013" y="438"/>
                </a:lnTo>
                <a:lnTo>
                  <a:pt x="1013" y="427"/>
                </a:lnTo>
                <a:lnTo>
                  <a:pt x="1015" y="419"/>
                </a:lnTo>
                <a:lnTo>
                  <a:pt x="1018" y="412"/>
                </a:lnTo>
                <a:lnTo>
                  <a:pt x="1020" y="408"/>
                </a:lnTo>
                <a:lnTo>
                  <a:pt x="1025" y="403"/>
                </a:lnTo>
                <a:lnTo>
                  <a:pt x="1028" y="401"/>
                </a:lnTo>
                <a:lnTo>
                  <a:pt x="1033" y="399"/>
                </a:lnTo>
                <a:lnTo>
                  <a:pt x="1038" y="399"/>
                </a:lnTo>
                <a:lnTo>
                  <a:pt x="1049" y="399"/>
                </a:lnTo>
                <a:lnTo>
                  <a:pt x="1069" y="401"/>
                </a:lnTo>
                <a:lnTo>
                  <a:pt x="1069" y="401"/>
                </a:lnTo>
                <a:lnTo>
                  <a:pt x="1090" y="403"/>
                </a:lnTo>
                <a:lnTo>
                  <a:pt x="1106" y="403"/>
                </a:lnTo>
                <a:lnTo>
                  <a:pt x="1120" y="402"/>
                </a:lnTo>
                <a:lnTo>
                  <a:pt x="1130" y="397"/>
                </a:lnTo>
                <a:lnTo>
                  <a:pt x="1138" y="393"/>
                </a:lnTo>
                <a:lnTo>
                  <a:pt x="1144" y="387"/>
                </a:lnTo>
                <a:lnTo>
                  <a:pt x="1150" y="380"/>
                </a:lnTo>
                <a:lnTo>
                  <a:pt x="1152" y="372"/>
                </a:lnTo>
                <a:lnTo>
                  <a:pt x="1158" y="356"/>
                </a:lnTo>
                <a:lnTo>
                  <a:pt x="1163" y="342"/>
                </a:lnTo>
                <a:lnTo>
                  <a:pt x="1166" y="335"/>
                </a:lnTo>
                <a:lnTo>
                  <a:pt x="1170" y="331"/>
                </a:lnTo>
                <a:lnTo>
                  <a:pt x="1175" y="326"/>
                </a:lnTo>
                <a:lnTo>
                  <a:pt x="1183" y="324"/>
                </a:lnTo>
                <a:lnTo>
                  <a:pt x="1183" y="324"/>
                </a:lnTo>
                <a:lnTo>
                  <a:pt x="1197" y="321"/>
                </a:lnTo>
                <a:lnTo>
                  <a:pt x="1209" y="317"/>
                </a:lnTo>
                <a:lnTo>
                  <a:pt x="1220" y="310"/>
                </a:lnTo>
                <a:lnTo>
                  <a:pt x="1229" y="303"/>
                </a:lnTo>
                <a:lnTo>
                  <a:pt x="1239" y="294"/>
                </a:lnTo>
                <a:lnTo>
                  <a:pt x="1245" y="285"/>
                </a:lnTo>
                <a:lnTo>
                  <a:pt x="1252" y="274"/>
                </a:lnTo>
                <a:lnTo>
                  <a:pt x="1258" y="264"/>
                </a:lnTo>
                <a:lnTo>
                  <a:pt x="1262" y="254"/>
                </a:lnTo>
                <a:lnTo>
                  <a:pt x="1265" y="244"/>
                </a:lnTo>
                <a:lnTo>
                  <a:pt x="1266" y="234"/>
                </a:lnTo>
                <a:lnTo>
                  <a:pt x="1267" y="225"/>
                </a:lnTo>
                <a:lnTo>
                  <a:pt x="1266" y="217"/>
                </a:lnTo>
                <a:lnTo>
                  <a:pt x="1264" y="209"/>
                </a:lnTo>
                <a:lnTo>
                  <a:pt x="1262" y="203"/>
                </a:lnTo>
                <a:lnTo>
                  <a:pt x="1257" y="200"/>
                </a:lnTo>
                <a:lnTo>
                  <a:pt x="1257" y="200"/>
                </a:lnTo>
                <a:lnTo>
                  <a:pt x="1237" y="208"/>
                </a:lnTo>
                <a:lnTo>
                  <a:pt x="1229" y="211"/>
                </a:lnTo>
                <a:lnTo>
                  <a:pt x="1221" y="212"/>
                </a:lnTo>
                <a:lnTo>
                  <a:pt x="1214" y="213"/>
                </a:lnTo>
                <a:lnTo>
                  <a:pt x="1207" y="213"/>
                </a:lnTo>
                <a:lnTo>
                  <a:pt x="1202" y="213"/>
                </a:lnTo>
                <a:lnTo>
                  <a:pt x="1196" y="212"/>
                </a:lnTo>
                <a:lnTo>
                  <a:pt x="1186" y="208"/>
                </a:lnTo>
                <a:lnTo>
                  <a:pt x="1178" y="203"/>
                </a:lnTo>
                <a:lnTo>
                  <a:pt x="1170" y="196"/>
                </a:lnTo>
                <a:lnTo>
                  <a:pt x="1163" y="188"/>
                </a:lnTo>
                <a:lnTo>
                  <a:pt x="1155" y="181"/>
                </a:lnTo>
                <a:lnTo>
                  <a:pt x="1148" y="174"/>
                </a:lnTo>
                <a:lnTo>
                  <a:pt x="1140" y="168"/>
                </a:lnTo>
                <a:lnTo>
                  <a:pt x="1129" y="164"/>
                </a:lnTo>
                <a:lnTo>
                  <a:pt x="1125" y="163"/>
                </a:lnTo>
                <a:lnTo>
                  <a:pt x="1119" y="163"/>
                </a:lnTo>
                <a:lnTo>
                  <a:pt x="1113" y="163"/>
                </a:lnTo>
                <a:lnTo>
                  <a:pt x="1106" y="164"/>
                </a:lnTo>
                <a:lnTo>
                  <a:pt x="1098" y="166"/>
                </a:lnTo>
                <a:lnTo>
                  <a:pt x="1091" y="168"/>
                </a:lnTo>
                <a:lnTo>
                  <a:pt x="1073" y="178"/>
                </a:lnTo>
                <a:lnTo>
                  <a:pt x="1073" y="178"/>
                </a:lnTo>
                <a:lnTo>
                  <a:pt x="1065" y="181"/>
                </a:lnTo>
                <a:lnTo>
                  <a:pt x="1062" y="181"/>
                </a:lnTo>
                <a:lnTo>
                  <a:pt x="1061" y="181"/>
                </a:lnTo>
                <a:lnTo>
                  <a:pt x="1060" y="180"/>
                </a:lnTo>
                <a:lnTo>
                  <a:pt x="1060" y="179"/>
                </a:lnTo>
                <a:lnTo>
                  <a:pt x="1062" y="173"/>
                </a:lnTo>
                <a:lnTo>
                  <a:pt x="1072" y="155"/>
                </a:lnTo>
                <a:lnTo>
                  <a:pt x="1077" y="143"/>
                </a:lnTo>
                <a:lnTo>
                  <a:pt x="1082" y="129"/>
                </a:lnTo>
                <a:lnTo>
                  <a:pt x="1087" y="114"/>
                </a:lnTo>
                <a:lnTo>
                  <a:pt x="1088" y="98"/>
                </a:lnTo>
                <a:lnTo>
                  <a:pt x="1089" y="90"/>
                </a:lnTo>
                <a:lnTo>
                  <a:pt x="1088" y="82"/>
                </a:lnTo>
                <a:lnTo>
                  <a:pt x="1087" y="73"/>
                </a:lnTo>
                <a:lnTo>
                  <a:pt x="1084" y="65"/>
                </a:lnTo>
                <a:lnTo>
                  <a:pt x="1081" y="57"/>
                </a:lnTo>
                <a:lnTo>
                  <a:pt x="1076" y="49"/>
                </a:lnTo>
                <a:lnTo>
                  <a:pt x="1071" y="40"/>
                </a:lnTo>
                <a:lnTo>
                  <a:pt x="1064" y="32"/>
                </a:lnTo>
                <a:lnTo>
                  <a:pt x="1056" y="23"/>
                </a:lnTo>
                <a:lnTo>
                  <a:pt x="1046" y="15"/>
                </a:lnTo>
                <a:lnTo>
                  <a:pt x="1035" y="9"/>
                </a:lnTo>
                <a:lnTo>
                  <a:pt x="1022" y="0"/>
                </a:lnTo>
                <a:lnTo>
                  <a:pt x="1022" y="0"/>
                </a:lnTo>
                <a:lnTo>
                  <a:pt x="988" y="20"/>
                </a:lnTo>
                <a:lnTo>
                  <a:pt x="955" y="38"/>
                </a:lnTo>
                <a:lnTo>
                  <a:pt x="939" y="46"/>
                </a:lnTo>
                <a:lnTo>
                  <a:pt x="924" y="56"/>
                </a:lnTo>
                <a:lnTo>
                  <a:pt x="911" y="66"/>
                </a:lnTo>
                <a:lnTo>
                  <a:pt x="897" y="76"/>
                </a:lnTo>
                <a:lnTo>
                  <a:pt x="885" y="88"/>
                </a:lnTo>
                <a:lnTo>
                  <a:pt x="874" y="101"/>
                </a:lnTo>
                <a:lnTo>
                  <a:pt x="865" y="116"/>
                </a:lnTo>
                <a:lnTo>
                  <a:pt x="855" y="132"/>
                </a:lnTo>
                <a:lnTo>
                  <a:pt x="848" y="149"/>
                </a:lnTo>
                <a:lnTo>
                  <a:pt x="844" y="170"/>
                </a:lnTo>
                <a:lnTo>
                  <a:pt x="840" y="193"/>
                </a:lnTo>
                <a:lnTo>
                  <a:pt x="838" y="218"/>
                </a:lnTo>
                <a:lnTo>
                  <a:pt x="838" y="218"/>
                </a:lnTo>
                <a:lnTo>
                  <a:pt x="848" y="216"/>
                </a:lnTo>
                <a:lnTo>
                  <a:pt x="860" y="213"/>
                </a:lnTo>
                <a:lnTo>
                  <a:pt x="875" y="212"/>
                </a:lnTo>
                <a:lnTo>
                  <a:pt x="892" y="212"/>
                </a:lnTo>
                <a:lnTo>
                  <a:pt x="909" y="214"/>
                </a:lnTo>
                <a:lnTo>
                  <a:pt x="919" y="217"/>
                </a:lnTo>
                <a:lnTo>
                  <a:pt x="928" y="219"/>
                </a:lnTo>
                <a:lnTo>
                  <a:pt x="936" y="224"/>
                </a:lnTo>
                <a:lnTo>
                  <a:pt x="945" y="228"/>
                </a:lnTo>
                <a:lnTo>
                  <a:pt x="945" y="228"/>
                </a:lnTo>
                <a:lnTo>
                  <a:pt x="943" y="261"/>
                </a:lnTo>
                <a:lnTo>
                  <a:pt x="941" y="271"/>
                </a:lnTo>
                <a:lnTo>
                  <a:pt x="939" y="275"/>
                </a:lnTo>
                <a:lnTo>
                  <a:pt x="937" y="279"/>
                </a:lnTo>
                <a:lnTo>
                  <a:pt x="934" y="282"/>
                </a:lnTo>
                <a:lnTo>
                  <a:pt x="930" y="285"/>
                </a:lnTo>
                <a:lnTo>
                  <a:pt x="927" y="287"/>
                </a:lnTo>
                <a:lnTo>
                  <a:pt x="921" y="288"/>
                </a:lnTo>
                <a:lnTo>
                  <a:pt x="907" y="290"/>
                </a:lnTo>
                <a:lnTo>
                  <a:pt x="890" y="290"/>
                </a:lnTo>
                <a:lnTo>
                  <a:pt x="890" y="290"/>
                </a:lnTo>
                <a:lnTo>
                  <a:pt x="883" y="290"/>
                </a:lnTo>
                <a:lnTo>
                  <a:pt x="877" y="288"/>
                </a:lnTo>
                <a:lnTo>
                  <a:pt x="863" y="282"/>
                </a:lnTo>
                <a:lnTo>
                  <a:pt x="850" y="275"/>
                </a:lnTo>
                <a:lnTo>
                  <a:pt x="832" y="269"/>
                </a:lnTo>
                <a:lnTo>
                  <a:pt x="822" y="265"/>
                </a:lnTo>
                <a:lnTo>
                  <a:pt x="812" y="263"/>
                </a:lnTo>
                <a:lnTo>
                  <a:pt x="800" y="262"/>
                </a:lnTo>
                <a:lnTo>
                  <a:pt x="787" y="262"/>
                </a:lnTo>
                <a:lnTo>
                  <a:pt x="774" y="263"/>
                </a:lnTo>
                <a:lnTo>
                  <a:pt x="759" y="265"/>
                </a:lnTo>
                <a:lnTo>
                  <a:pt x="743" y="270"/>
                </a:lnTo>
                <a:lnTo>
                  <a:pt x="724" y="275"/>
                </a:lnTo>
                <a:lnTo>
                  <a:pt x="724" y="275"/>
                </a:lnTo>
                <a:lnTo>
                  <a:pt x="700" y="301"/>
                </a:lnTo>
                <a:lnTo>
                  <a:pt x="676" y="324"/>
                </a:lnTo>
                <a:lnTo>
                  <a:pt x="649" y="345"/>
                </a:lnTo>
                <a:lnTo>
                  <a:pt x="623" y="365"/>
                </a:lnTo>
                <a:lnTo>
                  <a:pt x="595" y="384"/>
                </a:lnTo>
                <a:lnTo>
                  <a:pt x="569" y="402"/>
                </a:lnTo>
                <a:lnTo>
                  <a:pt x="514" y="438"/>
                </a:lnTo>
                <a:lnTo>
                  <a:pt x="486" y="456"/>
                </a:lnTo>
                <a:lnTo>
                  <a:pt x="460" y="475"/>
                </a:lnTo>
                <a:lnTo>
                  <a:pt x="433" y="494"/>
                </a:lnTo>
                <a:lnTo>
                  <a:pt x="408" y="514"/>
                </a:lnTo>
                <a:lnTo>
                  <a:pt x="382" y="536"/>
                </a:lnTo>
                <a:lnTo>
                  <a:pt x="359" y="559"/>
                </a:lnTo>
                <a:lnTo>
                  <a:pt x="338" y="584"/>
                </a:lnTo>
                <a:lnTo>
                  <a:pt x="317" y="610"/>
                </a:lnTo>
                <a:lnTo>
                  <a:pt x="317" y="610"/>
                </a:lnTo>
                <a:lnTo>
                  <a:pt x="305" y="629"/>
                </a:lnTo>
                <a:lnTo>
                  <a:pt x="295" y="648"/>
                </a:lnTo>
                <a:lnTo>
                  <a:pt x="274" y="692"/>
                </a:lnTo>
                <a:lnTo>
                  <a:pt x="252" y="738"/>
                </a:lnTo>
                <a:lnTo>
                  <a:pt x="241" y="759"/>
                </a:lnTo>
                <a:lnTo>
                  <a:pt x="228" y="779"/>
                </a:lnTo>
                <a:lnTo>
                  <a:pt x="228" y="779"/>
                </a:lnTo>
                <a:lnTo>
                  <a:pt x="209" y="808"/>
                </a:lnTo>
                <a:lnTo>
                  <a:pt x="191" y="835"/>
                </a:lnTo>
                <a:lnTo>
                  <a:pt x="162" y="880"/>
                </a:lnTo>
                <a:lnTo>
                  <a:pt x="151" y="898"/>
                </a:lnTo>
                <a:lnTo>
                  <a:pt x="145" y="912"/>
                </a:lnTo>
                <a:lnTo>
                  <a:pt x="144" y="918"/>
                </a:lnTo>
                <a:lnTo>
                  <a:pt x="144" y="923"/>
                </a:lnTo>
                <a:lnTo>
                  <a:pt x="145" y="927"/>
                </a:lnTo>
                <a:lnTo>
                  <a:pt x="148" y="930"/>
                </a:lnTo>
                <a:lnTo>
                  <a:pt x="148" y="930"/>
                </a:lnTo>
                <a:lnTo>
                  <a:pt x="167" y="944"/>
                </a:lnTo>
                <a:lnTo>
                  <a:pt x="182" y="952"/>
                </a:lnTo>
                <a:lnTo>
                  <a:pt x="195" y="957"/>
                </a:lnTo>
                <a:lnTo>
                  <a:pt x="206" y="959"/>
                </a:lnTo>
                <a:lnTo>
                  <a:pt x="217" y="959"/>
                </a:lnTo>
                <a:lnTo>
                  <a:pt x="228" y="958"/>
                </a:lnTo>
                <a:lnTo>
                  <a:pt x="243" y="958"/>
                </a:lnTo>
                <a:lnTo>
                  <a:pt x="262" y="960"/>
                </a:lnTo>
                <a:lnTo>
                  <a:pt x="262" y="960"/>
                </a:lnTo>
                <a:lnTo>
                  <a:pt x="270" y="957"/>
                </a:lnTo>
                <a:lnTo>
                  <a:pt x="278" y="954"/>
                </a:lnTo>
                <a:lnTo>
                  <a:pt x="285" y="956"/>
                </a:lnTo>
                <a:lnTo>
                  <a:pt x="290" y="958"/>
                </a:lnTo>
                <a:lnTo>
                  <a:pt x="295" y="961"/>
                </a:lnTo>
                <a:lnTo>
                  <a:pt x="300" y="966"/>
                </a:lnTo>
                <a:lnTo>
                  <a:pt x="304" y="972"/>
                </a:lnTo>
                <a:lnTo>
                  <a:pt x="306" y="977"/>
                </a:lnTo>
                <a:lnTo>
                  <a:pt x="311" y="990"/>
                </a:lnTo>
                <a:lnTo>
                  <a:pt x="315" y="1003"/>
                </a:lnTo>
                <a:lnTo>
                  <a:pt x="317" y="1014"/>
                </a:lnTo>
                <a:lnTo>
                  <a:pt x="317" y="1014"/>
                </a:lnTo>
                <a:lnTo>
                  <a:pt x="312" y="1019"/>
                </a:lnTo>
                <a:lnTo>
                  <a:pt x="310" y="1022"/>
                </a:lnTo>
                <a:lnTo>
                  <a:pt x="308" y="1031"/>
                </a:lnTo>
                <a:lnTo>
                  <a:pt x="305" y="1041"/>
                </a:lnTo>
                <a:lnTo>
                  <a:pt x="302" y="1050"/>
                </a:lnTo>
                <a:lnTo>
                  <a:pt x="300" y="1052"/>
                </a:lnTo>
                <a:lnTo>
                  <a:pt x="296" y="1056"/>
                </a:lnTo>
                <a:lnTo>
                  <a:pt x="292" y="1057"/>
                </a:lnTo>
                <a:lnTo>
                  <a:pt x="286" y="1058"/>
                </a:lnTo>
                <a:lnTo>
                  <a:pt x="278" y="1058"/>
                </a:lnTo>
                <a:lnTo>
                  <a:pt x="269" y="1056"/>
                </a:lnTo>
                <a:lnTo>
                  <a:pt x="257" y="1052"/>
                </a:lnTo>
                <a:lnTo>
                  <a:pt x="243" y="1048"/>
                </a:lnTo>
                <a:lnTo>
                  <a:pt x="243" y="1048"/>
                </a:lnTo>
                <a:lnTo>
                  <a:pt x="237" y="1057"/>
                </a:lnTo>
                <a:lnTo>
                  <a:pt x="232" y="1064"/>
                </a:lnTo>
                <a:lnTo>
                  <a:pt x="225" y="1069"/>
                </a:lnTo>
                <a:lnTo>
                  <a:pt x="219" y="1073"/>
                </a:lnTo>
                <a:lnTo>
                  <a:pt x="212" y="1076"/>
                </a:lnTo>
                <a:lnTo>
                  <a:pt x="206" y="1079"/>
                </a:lnTo>
                <a:lnTo>
                  <a:pt x="199" y="1081"/>
                </a:lnTo>
                <a:lnTo>
                  <a:pt x="193" y="1081"/>
                </a:lnTo>
                <a:lnTo>
                  <a:pt x="185" y="1081"/>
                </a:lnTo>
                <a:lnTo>
                  <a:pt x="178" y="1079"/>
                </a:lnTo>
                <a:lnTo>
                  <a:pt x="163" y="1074"/>
                </a:lnTo>
                <a:lnTo>
                  <a:pt x="148" y="1067"/>
                </a:lnTo>
                <a:lnTo>
                  <a:pt x="133" y="1059"/>
                </a:lnTo>
                <a:lnTo>
                  <a:pt x="133" y="1059"/>
                </a:lnTo>
                <a:lnTo>
                  <a:pt x="127" y="1057"/>
                </a:lnTo>
                <a:lnTo>
                  <a:pt x="124" y="1056"/>
                </a:lnTo>
                <a:lnTo>
                  <a:pt x="121" y="1058"/>
                </a:lnTo>
                <a:lnTo>
                  <a:pt x="119" y="1061"/>
                </a:lnTo>
                <a:lnTo>
                  <a:pt x="119" y="1066"/>
                </a:lnTo>
                <a:lnTo>
                  <a:pt x="119" y="1072"/>
                </a:lnTo>
                <a:lnTo>
                  <a:pt x="120" y="1089"/>
                </a:lnTo>
                <a:lnTo>
                  <a:pt x="122" y="1109"/>
                </a:lnTo>
                <a:lnTo>
                  <a:pt x="124" y="1130"/>
                </a:lnTo>
                <a:lnTo>
                  <a:pt x="124" y="1142"/>
                </a:lnTo>
                <a:lnTo>
                  <a:pt x="122" y="1153"/>
                </a:lnTo>
                <a:lnTo>
                  <a:pt x="121" y="1165"/>
                </a:lnTo>
                <a:lnTo>
                  <a:pt x="118" y="1176"/>
                </a:lnTo>
                <a:lnTo>
                  <a:pt x="118" y="1176"/>
                </a:lnTo>
                <a:lnTo>
                  <a:pt x="114" y="1187"/>
                </a:lnTo>
                <a:lnTo>
                  <a:pt x="107" y="1197"/>
                </a:lnTo>
                <a:lnTo>
                  <a:pt x="101" y="1208"/>
                </a:lnTo>
                <a:lnTo>
                  <a:pt x="92" y="1216"/>
                </a:lnTo>
                <a:lnTo>
                  <a:pt x="73" y="1233"/>
                </a:lnTo>
                <a:lnTo>
                  <a:pt x="52" y="1249"/>
                </a:lnTo>
                <a:lnTo>
                  <a:pt x="43" y="1258"/>
                </a:lnTo>
                <a:lnTo>
                  <a:pt x="33" y="1266"/>
                </a:lnTo>
                <a:lnTo>
                  <a:pt x="25" y="1277"/>
                </a:lnTo>
                <a:lnTo>
                  <a:pt x="17" y="1287"/>
                </a:lnTo>
                <a:lnTo>
                  <a:pt x="10" y="1298"/>
                </a:lnTo>
                <a:lnTo>
                  <a:pt x="5" y="1311"/>
                </a:lnTo>
                <a:lnTo>
                  <a:pt x="2" y="1326"/>
                </a:lnTo>
                <a:lnTo>
                  <a:pt x="0" y="1341"/>
                </a:lnTo>
                <a:lnTo>
                  <a:pt x="0" y="1341"/>
                </a:lnTo>
                <a:lnTo>
                  <a:pt x="2" y="1349"/>
                </a:lnTo>
                <a:lnTo>
                  <a:pt x="2" y="1355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11" y="1359"/>
                </a:lnTo>
                <a:lnTo>
                  <a:pt x="15" y="1359"/>
                </a:lnTo>
                <a:lnTo>
                  <a:pt x="23" y="1361"/>
                </a:lnTo>
                <a:lnTo>
                  <a:pt x="29" y="1363"/>
                </a:lnTo>
                <a:lnTo>
                  <a:pt x="34" y="1364"/>
                </a:lnTo>
                <a:lnTo>
                  <a:pt x="34" y="1364"/>
                </a:lnTo>
                <a:lnTo>
                  <a:pt x="42" y="1364"/>
                </a:lnTo>
                <a:lnTo>
                  <a:pt x="51" y="1366"/>
                </a:lnTo>
                <a:lnTo>
                  <a:pt x="60" y="1369"/>
                </a:lnTo>
                <a:lnTo>
                  <a:pt x="71" y="1372"/>
                </a:lnTo>
                <a:lnTo>
                  <a:pt x="92" y="1381"/>
                </a:lnTo>
                <a:lnTo>
                  <a:pt x="113" y="1393"/>
                </a:lnTo>
                <a:lnTo>
                  <a:pt x="124" y="1400"/>
                </a:lnTo>
                <a:lnTo>
                  <a:pt x="133" y="1407"/>
                </a:lnTo>
                <a:lnTo>
                  <a:pt x="141" y="1415"/>
                </a:lnTo>
                <a:lnTo>
                  <a:pt x="148" y="1423"/>
                </a:lnTo>
                <a:lnTo>
                  <a:pt x="153" y="1431"/>
                </a:lnTo>
                <a:lnTo>
                  <a:pt x="158" y="1439"/>
                </a:lnTo>
                <a:lnTo>
                  <a:pt x="162" y="1447"/>
                </a:lnTo>
                <a:lnTo>
                  <a:pt x="163" y="1455"/>
                </a:lnTo>
                <a:lnTo>
                  <a:pt x="163" y="1455"/>
                </a:lnTo>
                <a:lnTo>
                  <a:pt x="162" y="1468"/>
                </a:lnTo>
                <a:lnTo>
                  <a:pt x="159" y="1477"/>
                </a:lnTo>
                <a:lnTo>
                  <a:pt x="155" y="1485"/>
                </a:lnTo>
                <a:lnTo>
                  <a:pt x="151" y="1491"/>
                </a:lnTo>
                <a:lnTo>
                  <a:pt x="142" y="1500"/>
                </a:lnTo>
                <a:lnTo>
                  <a:pt x="138" y="1504"/>
                </a:lnTo>
                <a:lnTo>
                  <a:pt x="136" y="1511"/>
                </a:lnTo>
                <a:lnTo>
                  <a:pt x="136" y="1511"/>
                </a:lnTo>
                <a:lnTo>
                  <a:pt x="135" y="1516"/>
                </a:lnTo>
                <a:lnTo>
                  <a:pt x="134" y="1522"/>
                </a:lnTo>
                <a:lnTo>
                  <a:pt x="135" y="1531"/>
                </a:lnTo>
                <a:lnTo>
                  <a:pt x="137" y="1541"/>
                </a:lnTo>
                <a:lnTo>
                  <a:pt x="137" y="1546"/>
                </a:lnTo>
                <a:lnTo>
                  <a:pt x="136" y="1552"/>
                </a:lnTo>
                <a:lnTo>
                  <a:pt x="136" y="1552"/>
                </a:lnTo>
                <a:lnTo>
                  <a:pt x="134" y="1560"/>
                </a:lnTo>
                <a:lnTo>
                  <a:pt x="129" y="1567"/>
                </a:lnTo>
                <a:lnTo>
                  <a:pt x="121" y="1580"/>
                </a:lnTo>
                <a:lnTo>
                  <a:pt x="102" y="1607"/>
                </a:lnTo>
                <a:lnTo>
                  <a:pt x="92" y="1621"/>
                </a:lnTo>
                <a:lnTo>
                  <a:pt x="84" y="1634"/>
                </a:lnTo>
                <a:lnTo>
                  <a:pt x="82" y="1643"/>
                </a:lnTo>
                <a:lnTo>
                  <a:pt x="80" y="1651"/>
                </a:lnTo>
                <a:lnTo>
                  <a:pt x="79" y="1659"/>
                </a:lnTo>
                <a:lnTo>
                  <a:pt x="78" y="1668"/>
                </a:lnTo>
                <a:lnTo>
                  <a:pt x="78" y="1668"/>
                </a:lnTo>
                <a:lnTo>
                  <a:pt x="79" y="1678"/>
                </a:lnTo>
                <a:lnTo>
                  <a:pt x="80" y="1686"/>
                </a:lnTo>
                <a:lnTo>
                  <a:pt x="83" y="1692"/>
                </a:lnTo>
                <a:lnTo>
                  <a:pt x="88" y="1695"/>
                </a:lnTo>
                <a:lnTo>
                  <a:pt x="94" y="1698"/>
                </a:lnTo>
                <a:lnTo>
                  <a:pt x="101" y="1699"/>
                </a:lnTo>
                <a:lnTo>
                  <a:pt x="109" y="1699"/>
                </a:lnTo>
                <a:lnTo>
                  <a:pt x="118" y="1698"/>
                </a:lnTo>
                <a:lnTo>
                  <a:pt x="118" y="1698"/>
                </a:lnTo>
                <a:lnTo>
                  <a:pt x="120" y="1703"/>
                </a:lnTo>
                <a:lnTo>
                  <a:pt x="121" y="1708"/>
                </a:lnTo>
                <a:lnTo>
                  <a:pt x="122" y="1717"/>
                </a:lnTo>
                <a:lnTo>
                  <a:pt x="121" y="1735"/>
                </a:lnTo>
                <a:lnTo>
                  <a:pt x="121" y="1735"/>
                </a:lnTo>
                <a:lnTo>
                  <a:pt x="122" y="1739"/>
                </a:lnTo>
                <a:lnTo>
                  <a:pt x="126" y="1744"/>
                </a:lnTo>
                <a:lnTo>
                  <a:pt x="132" y="1750"/>
                </a:lnTo>
                <a:lnTo>
                  <a:pt x="138" y="1754"/>
                </a:lnTo>
                <a:lnTo>
                  <a:pt x="147" y="1758"/>
                </a:lnTo>
                <a:lnTo>
                  <a:pt x="156" y="1761"/>
                </a:lnTo>
                <a:lnTo>
                  <a:pt x="166" y="1763"/>
                </a:lnTo>
                <a:lnTo>
                  <a:pt x="176" y="1764"/>
                </a:lnTo>
                <a:lnTo>
                  <a:pt x="176" y="1764"/>
                </a:lnTo>
                <a:lnTo>
                  <a:pt x="183" y="1763"/>
                </a:lnTo>
                <a:lnTo>
                  <a:pt x="190" y="1762"/>
                </a:lnTo>
                <a:lnTo>
                  <a:pt x="203" y="1759"/>
                </a:lnTo>
                <a:lnTo>
                  <a:pt x="214" y="1755"/>
                </a:lnTo>
                <a:lnTo>
                  <a:pt x="221" y="1753"/>
                </a:lnTo>
                <a:lnTo>
                  <a:pt x="228" y="1753"/>
                </a:lnTo>
                <a:lnTo>
                  <a:pt x="228" y="1753"/>
                </a:lnTo>
                <a:lnTo>
                  <a:pt x="237" y="1754"/>
                </a:lnTo>
                <a:lnTo>
                  <a:pt x="246" y="1755"/>
                </a:lnTo>
                <a:lnTo>
                  <a:pt x="252" y="1759"/>
                </a:lnTo>
                <a:lnTo>
                  <a:pt x="257" y="1762"/>
                </a:lnTo>
                <a:lnTo>
                  <a:pt x="262" y="1767"/>
                </a:lnTo>
                <a:lnTo>
                  <a:pt x="265" y="1773"/>
                </a:lnTo>
                <a:lnTo>
                  <a:pt x="270" y="1783"/>
                </a:lnTo>
                <a:lnTo>
                  <a:pt x="273" y="1796"/>
                </a:lnTo>
                <a:lnTo>
                  <a:pt x="278" y="1806"/>
                </a:lnTo>
                <a:lnTo>
                  <a:pt x="281" y="1811"/>
                </a:lnTo>
                <a:lnTo>
                  <a:pt x="285" y="1814"/>
                </a:lnTo>
                <a:lnTo>
                  <a:pt x="289" y="1817"/>
                </a:lnTo>
                <a:lnTo>
                  <a:pt x="295" y="1820"/>
                </a:lnTo>
                <a:lnTo>
                  <a:pt x="295" y="1820"/>
                </a:lnTo>
                <a:lnTo>
                  <a:pt x="302" y="1820"/>
                </a:lnTo>
                <a:lnTo>
                  <a:pt x="302" y="182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4" name="Freeform 99"/>
          <p:cNvSpPr>
            <a:spLocks/>
          </p:cNvSpPr>
          <p:nvPr/>
        </p:nvSpPr>
        <p:spPr bwMode="auto">
          <a:xfrm>
            <a:off x="6432550" y="4506913"/>
            <a:ext cx="1182688" cy="879475"/>
          </a:xfrm>
          <a:custGeom>
            <a:avLst/>
            <a:gdLst/>
            <a:ahLst/>
            <a:cxnLst>
              <a:cxn ang="0">
                <a:pos x="1407" y="812"/>
              </a:cxn>
              <a:cxn ang="0">
                <a:pos x="1337" y="739"/>
              </a:cxn>
              <a:cxn ang="0">
                <a:pos x="1293" y="712"/>
              </a:cxn>
              <a:cxn ang="0">
                <a:pos x="1254" y="698"/>
              </a:cxn>
              <a:cxn ang="0">
                <a:pos x="1253" y="611"/>
              </a:cxn>
              <a:cxn ang="0">
                <a:pos x="1242" y="560"/>
              </a:cxn>
              <a:cxn ang="0">
                <a:pos x="1283" y="496"/>
              </a:cxn>
              <a:cxn ang="0">
                <a:pos x="1294" y="437"/>
              </a:cxn>
              <a:cxn ang="0">
                <a:pos x="1329" y="382"/>
              </a:cxn>
              <a:cxn ang="0">
                <a:pos x="1292" y="353"/>
              </a:cxn>
              <a:cxn ang="0">
                <a:pos x="1300" y="312"/>
              </a:cxn>
              <a:cxn ang="0">
                <a:pos x="1401" y="286"/>
              </a:cxn>
              <a:cxn ang="0">
                <a:pos x="1360" y="180"/>
              </a:cxn>
              <a:cxn ang="0">
                <a:pos x="1309" y="152"/>
              </a:cxn>
              <a:cxn ang="0">
                <a:pos x="1255" y="200"/>
              </a:cxn>
              <a:cxn ang="0">
                <a:pos x="1217" y="263"/>
              </a:cxn>
              <a:cxn ang="0">
                <a:pos x="1164" y="312"/>
              </a:cxn>
              <a:cxn ang="0">
                <a:pos x="1135" y="337"/>
              </a:cxn>
              <a:cxn ang="0">
                <a:pos x="1075" y="298"/>
              </a:cxn>
              <a:cxn ang="0">
                <a:pos x="1029" y="306"/>
              </a:cxn>
              <a:cxn ang="0">
                <a:pos x="980" y="300"/>
              </a:cxn>
              <a:cxn ang="0">
                <a:pos x="991" y="245"/>
              </a:cxn>
              <a:cxn ang="0">
                <a:pos x="985" y="190"/>
              </a:cxn>
              <a:cxn ang="0">
                <a:pos x="1002" y="157"/>
              </a:cxn>
              <a:cxn ang="0">
                <a:pos x="1026" y="22"/>
              </a:cxn>
              <a:cxn ang="0">
                <a:pos x="971" y="1"/>
              </a:cxn>
              <a:cxn ang="0">
                <a:pos x="866" y="62"/>
              </a:cxn>
              <a:cxn ang="0">
                <a:pos x="794" y="119"/>
              </a:cxn>
              <a:cxn ang="0">
                <a:pos x="718" y="193"/>
              </a:cxn>
              <a:cxn ang="0">
                <a:pos x="642" y="216"/>
              </a:cxn>
              <a:cxn ang="0">
                <a:pos x="549" y="282"/>
              </a:cxn>
              <a:cxn ang="0">
                <a:pos x="444" y="310"/>
              </a:cxn>
              <a:cxn ang="0">
                <a:pos x="373" y="302"/>
              </a:cxn>
              <a:cxn ang="0">
                <a:pos x="307" y="276"/>
              </a:cxn>
              <a:cxn ang="0">
                <a:pos x="95" y="294"/>
              </a:cxn>
              <a:cxn ang="0">
                <a:pos x="18" y="342"/>
              </a:cxn>
              <a:cxn ang="0">
                <a:pos x="0" y="367"/>
              </a:cxn>
              <a:cxn ang="0">
                <a:pos x="32" y="399"/>
              </a:cxn>
              <a:cxn ang="0">
                <a:pos x="83" y="420"/>
              </a:cxn>
              <a:cxn ang="0">
                <a:pos x="67" y="461"/>
              </a:cxn>
              <a:cxn ang="0">
                <a:pos x="105" y="469"/>
              </a:cxn>
              <a:cxn ang="0">
                <a:pos x="158" y="436"/>
              </a:cxn>
              <a:cxn ang="0">
                <a:pos x="202" y="482"/>
              </a:cxn>
              <a:cxn ang="0">
                <a:pos x="243" y="480"/>
              </a:cxn>
              <a:cxn ang="0">
                <a:pos x="274" y="557"/>
              </a:cxn>
              <a:cxn ang="0">
                <a:pos x="298" y="591"/>
              </a:cxn>
              <a:cxn ang="0">
                <a:pos x="297" y="627"/>
              </a:cxn>
              <a:cxn ang="0">
                <a:pos x="315" y="673"/>
              </a:cxn>
              <a:cxn ang="0">
                <a:pos x="364" y="724"/>
              </a:cxn>
              <a:cxn ang="0">
                <a:pos x="467" y="684"/>
              </a:cxn>
              <a:cxn ang="0">
                <a:pos x="635" y="653"/>
              </a:cxn>
              <a:cxn ang="0">
                <a:pos x="723" y="665"/>
              </a:cxn>
              <a:cxn ang="0">
                <a:pos x="968" y="877"/>
              </a:cxn>
              <a:cxn ang="0">
                <a:pos x="1120" y="1006"/>
              </a:cxn>
              <a:cxn ang="0">
                <a:pos x="1236" y="958"/>
              </a:cxn>
              <a:cxn ang="0">
                <a:pos x="1418" y="922"/>
              </a:cxn>
              <a:cxn ang="0">
                <a:pos x="1444" y="841"/>
              </a:cxn>
            </a:cxnLst>
            <a:rect l="0" t="0" r="r" b="b"/>
            <a:pathLst>
              <a:path w="1444" h="1008">
                <a:moveTo>
                  <a:pt x="1443" y="841"/>
                </a:moveTo>
                <a:lnTo>
                  <a:pt x="1443" y="841"/>
                </a:lnTo>
                <a:lnTo>
                  <a:pt x="1443" y="841"/>
                </a:lnTo>
                <a:lnTo>
                  <a:pt x="1443" y="841"/>
                </a:lnTo>
                <a:lnTo>
                  <a:pt x="1435" y="838"/>
                </a:lnTo>
                <a:lnTo>
                  <a:pt x="1426" y="833"/>
                </a:lnTo>
                <a:lnTo>
                  <a:pt x="1419" y="827"/>
                </a:lnTo>
                <a:lnTo>
                  <a:pt x="1413" y="820"/>
                </a:lnTo>
                <a:lnTo>
                  <a:pt x="1407" y="812"/>
                </a:lnTo>
                <a:lnTo>
                  <a:pt x="1401" y="804"/>
                </a:lnTo>
                <a:lnTo>
                  <a:pt x="1391" y="786"/>
                </a:lnTo>
                <a:lnTo>
                  <a:pt x="1381" y="768"/>
                </a:lnTo>
                <a:lnTo>
                  <a:pt x="1375" y="760"/>
                </a:lnTo>
                <a:lnTo>
                  <a:pt x="1369" y="752"/>
                </a:lnTo>
                <a:lnTo>
                  <a:pt x="1362" y="747"/>
                </a:lnTo>
                <a:lnTo>
                  <a:pt x="1355" y="742"/>
                </a:lnTo>
                <a:lnTo>
                  <a:pt x="1346" y="740"/>
                </a:lnTo>
                <a:lnTo>
                  <a:pt x="1337" y="739"/>
                </a:lnTo>
                <a:lnTo>
                  <a:pt x="1337" y="739"/>
                </a:lnTo>
                <a:lnTo>
                  <a:pt x="1315" y="739"/>
                </a:lnTo>
                <a:lnTo>
                  <a:pt x="1315" y="739"/>
                </a:lnTo>
                <a:lnTo>
                  <a:pt x="1309" y="737"/>
                </a:lnTo>
                <a:lnTo>
                  <a:pt x="1306" y="736"/>
                </a:lnTo>
                <a:lnTo>
                  <a:pt x="1303" y="733"/>
                </a:lnTo>
                <a:lnTo>
                  <a:pt x="1299" y="729"/>
                </a:lnTo>
                <a:lnTo>
                  <a:pt x="1296" y="721"/>
                </a:lnTo>
                <a:lnTo>
                  <a:pt x="1293" y="712"/>
                </a:lnTo>
                <a:lnTo>
                  <a:pt x="1293" y="712"/>
                </a:lnTo>
                <a:lnTo>
                  <a:pt x="1285" y="714"/>
                </a:lnTo>
                <a:lnTo>
                  <a:pt x="1280" y="714"/>
                </a:lnTo>
                <a:lnTo>
                  <a:pt x="1274" y="714"/>
                </a:lnTo>
                <a:lnTo>
                  <a:pt x="1268" y="712"/>
                </a:lnTo>
                <a:lnTo>
                  <a:pt x="1263" y="710"/>
                </a:lnTo>
                <a:lnTo>
                  <a:pt x="1260" y="707"/>
                </a:lnTo>
                <a:lnTo>
                  <a:pt x="1256" y="703"/>
                </a:lnTo>
                <a:lnTo>
                  <a:pt x="1254" y="698"/>
                </a:lnTo>
                <a:lnTo>
                  <a:pt x="1250" y="688"/>
                </a:lnTo>
                <a:lnTo>
                  <a:pt x="1247" y="675"/>
                </a:lnTo>
                <a:lnTo>
                  <a:pt x="1246" y="661"/>
                </a:lnTo>
                <a:lnTo>
                  <a:pt x="1245" y="646"/>
                </a:lnTo>
                <a:lnTo>
                  <a:pt x="1245" y="646"/>
                </a:lnTo>
                <a:lnTo>
                  <a:pt x="1246" y="636"/>
                </a:lnTo>
                <a:lnTo>
                  <a:pt x="1247" y="627"/>
                </a:lnTo>
                <a:lnTo>
                  <a:pt x="1251" y="618"/>
                </a:lnTo>
                <a:lnTo>
                  <a:pt x="1253" y="611"/>
                </a:lnTo>
                <a:lnTo>
                  <a:pt x="1261" y="597"/>
                </a:lnTo>
                <a:lnTo>
                  <a:pt x="1267" y="583"/>
                </a:lnTo>
                <a:lnTo>
                  <a:pt x="1267" y="583"/>
                </a:lnTo>
                <a:lnTo>
                  <a:pt x="1259" y="580"/>
                </a:lnTo>
                <a:lnTo>
                  <a:pt x="1254" y="577"/>
                </a:lnTo>
                <a:lnTo>
                  <a:pt x="1250" y="574"/>
                </a:lnTo>
                <a:lnTo>
                  <a:pt x="1246" y="571"/>
                </a:lnTo>
                <a:lnTo>
                  <a:pt x="1244" y="566"/>
                </a:lnTo>
                <a:lnTo>
                  <a:pt x="1242" y="560"/>
                </a:lnTo>
                <a:lnTo>
                  <a:pt x="1242" y="554"/>
                </a:lnTo>
                <a:lnTo>
                  <a:pt x="1242" y="554"/>
                </a:lnTo>
                <a:lnTo>
                  <a:pt x="1242" y="550"/>
                </a:lnTo>
                <a:lnTo>
                  <a:pt x="1243" y="546"/>
                </a:lnTo>
                <a:lnTo>
                  <a:pt x="1248" y="537"/>
                </a:lnTo>
                <a:lnTo>
                  <a:pt x="1256" y="528"/>
                </a:lnTo>
                <a:lnTo>
                  <a:pt x="1266" y="518"/>
                </a:lnTo>
                <a:lnTo>
                  <a:pt x="1275" y="507"/>
                </a:lnTo>
                <a:lnTo>
                  <a:pt x="1283" y="496"/>
                </a:lnTo>
                <a:lnTo>
                  <a:pt x="1286" y="489"/>
                </a:lnTo>
                <a:lnTo>
                  <a:pt x="1290" y="483"/>
                </a:lnTo>
                <a:lnTo>
                  <a:pt x="1292" y="476"/>
                </a:lnTo>
                <a:lnTo>
                  <a:pt x="1293" y="469"/>
                </a:lnTo>
                <a:lnTo>
                  <a:pt x="1293" y="469"/>
                </a:lnTo>
                <a:lnTo>
                  <a:pt x="1293" y="447"/>
                </a:lnTo>
                <a:lnTo>
                  <a:pt x="1293" y="447"/>
                </a:lnTo>
                <a:lnTo>
                  <a:pt x="1293" y="442"/>
                </a:lnTo>
                <a:lnTo>
                  <a:pt x="1294" y="437"/>
                </a:lnTo>
                <a:lnTo>
                  <a:pt x="1299" y="427"/>
                </a:lnTo>
                <a:lnTo>
                  <a:pt x="1305" y="419"/>
                </a:lnTo>
                <a:lnTo>
                  <a:pt x="1311" y="412"/>
                </a:lnTo>
                <a:lnTo>
                  <a:pt x="1317" y="405"/>
                </a:lnTo>
                <a:lnTo>
                  <a:pt x="1323" y="398"/>
                </a:lnTo>
                <a:lnTo>
                  <a:pt x="1328" y="390"/>
                </a:lnTo>
                <a:lnTo>
                  <a:pt x="1329" y="386"/>
                </a:lnTo>
                <a:lnTo>
                  <a:pt x="1329" y="382"/>
                </a:lnTo>
                <a:lnTo>
                  <a:pt x="1329" y="382"/>
                </a:lnTo>
                <a:lnTo>
                  <a:pt x="1329" y="376"/>
                </a:lnTo>
                <a:lnTo>
                  <a:pt x="1328" y="373"/>
                </a:lnTo>
                <a:lnTo>
                  <a:pt x="1326" y="369"/>
                </a:lnTo>
                <a:lnTo>
                  <a:pt x="1322" y="367"/>
                </a:lnTo>
                <a:lnTo>
                  <a:pt x="1315" y="363"/>
                </a:lnTo>
                <a:lnTo>
                  <a:pt x="1307" y="360"/>
                </a:lnTo>
                <a:lnTo>
                  <a:pt x="1299" y="358"/>
                </a:lnTo>
                <a:lnTo>
                  <a:pt x="1296" y="355"/>
                </a:lnTo>
                <a:lnTo>
                  <a:pt x="1292" y="353"/>
                </a:lnTo>
                <a:lnTo>
                  <a:pt x="1289" y="350"/>
                </a:lnTo>
                <a:lnTo>
                  <a:pt x="1288" y="345"/>
                </a:lnTo>
                <a:lnTo>
                  <a:pt x="1285" y="340"/>
                </a:lnTo>
                <a:lnTo>
                  <a:pt x="1285" y="334"/>
                </a:lnTo>
                <a:lnTo>
                  <a:pt x="1285" y="334"/>
                </a:lnTo>
                <a:lnTo>
                  <a:pt x="1286" y="328"/>
                </a:lnTo>
                <a:lnTo>
                  <a:pt x="1290" y="322"/>
                </a:lnTo>
                <a:lnTo>
                  <a:pt x="1294" y="316"/>
                </a:lnTo>
                <a:lnTo>
                  <a:pt x="1300" y="312"/>
                </a:lnTo>
                <a:lnTo>
                  <a:pt x="1300" y="312"/>
                </a:lnTo>
                <a:lnTo>
                  <a:pt x="1359" y="312"/>
                </a:lnTo>
                <a:lnTo>
                  <a:pt x="1359" y="312"/>
                </a:lnTo>
                <a:lnTo>
                  <a:pt x="1359" y="312"/>
                </a:lnTo>
                <a:lnTo>
                  <a:pt x="1372" y="307"/>
                </a:lnTo>
                <a:lnTo>
                  <a:pt x="1387" y="301"/>
                </a:lnTo>
                <a:lnTo>
                  <a:pt x="1392" y="297"/>
                </a:lnTo>
                <a:lnTo>
                  <a:pt x="1398" y="292"/>
                </a:lnTo>
                <a:lnTo>
                  <a:pt x="1401" y="286"/>
                </a:lnTo>
                <a:lnTo>
                  <a:pt x="1403" y="283"/>
                </a:lnTo>
                <a:lnTo>
                  <a:pt x="1403" y="279"/>
                </a:lnTo>
                <a:lnTo>
                  <a:pt x="1403" y="279"/>
                </a:lnTo>
                <a:lnTo>
                  <a:pt x="1403" y="273"/>
                </a:lnTo>
                <a:lnTo>
                  <a:pt x="1400" y="266"/>
                </a:lnTo>
                <a:lnTo>
                  <a:pt x="1393" y="246"/>
                </a:lnTo>
                <a:lnTo>
                  <a:pt x="1384" y="224"/>
                </a:lnTo>
                <a:lnTo>
                  <a:pt x="1373" y="202"/>
                </a:lnTo>
                <a:lnTo>
                  <a:pt x="1360" y="180"/>
                </a:lnTo>
                <a:lnTo>
                  <a:pt x="1347" y="163"/>
                </a:lnTo>
                <a:lnTo>
                  <a:pt x="1342" y="156"/>
                </a:lnTo>
                <a:lnTo>
                  <a:pt x="1336" y="152"/>
                </a:lnTo>
                <a:lnTo>
                  <a:pt x="1330" y="148"/>
                </a:lnTo>
                <a:lnTo>
                  <a:pt x="1326" y="147"/>
                </a:lnTo>
                <a:lnTo>
                  <a:pt x="1326" y="147"/>
                </a:lnTo>
                <a:lnTo>
                  <a:pt x="1321" y="147"/>
                </a:lnTo>
                <a:lnTo>
                  <a:pt x="1317" y="148"/>
                </a:lnTo>
                <a:lnTo>
                  <a:pt x="1309" y="152"/>
                </a:lnTo>
                <a:lnTo>
                  <a:pt x="1304" y="156"/>
                </a:lnTo>
                <a:lnTo>
                  <a:pt x="1298" y="163"/>
                </a:lnTo>
                <a:lnTo>
                  <a:pt x="1289" y="176"/>
                </a:lnTo>
                <a:lnTo>
                  <a:pt x="1283" y="182"/>
                </a:lnTo>
                <a:lnTo>
                  <a:pt x="1278" y="186"/>
                </a:lnTo>
                <a:lnTo>
                  <a:pt x="1278" y="186"/>
                </a:lnTo>
                <a:lnTo>
                  <a:pt x="1273" y="192"/>
                </a:lnTo>
                <a:lnTo>
                  <a:pt x="1267" y="195"/>
                </a:lnTo>
                <a:lnTo>
                  <a:pt x="1255" y="200"/>
                </a:lnTo>
                <a:lnTo>
                  <a:pt x="1250" y="202"/>
                </a:lnTo>
                <a:lnTo>
                  <a:pt x="1244" y="206"/>
                </a:lnTo>
                <a:lnTo>
                  <a:pt x="1238" y="210"/>
                </a:lnTo>
                <a:lnTo>
                  <a:pt x="1235" y="216"/>
                </a:lnTo>
                <a:lnTo>
                  <a:pt x="1235" y="216"/>
                </a:lnTo>
                <a:lnTo>
                  <a:pt x="1229" y="224"/>
                </a:lnTo>
                <a:lnTo>
                  <a:pt x="1225" y="233"/>
                </a:lnTo>
                <a:lnTo>
                  <a:pt x="1221" y="253"/>
                </a:lnTo>
                <a:lnTo>
                  <a:pt x="1217" y="263"/>
                </a:lnTo>
                <a:lnTo>
                  <a:pt x="1214" y="274"/>
                </a:lnTo>
                <a:lnTo>
                  <a:pt x="1208" y="282"/>
                </a:lnTo>
                <a:lnTo>
                  <a:pt x="1201" y="290"/>
                </a:lnTo>
                <a:lnTo>
                  <a:pt x="1201" y="290"/>
                </a:lnTo>
                <a:lnTo>
                  <a:pt x="1192" y="294"/>
                </a:lnTo>
                <a:lnTo>
                  <a:pt x="1183" y="298"/>
                </a:lnTo>
                <a:lnTo>
                  <a:pt x="1172" y="304"/>
                </a:lnTo>
                <a:lnTo>
                  <a:pt x="1168" y="307"/>
                </a:lnTo>
                <a:lnTo>
                  <a:pt x="1164" y="312"/>
                </a:lnTo>
                <a:lnTo>
                  <a:pt x="1164" y="312"/>
                </a:lnTo>
                <a:lnTo>
                  <a:pt x="1160" y="315"/>
                </a:lnTo>
                <a:lnTo>
                  <a:pt x="1158" y="319"/>
                </a:lnTo>
                <a:lnTo>
                  <a:pt x="1152" y="328"/>
                </a:lnTo>
                <a:lnTo>
                  <a:pt x="1149" y="331"/>
                </a:lnTo>
                <a:lnTo>
                  <a:pt x="1145" y="335"/>
                </a:lnTo>
                <a:lnTo>
                  <a:pt x="1140" y="337"/>
                </a:lnTo>
                <a:lnTo>
                  <a:pt x="1135" y="337"/>
                </a:lnTo>
                <a:lnTo>
                  <a:pt x="1135" y="337"/>
                </a:lnTo>
                <a:lnTo>
                  <a:pt x="1126" y="337"/>
                </a:lnTo>
                <a:lnTo>
                  <a:pt x="1121" y="336"/>
                </a:lnTo>
                <a:lnTo>
                  <a:pt x="1115" y="334"/>
                </a:lnTo>
                <a:lnTo>
                  <a:pt x="1109" y="330"/>
                </a:lnTo>
                <a:lnTo>
                  <a:pt x="1101" y="323"/>
                </a:lnTo>
                <a:lnTo>
                  <a:pt x="1094" y="315"/>
                </a:lnTo>
                <a:lnTo>
                  <a:pt x="1087" y="307"/>
                </a:lnTo>
                <a:lnTo>
                  <a:pt x="1079" y="300"/>
                </a:lnTo>
                <a:lnTo>
                  <a:pt x="1075" y="298"/>
                </a:lnTo>
                <a:lnTo>
                  <a:pt x="1069" y="296"/>
                </a:lnTo>
                <a:lnTo>
                  <a:pt x="1062" y="294"/>
                </a:lnTo>
                <a:lnTo>
                  <a:pt x="1054" y="294"/>
                </a:lnTo>
                <a:lnTo>
                  <a:pt x="1054" y="294"/>
                </a:lnTo>
                <a:lnTo>
                  <a:pt x="1048" y="294"/>
                </a:lnTo>
                <a:lnTo>
                  <a:pt x="1042" y="297"/>
                </a:lnTo>
                <a:lnTo>
                  <a:pt x="1038" y="300"/>
                </a:lnTo>
                <a:lnTo>
                  <a:pt x="1033" y="302"/>
                </a:lnTo>
                <a:lnTo>
                  <a:pt x="1029" y="306"/>
                </a:lnTo>
                <a:lnTo>
                  <a:pt x="1024" y="309"/>
                </a:lnTo>
                <a:lnTo>
                  <a:pt x="1017" y="312"/>
                </a:lnTo>
                <a:lnTo>
                  <a:pt x="1010" y="312"/>
                </a:lnTo>
                <a:lnTo>
                  <a:pt x="1010" y="312"/>
                </a:lnTo>
                <a:lnTo>
                  <a:pt x="1003" y="312"/>
                </a:lnTo>
                <a:lnTo>
                  <a:pt x="996" y="310"/>
                </a:lnTo>
                <a:lnTo>
                  <a:pt x="990" y="307"/>
                </a:lnTo>
                <a:lnTo>
                  <a:pt x="985" y="305"/>
                </a:lnTo>
                <a:lnTo>
                  <a:pt x="980" y="300"/>
                </a:lnTo>
                <a:lnTo>
                  <a:pt x="976" y="294"/>
                </a:lnTo>
                <a:lnTo>
                  <a:pt x="973" y="289"/>
                </a:lnTo>
                <a:lnTo>
                  <a:pt x="973" y="283"/>
                </a:lnTo>
                <a:lnTo>
                  <a:pt x="973" y="283"/>
                </a:lnTo>
                <a:lnTo>
                  <a:pt x="975" y="274"/>
                </a:lnTo>
                <a:lnTo>
                  <a:pt x="977" y="266"/>
                </a:lnTo>
                <a:lnTo>
                  <a:pt x="981" y="259"/>
                </a:lnTo>
                <a:lnTo>
                  <a:pt x="986" y="252"/>
                </a:lnTo>
                <a:lnTo>
                  <a:pt x="991" y="245"/>
                </a:lnTo>
                <a:lnTo>
                  <a:pt x="995" y="237"/>
                </a:lnTo>
                <a:lnTo>
                  <a:pt x="998" y="229"/>
                </a:lnTo>
                <a:lnTo>
                  <a:pt x="999" y="221"/>
                </a:lnTo>
                <a:lnTo>
                  <a:pt x="999" y="221"/>
                </a:lnTo>
                <a:lnTo>
                  <a:pt x="999" y="215"/>
                </a:lnTo>
                <a:lnTo>
                  <a:pt x="996" y="210"/>
                </a:lnTo>
                <a:lnTo>
                  <a:pt x="992" y="203"/>
                </a:lnTo>
                <a:lnTo>
                  <a:pt x="986" y="194"/>
                </a:lnTo>
                <a:lnTo>
                  <a:pt x="985" y="190"/>
                </a:lnTo>
                <a:lnTo>
                  <a:pt x="984" y="183"/>
                </a:lnTo>
                <a:lnTo>
                  <a:pt x="984" y="183"/>
                </a:lnTo>
                <a:lnTo>
                  <a:pt x="985" y="179"/>
                </a:lnTo>
                <a:lnTo>
                  <a:pt x="986" y="176"/>
                </a:lnTo>
                <a:lnTo>
                  <a:pt x="992" y="170"/>
                </a:lnTo>
                <a:lnTo>
                  <a:pt x="998" y="164"/>
                </a:lnTo>
                <a:lnTo>
                  <a:pt x="1001" y="161"/>
                </a:lnTo>
                <a:lnTo>
                  <a:pt x="1002" y="157"/>
                </a:lnTo>
                <a:lnTo>
                  <a:pt x="1002" y="157"/>
                </a:lnTo>
                <a:lnTo>
                  <a:pt x="1011" y="130"/>
                </a:lnTo>
                <a:lnTo>
                  <a:pt x="1019" y="100"/>
                </a:lnTo>
                <a:lnTo>
                  <a:pt x="1023" y="85"/>
                </a:lnTo>
                <a:lnTo>
                  <a:pt x="1026" y="70"/>
                </a:lnTo>
                <a:lnTo>
                  <a:pt x="1028" y="55"/>
                </a:lnTo>
                <a:lnTo>
                  <a:pt x="1029" y="40"/>
                </a:lnTo>
                <a:lnTo>
                  <a:pt x="1029" y="40"/>
                </a:lnTo>
                <a:lnTo>
                  <a:pt x="1028" y="30"/>
                </a:lnTo>
                <a:lnTo>
                  <a:pt x="1026" y="22"/>
                </a:lnTo>
                <a:lnTo>
                  <a:pt x="1024" y="15"/>
                </a:lnTo>
                <a:lnTo>
                  <a:pt x="1021" y="9"/>
                </a:lnTo>
                <a:lnTo>
                  <a:pt x="1015" y="4"/>
                </a:lnTo>
                <a:lnTo>
                  <a:pt x="1008" y="2"/>
                </a:lnTo>
                <a:lnTo>
                  <a:pt x="999" y="1"/>
                </a:lnTo>
                <a:lnTo>
                  <a:pt x="987" y="0"/>
                </a:lnTo>
                <a:lnTo>
                  <a:pt x="987" y="0"/>
                </a:lnTo>
                <a:lnTo>
                  <a:pt x="979" y="0"/>
                </a:lnTo>
                <a:lnTo>
                  <a:pt x="971" y="1"/>
                </a:lnTo>
                <a:lnTo>
                  <a:pt x="963" y="3"/>
                </a:lnTo>
                <a:lnTo>
                  <a:pt x="956" y="6"/>
                </a:lnTo>
                <a:lnTo>
                  <a:pt x="944" y="11"/>
                </a:lnTo>
                <a:lnTo>
                  <a:pt x="932" y="21"/>
                </a:lnTo>
                <a:lnTo>
                  <a:pt x="922" y="30"/>
                </a:lnTo>
                <a:lnTo>
                  <a:pt x="911" y="40"/>
                </a:lnTo>
                <a:lnTo>
                  <a:pt x="893" y="62"/>
                </a:lnTo>
                <a:lnTo>
                  <a:pt x="893" y="62"/>
                </a:lnTo>
                <a:lnTo>
                  <a:pt x="866" y="62"/>
                </a:lnTo>
                <a:lnTo>
                  <a:pt x="866" y="62"/>
                </a:lnTo>
                <a:lnTo>
                  <a:pt x="866" y="62"/>
                </a:lnTo>
                <a:lnTo>
                  <a:pt x="854" y="68"/>
                </a:lnTo>
                <a:lnTo>
                  <a:pt x="843" y="73"/>
                </a:lnTo>
                <a:lnTo>
                  <a:pt x="833" y="80"/>
                </a:lnTo>
                <a:lnTo>
                  <a:pt x="824" y="87"/>
                </a:lnTo>
                <a:lnTo>
                  <a:pt x="816" y="94"/>
                </a:lnTo>
                <a:lnTo>
                  <a:pt x="808" y="102"/>
                </a:lnTo>
                <a:lnTo>
                  <a:pt x="794" y="119"/>
                </a:lnTo>
                <a:lnTo>
                  <a:pt x="780" y="137"/>
                </a:lnTo>
                <a:lnTo>
                  <a:pt x="765" y="154"/>
                </a:lnTo>
                <a:lnTo>
                  <a:pt x="757" y="163"/>
                </a:lnTo>
                <a:lnTo>
                  <a:pt x="748" y="171"/>
                </a:lnTo>
                <a:lnTo>
                  <a:pt x="739" y="179"/>
                </a:lnTo>
                <a:lnTo>
                  <a:pt x="727" y="186"/>
                </a:lnTo>
                <a:lnTo>
                  <a:pt x="727" y="186"/>
                </a:lnTo>
                <a:lnTo>
                  <a:pt x="723" y="190"/>
                </a:lnTo>
                <a:lnTo>
                  <a:pt x="718" y="193"/>
                </a:lnTo>
                <a:lnTo>
                  <a:pt x="708" y="197"/>
                </a:lnTo>
                <a:lnTo>
                  <a:pt x="695" y="200"/>
                </a:lnTo>
                <a:lnTo>
                  <a:pt x="683" y="201"/>
                </a:lnTo>
                <a:lnTo>
                  <a:pt x="672" y="203"/>
                </a:lnTo>
                <a:lnTo>
                  <a:pt x="660" y="207"/>
                </a:lnTo>
                <a:lnTo>
                  <a:pt x="650" y="210"/>
                </a:lnTo>
                <a:lnTo>
                  <a:pt x="647" y="213"/>
                </a:lnTo>
                <a:lnTo>
                  <a:pt x="642" y="216"/>
                </a:lnTo>
                <a:lnTo>
                  <a:pt x="642" y="216"/>
                </a:lnTo>
                <a:lnTo>
                  <a:pt x="622" y="238"/>
                </a:lnTo>
                <a:lnTo>
                  <a:pt x="612" y="248"/>
                </a:lnTo>
                <a:lnTo>
                  <a:pt x="601" y="259"/>
                </a:lnTo>
                <a:lnTo>
                  <a:pt x="588" y="268"/>
                </a:lnTo>
                <a:lnTo>
                  <a:pt x="581" y="273"/>
                </a:lnTo>
                <a:lnTo>
                  <a:pt x="574" y="276"/>
                </a:lnTo>
                <a:lnTo>
                  <a:pt x="566" y="278"/>
                </a:lnTo>
                <a:lnTo>
                  <a:pt x="558" y="281"/>
                </a:lnTo>
                <a:lnTo>
                  <a:pt x="549" y="282"/>
                </a:lnTo>
                <a:lnTo>
                  <a:pt x="540" y="283"/>
                </a:lnTo>
                <a:lnTo>
                  <a:pt x="540" y="283"/>
                </a:lnTo>
                <a:lnTo>
                  <a:pt x="529" y="283"/>
                </a:lnTo>
                <a:lnTo>
                  <a:pt x="520" y="284"/>
                </a:lnTo>
                <a:lnTo>
                  <a:pt x="503" y="287"/>
                </a:lnTo>
                <a:lnTo>
                  <a:pt x="488" y="293"/>
                </a:lnTo>
                <a:lnTo>
                  <a:pt x="473" y="299"/>
                </a:lnTo>
                <a:lnTo>
                  <a:pt x="458" y="305"/>
                </a:lnTo>
                <a:lnTo>
                  <a:pt x="444" y="310"/>
                </a:lnTo>
                <a:lnTo>
                  <a:pt x="428" y="314"/>
                </a:lnTo>
                <a:lnTo>
                  <a:pt x="420" y="315"/>
                </a:lnTo>
                <a:lnTo>
                  <a:pt x="411" y="315"/>
                </a:lnTo>
                <a:lnTo>
                  <a:pt x="411" y="315"/>
                </a:lnTo>
                <a:lnTo>
                  <a:pt x="403" y="315"/>
                </a:lnTo>
                <a:lnTo>
                  <a:pt x="396" y="314"/>
                </a:lnTo>
                <a:lnTo>
                  <a:pt x="389" y="312"/>
                </a:lnTo>
                <a:lnTo>
                  <a:pt x="383" y="309"/>
                </a:lnTo>
                <a:lnTo>
                  <a:pt x="373" y="302"/>
                </a:lnTo>
                <a:lnTo>
                  <a:pt x="362" y="296"/>
                </a:lnTo>
                <a:lnTo>
                  <a:pt x="353" y="287"/>
                </a:lnTo>
                <a:lnTo>
                  <a:pt x="343" y="282"/>
                </a:lnTo>
                <a:lnTo>
                  <a:pt x="337" y="278"/>
                </a:lnTo>
                <a:lnTo>
                  <a:pt x="332" y="277"/>
                </a:lnTo>
                <a:lnTo>
                  <a:pt x="326" y="276"/>
                </a:lnTo>
                <a:lnTo>
                  <a:pt x="319" y="275"/>
                </a:lnTo>
                <a:lnTo>
                  <a:pt x="319" y="275"/>
                </a:lnTo>
                <a:lnTo>
                  <a:pt x="307" y="276"/>
                </a:lnTo>
                <a:lnTo>
                  <a:pt x="297" y="278"/>
                </a:lnTo>
                <a:lnTo>
                  <a:pt x="286" y="281"/>
                </a:lnTo>
                <a:lnTo>
                  <a:pt x="276" y="284"/>
                </a:lnTo>
                <a:lnTo>
                  <a:pt x="258" y="291"/>
                </a:lnTo>
                <a:lnTo>
                  <a:pt x="248" y="293"/>
                </a:lnTo>
                <a:lnTo>
                  <a:pt x="238" y="294"/>
                </a:lnTo>
                <a:lnTo>
                  <a:pt x="238" y="294"/>
                </a:lnTo>
                <a:lnTo>
                  <a:pt x="95" y="294"/>
                </a:lnTo>
                <a:lnTo>
                  <a:pt x="95" y="294"/>
                </a:lnTo>
                <a:lnTo>
                  <a:pt x="80" y="296"/>
                </a:lnTo>
                <a:lnTo>
                  <a:pt x="68" y="298"/>
                </a:lnTo>
                <a:lnTo>
                  <a:pt x="56" y="304"/>
                </a:lnTo>
                <a:lnTo>
                  <a:pt x="47" y="309"/>
                </a:lnTo>
                <a:lnTo>
                  <a:pt x="38" y="316"/>
                </a:lnTo>
                <a:lnTo>
                  <a:pt x="31" y="324"/>
                </a:lnTo>
                <a:lnTo>
                  <a:pt x="24" y="334"/>
                </a:lnTo>
                <a:lnTo>
                  <a:pt x="18" y="342"/>
                </a:lnTo>
                <a:lnTo>
                  <a:pt x="18" y="342"/>
                </a:lnTo>
                <a:lnTo>
                  <a:pt x="15" y="340"/>
                </a:lnTo>
                <a:lnTo>
                  <a:pt x="13" y="339"/>
                </a:lnTo>
                <a:lnTo>
                  <a:pt x="13" y="338"/>
                </a:lnTo>
                <a:lnTo>
                  <a:pt x="10" y="337"/>
                </a:lnTo>
                <a:lnTo>
                  <a:pt x="10" y="337"/>
                </a:lnTo>
                <a:lnTo>
                  <a:pt x="7" y="344"/>
                </a:lnTo>
                <a:lnTo>
                  <a:pt x="5" y="350"/>
                </a:lnTo>
                <a:lnTo>
                  <a:pt x="1" y="358"/>
                </a:lnTo>
                <a:lnTo>
                  <a:pt x="0" y="367"/>
                </a:lnTo>
                <a:lnTo>
                  <a:pt x="1" y="371"/>
                </a:lnTo>
                <a:lnTo>
                  <a:pt x="1" y="376"/>
                </a:lnTo>
                <a:lnTo>
                  <a:pt x="3" y="381"/>
                </a:lnTo>
                <a:lnTo>
                  <a:pt x="6" y="385"/>
                </a:lnTo>
                <a:lnTo>
                  <a:pt x="10" y="389"/>
                </a:lnTo>
                <a:lnTo>
                  <a:pt x="15" y="392"/>
                </a:lnTo>
                <a:lnTo>
                  <a:pt x="15" y="392"/>
                </a:lnTo>
                <a:lnTo>
                  <a:pt x="25" y="397"/>
                </a:lnTo>
                <a:lnTo>
                  <a:pt x="32" y="399"/>
                </a:lnTo>
                <a:lnTo>
                  <a:pt x="39" y="400"/>
                </a:lnTo>
                <a:lnTo>
                  <a:pt x="41" y="400"/>
                </a:lnTo>
                <a:lnTo>
                  <a:pt x="44" y="401"/>
                </a:lnTo>
                <a:lnTo>
                  <a:pt x="54" y="407"/>
                </a:lnTo>
                <a:lnTo>
                  <a:pt x="54" y="407"/>
                </a:lnTo>
                <a:lnTo>
                  <a:pt x="63" y="412"/>
                </a:lnTo>
                <a:lnTo>
                  <a:pt x="70" y="414"/>
                </a:lnTo>
                <a:lnTo>
                  <a:pt x="80" y="418"/>
                </a:lnTo>
                <a:lnTo>
                  <a:pt x="83" y="420"/>
                </a:lnTo>
                <a:lnTo>
                  <a:pt x="83" y="423"/>
                </a:lnTo>
                <a:lnTo>
                  <a:pt x="79" y="429"/>
                </a:lnTo>
                <a:lnTo>
                  <a:pt x="72" y="437"/>
                </a:lnTo>
                <a:lnTo>
                  <a:pt x="72" y="437"/>
                </a:lnTo>
                <a:lnTo>
                  <a:pt x="69" y="442"/>
                </a:lnTo>
                <a:lnTo>
                  <a:pt x="67" y="447"/>
                </a:lnTo>
                <a:lnTo>
                  <a:pt x="66" y="452"/>
                </a:lnTo>
                <a:lnTo>
                  <a:pt x="66" y="458"/>
                </a:lnTo>
                <a:lnTo>
                  <a:pt x="67" y="461"/>
                </a:lnTo>
                <a:lnTo>
                  <a:pt x="69" y="466"/>
                </a:lnTo>
                <a:lnTo>
                  <a:pt x="71" y="468"/>
                </a:lnTo>
                <a:lnTo>
                  <a:pt x="75" y="472"/>
                </a:lnTo>
                <a:lnTo>
                  <a:pt x="78" y="473"/>
                </a:lnTo>
                <a:lnTo>
                  <a:pt x="83" y="474"/>
                </a:lnTo>
                <a:lnTo>
                  <a:pt x="87" y="474"/>
                </a:lnTo>
                <a:lnTo>
                  <a:pt x="93" y="474"/>
                </a:lnTo>
                <a:lnTo>
                  <a:pt x="99" y="472"/>
                </a:lnTo>
                <a:lnTo>
                  <a:pt x="105" y="469"/>
                </a:lnTo>
                <a:lnTo>
                  <a:pt x="110" y="465"/>
                </a:lnTo>
                <a:lnTo>
                  <a:pt x="117" y="459"/>
                </a:lnTo>
                <a:lnTo>
                  <a:pt x="117" y="459"/>
                </a:lnTo>
                <a:lnTo>
                  <a:pt x="128" y="449"/>
                </a:lnTo>
                <a:lnTo>
                  <a:pt x="137" y="441"/>
                </a:lnTo>
                <a:lnTo>
                  <a:pt x="144" y="436"/>
                </a:lnTo>
                <a:lnTo>
                  <a:pt x="152" y="435"/>
                </a:lnTo>
                <a:lnTo>
                  <a:pt x="154" y="435"/>
                </a:lnTo>
                <a:lnTo>
                  <a:pt x="158" y="436"/>
                </a:lnTo>
                <a:lnTo>
                  <a:pt x="163" y="441"/>
                </a:lnTo>
                <a:lnTo>
                  <a:pt x="168" y="446"/>
                </a:lnTo>
                <a:lnTo>
                  <a:pt x="173" y="454"/>
                </a:lnTo>
                <a:lnTo>
                  <a:pt x="173" y="454"/>
                </a:lnTo>
                <a:lnTo>
                  <a:pt x="183" y="472"/>
                </a:lnTo>
                <a:lnTo>
                  <a:pt x="187" y="477"/>
                </a:lnTo>
                <a:lnTo>
                  <a:pt x="192" y="481"/>
                </a:lnTo>
                <a:lnTo>
                  <a:pt x="198" y="483"/>
                </a:lnTo>
                <a:lnTo>
                  <a:pt x="202" y="482"/>
                </a:lnTo>
                <a:lnTo>
                  <a:pt x="207" y="480"/>
                </a:lnTo>
                <a:lnTo>
                  <a:pt x="213" y="474"/>
                </a:lnTo>
                <a:lnTo>
                  <a:pt x="213" y="474"/>
                </a:lnTo>
                <a:lnTo>
                  <a:pt x="219" y="469"/>
                </a:lnTo>
                <a:lnTo>
                  <a:pt x="223" y="467"/>
                </a:lnTo>
                <a:lnTo>
                  <a:pt x="228" y="467"/>
                </a:lnTo>
                <a:lnTo>
                  <a:pt x="234" y="468"/>
                </a:lnTo>
                <a:lnTo>
                  <a:pt x="238" y="473"/>
                </a:lnTo>
                <a:lnTo>
                  <a:pt x="243" y="480"/>
                </a:lnTo>
                <a:lnTo>
                  <a:pt x="248" y="488"/>
                </a:lnTo>
                <a:lnTo>
                  <a:pt x="253" y="499"/>
                </a:lnTo>
                <a:lnTo>
                  <a:pt x="253" y="499"/>
                </a:lnTo>
                <a:lnTo>
                  <a:pt x="265" y="519"/>
                </a:lnTo>
                <a:lnTo>
                  <a:pt x="269" y="528"/>
                </a:lnTo>
                <a:lnTo>
                  <a:pt x="271" y="536"/>
                </a:lnTo>
                <a:lnTo>
                  <a:pt x="274" y="543"/>
                </a:lnTo>
                <a:lnTo>
                  <a:pt x="274" y="550"/>
                </a:lnTo>
                <a:lnTo>
                  <a:pt x="274" y="557"/>
                </a:lnTo>
                <a:lnTo>
                  <a:pt x="271" y="562"/>
                </a:lnTo>
                <a:lnTo>
                  <a:pt x="271" y="562"/>
                </a:lnTo>
                <a:lnTo>
                  <a:pt x="269" y="566"/>
                </a:lnTo>
                <a:lnTo>
                  <a:pt x="269" y="569"/>
                </a:lnTo>
                <a:lnTo>
                  <a:pt x="271" y="572"/>
                </a:lnTo>
                <a:lnTo>
                  <a:pt x="275" y="575"/>
                </a:lnTo>
                <a:lnTo>
                  <a:pt x="284" y="582"/>
                </a:lnTo>
                <a:lnTo>
                  <a:pt x="298" y="591"/>
                </a:lnTo>
                <a:lnTo>
                  <a:pt x="298" y="591"/>
                </a:lnTo>
                <a:lnTo>
                  <a:pt x="309" y="602"/>
                </a:lnTo>
                <a:lnTo>
                  <a:pt x="314" y="606"/>
                </a:lnTo>
                <a:lnTo>
                  <a:pt x="316" y="611"/>
                </a:lnTo>
                <a:lnTo>
                  <a:pt x="316" y="614"/>
                </a:lnTo>
                <a:lnTo>
                  <a:pt x="315" y="618"/>
                </a:lnTo>
                <a:lnTo>
                  <a:pt x="312" y="621"/>
                </a:lnTo>
                <a:lnTo>
                  <a:pt x="305" y="625"/>
                </a:lnTo>
                <a:lnTo>
                  <a:pt x="305" y="625"/>
                </a:lnTo>
                <a:lnTo>
                  <a:pt x="297" y="627"/>
                </a:lnTo>
                <a:lnTo>
                  <a:pt x="292" y="630"/>
                </a:lnTo>
                <a:lnTo>
                  <a:pt x="289" y="634"/>
                </a:lnTo>
                <a:lnTo>
                  <a:pt x="289" y="638"/>
                </a:lnTo>
                <a:lnTo>
                  <a:pt x="289" y="643"/>
                </a:lnTo>
                <a:lnTo>
                  <a:pt x="292" y="649"/>
                </a:lnTo>
                <a:lnTo>
                  <a:pt x="297" y="655"/>
                </a:lnTo>
                <a:lnTo>
                  <a:pt x="305" y="660"/>
                </a:lnTo>
                <a:lnTo>
                  <a:pt x="305" y="660"/>
                </a:lnTo>
                <a:lnTo>
                  <a:pt x="315" y="673"/>
                </a:lnTo>
                <a:lnTo>
                  <a:pt x="323" y="683"/>
                </a:lnTo>
                <a:lnTo>
                  <a:pt x="330" y="693"/>
                </a:lnTo>
                <a:lnTo>
                  <a:pt x="335" y="697"/>
                </a:lnTo>
                <a:lnTo>
                  <a:pt x="342" y="702"/>
                </a:lnTo>
                <a:lnTo>
                  <a:pt x="342" y="702"/>
                </a:lnTo>
                <a:lnTo>
                  <a:pt x="349" y="706"/>
                </a:lnTo>
                <a:lnTo>
                  <a:pt x="354" y="712"/>
                </a:lnTo>
                <a:lnTo>
                  <a:pt x="359" y="718"/>
                </a:lnTo>
                <a:lnTo>
                  <a:pt x="364" y="724"/>
                </a:lnTo>
                <a:lnTo>
                  <a:pt x="369" y="734"/>
                </a:lnTo>
                <a:lnTo>
                  <a:pt x="370" y="739"/>
                </a:lnTo>
                <a:lnTo>
                  <a:pt x="370" y="739"/>
                </a:lnTo>
                <a:lnTo>
                  <a:pt x="389" y="726"/>
                </a:lnTo>
                <a:lnTo>
                  <a:pt x="406" y="714"/>
                </a:lnTo>
                <a:lnTo>
                  <a:pt x="423" y="704"/>
                </a:lnTo>
                <a:lnTo>
                  <a:pt x="439" y="696"/>
                </a:lnTo>
                <a:lnTo>
                  <a:pt x="454" y="690"/>
                </a:lnTo>
                <a:lnTo>
                  <a:pt x="467" y="684"/>
                </a:lnTo>
                <a:lnTo>
                  <a:pt x="479" y="682"/>
                </a:lnTo>
                <a:lnTo>
                  <a:pt x="489" y="680"/>
                </a:lnTo>
                <a:lnTo>
                  <a:pt x="489" y="680"/>
                </a:lnTo>
                <a:lnTo>
                  <a:pt x="514" y="678"/>
                </a:lnTo>
                <a:lnTo>
                  <a:pt x="537" y="675"/>
                </a:lnTo>
                <a:lnTo>
                  <a:pt x="574" y="671"/>
                </a:lnTo>
                <a:lnTo>
                  <a:pt x="602" y="665"/>
                </a:lnTo>
                <a:lnTo>
                  <a:pt x="621" y="659"/>
                </a:lnTo>
                <a:lnTo>
                  <a:pt x="635" y="653"/>
                </a:lnTo>
                <a:lnTo>
                  <a:pt x="645" y="649"/>
                </a:lnTo>
                <a:lnTo>
                  <a:pt x="654" y="646"/>
                </a:lnTo>
                <a:lnTo>
                  <a:pt x="657" y="645"/>
                </a:lnTo>
                <a:lnTo>
                  <a:pt x="660" y="646"/>
                </a:lnTo>
                <a:lnTo>
                  <a:pt x="660" y="646"/>
                </a:lnTo>
                <a:lnTo>
                  <a:pt x="677" y="649"/>
                </a:lnTo>
                <a:lnTo>
                  <a:pt x="692" y="652"/>
                </a:lnTo>
                <a:lnTo>
                  <a:pt x="706" y="658"/>
                </a:lnTo>
                <a:lnTo>
                  <a:pt x="723" y="665"/>
                </a:lnTo>
                <a:lnTo>
                  <a:pt x="739" y="673"/>
                </a:lnTo>
                <a:lnTo>
                  <a:pt x="754" y="682"/>
                </a:lnTo>
                <a:lnTo>
                  <a:pt x="770" y="693"/>
                </a:lnTo>
                <a:lnTo>
                  <a:pt x="786" y="704"/>
                </a:lnTo>
                <a:lnTo>
                  <a:pt x="817" y="729"/>
                </a:lnTo>
                <a:lnTo>
                  <a:pt x="848" y="757"/>
                </a:lnTo>
                <a:lnTo>
                  <a:pt x="879" y="786"/>
                </a:lnTo>
                <a:lnTo>
                  <a:pt x="910" y="817"/>
                </a:lnTo>
                <a:lnTo>
                  <a:pt x="968" y="877"/>
                </a:lnTo>
                <a:lnTo>
                  <a:pt x="1022" y="933"/>
                </a:lnTo>
                <a:lnTo>
                  <a:pt x="1046" y="956"/>
                </a:lnTo>
                <a:lnTo>
                  <a:pt x="1069" y="977"/>
                </a:lnTo>
                <a:lnTo>
                  <a:pt x="1079" y="985"/>
                </a:lnTo>
                <a:lnTo>
                  <a:pt x="1090" y="992"/>
                </a:lnTo>
                <a:lnTo>
                  <a:pt x="1100" y="997"/>
                </a:lnTo>
                <a:lnTo>
                  <a:pt x="1109" y="1002"/>
                </a:lnTo>
                <a:lnTo>
                  <a:pt x="1109" y="1002"/>
                </a:lnTo>
                <a:lnTo>
                  <a:pt x="1120" y="1006"/>
                </a:lnTo>
                <a:lnTo>
                  <a:pt x="1130" y="1008"/>
                </a:lnTo>
                <a:lnTo>
                  <a:pt x="1140" y="1007"/>
                </a:lnTo>
                <a:lnTo>
                  <a:pt x="1149" y="1006"/>
                </a:lnTo>
                <a:lnTo>
                  <a:pt x="1159" y="1002"/>
                </a:lnTo>
                <a:lnTo>
                  <a:pt x="1168" y="997"/>
                </a:lnTo>
                <a:lnTo>
                  <a:pt x="1187" y="986"/>
                </a:lnTo>
                <a:lnTo>
                  <a:pt x="1206" y="974"/>
                </a:lnTo>
                <a:lnTo>
                  <a:pt x="1225" y="963"/>
                </a:lnTo>
                <a:lnTo>
                  <a:pt x="1236" y="958"/>
                </a:lnTo>
                <a:lnTo>
                  <a:pt x="1247" y="955"/>
                </a:lnTo>
                <a:lnTo>
                  <a:pt x="1259" y="953"/>
                </a:lnTo>
                <a:lnTo>
                  <a:pt x="1270" y="951"/>
                </a:lnTo>
                <a:lnTo>
                  <a:pt x="1270" y="951"/>
                </a:lnTo>
                <a:lnTo>
                  <a:pt x="1314" y="951"/>
                </a:lnTo>
                <a:lnTo>
                  <a:pt x="1351" y="953"/>
                </a:lnTo>
                <a:lnTo>
                  <a:pt x="1403" y="955"/>
                </a:lnTo>
                <a:lnTo>
                  <a:pt x="1403" y="955"/>
                </a:lnTo>
                <a:lnTo>
                  <a:pt x="1418" y="922"/>
                </a:lnTo>
                <a:lnTo>
                  <a:pt x="1426" y="870"/>
                </a:lnTo>
                <a:lnTo>
                  <a:pt x="1439" y="851"/>
                </a:lnTo>
                <a:lnTo>
                  <a:pt x="1439" y="851"/>
                </a:lnTo>
                <a:lnTo>
                  <a:pt x="1439" y="851"/>
                </a:lnTo>
                <a:lnTo>
                  <a:pt x="1439" y="851"/>
                </a:lnTo>
                <a:lnTo>
                  <a:pt x="1439" y="850"/>
                </a:lnTo>
                <a:lnTo>
                  <a:pt x="1442" y="847"/>
                </a:lnTo>
                <a:lnTo>
                  <a:pt x="1444" y="842"/>
                </a:lnTo>
                <a:lnTo>
                  <a:pt x="1444" y="841"/>
                </a:lnTo>
                <a:lnTo>
                  <a:pt x="1443" y="841"/>
                </a:lnTo>
                <a:lnTo>
                  <a:pt x="1443" y="841"/>
                </a:lnTo>
                <a:lnTo>
                  <a:pt x="1443" y="84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ct val="260000"/>
              </a:spcAft>
              <a:defRPr/>
            </a:pPr>
            <a:endParaRPr lang="ru-RU" sz="1600" b="1" dirty="0">
              <a:ln w="3175" cmpd="sng">
                <a:solidFill>
                  <a:srgbClr val="FFFFFF"/>
                </a:solidFill>
                <a:prstDash val="solid"/>
                <a:miter lim="800000"/>
              </a:ln>
              <a:solidFill>
                <a:srgbClr val="C00000"/>
              </a:solidFill>
            </a:endParaRPr>
          </a:p>
        </p:txBody>
      </p:sp>
      <p:sp>
        <p:nvSpPr>
          <p:cNvPr id="105" name="Freeform 100"/>
          <p:cNvSpPr>
            <a:spLocks/>
          </p:cNvSpPr>
          <p:nvPr/>
        </p:nvSpPr>
        <p:spPr bwMode="auto">
          <a:xfrm>
            <a:off x="2840038" y="2955925"/>
            <a:ext cx="1474787" cy="2327275"/>
          </a:xfrm>
          <a:custGeom>
            <a:avLst/>
            <a:gdLst/>
            <a:ahLst/>
            <a:cxnLst>
              <a:cxn ang="0">
                <a:pos x="1756" y="1708"/>
              </a:cxn>
              <a:cxn ang="0">
                <a:pos x="1782" y="1553"/>
              </a:cxn>
              <a:cxn ang="0">
                <a:pos x="1704" y="1391"/>
              </a:cxn>
              <a:cxn ang="0">
                <a:pos x="1649" y="1210"/>
              </a:cxn>
              <a:cxn ang="0">
                <a:pos x="1613" y="918"/>
              </a:cxn>
              <a:cxn ang="0">
                <a:pos x="1655" y="827"/>
              </a:cxn>
              <a:cxn ang="0">
                <a:pos x="1586" y="721"/>
              </a:cxn>
              <a:cxn ang="0">
                <a:pos x="1507" y="567"/>
              </a:cxn>
              <a:cxn ang="0">
                <a:pos x="1537" y="377"/>
              </a:cxn>
              <a:cxn ang="0">
                <a:pos x="1578" y="272"/>
              </a:cxn>
              <a:cxn ang="0">
                <a:pos x="1467" y="217"/>
              </a:cxn>
              <a:cxn ang="0">
                <a:pos x="1387" y="249"/>
              </a:cxn>
              <a:cxn ang="0">
                <a:pos x="1484" y="433"/>
              </a:cxn>
              <a:cxn ang="0">
                <a:pos x="1339" y="322"/>
              </a:cxn>
              <a:cxn ang="0">
                <a:pos x="1372" y="73"/>
              </a:cxn>
              <a:cxn ang="0">
                <a:pos x="1278" y="223"/>
              </a:cxn>
              <a:cxn ang="0">
                <a:pos x="1241" y="456"/>
              </a:cxn>
              <a:cxn ang="0">
                <a:pos x="1224" y="680"/>
              </a:cxn>
              <a:cxn ang="0">
                <a:pos x="1382" y="811"/>
              </a:cxn>
              <a:cxn ang="0">
                <a:pos x="1399" y="949"/>
              </a:cxn>
              <a:cxn ang="0">
                <a:pos x="1326" y="853"/>
              </a:cxn>
              <a:cxn ang="0">
                <a:pos x="1214" y="712"/>
              </a:cxn>
              <a:cxn ang="0">
                <a:pos x="1116" y="960"/>
              </a:cxn>
              <a:cxn ang="0">
                <a:pos x="925" y="1033"/>
              </a:cxn>
              <a:cxn ang="0">
                <a:pos x="836" y="935"/>
              </a:cxn>
              <a:cxn ang="0">
                <a:pos x="970" y="1007"/>
              </a:cxn>
              <a:cxn ang="0">
                <a:pos x="1154" y="775"/>
              </a:cxn>
              <a:cxn ang="0">
                <a:pos x="1193" y="398"/>
              </a:cxn>
              <a:cxn ang="0">
                <a:pos x="1207" y="215"/>
              </a:cxn>
              <a:cxn ang="0">
                <a:pos x="1211" y="48"/>
              </a:cxn>
              <a:cxn ang="0">
                <a:pos x="1050" y="120"/>
              </a:cxn>
              <a:cxn ang="0">
                <a:pos x="896" y="288"/>
              </a:cxn>
              <a:cxn ang="0">
                <a:pos x="829" y="475"/>
              </a:cxn>
              <a:cxn ang="0">
                <a:pos x="904" y="637"/>
              </a:cxn>
              <a:cxn ang="0">
                <a:pos x="771" y="540"/>
              </a:cxn>
              <a:cxn ang="0">
                <a:pos x="722" y="612"/>
              </a:cxn>
              <a:cxn ang="0">
                <a:pos x="707" y="744"/>
              </a:cxn>
              <a:cxn ang="0">
                <a:pos x="369" y="946"/>
              </a:cxn>
              <a:cxn ang="0">
                <a:pos x="224" y="994"/>
              </a:cxn>
              <a:cxn ang="0">
                <a:pos x="88" y="1177"/>
              </a:cxn>
              <a:cxn ang="0">
                <a:pos x="15" y="1408"/>
              </a:cxn>
              <a:cxn ang="0">
                <a:pos x="146" y="1590"/>
              </a:cxn>
              <a:cxn ang="0">
                <a:pos x="153" y="1860"/>
              </a:cxn>
              <a:cxn ang="0">
                <a:pos x="239" y="2018"/>
              </a:cxn>
              <a:cxn ang="0">
                <a:pos x="101" y="2245"/>
              </a:cxn>
              <a:cxn ang="0">
                <a:pos x="114" y="2393"/>
              </a:cxn>
              <a:cxn ang="0">
                <a:pos x="223" y="2477"/>
              </a:cxn>
              <a:cxn ang="0">
                <a:pos x="305" y="2606"/>
              </a:cxn>
              <a:cxn ang="0">
                <a:pos x="456" y="2660"/>
              </a:cxn>
              <a:cxn ang="0">
                <a:pos x="514" y="2508"/>
              </a:cxn>
              <a:cxn ang="0">
                <a:pos x="582" y="2380"/>
              </a:cxn>
              <a:cxn ang="0">
                <a:pos x="524" y="2356"/>
              </a:cxn>
              <a:cxn ang="0">
                <a:pos x="611" y="2199"/>
              </a:cxn>
              <a:cxn ang="0">
                <a:pos x="650" y="2273"/>
              </a:cxn>
              <a:cxn ang="0">
                <a:pos x="863" y="2313"/>
              </a:cxn>
              <a:cxn ang="0">
                <a:pos x="991" y="2166"/>
              </a:cxn>
              <a:cxn ang="0">
                <a:pos x="1124" y="1985"/>
              </a:cxn>
              <a:cxn ang="0">
                <a:pos x="1350" y="2010"/>
              </a:cxn>
              <a:cxn ang="0">
                <a:pos x="1536" y="2027"/>
              </a:cxn>
              <a:cxn ang="0">
                <a:pos x="1655" y="2018"/>
              </a:cxn>
              <a:cxn ang="0">
                <a:pos x="1739" y="1914"/>
              </a:cxn>
            </a:cxnLst>
            <a:rect l="0" t="0" r="r" b="b"/>
            <a:pathLst>
              <a:path w="1803" h="2669">
                <a:moveTo>
                  <a:pt x="1677" y="1810"/>
                </a:moveTo>
                <a:lnTo>
                  <a:pt x="1677" y="1810"/>
                </a:lnTo>
                <a:lnTo>
                  <a:pt x="1685" y="1807"/>
                </a:lnTo>
                <a:lnTo>
                  <a:pt x="1691" y="1806"/>
                </a:lnTo>
                <a:lnTo>
                  <a:pt x="1697" y="1805"/>
                </a:lnTo>
                <a:lnTo>
                  <a:pt x="1704" y="1802"/>
                </a:lnTo>
                <a:lnTo>
                  <a:pt x="1704" y="1802"/>
                </a:lnTo>
                <a:lnTo>
                  <a:pt x="1707" y="1798"/>
                </a:lnTo>
                <a:lnTo>
                  <a:pt x="1710" y="1795"/>
                </a:lnTo>
                <a:lnTo>
                  <a:pt x="1711" y="1789"/>
                </a:lnTo>
                <a:lnTo>
                  <a:pt x="1712" y="1783"/>
                </a:lnTo>
                <a:lnTo>
                  <a:pt x="1713" y="1771"/>
                </a:lnTo>
                <a:lnTo>
                  <a:pt x="1715" y="1758"/>
                </a:lnTo>
                <a:lnTo>
                  <a:pt x="1715" y="1758"/>
                </a:lnTo>
                <a:lnTo>
                  <a:pt x="1716" y="1752"/>
                </a:lnTo>
                <a:lnTo>
                  <a:pt x="1719" y="1748"/>
                </a:lnTo>
                <a:lnTo>
                  <a:pt x="1726" y="1738"/>
                </a:lnTo>
                <a:lnTo>
                  <a:pt x="1733" y="1731"/>
                </a:lnTo>
                <a:lnTo>
                  <a:pt x="1741" y="1725"/>
                </a:lnTo>
                <a:lnTo>
                  <a:pt x="1749" y="1717"/>
                </a:lnTo>
                <a:lnTo>
                  <a:pt x="1756" y="1708"/>
                </a:lnTo>
                <a:lnTo>
                  <a:pt x="1759" y="1704"/>
                </a:lnTo>
                <a:lnTo>
                  <a:pt x="1760" y="1699"/>
                </a:lnTo>
                <a:lnTo>
                  <a:pt x="1761" y="1693"/>
                </a:lnTo>
                <a:lnTo>
                  <a:pt x="1762" y="1688"/>
                </a:lnTo>
                <a:lnTo>
                  <a:pt x="1762" y="1688"/>
                </a:lnTo>
                <a:lnTo>
                  <a:pt x="1761" y="1676"/>
                </a:lnTo>
                <a:lnTo>
                  <a:pt x="1758" y="1666"/>
                </a:lnTo>
                <a:lnTo>
                  <a:pt x="1754" y="1657"/>
                </a:lnTo>
                <a:lnTo>
                  <a:pt x="1750" y="1649"/>
                </a:lnTo>
                <a:lnTo>
                  <a:pt x="1741" y="1634"/>
                </a:lnTo>
                <a:lnTo>
                  <a:pt x="1737" y="1626"/>
                </a:lnTo>
                <a:lnTo>
                  <a:pt x="1736" y="1619"/>
                </a:lnTo>
                <a:lnTo>
                  <a:pt x="1736" y="1619"/>
                </a:lnTo>
                <a:lnTo>
                  <a:pt x="1737" y="1607"/>
                </a:lnTo>
                <a:lnTo>
                  <a:pt x="1739" y="1598"/>
                </a:lnTo>
                <a:lnTo>
                  <a:pt x="1743" y="1590"/>
                </a:lnTo>
                <a:lnTo>
                  <a:pt x="1746" y="1583"/>
                </a:lnTo>
                <a:lnTo>
                  <a:pt x="1752" y="1577"/>
                </a:lnTo>
                <a:lnTo>
                  <a:pt x="1758" y="1573"/>
                </a:lnTo>
                <a:lnTo>
                  <a:pt x="1769" y="1562"/>
                </a:lnTo>
                <a:lnTo>
                  <a:pt x="1782" y="1553"/>
                </a:lnTo>
                <a:lnTo>
                  <a:pt x="1788" y="1547"/>
                </a:lnTo>
                <a:lnTo>
                  <a:pt x="1792" y="1542"/>
                </a:lnTo>
                <a:lnTo>
                  <a:pt x="1797" y="1534"/>
                </a:lnTo>
                <a:lnTo>
                  <a:pt x="1800" y="1525"/>
                </a:lnTo>
                <a:lnTo>
                  <a:pt x="1803" y="1515"/>
                </a:lnTo>
                <a:lnTo>
                  <a:pt x="1803" y="1504"/>
                </a:lnTo>
                <a:lnTo>
                  <a:pt x="1803" y="1504"/>
                </a:lnTo>
                <a:lnTo>
                  <a:pt x="1802" y="1483"/>
                </a:lnTo>
                <a:lnTo>
                  <a:pt x="1799" y="1465"/>
                </a:lnTo>
                <a:lnTo>
                  <a:pt x="1797" y="1447"/>
                </a:lnTo>
                <a:lnTo>
                  <a:pt x="1795" y="1430"/>
                </a:lnTo>
                <a:lnTo>
                  <a:pt x="1795" y="1430"/>
                </a:lnTo>
                <a:lnTo>
                  <a:pt x="1784" y="1430"/>
                </a:lnTo>
                <a:lnTo>
                  <a:pt x="1771" y="1428"/>
                </a:lnTo>
                <a:lnTo>
                  <a:pt x="1756" y="1423"/>
                </a:lnTo>
                <a:lnTo>
                  <a:pt x="1739" y="1418"/>
                </a:lnTo>
                <a:lnTo>
                  <a:pt x="1726" y="1412"/>
                </a:lnTo>
                <a:lnTo>
                  <a:pt x="1714" y="1405"/>
                </a:lnTo>
                <a:lnTo>
                  <a:pt x="1710" y="1400"/>
                </a:lnTo>
                <a:lnTo>
                  <a:pt x="1706" y="1395"/>
                </a:lnTo>
                <a:lnTo>
                  <a:pt x="1704" y="1391"/>
                </a:lnTo>
                <a:lnTo>
                  <a:pt x="1704" y="1386"/>
                </a:lnTo>
                <a:lnTo>
                  <a:pt x="1704" y="1386"/>
                </a:lnTo>
                <a:lnTo>
                  <a:pt x="1704" y="1382"/>
                </a:lnTo>
                <a:lnTo>
                  <a:pt x="1705" y="1377"/>
                </a:lnTo>
                <a:lnTo>
                  <a:pt x="1710" y="1369"/>
                </a:lnTo>
                <a:lnTo>
                  <a:pt x="1714" y="1362"/>
                </a:lnTo>
                <a:lnTo>
                  <a:pt x="1719" y="1357"/>
                </a:lnTo>
                <a:lnTo>
                  <a:pt x="1719" y="1357"/>
                </a:lnTo>
                <a:lnTo>
                  <a:pt x="1715" y="1287"/>
                </a:lnTo>
                <a:lnTo>
                  <a:pt x="1715" y="1287"/>
                </a:lnTo>
                <a:lnTo>
                  <a:pt x="1715" y="1287"/>
                </a:lnTo>
                <a:lnTo>
                  <a:pt x="1692" y="1273"/>
                </a:lnTo>
                <a:lnTo>
                  <a:pt x="1681" y="1267"/>
                </a:lnTo>
                <a:lnTo>
                  <a:pt x="1670" y="1259"/>
                </a:lnTo>
                <a:lnTo>
                  <a:pt x="1661" y="1249"/>
                </a:lnTo>
                <a:lnTo>
                  <a:pt x="1658" y="1244"/>
                </a:lnTo>
                <a:lnTo>
                  <a:pt x="1654" y="1238"/>
                </a:lnTo>
                <a:lnTo>
                  <a:pt x="1652" y="1232"/>
                </a:lnTo>
                <a:lnTo>
                  <a:pt x="1650" y="1225"/>
                </a:lnTo>
                <a:lnTo>
                  <a:pt x="1649" y="1218"/>
                </a:lnTo>
                <a:lnTo>
                  <a:pt x="1649" y="1210"/>
                </a:lnTo>
                <a:lnTo>
                  <a:pt x="1649" y="1210"/>
                </a:lnTo>
                <a:lnTo>
                  <a:pt x="1649" y="1111"/>
                </a:lnTo>
                <a:lnTo>
                  <a:pt x="1649" y="1111"/>
                </a:lnTo>
                <a:lnTo>
                  <a:pt x="1647" y="1100"/>
                </a:lnTo>
                <a:lnTo>
                  <a:pt x="1645" y="1091"/>
                </a:lnTo>
                <a:lnTo>
                  <a:pt x="1643" y="1085"/>
                </a:lnTo>
                <a:lnTo>
                  <a:pt x="1638" y="1080"/>
                </a:lnTo>
                <a:lnTo>
                  <a:pt x="1628" y="1072"/>
                </a:lnTo>
                <a:lnTo>
                  <a:pt x="1622" y="1066"/>
                </a:lnTo>
                <a:lnTo>
                  <a:pt x="1615" y="1059"/>
                </a:lnTo>
                <a:lnTo>
                  <a:pt x="1615" y="1059"/>
                </a:lnTo>
                <a:lnTo>
                  <a:pt x="1612" y="1050"/>
                </a:lnTo>
                <a:lnTo>
                  <a:pt x="1608" y="1034"/>
                </a:lnTo>
                <a:lnTo>
                  <a:pt x="1600" y="992"/>
                </a:lnTo>
                <a:lnTo>
                  <a:pt x="1590" y="935"/>
                </a:lnTo>
                <a:lnTo>
                  <a:pt x="1590" y="935"/>
                </a:lnTo>
                <a:lnTo>
                  <a:pt x="1590" y="929"/>
                </a:lnTo>
                <a:lnTo>
                  <a:pt x="1593" y="925"/>
                </a:lnTo>
                <a:lnTo>
                  <a:pt x="1597" y="921"/>
                </a:lnTo>
                <a:lnTo>
                  <a:pt x="1603" y="920"/>
                </a:lnTo>
                <a:lnTo>
                  <a:pt x="1613" y="918"/>
                </a:lnTo>
                <a:lnTo>
                  <a:pt x="1623" y="916"/>
                </a:lnTo>
                <a:lnTo>
                  <a:pt x="1623" y="916"/>
                </a:lnTo>
                <a:lnTo>
                  <a:pt x="1628" y="911"/>
                </a:lnTo>
                <a:lnTo>
                  <a:pt x="1634" y="905"/>
                </a:lnTo>
                <a:lnTo>
                  <a:pt x="1637" y="900"/>
                </a:lnTo>
                <a:lnTo>
                  <a:pt x="1642" y="893"/>
                </a:lnTo>
                <a:lnTo>
                  <a:pt x="1644" y="885"/>
                </a:lnTo>
                <a:lnTo>
                  <a:pt x="1646" y="878"/>
                </a:lnTo>
                <a:lnTo>
                  <a:pt x="1647" y="871"/>
                </a:lnTo>
                <a:lnTo>
                  <a:pt x="1649" y="865"/>
                </a:lnTo>
                <a:lnTo>
                  <a:pt x="1649" y="865"/>
                </a:lnTo>
                <a:lnTo>
                  <a:pt x="1652" y="865"/>
                </a:lnTo>
                <a:lnTo>
                  <a:pt x="1649" y="857"/>
                </a:lnTo>
                <a:lnTo>
                  <a:pt x="1649" y="857"/>
                </a:lnTo>
                <a:lnTo>
                  <a:pt x="1649" y="857"/>
                </a:lnTo>
                <a:lnTo>
                  <a:pt x="1647" y="851"/>
                </a:lnTo>
                <a:lnTo>
                  <a:pt x="1646" y="845"/>
                </a:lnTo>
                <a:lnTo>
                  <a:pt x="1645" y="835"/>
                </a:lnTo>
                <a:lnTo>
                  <a:pt x="1645" y="835"/>
                </a:lnTo>
                <a:lnTo>
                  <a:pt x="1651" y="832"/>
                </a:lnTo>
                <a:lnTo>
                  <a:pt x="1655" y="827"/>
                </a:lnTo>
                <a:lnTo>
                  <a:pt x="1659" y="822"/>
                </a:lnTo>
                <a:lnTo>
                  <a:pt x="1661" y="818"/>
                </a:lnTo>
                <a:lnTo>
                  <a:pt x="1662" y="812"/>
                </a:lnTo>
                <a:lnTo>
                  <a:pt x="1662" y="806"/>
                </a:lnTo>
                <a:lnTo>
                  <a:pt x="1663" y="791"/>
                </a:lnTo>
                <a:lnTo>
                  <a:pt x="1663" y="791"/>
                </a:lnTo>
                <a:lnTo>
                  <a:pt x="1662" y="783"/>
                </a:lnTo>
                <a:lnTo>
                  <a:pt x="1661" y="776"/>
                </a:lnTo>
                <a:lnTo>
                  <a:pt x="1660" y="771"/>
                </a:lnTo>
                <a:lnTo>
                  <a:pt x="1658" y="765"/>
                </a:lnTo>
                <a:lnTo>
                  <a:pt x="1652" y="755"/>
                </a:lnTo>
                <a:lnTo>
                  <a:pt x="1645" y="746"/>
                </a:lnTo>
                <a:lnTo>
                  <a:pt x="1629" y="733"/>
                </a:lnTo>
                <a:lnTo>
                  <a:pt x="1622" y="726"/>
                </a:lnTo>
                <a:lnTo>
                  <a:pt x="1615" y="718"/>
                </a:lnTo>
                <a:lnTo>
                  <a:pt x="1615" y="718"/>
                </a:lnTo>
                <a:lnTo>
                  <a:pt x="1609" y="717"/>
                </a:lnTo>
                <a:lnTo>
                  <a:pt x="1605" y="719"/>
                </a:lnTo>
                <a:lnTo>
                  <a:pt x="1598" y="720"/>
                </a:lnTo>
                <a:lnTo>
                  <a:pt x="1593" y="721"/>
                </a:lnTo>
                <a:lnTo>
                  <a:pt x="1586" y="721"/>
                </a:lnTo>
                <a:lnTo>
                  <a:pt x="1586" y="721"/>
                </a:lnTo>
                <a:lnTo>
                  <a:pt x="1578" y="721"/>
                </a:lnTo>
                <a:lnTo>
                  <a:pt x="1571" y="719"/>
                </a:lnTo>
                <a:lnTo>
                  <a:pt x="1563" y="715"/>
                </a:lnTo>
                <a:lnTo>
                  <a:pt x="1554" y="711"/>
                </a:lnTo>
                <a:lnTo>
                  <a:pt x="1546" y="706"/>
                </a:lnTo>
                <a:lnTo>
                  <a:pt x="1537" y="699"/>
                </a:lnTo>
                <a:lnTo>
                  <a:pt x="1521" y="685"/>
                </a:lnTo>
                <a:lnTo>
                  <a:pt x="1506" y="671"/>
                </a:lnTo>
                <a:lnTo>
                  <a:pt x="1500" y="661"/>
                </a:lnTo>
                <a:lnTo>
                  <a:pt x="1494" y="653"/>
                </a:lnTo>
                <a:lnTo>
                  <a:pt x="1490" y="645"/>
                </a:lnTo>
                <a:lnTo>
                  <a:pt x="1486" y="637"/>
                </a:lnTo>
                <a:lnTo>
                  <a:pt x="1484" y="630"/>
                </a:lnTo>
                <a:lnTo>
                  <a:pt x="1483" y="622"/>
                </a:lnTo>
                <a:lnTo>
                  <a:pt x="1483" y="622"/>
                </a:lnTo>
                <a:lnTo>
                  <a:pt x="1484" y="607"/>
                </a:lnTo>
                <a:lnTo>
                  <a:pt x="1487" y="593"/>
                </a:lnTo>
                <a:lnTo>
                  <a:pt x="1492" y="583"/>
                </a:lnTo>
                <a:lnTo>
                  <a:pt x="1499" y="574"/>
                </a:lnTo>
                <a:lnTo>
                  <a:pt x="1507" y="567"/>
                </a:lnTo>
                <a:lnTo>
                  <a:pt x="1515" y="561"/>
                </a:lnTo>
                <a:lnTo>
                  <a:pt x="1535" y="551"/>
                </a:lnTo>
                <a:lnTo>
                  <a:pt x="1553" y="539"/>
                </a:lnTo>
                <a:lnTo>
                  <a:pt x="1562" y="534"/>
                </a:lnTo>
                <a:lnTo>
                  <a:pt x="1570" y="526"/>
                </a:lnTo>
                <a:lnTo>
                  <a:pt x="1576" y="516"/>
                </a:lnTo>
                <a:lnTo>
                  <a:pt x="1582" y="506"/>
                </a:lnTo>
                <a:lnTo>
                  <a:pt x="1585" y="492"/>
                </a:lnTo>
                <a:lnTo>
                  <a:pt x="1586" y="476"/>
                </a:lnTo>
                <a:lnTo>
                  <a:pt x="1586" y="476"/>
                </a:lnTo>
                <a:lnTo>
                  <a:pt x="1585" y="466"/>
                </a:lnTo>
                <a:lnTo>
                  <a:pt x="1584" y="455"/>
                </a:lnTo>
                <a:lnTo>
                  <a:pt x="1581" y="446"/>
                </a:lnTo>
                <a:lnTo>
                  <a:pt x="1578" y="438"/>
                </a:lnTo>
                <a:lnTo>
                  <a:pt x="1574" y="431"/>
                </a:lnTo>
                <a:lnTo>
                  <a:pt x="1570" y="423"/>
                </a:lnTo>
                <a:lnTo>
                  <a:pt x="1560" y="410"/>
                </a:lnTo>
                <a:lnTo>
                  <a:pt x="1551" y="399"/>
                </a:lnTo>
                <a:lnTo>
                  <a:pt x="1543" y="387"/>
                </a:lnTo>
                <a:lnTo>
                  <a:pt x="1539" y="383"/>
                </a:lnTo>
                <a:lnTo>
                  <a:pt x="1537" y="377"/>
                </a:lnTo>
                <a:lnTo>
                  <a:pt x="1536" y="371"/>
                </a:lnTo>
                <a:lnTo>
                  <a:pt x="1535" y="366"/>
                </a:lnTo>
                <a:lnTo>
                  <a:pt x="1535" y="366"/>
                </a:lnTo>
                <a:lnTo>
                  <a:pt x="1536" y="359"/>
                </a:lnTo>
                <a:lnTo>
                  <a:pt x="1537" y="354"/>
                </a:lnTo>
                <a:lnTo>
                  <a:pt x="1540" y="351"/>
                </a:lnTo>
                <a:lnTo>
                  <a:pt x="1544" y="347"/>
                </a:lnTo>
                <a:lnTo>
                  <a:pt x="1553" y="344"/>
                </a:lnTo>
                <a:lnTo>
                  <a:pt x="1563" y="339"/>
                </a:lnTo>
                <a:lnTo>
                  <a:pt x="1568" y="337"/>
                </a:lnTo>
                <a:lnTo>
                  <a:pt x="1573" y="335"/>
                </a:lnTo>
                <a:lnTo>
                  <a:pt x="1577" y="331"/>
                </a:lnTo>
                <a:lnTo>
                  <a:pt x="1581" y="326"/>
                </a:lnTo>
                <a:lnTo>
                  <a:pt x="1584" y="320"/>
                </a:lnTo>
                <a:lnTo>
                  <a:pt x="1586" y="313"/>
                </a:lnTo>
                <a:lnTo>
                  <a:pt x="1586" y="303"/>
                </a:lnTo>
                <a:lnTo>
                  <a:pt x="1586" y="292"/>
                </a:lnTo>
                <a:lnTo>
                  <a:pt x="1586" y="292"/>
                </a:lnTo>
                <a:lnTo>
                  <a:pt x="1584" y="284"/>
                </a:lnTo>
                <a:lnTo>
                  <a:pt x="1582" y="278"/>
                </a:lnTo>
                <a:lnTo>
                  <a:pt x="1578" y="272"/>
                </a:lnTo>
                <a:lnTo>
                  <a:pt x="1574" y="269"/>
                </a:lnTo>
                <a:lnTo>
                  <a:pt x="1568" y="265"/>
                </a:lnTo>
                <a:lnTo>
                  <a:pt x="1562" y="262"/>
                </a:lnTo>
                <a:lnTo>
                  <a:pt x="1550" y="257"/>
                </a:lnTo>
                <a:lnTo>
                  <a:pt x="1537" y="253"/>
                </a:lnTo>
                <a:lnTo>
                  <a:pt x="1531" y="251"/>
                </a:lnTo>
                <a:lnTo>
                  <a:pt x="1527" y="247"/>
                </a:lnTo>
                <a:lnTo>
                  <a:pt x="1522" y="244"/>
                </a:lnTo>
                <a:lnTo>
                  <a:pt x="1519" y="239"/>
                </a:lnTo>
                <a:lnTo>
                  <a:pt x="1516" y="233"/>
                </a:lnTo>
                <a:lnTo>
                  <a:pt x="1516" y="226"/>
                </a:lnTo>
                <a:lnTo>
                  <a:pt x="1516" y="226"/>
                </a:lnTo>
                <a:lnTo>
                  <a:pt x="1515" y="213"/>
                </a:lnTo>
                <a:lnTo>
                  <a:pt x="1516" y="207"/>
                </a:lnTo>
                <a:lnTo>
                  <a:pt x="1520" y="200"/>
                </a:lnTo>
                <a:lnTo>
                  <a:pt x="1520" y="200"/>
                </a:lnTo>
                <a:lnTo>
                  <a:pt x="1502" y="203"/>
                </a:lnTo>
                <a:lnTo>
                  <a:pt x="1485" y="207"/>
                </a:lnTo>
                <a:lnTo>
                  <a:pt x="1478" y="210"/>
                </a:lnTo>
                <a:lnTo>
                  <a:pt x="1471" y="213"/>
                </a:lnTo>
                <a:lnTo>
                  <a:pt x="1467" y="217"/>
                </a:lnTo>
                <a:lnTo>
                  <a:pt x="1464" y="223"/>
                </a:lnTo>
                <a:lnTo>
                  <a:pt x="1464" y="223"/>
                </a:lnTo>
                <a:lnTo>
                  <a:pt x="1476" y="234"/>
                </a:lnTo>
                <a:lnTo>
                  <a:pt x="1484" y="245"/>
                </a:lnTo>
                <a:lnTo>
                  <a:pt x="1490" y="254"/>
                </a:lnTo>
                <a:lnTo>
                  <a:pt x="1492" y="261"/>
                </a:lnTo>
                <a:lnTo>
                  <a:pt x="1493" y="268"/>
                </a:lnTo>
                <a:lnTo>
                  <a:pt x="1492" y="271"/>
                </a:lnTo>
                <a:lnTo>
                  <a:pt x="1490" y="274"/>
                </a:lnTo>
                <a:lnTo>
                  <a:pt x="1484" y="275"/>
                </a:lnTo>
                <a:lnTo>
                  <a:pt x="1478" y="275"/>
                </a:lnTo>
                <a:lnTo>
                  <a:pt x="1470" y="272"/>
                </a:lnTo>
                <a:lnTo>
                  <a:pt x="1461" y="269"/>
                </a:lnTo>
                <a:lnTo>
                  <a:pt x="1451" y="264"/>
                </a:lnTo>
                <a:lnTo>
                  <a:pt x="1439" y="257"/>
                </a:lnTo>
                <a:lnTo>
                  <a:pt x="1428" y="249"/>
                </a:lnTo>
                <a:lnTo>
                  <a:pt x="1415" y="240"/>
                </a:lnTo>
                <a:lnTo>
                  <a:pt x="1402" y="230"/>
                </a:lnTo>
                <a:lnTo>
                  <a:pt x="1402" y="230"/>
                </a:lnTo>
                <a:lnTo>
                  <a:pt x="1395" y="239"/>
                </a:lnTo>
                <a:lnTo>
                  <a:pt x="1387" y="249"/>
                </a:lnTo>
                <a:lnTo>
                  <a:pt x="1383" y="255"/>
                </a:lnTo>
                <a:lnTo>
                  <a:pt x="1379" y="262"/>
                </a:lnTo>
                <a:lnTo>
                  <a:pt x="1377" y="269"/>
                </a:lnTo>
                <a:lnTo>
                  <a:pt x="1376" y="276"/>
                </a:lnTo>
                <a:lnTo>
                  <a:pt x="1376" y="284"/>
                </a:lnTo>
                <a:lnTo>
                  <a:pt x="1379" y="292"/>
                </a:lnTo>
                <a:lnTo>
                  <a:pt x="1384" y="301"/>
                </a:lnTo>
                <a:lnTo>
                  <a:pt x="1391" y="310"/>
                </a:lnTo>
                <a:lnTo>
                  <a:pt x="1401" y="320"/>
                </a:lnTo>
                <a:lnTo>
                  <a:pt x="1415" y="329"/>
                </a:lnTo>
                <a:lnTo>
                  <a:pt x="1432" y="339"/>
                </a:lnTo>
                <a:lnTo>
                  <a:pt x="1454" y="351"/>
                </a:lnTo>
                <a:lnTo>
                  <a:pt x="1454" y="351"/>
                </a:lnTo>
                <a:lnTo>
                  <a:pt x="1462" y="362"/>
                </a:lnTo>
                <a:lnTo>
                  <a:pt x="1469" y="375"/>
                </a:lnTo>
                <a:lnTo>
                  <a:pt x="1477" y="390"/>
                </a:lnTo>
                <a:lnTo>
                  <a:pt x="1483" y="405"/>
                </a:lnTo>
                <a:lnTo>
                  <a:pt x="1485" y="413"/>
                </a:lnTo>
                <a:lnTo>
                  <a:pt x="1486" y="420"/>
                </a:lnTo>
                <a:lnTo>
                  <a:pt x="1486" y="427"/>
                </a:lnTo>
                <a:lnTo>
                  <a:pt x="1484" y="433"/>
                </a:lnTo>
                <a:lnTo>
                  <a:pt x="1482" y="438"/>
                </a:lnTo>
                <a:lnTo>
                  <a:pt x="1476" y="443"/>
                </a:lnTo>
                <a:lnTo>
                  <a:pt x="1476" y="443"/>
                </a:lnTo>
                <a:lnTo>
                  <a:pt x="1468" y="437"/>
                </a:lnTo>
                <a:lnTo>
                  <a:pt x="1462" y="430"/>
                </a:lnTo>
                <a:lnTo>
                  <a:pt x="1456" y="423"/>
                </a:lnTo>
                <a:lnTo>
                  <a:pt x="1452" y="414"/>
                </a:lnTo>
                <a:lnTo>
                  <a:pt x="1441" y="396"/>
                </a:lnTo>
                <a:lnTo>
                  <a:pt x="1436" y="387"/>
                </a:lnTo>
                <a:lnTo>
                  <a:pt x="1428" y="379"/>
                </a:lnTo>
                <a:lnTo>
                  <a:pt x="1428" y="379"/>
                </a:lnTo>
                <a:lnTo>
                  <a:pt x="1418" y="379"/>
                </a:lnTo>
                <a:lnTo>
                  <a:pt x="1409" y="378"/>
                </a:lnTo>
                <a:lnTo>
                  <a:pt x="1401" y="375"/>
                </a:lnTo>
                <a:lnTo>
                  <a:pt x="1392" y="372"/>
                </a:lnTo>
                <a:lnTo>
                  <a:pt x="1385" y="368"/>
                </a:lnTo>
                <a:lnTo>
                  <a:pt x="1377" y="363"/>
                </a:lnTo>
                <a:lnTo>
                  <a:pt x="1364" y="354"/>
                </a:lnTo>
                <a:lnTo>
                  <a:pt x="1354" y="343"/>
                </a:lnTo>
                <a:lnTo>
                  <a:pt x="1345" y="332"/>
                </a:lnTo>
                <a:lnTo>
                  <a:pt x="1339" y="322"/>
                </a:lnTo>
                <a:lnTo>
                  <a:pt x="1336" y="314"/>
                </a:lnTo>
                <a:lnTo>
                  <a:pt x="1336" y="314"/>
                </a:lnTo>
                <a:lnTo>
                  <a:pt x="1336" y="303"/>
                </a:lnTo>
                <a:lnTo>
                  <a:pt x="1337" y="294"/>
                </a:lnTo>
                <a:lnTo>
                  <a:pt x="1339" y="276"/>
                </a:lnTo>
                <a:lnTo>
                  <a:pt x="1344" y="260"/>
                </a:lnTo>
                <a:lnTo>
                  <a:pt x="1350" y="244"/>
                </a:lnTo>
                <a:lnTo>
                  <a:pt x="1357" y="229"/>
                </a:lnTo>
                <a:lnTo>
                  <a:pt x="1365" y="214"/>
                </a:lnTo>
                <a:lnTo>
                  <a:pt x="1372" y="198"/>
                </a:lnTo>
                <a:lnTo>
                  <a:pt x="1380" y="181"/>
                </a:lnTo>
                <a:lnTo>
                  <a:pt x="1380" y="181"/>
                </a:lnTo>
                <a:lnTo>
                  <a:pt x="1382" y="173"/>
                </a:lnTo>
                <a:lnTo>
                  <a:pt x="1384" y="152"/>
                </a:lnTo>
                <a:lnTo>
                  <a:pt x="1385" y="135"/>
                </a:lnTo>
                <a:lnTo>
                  <a:pt x="1385" y="118"/>
                </a:lnTo>
                <a:lnTo>
                  <a:pt x="1384" y="99"/>
                </a:lnTo>
                <a:lnTo>
                  <a:pt x="1380" y="79"/>
                </a:lnTo>
                <a:lnTo>
                  <a:pt x="1380" y="79"/>
                </a:lnTo>
                <a:lnTo>
                  <a:pt x="1376" y="76"/>
                </a:lnTo>
                <a:lnTo>
                  <a:pt x="1372" y="73"/>
                </a:lnTo>
                <a:lnTo>
                  <a:pt x="1369" y="73"/>
                </a:lnTo>
                <a:lnTo>
                  <a:pt x="1365" y="73"/>
                </a:lnTo>
                <a:lnTo>
                  <a:pt x="1363" y="74"/>
                </a:lnTo>
                <a:lnTo>
                  <a:pt x="1360" y="77"/>
                </a:lnTo>
                <a:lnTo>
                  <a:pt x="1356" y="84"/>
                </a:lnTo>
                <a:lnTo>
                  <a:pt x="1353" y="93"/>
                </a:lnTo>
                <a:lnTo>
                  <a:pt x="1350" y="104"/>
                </a:lnTo>
                <a:lnTo>
                  <a:pt x="1346" y="132"/>
                </a:lnTo>
                <a:lnTo>
                  <a:pt x="1342" y="162"/>
                </a:lnTo>
                <a:lnTo>
                  <a:pt x="1340" y="176"/>
                </a:lnTo>
                <a:lnTo>
                  <a:pt x="1338" y="187"/>
                </a:lnTo>
                <a:lnTo>
                  <a:pt x="1334" y="198"/>
                </a:lnTo>
                <a:lnTo>
                  <a:pt x="1330" y="206"/>
                </a:lnTo>
                <a:lnTo>
                  <a:pt x="1327" y="208"/>
                </a:lnTo>
                <a:lnTo>
                  <a:pt x="1325" y="210"/>
                </a:lnTo>
                <a:lnTo>
                  <a:pt x="1322" y="211"/>
                </a:lnTo>
                <a:lnTo>
                  <a:pt x="1318" y="211"/>
                </a:lnTo>
                <a:lnTo>
                  <a:pt x="1318" y="211"/>
                </a:lnTo>
                <a:lnTo>
                  <a:pt x="1303" y="215"/>
                </a:lnTo>
                <a:lnTo>
                  <a:pt x="1290" y="218"/>
                </a:lnTo>
                <a:lnTo>
                  <a:pt x="1278" y="223"/>
                </a:lnTo>
                <a:lnTo>
                  <a:pt x="1269" y="226"/>
                </a:lnTo>
                <a:lnTo>
                  <a:pt x="1261" y="231"/>
                </a:lnTo>
                <a:lnTo>
                  <a:pt x="1254" y="237"/>
                </a:lnTo>
                <a:lnTo>
                  <a:pt x="1248" y="241"/>
                </a:lnTo>
                <a:lnTo>
                  <a:pt x="1242" y="246"/>
                </a:lnTo>
                <a:lnTo>
                  <a:pt x="1239" y="252"/>
                </a:lnTo>
                <a:lnTo>
                  <a:pt x="1235" y="257"/>
                </a:lnTo>
                <a:lnTo>
                  <a:pt x="1232" y="269"/>
                </a:lnTo>
                <a:lnTo>
                  <a:pt x="1229" y="283"/>
                </a:lnTo>
                <a:lnTo>
                  <a:pt x="1226" y="295"/>
                </a:lnTo>
                <a:lnTo>
                  <a:pt x="1226" y="295"/>
                </a:lnTo>
                <a:lnTo>
                  <a:pt x="1224" y="308"/>
                </a:lnTo>
                <a:lnTo>
                  <a:pt x="1224" y="321"/>
                </a:lnTo>
                <a:lnTo>
                  <a:pt x="1225" y="333"/>
                </a:lnTo>
                <a:lnTo>
                  <a:pt x="1226" y="347"/>
                </a:lnTo>
                <a:lnTo>
                  <a:pt x="1232" y="375"/>
                </a:lnTo>
                <a:lnTo>
                  <a:pt x="1238" y="401"/>
                </a:lnTo>
                <a:lnTo>
                  <a:pt x="1242" y="425"/>
                </a:lnTo>
                <a:lnTo>
                  <a:pt x="1243" y="437"/>
                </a:lnTo>
                <a:lnTo>
                  <a:pt x="1242" y="447"/>
                </a:lnTo>
                <a:lnTo>
                  <a:pt x="1241" y="456"/>
                </a:lnTo>
                <a:lnTo>
                  <a:pt x="1237" y="465"/>
                </a:lnTo>
                <a:lnTo>
                  <a:pt x="1231" y="470"/>
                </a:lnTo>
                <a:lnTo>
                  <a:pt x="1223" y="476"/>
                </a:lnTo>
                <a:lnTo>
                  <a:pt x="1223" y="476"/>
                </a:lnTo>
                <a:lnTo>
                  <a:pt x="1209" y="512"/>
                </a:lnTo>
                <a:lnTo>
                  <a:pt x="1197" y="545"/>
                </a:lnTo>
                <a:lnTo>
                  <a:pt x="1192" y="561"/>
                </a:lnTo>
                <a:lnTo>
                  <a:pt x="1188" y="576"/>
                </a:lnTo>
                <a:lnTo>
                  <a:pt x="1186" y="590"/>
                </a:lnTo>
                <a:lnTo>
                  <a:pt x="1186" y="604"/>
                </a:lnTo>
                <a:lnTo>
                  <a:pt x="1186" y="604"/>
                </a:lnTo>
                <a:lnTo>
                  <a:pt x="1185" y="627"/>
                </a:lnTo>
                <a:lnTo>
                  <a:pt x="1185" y="646"/>
                </a:lnTo>
                <a:lnTo>
                  <a:pt x="1186" y="654"/>
                </a:lnTo>
                <a:lnTo>
                  <a:pt x="1187" y="661"/>
                </a:lnTo>
                <a:lnTo>
                  <a:pt x="1189" y="668"/>
                </a:lnTo>
                <a:lnTo>
                  <a:pt x="1193" y="673"/>
                </a:lnTo>
                <a:lnTo>
                  <a:pt x="1199" y="676"/>
                </a:lnTo>
                <a:lnTo>
                  <a:pt x="1206" y="679"/>
                </a:lnTo>
                <a:lnTo>
                  <a:pt x="1214" y="680"/>
                </a:lnTo>
                <a:lnTo>
                  <a:pt x="1224" y="680"/>
                </a:lnTo>
                <a:lnTo>
                  <a:pt x="1237" y="679"/>
                </a:lnTo>
                <a:lnTo>
                  <a:pt x="1253" y="676"/>
                </a:lnTo>
                <a:lnTo>
                  <a:pt x="1271" y="673"/>
                </a:lnTo>
                <a:lnTo>
                  <a:pt x="1292" y="667"/>
                </a:lnTo>
                <a:lnTo>
                  <a:pt x="1292" y="667"/>
                </a:lnTo>
                <a:lnTo>
                  <a:pt x="1301" y="669"/>
                </a:lnTo>
                <a:lnTo>
                  <a:pt x="1310" y="673"/>
                </a:lnTo>
                <a:lnTo>
                  <a:pt x="1318" y="677"/>
                </a:lnTo>
                <a:lnTo>
                  <a:pt x="1326" y="682"/>
                </a:lnTo>
                <a:lnTo>
                  <a:pt x="1333" y="688"/>
                </a:lnTo>
                <a:lnTo>
                  <a:pt x="1340" y="695"/>
                </a:lnTo>
                <a:lnTo>
                  <a:pt x="1346" y="702"/>
                </a:lnTo>
                <a:lnTo>
                  <a:pt x="1352" y="710"/>
                </a:lnTo>
                <a:lnTo>
                  <a:pt x="1356" y="719"/>
                </a:lnTo>
                <a:lnTo>
                  <a:pt x="1361" y="727"/>
                </a:lnTo>
                <a:lnTo>
                  <a:pt x="1369" y="748"/>
                </a:lnTo>
                <a:lnTo>
                  <a:pt x="1376" y="768"/>
                </a:lnTo>
                <a:lnTo>
                  <a:pt x="1380" y="791"/>
                </a:lnTo>
                <a:lnTo>
                  <a:pt x="1380" y="791"/>
                </a:lnTo>
                <a:lnTo>
                  <a:pt x="1382" y="802"/>
                </a:lnTo>
                <a:lnTo>
                  <a:pt x="1382" y="811"/>
                </a:lnTo>
                <a:lnTo>
                  <a:pt x="1380" y="819"/>
                </a:lnTo>
                <a:lnTo>
                  <a:pt x="1378" y="825"/>
                </a:lnTo>
                <a:lnTo>
                  <a:pt x="1376" y="830"/>
                </a:lnTo>
                <a:lnTo>
                  <a:pt x="1372" y="835"/>
                </a:lnTo>
                <a:lnTo>
                  <a:pt x="1363" y="842"/>
                </a:lnTo>
                <a:lnTo>
                  <a:pt x="1354" y="848"/>
                </a:lnTo>
                <a:lnTo>
                  <a:pt x="1345" y="855"/>
                </a:lnTo>
                <a:lnTo>
                  <a:pt x="1341" y="858"/>
                </a:lnTo>
                <a:lnTo>
                  <a:pt x="1337" y="864"/>
                </a:lnTo>
                <a:lnTo>
                  <a:pt x="1334" y="870"/>
                </a:lnTo>
                <a:lnTo>
                  <a:pt x="1332" y="876"/>
                </a:lnTo>
                <a:lnTo>
                  <a:pt x="1332" y="876"/>
                </a:lnTo>
                <a:lnTo>
                  <a:pt x="1333" y="885"/>
                </a:lnTo>
                <a:lnTo>
                  <a:pt x="1336" y="893"/>
                </a:lnTo>
                <a:lnTo>
                  <a:pt x="1339" y="901"/>
                </a:lnTo>
                <a:lnTo>
                  <a:pt x="1344" y="908"/>
                </a:lnTo>
                <a:lnTo>
                  <a:pt x="1349" y="914"/>
                </a:lnTo>
                <a:lnTo>
                  <a:pt x="1356" y="921"/>
                </a:lnTo>
                <a:lnTo>
                  <a:pt x="1371" y="932"/>
                </a:lnTo>
                <a:lnTo>
                  <a:pt x="1386" y="941"/>
                </a:lnTo>
                <a:lnTo>
                  <a:pt x="1399" y="949"/>
                </a:lnTo>
                <a:lnTo>
                  <a:pt x="1407" y="956"/>
                </a:lnTo>
                <a:lnTo>
                  <a:pt x="1409" y="958"/>
                </a:lnTo>
                <a:lnTo>
                  <a:pt x="1409" y="960"/>
                </a:lnTo>
                <a:lnTo>
                  <a:pt x="1409" y="960"/>
                </a:lnTo>
                <a:lnTo>
                  <a:pt x="1401" y="960"/>
                </a:lnTo>
                <a:lnTo>
                  <a:pt x="1393" y="960"/>
                </a:lnTo>
                <a:lnTo>
                  <a:pt x="1377" y="957"/>
                </a:lnTo>
                <a:lnTo>
                  <a:pt x="1361" y="952"/>
                </a:lnTo>
                <a:lnTo>
                  <a:pt x="1347" y="944"/>
                </a:lnTo>
                <a:lnTo>
                  <a:pt x="1336" y="936"/>
                </a:lnTo>
                <a:lnTo>
                  <a:pt x="1330" y="931"/>
                </a:lnTo>
                <a:lnTo>
                  <a:pt x="1326" y="925"/>
                </a:lnTo>
                <a:lnTo>
                  <a:pt x="1323" y="919"/>
                </a:lnTo>
                <a:lnTo>
                  <a:pt x="1319" y="913"/>
                </a:lnTo>
                <a:lnTo>
                  <a:pt x="1318" y="908"/>
                </a:lnTo>
                <a:lnTo>
                  <a:pt x="1318" y="902"/>
                </a:lnTo>
                <a:lnTo>
                  <a:pt x="1318" y="902"/>
                </a:lnTo>
                <a:lnTo>
                  <a:pt x="1318" y="889"/>
                </a:lnTo>
                <a:lnTo>
                  <a:pt x="1319" y="878"/>
                </a:lnTo>
                <a:lnTo>
                  <a:pt x="1323" y="866"/>
                </a:lnTo>
                <a:lnTo>
                  <a:pt x="1326" y="853"/>
                </a:lnTo>
                <a:lnTo>
                  <a:pt x="1337" y="826"/>
                </a:lnTo>
                <a:lnTo>
                  <a:pt x="1350" y="791"/>
                </a:lnTo>
                <a:lnTo>
                  <a:pt x="1350" y="791"/>
                </a:lnTo>
                <a:lnTo>
                  <a:pt x="1345" y="786"/>
                </a:lnTo>
                <a:lnTo>
                  <a:pt x="1339" y="779"/>
                </a:lnTo>
                <a:lnTo>
                  <a:pt x="1334" y="772"/>
                </a:lnTo>
                <a:lnTo>
                  <a:pt x="1330" y="764"/>
                </a:lnTo>
                <a:lnTo>
                  <a:pt x="1323" y="748"/>
                </a:lnTo>
                <a:lnTo>
                  <a:pt x="1315" y="733"/>
                </a:lnTo>
                <a:lnTo>
                  <a:pt x="1309" y="725"/>
                </a:lnTo>
                <a:lnTo>
                  <a:pt x="1304" y="719"/>
                </a:lnTo>
                <a:lnTo>
                  <a:pt x="1298" y="713"/>
                </a:lnTo>
                <a:lnTo>
                  <a:pt x="1290" y="708"/>
                </a:lnTo>
                <a:lnTo>
                  <a:pt x="1281" y="705"/>
                </a:lnTo>
                <a:lnTo>
                  <a:pt x="1271" y="703"/>
                </a:lnTo>
                <a:lnTo>
                  <a:pt x="1258" y="702"/>
                </a:lnTo>
                <a:lnTo>
                  <a:pt x="1245" y="703"/>
                </a:lnTo>
                <a:lnTo>
                  <a:pt x="1245" y="703"/>
                </a:lnTo>
                <a:lnTo>
                  <a:pt x="1233" y="705"/>
                </a:lnTo>
                <a:lnTo>
                  <a:pt x="1223" y="707"/>
                </a:lnTo>
                <a:lnTo>
                  <a:pt x="1214" y="712"/>
                </a:lnTo>
                <a:lnTo>
                  <a:pt x="1206" y="717"/>
                </a:lnTo>
                <a:lnTo>
                  <a:pt x="1199" y="722"/>
                </a:lnTo>
                <a:lnTo>
                  <a:pt x="1193" y="729"/>
                </a:lnTo>
                <a:lnTo>
                  <a:pt x="1188" y="737"/>
                </a:lnTo>
                <a:lnTo>
                  <a:pt x="1185" y="746"/>
                </a:lnTo>
                <a:lnTo>
                  <a:pt x="1182" y="758"/>
                </a:lnTo>
                <a:lnTo>
                  <a:pt x="1181" y="771"/>
                </a:lnTo>
                <a:lnTo>
                  <a:pt x="1180" y="786"/>
                </a:lnTo>
                <a:lnTo>
                  <a:pt x="1180" y="802"/>
                </a:lnTo>
                <a:lnTo>
                  <a:pt x="1184" y="840"/>
                </a:lnTo>
                <a:lnTo>
                  <a:pt x="1189" y="887"/>
                </a:lnTo>
                <a:lnTo>
                  <a:pt x="1189" y="887"/>
                </a:lnTo>
                <a:lnTo>
                  <a:pt x="1165" y="900"/>
                </a:lnTo>
                <a:lnTo>
                  <a:pt x="1149" y="909"/>
                </a:lnTo>
                <a:lnTo>
                  <a:pt x="1139" y="917"/>
                </a:lnTo>
                <a:lnTo>
                  <a:pt x="1132" y="924"/>
                </a:lnTo>
                <a:lnTo>
                  <a:pt x="1127" y="931"/>
                </a:lnTo>
                <a:lnTo>
                  <a:pt x="1125" y="939"/>
                </a:lnTo>
                <a:lnTo>
                  <a:pt x="1122" y="948"/>
                </a:lnTo>
                <a:lnTo>
                  <a:pt x="1116" y="960"/>
                </a:lnTo>
                <a:lnTo>
                  <a:pt x="1116" y="960"/>
                </a:lnTo>
                <a:lnTo>
                  <a:pt x="1105" y="977"/>
                </a:lnTo>
                <a:lnTo>
                  <a:pt x="1095" y="989"/>
                </a:lnTo>
                <a:lnTo>
                  <a:pt x="1085" y="998"/>
                </a:lnTo>
                <a:lnTo>
                  <a:pt x="1074" y="1005"/>
                </a:lnTo>
                <a:lnTo>
                  <a:pt x="1064" y="1010"/>
                </a:lnTo>
                <a:lnTo>
                  <a:pt x="1055" y="1013"/>
                </a:lnTo>
                <a:lnTo>
                  <a:pt x="1044" y="1016"/>
                </a:lnTo>
                <a:lnTo>
                  <a:pt x="1035" y="1018"/>
                </a:lnTo>
                <a:lnTo>
                  <a:pt x="1018" y="1021"/>
                </a:lnTo>
                <a:lnTo>
                  <a:pt x="1010" y="1024"/>
                </a:lnTo>
                <a:lnTo>
                  <a:pt x="1003" y="1028"/>
                </a:lnTo>
                <a:lnTo>
                  <a:pt x="996" y="1034"/>
                </a:lnTo>
                <a:lnTo>
                  <a:pt x="989" y="1042"/>
                </a:lnTo>
                <a:lnTo>
                  <a:pt x="985" y="1054"/>
                </a:lnTo>
                <a:lnTo>
                  <a:pt x="980" y="1068"/>
                </a:lnTo>
                <a:lnTo>
                  <a:pt x="980" y="1068"/>
                </a:lnTo>
                <a:lnTo>
                  <a:pt x="970" y="1057"/>
                </a:lnTo>
                <a:lnTo>
                  <a:pt x="958" y="1049"/>
                </a:lnTo>
                <a:lnTo>
                  <a:pt x="948" y="1042"/>
                </a:lnTo>
                <a:lnTo>
                  <a:pt x="936" y="1038"/>
                </a:lnTo>
                <a:lnTo>
                  <a:pt x="925" y="1033"/>
                </a:lnTo>
                <a:lnTo>
                  <a:pt x="914" y="1030"/>
                </a:lnTo>
                <a:lnTo>
                  <a:pt x="893" y="1024"/>
                </a:lnTo>
                <a:lnTo>
                  <a:pt x="875" y="1019"/>
                </a:lnTo>
                <a:lnTo>
                  <a:pt x="867" y="1016"/>
                </a:lnTo>
                <a:lnTo>
                  <a:pt x="860" y="1012"/>
                </a:lnTo>
                <a:lnTo>
                  <a:pt x="855" y="1008"/>
                </a:lnTo>
                <a:lnTo>
                  <a:pt x="851" y="1002"/>
                </a:lnTo>
                <a:lnTo>
                  <a:pt x="849" y="995"/>
                </a:lnTo>
                <a:lnTo>
                  <a:pt x="848" y="986"/>
                </a:lnTo>
                <a:lnTo>
                  <a:pt x="848" y="986"/>
                </a:lnTo>
                <a:lnTo>
                  <a:pt x="846" y="981"/>
                </a:lnTo>
                <a:lnTo>
                  <a:pt x="844" y="977"/>
                </a:lnTo>
                <a:lnTo>
                  <a:pt x="838" y="966"/>
                </a:lnTo>
                <a:lnTo>
                  <a:pt x="830" y="957"/>
                </a:lnTo>
                <a:lnTo>
                  <a:pt x="825" y="949"/>
                </a:lnTo>
                <a:lnTo>
                  <a:pt x="822" y="946"/>
                </a:lnTo>
                <a:lnTo>
                  <a:pt x="821" y="942"/>
                </a:lnTo>
                <a:lnTo>
                  <a:pt x="822" y="940"/>
                </a:lnTo>
                <a:lnTo>
                  <a:pt x="825" y="937"/>
                </a:lnTo>
                <a:lnTo>
                  <a:pt x="829" y="936"/>
                </a:lnTo>
                <a:lnTo>
                  <a:pt x="836" y="935"/>
                </a:lnTo>
                <a:lnTo>
                  <a:pt x="845" y="934"/>
                </a:lnTo>
                <a:lnTo>
                  <a:pt x="859" y="935"/>
                </a:lnTo>
                <a:lnTo>
                  <a:pt x="859" y="935"/>
                </a:lnTo>
                <a:lnTo>
                  <a:pt x="866" y="936"/>
                </a:lnTo>
                <a:lnTo>
                  <a:pt x="872" y="940"/>
                </a:lnTo>
                <a:lnTo>
                  <a:pt x="878" y="944"/>
                </a:lnTo>
                <a:lnTo>
                  <a:pt x="881" y="949"/>
                </a:lnTo>
                <a:lnTo>
                  <a:pt x="884" y="956"/>
                </a:lnTo>
                <a:lnTo>
                  <a:pt x="887" y="963"/>
                </a:lnTo>
                <a:lnTo>
                  <a:pt x="893" y="978"/>
                </a:lnTo>
                <a:lnTo>
                  <a:pt x="899" y="993"/>
                </a:lnTo>
                <a:lnTo>
                  <a:pt x="903" y="1000"/>
                </a:lnTo>
                <a:lnTo>
                  <a:pt x="909" y="1007"/>
                </a:lnTo>
                <a:lnTo>
                  <a:pt x="914" y="1011"/>
                </a:lnTo>
                <a:lnTo>
                  <a:pt x="922" y="1016"/>
                </a:lnTo>
                <a:lnTo>
                  <a:pt x="932" y="1018"/>
                </a:lnTo>
                <a:lnTo>
                  <a:pt x="943" y="1019"/>
                </a:lnTo>
                <a:lnTo>
                  <a:pt x="943" y="1019"/>
                </a:lnTo>
                <a:lnTo>
                  <a:pt x="952" y="1017"/>
                </a:lnTo>
                <a:lnTo>
                  <a:pt x="962" y="1012"/>
                </a:lnTo>
                <a:lnTo>
                  <a:pt x="970" y="1007"/>
                </a:lnTo>
                <a:lnTo>
                  <a:pt x="978" y="997"/>
                </a:lnTo>
                <a:lnTo>
                  <a:pt x="986" y="988"/>
                </a:lnTo>
                <a:lnTo>
                  <a:pt x="995" y="977"/>
                </a:lnTo>
                <a:lnTo>
                  <a:pt x="1011" y="950"/>
                </a:lnTo>
                <a:lnTo>
                  <a:pt x="1029" y="921"/>
                </a:lnTo>
                <a:lnTo>
                  <a:pt x="1039" y="908"/>
                </a:lnTo>
                <a:lnTo>
                  <a:pt x="1049" y="893"/>
                </a:lnTo>
                <a:lnTo>
                  <a:pt x="1061" y="879"/>
                </a:lnTo>
                <a:lnTo>
                  <a:pt x="1073" y="866"/>
                </a:lnTo>
                <a:lnTo>
                  <a:pt x="1086" y="853"/>
                </a:lnTo>
                <a:lnTo>
                  <a:pt x="1101" y="842"/>
                </a:lnTo>
                <a:lnTo>
                  <a:pt x="1101" y="842"/>
                </a:lnTo>
                <a:lnTo>
                  <a:pt x="1105" y="824"/>
                </a:lnTo>
                <a:lnTo>
                  <a:pt x="1110" y="810"/>
                </a:lnTo>
                <a:lnTo>
                  <a:pt x="1117" y="799"/>
                </a:lnTo>
                <a:lnTo>
                  <a:pt x="1123" y="792"/>
                </a:lnTo>
                <a:lnTo>
                  <a:pt x="1130" y="788"/>
                </a:lnTo>
                <a:lnTo>
                  <a:pt x="1136" y="786"/>
                </a:lnTo>
                <a:lnTo>
                  <a:pt x="1148" y="781"/>
                </a:lnTo>
                <a:lnTo>
                  <a:pt x="1151" y="779"/>
                </a:lnTo>
                <a:lnTo>
                  <a:pt x="1154" y="775"/>
                </a:lnTo>
                <a:lnTo>
                  <a:pt x="1155" y="769"/>
                </a:lnTo>
                <a:lnTo>
                  <a:pt x="1154" y="760"/>
                </a:lnTo>
                <a:lnTo>
                  <a:pt x="1149" y="748"/>
                </a:lnTo>
                <a:lnTo>
                  <a:pt x="1142" y="732"/>
                </a:lnTo>
                <a:lnTo>
                  <a:pt x="1119" y="682"/>
                </a:lnTo>
                <a:lnTo>
                  <a:pt x="1119" y="682"/>
                </a:lnTo>
                <a:lnTo>
                  <a:pt x="1117" y="675"/>
                </a:lnTo>
                <a:lnTo>
                  <a:pt x="1115" y="667"/>
                </a:lnTo>
                <a:lnTo>
                  <a:pt x="1111" y="652"/>
                </a:lnTo>
                <a:lnTo>
                  <a:pt x="1110" y="635"/>
                </a:lnTo>
                <a:lnTo>
                  <a:pt x="1111" y="618"/>
                </a:lnTo>
                <a:lnTo>
                  <a:pt x="1113" y="598"/>
                </a:lnTo>
                <a:lnTo>
                  <a:pt x="1118" y="578"/>
                </a:lnTo>
                <a:lnTo>
                  <a:pt x="1124" y="559"/>
                </a:lnTo>
                <a:lnTo>
                  <a:pt x="1130" y="538"/>
                </a:lnTo>
                <a:lnTo>
                  <a:pt x="1138" y="519"/>
                </a:lnTo>
                <a:lnTo>
                  <a:pt x="1146" y="499"/>
                </a:lnTo>
                <a:lnTo>
                  <a:pt x="1162" y="461"/>
                </a:lnTo>
                <a:lnTo>
                  <a:pt x="1179" y="427"/>
                </a:lnTo>
                <a:lnTo>
                  <a:pt x="1193" y="398"/>
                </a:lnTo>
                <a:lnTo>
                  <a:pt x="1193" y="398"/>
                </a:lnTo>
                <a:lnTo>
                  <a:pt x="1199" y="386"/>
                </a:lnTo>
                <a:lnTo>
                  <a:pt x="1201" y="376"/>
                </a:lnTo>
                <a:lnTo>
                  <a:pt x="1202" y="367"/>
                </a:lnTo>
                <a:lnTo>
                  <a:pt x="1202" y="359"/>
                </a:lnTo>
                <a:lnTo>
                  <a:pt x="1200" y="352"/>
                </a:lnTo>
                <a:lnTo>
                  <a:pt x="1197" y="346"/>
                </a:lnTo>
                <a:lnTo>
                  <a:pt x="1189" y="335"/>
                </a:lnTo>
                <a:lnTo>
                  <a:pt x="1182" y="322"/>
                </a:lnTo>
                <a:lnTo>
                  <a:pt x="1179" y="315"/>
                </a:lnTo>
                <a:lnTo>
                  <a:pt x="1176" y="307"/>
                </a:lnTo>
                <a:lnTo>
                  <a:pt x="1174" y="297"/>
                </a:lnTo>
                <a:lnTo>
                  <a:pt x="1174" y="286"/>
                </a:lnTo>
                <a:lnTo>
                  <a:pt x="1176" y="274"/>
                </a:lnTo>
                <a:lnTo>
                  <a:pt x="1179" y="259"/>
                </a:lnTo>
                <a:lnTo>
                  <a:pt x="1179" y="259"/>
                </a:lnTo>
                <a:lnTo>
                  <a:pt x="1182" y="246"/>
                </a:lnTo>
                <a:lnTo>
                  <a:pt x="1187" y="237"/>
                </a:lnTo>
                <a:lnTo>
                  <a:pt x="1192" y="229"/>
                </a:lnTo>
                <a:lnTo>
                  <a:pt x="1196" y="223"/>
                </a:lnTo>
                <a:lnTo>
                  <a:pt x="1202" y="218"/>
                </a:lnTo>
                <a:lnTo>
                  <a:pt x="1207" y="215"/>
                </a:lnTo>
                <a:lnTo>
                  <a:pt x="1217" y="209"/>
                </a:lnTo>
                <a:lnTo>
                  <a:pt x="1223" y="206"/>
                </a:lnTo>
                <a:lnTo>
                  <a:pt x="1227" y="201"/>
                </a:lnTo>
                <a:lnTo>
                  <a:pt x="1233" y="195"/>
                </a:lnTo>
                <a:lnTo>
                  <a:pt x="1239" y="188"/>
                </a:lnTo>
                <a:lnTo>
                  <a:pt x="1243" y="179"/>
                </a:lnTo>
                <a:lnTo>
                  <a:pt x="1249" y="167"/>
                </a:lnTo>
                <a:lnTo>
                  <a:pt x="1254" y="153"/>
                </a:lnTo>
                <a:lnTo>
                  <a:pt x="1258" y="134"/>
                </a:lnTo>
                <a:lnTo>
                  <a:pt x="1258" y="134"/>
                </a:lnTo>
                <a:lnTo>
                  <a:pt x="1262" y="115"/>
                </a:lnTo>
                <a:lnTo>
                  <a:pt x="1262" y="107"/>
                </a:lnTo>
                <a:lnTo>
                  <a:pt x="1262" y="100"/>
                </a:lnTo>
                <a:lnTo>
                  <a:pt x="1261" y="93"/>
                </a:lnTo>
                <a:lnTo>
                  <a:pt x="1260" y="86"/>
                </a:lnTo>
                <a:lnTo>
                  <a:pt x="1256" y="80"/>
                </a:lnTo>
                <a:lnTo>
                  <a:pt x="1253" y="76"/>
                </a:lnTo>
                <a:lnTo>
                  <a:pt x="1249" y="70"/>
                </a:lnTo>
                <a:lnTo>
                  <a:pt x="1243" y="65"/>
                </a:lnTo>
                <a:lnTo>
                  <a:pt x="1230" y="56"/>
                </a:lnTo>
                <a:lnTo>
                  <a:pt x="1211" y="48"/>
                </a:lnTo>
                <a:lnTo>
                  <a:pt x="1189" y="39"/>
                </a:lnTo>
                <a:lnTo>
                  <a:pt x="1189" y="39"/>
                </a:lnTo>
                <a:lnTo>
                  <a:pt x="1178" y="33"/>
                </a:lnTo>
                <a:lnTo>
                  <a:pt x="1169" y="27"/>
                </a:lnTo>
                <a:lnTo>
                  <a:pt x="1153" y="16"/>
                </a:lnTo>
                <a:lnTo>
                  <a:pt x="1140" y="7"/>
                </a:lnTo>
                <a:lnTo>
                  <a:pt x="1134" y="3"/>
                </a:lnTo>
                <a:lnTo>
                  <a:pt x="1130" y="1"/>
                </a:lnTo>
                <a:lnTo>
                  <a:pt x="1125" y="0"/>
                </a:lnTo>
                <a:lnTo>
                  <a:pt x="1120" y="0"/>
                </a:lnTo>
                <a:lnTo>
                  <a:pt x="1116" y="1"/>
                </a:lnTo>
                <a:lnTo>
                  <a:pt x="1110" y="4"/>
                </a:lnTo>
                <a:lnTo>
                  <a:pt x="1105" y="10"/>
                </a:lnTo>
                <a:lnTo>
                  <a:pt x="1100" y="17"/>
                </a:lnTo>
                <a:lnTo>
                  <a:pt x="1086" y="39"/>
                </a:lnTo>
                <a:lnTo>
                  <a:pt x="1086" y="39"/>
                </a:lnTo>
                <a:lnTo>
                  <a:pt x="1084" y="43"/>
                </a:lnTo>
                <a:lnTo>
                  <a:pt x="1080" y="53"/>
                </a:lnTo>
                <a:lnTo>
                  <a:pt x="1071" y="76"/>
                </a:lnTo>
                <a:lnTo>
                  <a:pt x="1058" y="106"/>
                </a:lnTo>
                <a:lnTo>
                  <a:pt x="1050" y="120"/>
                </a:lnTo>
                <a:lnTo>
                  <a:pt x="1041" y="137"/>
                </a:lnTo>
                <a:lnTo>
                  <a:pt x="1031" y="153"/>
                </a:lnTo>
                <a:lnTo>
                  <a:pt x="1019" y="168"/>
                </a:lnTo>
                <a:lnTo>
                  <a:pt x="1006" y="183"/>
                </a:lnTo>
                <a:lnTo>
                  <a:pt x="991" y="195"/>
                </a:lnTo>
                <a:lnTo>
                  <a:pt x="983" y="201"/>
                </a:lnTo>
                <a:lnTo>
                  <a:pt x="975" y="206"/>
                </a:lnTo>
                <a:lnTo>
                  <a:pt x="966" y="210"/>
                </a:lnTo>
                <a:lnTo>
                  <a:pt x="957" y="214"/>
                </a:lnTo>
                <a:lnTo>
                  <a:pt x="947" y="217"/>
                </a:lnTo>
                <a:lnTo>
                  <a:pt x="936" y="219"/>
                </a:lnTo>
                <a:lnTo>
                  <a:pt x="926" y="222"/>
                </a:lnTo>
                <a:lnTo>
                  <a:pt x="914" y="223"/>
                </a:lnTo>
                <a:lnTo>
                  <a:pt x="914" y="223"/>
                </a:lnTo>
                <a:lnTo>
                  <a:pt x="902" y="234"/>
                </a:lnTo>
                <a:lnTo>
                  <a:pt x="895" y="246"/>
                </a:lnTo>
                <a:lnTo>
                  <a:pt x="890" y="256"/>
                </a:lnTo>
                <a:lnTo>
                  <a:pt x="889" y="265"/>
                </a:lnTo>
                <a:lnTo>
                  <a:pt x="889" y="274"/>
                </a:lnTo>
                <a:lnTo>
                  <a:pt x="893" y="282"/>
                </a:lnTo>
                <a:lnTo>
                  <a:pt x="896" y="288"/>
                </a:lnTo>
                <a:lnTo>
                  <a:pt x="901" y="295"/>
                </a:lnTo>
                <a:lnTo>
                  <a:pt x="909" y="309"/>
                </a:lnTo>
                <a:lnTo>
                  <a:pt x="911" y="315"/>
                </a:lnTo>
                <a:lnTo>
                  <a:pt x="913" y="322"/>
                </a:lnTo>
                <a:lnTo>
                  <a:pt x="912" y="328"/>
                </a:lnTo>
                <a:lnTo>
                  <a:pt x="909" y="336"/>
                </a:lnTo>
                <a:lnTo>
                  <a:pt x="902" y="343"/>
                </a:lnTo>
                <a:lnTo>
                  <a:pt x="891" y="351"/>
                </a:lnTo>
                <a:lnTo>
                  <a:pt x="891" y="351"/>
                </a:lnTo>
                <a:lnTo>
                  <a:pt x="889" y="364"/>
                </a:lnTo>
                <a:lnTo>
                  <a:pt x="883" y="378"/>
                </a:lnTo>
                <a:lnTo>
                  <a:pt x="878" y="391"/>
                </a:lnTo>
                <a:lnTo>
                  <a:pt x="871" y="401"/>
                </a:lnTo>
                <a:lnTo>
                  <a:pt x="863" y="412"/>
                </a:lnTo>
                <a:lnTo>
                  <a:pt x="855" y="421"/>
                </a:lnTo>
                <a:lnTo>
                  <a:pt x="841" y="438"/>
                </a:lnTo>
                <a:lnTo>
                  <a:pt x="835" y="445"/>
                </a:lnTo>
                <a:lnTo>
                  <a:pt x="830" y="453"/>
                </a:lnTo>
                <a:lnTo>
                  <a:pt x="827" y="460"/>
                </a:lnTo>
                <a:lnTo>
                  <a:pt x="827" y="467"/>
                </a:lnTo>
                <a:lnTo>
                  <a:pt x="829" y="475"/>
                </a:lnTo>
                <a:lnTo>
                  <a:pt x="834" y="482"/>
                </a:lnTo>
                <a:lnTo>
                  <a:pt x="843" y="490"/>
                </a:lnTo>
                <a:lnTo>
                  <a:pt x="855" y="498"/>
                </a:lnTo>
                <a:lnTo>
                  <a:pt x="855" y="498"/>
                </a:lnTo>
                <a:lnTo>
                  <a:pt x="864" y="503"/>
                </a:lnTo>
                <a:lnTo>
                  <a:pt x="870" y="508"/>
                </a:lnTo>
                <a:lnTo>
                  <a:pt x="875" y="514"/>
                </a:lnTo>
                <a:lnTo>
                  <a:pt x="879" y="520"/>
                </a:lnTo>
                <a:lnTo>
                  <a:pt x="882" y="527"/>
                </a:lnTo>
                <a:lnTo>
                  <a:pt x="884" y="534"/>
                </a:lnTo>
                <a:lnTo>
                  <a:pt x="887" y="547"/>
                </a:lnTo>
                <a:lnTo>
                  <a:pt x="889" y="561"/>
                </a:lnTo>
                <a:lnTo>
                  <a:pt x="891" y="575"/>
                </a:lnTo>
                <a:lnTo>
                  <a:pt x="893" y="582"/>
                </a:lnTo>
                <a:lnTo>
                  <a:pt x="895" y="589"/>
                </a:lnTo>
                <a:lnTo>
                  <a:pt x="898" y="595"/>
                </a:lnTo>
                <a:lnTo>
                  <a:pt x="903" y="600"/>
                </a:lnTo>
                <a:lnTo>
                  <a:pt x="903" y="600"/>
                </a:lnTo>
                <a:lnTo>
                  <a:pt x="904" y="612"/>
                </a:lnTo>
                <a:lnTo>
                  <a:pt x="905" y="623"/>
                </a:lnTo>
                <a:lnTo>
                  <a:pt x="904" y="637"/>
                </a:lnTo>
                <a:lnTo>
                  <a:pt x="904" y="644"/>
                </a:lnTo>
                <a:lnTo>
                  <a:pt x="902" y="651"/>
                </a:lnTo>
                <a:lnTo>
                  <a:pt x="899" y="658"/>
                </a:lnTo>
                <a:lnTo>
                  <a:pt x="896" y="664"/>
                </a:lnTo>
                <a:lnTo>
                  <a:pt x="893" y="669"/>
                </a:lnTo>
                <a:lnTo>
                  <a:pt x="887" y="673"/>
                </a:lnTo>
                <a:lnTo>
                  <a:pt x="881" y="676"/>
                </a:lnTo>
                <a:lnTo>
                  <a:pt x="873" y="677"/>
                </a:lnTo>
                <a:lnTo>
                  <a:pt x="873" y="677"/>
                </a:lnTo>
                <a:lnTo>
                  <a:pt x="868" y="677"/>
                </a:lnTo>
                <a:lnTo>
                  <a:pt x="864" y="677"/>
                </a:lnTo>
                <a:lnTo>
                  <a:pt x="859" y="676"/>
                </a:lnTo>
                <a:lnTo>
                  <a:pt x="855" y="674"/>
                </a:lnTo>
                <a:lnTo>
                  <a:pt x="845" y="668"/>
                </a:lnTo>
                <a:lnTo>
                  <a:pt x="837" y="660"/>
                </a:lnTo>
                <a:lnTo>
                  <a:pt x="828" y="650"/>
                </a:lnTo>
                <a:lnTo>
                  <a:pt x="820" y="638"/>
                </a:lnTo>
                <a:lnTo>
                  <a:pt x="812" y="624"/>
                </a:lnTo>
                <a:lnTo>
                  <a:pt x="804" y="610"/>
                </a:lnTo>
                <a:lnTo>
                  <a:pt x="787" y="576"/>
                </a:lnTo>
                <a:lnTo>
                  <a:pt x="771" y="540"/>
                </a:lnTo>
                <a:lnTo>
                  <a:pt x="752" y="505"/>
                </a:lnTo>
                <a:lnTo>
                  <a:pt x="734" y="471"/>
                </a:lnTo>
                <a:lnTo>
                  <a:pt x="734" y="471"/>
                </a:lnTo>
                <a:lnTo>
                  <a:pt x="729" y="480"/>
                </a:lnTo>
                <a:lnTo>
                  <a:pt x="723" y="486"/>
                </a:lnTo>
                <a:lnTo>
                  <a:pt x="710" y="500"/>
                </a:lnTo>
                <a:lnTo>
                  <a:pt x="704" y="507"/>
                </a:lnTo>
                <a:lnTo>
                  <a:pt x="698" y="514"/>
                </a:lnTo>
                <a:lnTo>
                  <a:pt x="695" y="521"/>
                </a:lnTo>
                <a:lnTo>
                  <a:pt x="693" y="530"/>
                </a:lnTo>
                <a:lnTo>
                  <a:pt x="693" y="530"/>
                </a:lnTo>
                <a:lnTo>
                  <a:pt x="695" y="539"/>
                </a:lnTo>
                <a:lnTo>
                  <a:pt x="698" y="549"/>
                </a:lnTo>
                <a:lnTo>
                  <a:pt x="703" y="557"/>
                </a:lnTo>
                <a:lnTo>
                  <a:pt x="708" y="565"/>
                </a:lnTo>
                <a:lnTo>
                  <a:pt x="713" y="573"/>
                </a:lnTo>
                <a:lnTo>
                  <a:pt x="719" y="582"/>
                </a:lnTo>
                <a:lnTo>
                  <a:pt x="721" y="592"/>
                </a:lnTo>
                <a:lnTo>
                  <a:pt x="723" y="604"/>
                </a:lnTo>
                <a:lnTo>
                  <a:pt x="723" y="604"/>
                </a:lnTo>
                <a:lnTo>
                  <a:pt x="722" y="612"/>
                </a:lnTo>
                <a:lnTo>
                  <a:pt x="721" y="619"/>
                </a:lnTo>
                <a:lnTo>
                  <a:pt x="719" y="624"/>
                </a:lnTo>
                <a:lnTo>
                  <a:pt x="716" y="630"/>
                </a:lnTo>
                <a:lnTo>
                  <a:pt x="710" y="639"/>
                </a:lnTo>
                <a:lnTo>
                  <a:pt x="703" y="648"/>
                </a:lnTo>
                <a:lnTo>
                  <a:pt x="695" y="654"/>
                </a:lnTo>
                <a:lnTo>
                  <a:pt x="689" y="662"/>
                </a:lnTo>
                <a:lnTo>
                  <a:pt x="685" y="667"/>
                </a:lnTo>
                <a:lnTo>
                  <a:pt x="684" y="673"/>
                </a:lnTo>
                <a:lnTo>
                  <a:pt x="683" y="679"/>
                </a:lnTo>
                <a:lnTo>
                  <a:pt x="682" y="685"/>
                </a:lnTo>
                <a:lnTo>
                  <a:pt x="682" y="685"/>
                </a:lnTo>
                <a:lnTo>
                  <a:pt x="683" y="690"/>
                </a:lnTo>
                <a:lnTo>
                  <a:pt x="687" y="696"/>
                </a:lnTo>
                <a:lnTo>
                  <a:pt x="695" y="706"/>
                </a:lnTo>
                <a:lnTo>
                  <a:pt x="700" y="712"/>
                </a:lnTo>
                <a:lnTo>
                  <a:pt x="704" y="718"/>
                </a:lnTo>
                <a:lnTo>
                  <a:pt x="707" y="725"/>
                </a:lnTo>
                <a:lnTo>
                  <a:pt x="708" y="733"/>
                </a:lnTo>
                <a:lnTo>
                  <a:pt x="708" y="733"/>
                </a:lnTo>
                <a:lnTo>
                  <a:pt x="707" y="744"/>
                </a:lnTo>
                <a:lnTo>
                  <a:pt x="704" y="756"/>
                </a:lnTo>
                <a:lnTo>
                  <a:pt x="698" y="767"/>
                </a:lnTo>
                <a:lnTo>
                  <a:pt x="691" y="776"/>
                </a:lnTo>
                <a:lnTo>
                  <a:pt x="682" y="786"/>
                </a:lnTo>
                <a:lnTo>
                  <a:pt x="672" y="795"/>
                </a:lnTo>
                <a:lnTo>
                  <a:pt x="661" y="803"/>
                </a:lnTo>
                <a:lnTo>
                  <a:pt x="650" y="811"/>
                </a:lnTo>
                <a:lnTo>
                  <a:pt x="624" y="824"/>
                </a:lnTo>
                <a:lnTo>
                  <a:pt x="600" y="835"/>
                </a:lnTo>
                <a:lnTo>
                  <a:pt x="577" y="843"/>
                </a:lnTo>
                <a:lnTo>
                  <a:pt x="558" y="850"/>
                </a:lnTo>
                <a:lnTo>
                  <a:pt x="558" y="850"/>
                </a:lnTo>
                <a:lnTo>
                  <a:pt x="531" y="860"/>
                </a:lnTo>
                <a:lnTo>
                  <a:pt x="507" y="872"/>
                </a:lnTo>
                <a:lnTo>
                  <a:pt x="485" y="883"/>
                </a:lnTo>
                <a:lnTo>
                  <a:pt x="464" y="896"/>
                </a:lnTo>
                <a:lnTo>
                  <a:pt x="423" y="920"/>
                </a:lnTo>
                <a:lnTo>
                  <a:pt x="402" y="932"/>
                </a:lnTo>
                <a:lnTo>
                  <a:pt x="378" y="942"/>
                </a:lnTo>
                <a:lnTo>
                  <a:pt x="378" y="942"/>
                </a:lnTo>
                <a:lnTo>
                  <a:pt x="369" y="946"/>
                </a:lnTo>
                <a:lnTo>
                  <a:pt x="360" y="949"/>
                </a:lnTo>
                <a:lnTo>
                  <a:pt x="351" y="954"/>
                </a:lnTo>
                <a:lnTo>
                  <a:pt x="342" y="959"/>
                </a:lnTo>
                <a:lnTo>
                  <a:pt x="328" y="971"/>
                </a:lnTo>
                <a:lnTo>
                  <a:pt x="314" y="982"/>
                </a:lnTo>
                <a:lnTo>
                  <a:pt x="300" y="994"/>
                </a:lnTo>
                <a:lnTo>
                  <a:pt x="293" y="998"/>
                </a:lnTo>
                <a:lnTo>
                  <a:pt x="285" y="1003"/>
                </a:lnTo>
                <a:lnTo>
                  <a:pt x="277" y="1007"/>
                </a:lnTo>
                <a:lnTo>
                  <a:pt x="269" y="1010"/>
                </a:lnTo>
                <a:lnTo>
                  <a:pt x="260" y="1011"/>
                </a:lnTo>
                <a:lnTo>
                  <a:pt x="249" y="1012"/>
                </a:lnTo>
                <a:lnTo>
                  <a:pt x="249" y="1012"/>
                </a:lnTo>
                <a:lnTo>
                  <a:pt x="248" y="1011"/>
                </a:lnTo>
                <a:lnTo>
                  <a:pt x="247" y="1010"/>
                </a:lnTo>
                <a:lnTo>
                  <a:pt x="245" y="1004"/>
                </a:lnTo>
                <a:lnTo>
                  <a:pt x="242" y="998"/>
                </a:lnTo>
                <a:lnTo>
                  <a:pt x="242" y="994"/>
                </a:lnTo>
                <a:lnTo>
                  <a:pt x="242" y="994"/>
                </a:lnTo>
                <a:lnTo>
                  <a:pt x="224" y="994"/>
                </a:lnTo>
                <a:lnTo>
                  <a:pt x="224" y="994"/>
                </a:lnTo>
                <a:lnTo>
                  <a:pt x="214" y="995"/>
                </a:lnTo>
                <a:lnTo>
                  <a:pt x="204" y="996"/>
                </a:lnTo>
                <a:lnTo>
                  <a:pt x="196" y="1000"/>
                </a:lnTo>
                <a:lnTo>
                  <a:pt x="189" y="1005"/>
                </a:lnTo>
                <a:lnTo>
                  <a:pt x="183" y="1011"/>
                </a:lnTo>
                <a:lnTo>
                  <a:pt x="177" y="1017"/>
                </a:lnTo>
                <a:lnTo>
                  <a:pt x="171" y="1025"/>
                </a:lnTo>
                <a:lnTo>
                  <a:pt x="166" y="1033"/>
                </a:lnTo>
                <a:lnTo>
                  <a:pt x="158" y="1051"/>
                </a:lnTo>
                <a:lnTo>
                  <a:pt x="153" y="1071"/>
                </a:lnTo>
                <a:lnTo>
                  <a:pt x="147" y="1092"/>
                </a:lnTo>
                <a:lnTo>
                  <a:pt x="143" y="1111"/>
                </a:lnTo>
                <a:lnTo>
                  <a:pt x="143" y="1111"/>
                </a:lnTo>
                <a:lnTo>
                  <a:pt x="142" y="1115"/>
                </a:lnTo>
                <a:lnTo>
                  <a:pt x="141" y="1118"/>
                </a:lnTo>
                <a:lnTo>
                  <a:pt x="137" y="1126"/>
                </a:lnTo>
                <a:lnTo>
                  <a:pt x="128" y="1134"/>
                </a:lnTo>
                <a:lnTo>
                  <a:pt x="119" y="1145"/>
                </a:lnTo>
                <a:lnTo>
                  <a:pt x="101" y="1163"/>
                </a:lnTo>
                <a:lnTo>
                  <a:pt x="88" y="1177"/>
                </a:lnTo>
                <a:lnTo>
                  <a:pt x="88" y="1177"/>
                </a:lnTo>
                <a:lnTo>
                  <a:pt x="81" y="1186"/>
                </a:lnTo>
                <a:lnTo>
                  <a:pt x="76" y="1194"/>
                </a:lnTo>
                <a:lnTo>
                  <a:pt x="67" y="1211"/>
                </a:lnTo>
                <a:lnTo>
                  <a:pt x="61" y="1230"/>
                </a:lnTo>
                <a:lnTo>
                  <a:pt x="55" y="1248"/>
                </a:lnTo>
                <a:lnTo>
                  <a:pt x="46" y="1288"/>
                </a:lnTo>
                <a:lnTo>
                  <a:pt x="40" y="1309"/>
                </a:lnTo>
                <a:lnTo>
                  <a:pt x="33" y="1331"/>
                </a:lnTo>
                <a:lnTo>
                  <a:pt x="33" y="1331"/>
                </a:lnTo>
                <a:lnTo>
                  <a:pt x="30" y="1338"/>
                </a:lnTo>
                <a:lnTo>
                  <a:pt x="25" y="1345"/>
                </a:lnTo>
                <a:lnTo>
                  <a:pt x="13" y="1360"/>
                </a:lnTo>
                <a:lnTo>
                  <a:pt x="9" y="1367"/>
                </a:lnTo>
                <a:lnTo>
                  <a:pt x="4" y="1375"/>
                </a:lnTo>
                <a:lnTo>
                  <a:pt x="1" y="1382"/>
                </a:lnTo>
                <a:lnTo>
                  <a:pt x="0" y="1390"/>
                </a:lnTo>
                <a:lnTo>
                  <a:pt x="0" y="1390"/>
                </a:lnTo>
                <a:lnTo>
                  <a:pt x="1" y="1393"/>
                </a:lnTo>
                <a:lnTo>
                  <a:pt x="3" y="1397"/>
                </a:lnTo>
                <a:lnTo>
                  <a:pt x="9" y="1402"/>
                </a:lnTo>
                <a:lnTo>
                  <a:pt x="15" y="1408"/>
                </a:lnTo>
                <a:lnTo>
                  <a:pt x="17" y="1410"/>
                </a:lnTo>
                <a:lnTo>
                  <a:pt x="18" y="1413"/>
                </a:lnTo>
                <a:lnTo>
                  <a:pt x="18" y="1413"/>
                </a:lnTo>
                <a:lnTo>
                  <a:pt x="23" y="1425"/>
                </a:lnTo>
                <a:lnTo>
                  <a:pt x="28" y="1437"/>
                </a:lnTo>
                <a:lnTo>
                  <a:pt x="34" y="1447"/>
                </a:lnTo>
                <a:lnTo>
                  <a:pt x="40" y="1456"/>
                </a:lnTo>
                <a:lnTo>
                  <a:pt x="47" y="1465"/>
                </a:lnTo>
                <a:lnTo>
                  <a:pt x="55" y="1473"/>
                </a:lnTo>
                <a:lnTo>
                  <a:pt x="70" y="1486"/>
                </a:lnTo>
                <a:lnTo>
                  <a:pt x="85" y="1500"/>
                </a:lnTo>
                <a:lnTo>
                  <a:pt x="99" y="1516"/>
                </a:lnTo>
                <a:lnTo>
                  <a:pt x="105" y="1524"/>
                </a:lnTo>
                <a:lnTo>
                  <a:pt x="111" y="1534"/>
                </a:lnTo>
                <a:lnTo>
                  <a:pt x="116" y="1544"/>
                </a:lnTo>
                <a:lnTo>
                  <a:pt x="120" y="1555"/>
                </a:lnTo>
                <a:lnTo>
                  <a:pt x="120" y="1555"/>
                </a:lnTo>
                <a:lnTo>
                  <a:pt x="125" y="1562"/>
                </a:lnTo>
                <a:lnTo>
                  <a:pt x="131" y="1569"/>
                </a:lnTo>
                <a:lnTo>
                  <a:pt x="141" y="1582"/>
                </a:lnTo>
                <a:lnTo>
                  <a:pt x="146" y="1590"/>
                </a:lnTo>
                <a:lnTo>
                  <a:pt x="150" y="1597"/>
                </a:lnTo>
                <a:lnTo>
                  <a:pt x="153" y="1605"/>
                </a:lnTo>
                <a:lnTo>
                  <a:pt x="154" y="1614"/>
                </a:lnTo>
                <a:lnTo>
                  <a:pt x="154" y="1614"/>
                </a:lnTo>
                <a:lnTo>
                  <a:pt x="154" y="1622"/>
                </a:lnTo>
                <a:lnTo>
                  <a:pt x="153" y="1630"/>
                </a:lnTo>
                <a:lnTo>
                  <a:pt x="148" y="1644"/>
                </a:lnTo>
                <a:lnTo>
                  <a:pt x="145" y="1658"/>
                </a:lnTo>
                <a:lnTo>
                  <a:pt x="143" y="1665"/>
                </a:lnTo>
                <a:lnTo>
                  <a:pt x="143" y="1673"/>
                </a:lnTo>
                <a:lnTo>
                  <a:pt x="143" y="1673"/>
                </a:lnTo>
                <a:lnTo>
                  <a:pt x="143" y="1688"/>
                </a:lnTo>
                <a:lnTo>
                  <a:pt x="145" y="1702"/>
                </a:lnTo>
                <a:lnTo>
                  <a:pt x="148" y="1730"/>
                </a:lnTo>
                <a:lnTo>
                  <a:pt x="153" y="1758"/>
                </a:lnTo>
                <a:lnTo>
                  <a:pt x="154" y="1772"/>
                </a:lnTo>
                <a:lnTo>
                  <a:pt x="154" y="1787"/>
                </a:lnTo>
                <a:lnTo>
                  <a:pt x="154" y="1787"/>
                </a:lnTo>
                <a:lnTo>
                  <a:pt x="154" y="1853"/>
                </a:lnTo>
                <a:lnTo>
                  <a:pt x="154" y="1853"/>
                </a:lnTo>
                <a:lnTo>
                  <a:pt x="153" y="1860"/>
                </a:lnTo>
                <a:lnTo>
                  <a:pt x="149" y="1868"/>
                </a:lnTo>
                <a:lnTo>
                  <a:pt x="147" y="1879"/>
                </a:lnTo>
                <a:lnTo>
                  <a:pt x="146" y="1885"/>
                </a:lnTo>
                <a:lnTo>
                  <a:pt x="147" y="1890"/>
                </a:lnTo>
                <a:lnTo>
                  <a:pt x="147" y="1890"/>
                </a:lnTo>
                <a:lnTo>
                  <a:pt x="149" y="1896"/>
                </a:lnTo>
                <a:lnTo>
                  <a:pt x="153" y="1902"/>
                </a:lnTo>
                <a:lnTo>
                  <a:pt x="157" y="1906"/>
                </a:lnTo>
                <a:lnTo>
                  <a:pt x="162" y="1910"/>
                </a:lnTo>
                <a:lnTo>
                  <a:pt x="173" y="1917"/>
                </a:lnTo>
                <a:lnTo>
                  <a:pt x="185" y="1921"/>
                </a:lnTo>
                <a:lnTo>
                  <a:pt x="198" y="1926"/>
                </a:lnTo>
                <a:lnTo>
                  <a:pt x="209" y="1932"/>
                </a:lnTo>
                <a:lnTo>
                  <a:pt x="214" y="1936"/>
                </a:lnTo>
                <a:lnTo>
                  <a:pt x="217" y="1941"/>
                </a:lnTo>
                <a:lnTo>
                  <a:pt x="222" y="1946"/>
                </a:lnTo>
                <a:lnTo>
                  <a:pt x="224" y="1952"/>
                </a:lnTo>
                <a:lnTo>
                  <a:pt x="224" y="1952"/>
                </a:lnTo>
                <a:lnTo>
                  <a:pt x="227" y="1966"/>
                </a:lnTo>
                <a:lnTo>
                  <a:pt x="232" y="1983"/>
                </a:lnTo>
                <a:lnTo>
                  <a:pt x="239" y="2018"/>
                </a:lnTo>
                <a:lnTo>
                  <a:pt x="246" y="2059"/>
                </a:lnTo>
                <a:lnTo>
                  <a:pt x="246" y="2059"/>
                </a:lnTo>
                <a:lnTo>
                  <a:pt x="244" y="2089"/>
                </a:lnTo>
                <a:lnTo>
                  <a:pt x="241" y="2116"/>
                </a:lnTo>
                <a:lnTo>
                  <a:pt x="240" y="2128"/>
                </a:lnTo>
                <a:lnTo>
                  <a:pt x="237" y="2141"/>
                </a:lnTo>
                <a:lnTo>
                  <a:pt x="231" y="2153"/>
                </a:lnTo>
                <a:lnTo>
                  <a:pt x="224" y="2165"/>
                </a:lnTo>
                <a:lnTo>
                  <a:pt x="224" y="2165"/>
                </a:lnTo>
                <a:lnTo>
                  <a:pt x="139" y="2165"/>
                </a:lnTo>
                <a:lnTo>
                  <a:pt x="139" y="2165"/>
                </a:lnTo>
                <a:lnTo>
                  <a:pt x="139" y="2165"/>
                </a:lnTo>
                <a:lnTo>
                  <a:pt x="132" y="2171"/>
                </a:lnTo>
                <a:lnTo>
                  <a:pt x="126" y="2178"/>
                </a:lnTo>
                <a:lnTo>
                  <a:pt x="120" y="2184"/>
                </a:lnTo>
                <a:lnTo>
                  <a:pt x="116" y="2192"/>
                </a:lnTo>
                <a:lnTo>
                  <a:pt x="107" y="2208"/>
                </a:lnTo>
                <a:lnTo>
                  <a:pt x="95" y="2227"/>
                </a:lnTo>
                <a:lnTo>
                  <a:pt x="95" y="2227"/>
                </a:lnTo>
                <a:lnTo>
                  <a:pt x="99" y="2237"/>
                </a:lnTo>
                <a:lnTo>
                  <a:pt x="101" y="2245"/>
                </a:lnTo>
                <a:lnTo>
                  <a:pt x="103" y="2256"/>
                </a:lnTo>
                <a:lnTo>
                  <a:pt x="104" y="2268"/>
                </a:lnTo>
                <a:lnTo>
                  <a:pt x="104" y="2279"/>
                </a:lnTo>
                <a:lnTo>
                  <a:pt x="103" y="2285"/>
                </a:lnTo>
                <a:lnTo>
                  <a:pt x="101" y="2290"/>
                </a:lnTo>
                <a:lnTo>
                  <a:pt x="99" y="2294"/>
                </a:lnTo>
                <a:lnTo>
                  <a:pt x="95" y="2298"/>
                </a:lnTo>
                <a:lnTo>
                  <a:pt x="95" y="2298"/>
                </a:lnTo>
                <a:lnTo>
                  <a:pt x="89" y="2298"/>
                </a:lnTo>
                <a:lnTo>
                  <a:pt x="87" y="2296"/>
                </a:lnTo>
                <a:lnTo>
                  <a:pt x="85" y="2294"/>
                </a:lnTo>
                <a:lnTo>
                  <a:pt x="85" y="2294"/>
                </a:lnTo>
                <a:lnTo>
                  <a:pt x="85" y="2342"/>
                </a:lnTo>
                <a:lnTo>
                  <a:pt x="85" y="2342"/>
                </a:lnTo>
                <a:lnTo>
                  <a:pt x="85" y="2352"/>
                </a:lnTo>
                <a:lnTo>
                  <a:pt x="87" y="2359"/>
                </a:lnTo>
                <a:lnTo>
                  <a:pt x="89" y="2363"/>
                </a:lnTo>
                <a:lnTo>
                  <a:pt x="94" y="2368"/>
                </a:lnTo>
                <a:lnTo>
                  <a:pt x="103" y="2377"/>
                </a:lnTo>
                <a:lnTo>
                  <a:pt x="108" y="2384"/>
                </a:lnTo>
                <a:lnTo>
                  <a:pt x="114" y="2393"/>
                </a:lnTo>
                <a:lnTo>
                  <a:pt x="114" y="2393"/>
                </a:lnTo>
                <a:lnTo>
                  <a:pt x="116" y="2399"/>
                </a:lnTo>
                <a:lnTo>
                  <a:pt x="116" y="2405"/>
                </a:lnTo>
                <a:lnTo>
                  <a:pt x="115" y="2416"/>
                </a:lnTo>
                <a:lnTo>
                  <a:pt x="114" y="2422"/>
                </a:lnTo>
                <a:lnTo>
                  <a:pt x="115" y="2426"/>
                </a:lnTo>
                <a:lnTo>
                  <a:pt x="117" y="2430"/>
                </a:lnTo>
                <a:lnTo>
                  <a:pt x="120" y="2433"/>
                </a:lnTo>
                <a:lnTo>
                  <a:pt x="120" y="2433"/>
                </a:lnTo>
                <a:lnTo>
                  <a:pt x="130" y="2439"/>
                </a:lnTo>
                <a:lnTo>
                  <a:pt x="139" y="2443"/>
                </a:lnTo>
                <a:lnTo>
                  <a:pt x="148" y="2444"/>
                </a:lnTo>
                <a:lnTo>
                  <a:pt x="156" y="2444"/>
                </a:lnTo>
                <a:lnTo>
                  <a:pt x="174" y="2444"/>
                </a:lnTo>
                <a:lnTo>
                  <a:pt x="184" y="2445"/>
                </a:lnTo>
                <a:lnTo>
                  <a:pt x="194" y="2448"/>
                </a:lnTo>
                <a:lnTo>
                  <a:pt x="194" y="2448"/>
                </a:lnTo>
                <a:lnTo>
                  <a:pt x="203" y="2454"/>
                </a:lnTo>
                <a:lnTo>
                  <a:pt x="210" y="2460"/>
                </a:lnTo>
                <a:lnTo>
                  <a:pt x="217" y="2468"/>
                </a:lnTo>
                <a:lnTo>
                  <a:pt x="223" y="2477"/>
                </a:lnTo>
                <a:lnTo>
                  <a:pt x="232" y="2497"/>
                </a:lnTo>
                <a:lnTo>
                  <a:pt x="237" y="2506"/>
                </a:lnTo>
                <a:lnTo>
                  <a:pt x="242" y="2514"/>
                </a:lnTo>
                <a:lnTo>
                  <a:pt x="242" y="2514"/>
                </a:lnTo>
                <a:lnTo>
                  <a:pt x="247" y="2519"/>
                </a:lnTo>
                <a:lnTo>
                  <a:pt x="252" y="2523"/>
                </a:lnTo>
                <a:lnTo>
                  <a:pt x="264" y="2529"/>
                </a:lnTo>
                <a:lnTo>
                  <a:pt x="275" y="2534"/>
                </a:lnTo>
                <a:lnTo>
                  <a:pt x="279" y="2536"/>
                </a:lnTo>
                <a:lnTo>
                  <a:pt x="283" y="2540"/>
                </a:lnTo>
                <a:lnTo>
                  <a:pt x="283" y="2540"/>
                </a:lnTo>
                <a:lnTo>
                  <a:pt x="285" y="2548"/>
                </a:lnTo>
                <a:lnTo>
                  <a:pt x="286" y="2558"/>
                </a:lnTo>
                <a:lnTo>
                  <a:pt x="288" y="2580"/>
                </a:lnTo>
                <a:lnTo>
                  <a:pt x="290" y="2590"/>
                </a:lnTo>
                <a:lnTo>
                  <a:pt x="293" y="2598"/>
                </a:lnTo>
                <a:lnTo>
                  <a:pt x="295" y="2601"/>
                </a:lnTo>
                <a:lnTo>
                  <a:pt x="298" y="2604"/>
                </a:lnTo>
                <a:lnTo>
                  <a:pt x="301" y="2605"/>
                </a:lnTo>
                <a:lnTo>
                  <a:pt x="305" y="2606"/>
                </a:lnTo>
                <a:lnTo>
                  <a:pt x="305" y="2606"/>
                </a:lnTo>
                <a:lnTo>
                  <a:pt x="325" y="2606"/>
                </a:lnTo>
                <a:lnTo>
                  <a:pt x="333" y="2607"/>
                </a:lnTo>
                <a:lnTo>
                  <a:pt x="341" y="2608"/>
                </a:lnTo>
                <a:lnTo>
                  <a:pt x="351" y="2611"/>
                </a:lnTo>
                <a:lnTo>
                  <a:pt x="359" y="2614"/>
                </a:lnTo>
                <a:lnTo>
                  <a:pt x="368" y="2619"/>
                </a:lnTo>
                <a:lnTo>
                  <a:pt x="378" y="2624"/>
                </a:lnTo>
                <a:lnTo>
                  <a:pt x="378" y="2624"/>
                </a:lnTo>
                <a:lnTo>
                  <a:pt x="386" y="2630"/>
                </a:lnTo>
                <a:lnTo>
                  <a:pt x="393" y="2636"/>
                </a:lnTo>
                <a:lnTo>
                  <a:pt x="405" y="2651"/>
                </a:lnTo>
                <a:lnTo>
                  <a:pt x="412" y="2658"/>
                </a:lnTo>
                <a:lnTo>
                  <a:pt x="418" y="2664"/>
                </a:lnTo>
                <a:lnTo>
                  <a:pt x="428" y="2667"/>
                </a:lnTo>
                <a:lnTo>
                  <a:pt x="432" y="2668"/>
                </a:lnTo>
                <a:lnTo>
                  <a:pt x="437" y="2669"/>
                </a:lnTo>
                <a:lnTo>
                  <a:pt x="437" y="2669"/>
                </a:lnTo>
                <a:lnTo>
                  <a:pt x="443" y="2668"/>
                </a:lnTo>
                <a:lnTo>
                  <a:pt x="448" y="2667"/>
                </a:lnTo>
                <a:lnTo>
                  <a:pt x="453" y="2664"/>
                </a:lnTo>
                <a:lnTo>
                  <a:pt x="456" y="2660"/>
                </a:lnTo>
                <a:lnTo>
                  <a:pt x="460" y="2655"/>
                </a:lnTo>
                <a:lnTo>
                  <a:pt x="463" y="2651"/>
                </a:lnTo>
                <a:lnTo>
                  <a:pt x="468" y="2638"/>
                </a:lnTo>
                <a:lnTo>
                  <a:pt x="470" y="2624"/>
                </a:lnTo>
                <a:lnTo>
                  <a:pt x="473" y="2609"/>
                </a:lnTo>
                <a:lnTo>
                  <a:pt x="474" y="2594"/>
                </a:lnTo>
                <a:lnTo>
                  <a:pt x="474" y="2581"/>
                </a:lnTo>
                <a:lnTo>
                  <a:pt x="474" y="2581"/>
                </a:lnTo>
                <a:lnTo>
                  <a:pt x="475" y="2571"/>
                </a:lnTo>
                <a:lnTo>
                  <a:pt x="477" y="2566"/>
                </a:lnTo>
                <a:lnTo>
                  <a:pt x="482" y="2561"/>
                </a:lnTo>
                <a:lnTo>
                  <a:pt x="486" y="2559"/>
                </a:lnTo>
                <a:lnTo>
                  <a:pt x="497" y="2558"/>
                </a:lnTo>
                <a:lnTo>
                  <a:pt x="502" y="2557"/>
                </a:lnTo>
                <a:lnTo>
                  <a:pt x="507" y="2554"/>
                </a:lnTo>
                <a:lnTo>
                  <a:pt x="507" y="2554"/>
                </a:lnTo>
                <a:lnTo>
                  <a:pt x="509" y="2550"/>
                </a:lnTo>
                <a:lnTo>
                  <a:pt x="512" y="2543"/>
                </a:lnTo>
                <a:lnTo>
                  <a:pt x="513" y="2535"/>
                </a:lnTo>
                <a:lnTo>
                  <a:pt x="514" y="2525"/>
                </a:lnTo>
                <a:lnTo>
                  <a:pt x="514" y="2508"/>
                </a:lnTo>
                <a:lnTo>
                  <a:pt x="515" y="2501"/>
                </a:lnTo>
                <a:lnTo>
                  <a:pt x="517" y="2496"/>
                </a:lnTo>
                <a:lnTo>
                  <a:pt x="517" y="2496"/>
                </a:lnTo>
                <a:lnTo>
                  <a:pt x="522" y="2490"/>
                </a:lnTo>
                <a:lnTo>
                  <a:pt x="528" y="2485"/>
                </a:lnTo>
                <a:lnTo>
                  <a:pt x="535" y="2482"/>
                </a:lnTo>
                <a:lnTo>
                  <a:pt x="543" y="2478"/>
                </a:lnTo>
                <a:lnTo>
                  <a:pt x="559" y="2473"/>
                </a:lnTo>
                <a:lnTo>
                  <a:pt x="576" y="2468"/>
                </a:lnTo>
                <a:lnTo>
                  <a:pt x="590" y="2462"/>
                </a:lnTo>
                <a:lnTo>
                  <a:pt x="596" y="2460"/>
                </a:lnTo>
                <a:lnTo>
                  <a:pt x="600" y="2456"/>
                </a:lnTo>
                <a:lnTo>
                  <a:pt x="604" y="2452"/>
                </a:lnTo>
                <a:lnTo>
                  <a:pt x="605" y="2447"/>
                </a:lnTo>
                <a:lnTo>
                  <a:pt x="605" y="2440"/>
                </a:lnTo>
                <a:lnTo>
                  <a:pt x="601" y="2433"/>
                </a:lnTo>
                <a:lnTo>
                  <a:pt x="601" y="2433"/>
                </a:lnTo>
                <a:lnTo>
                  <a:pt x="597" y="2422"/>
                </a:lnTo>
                <a:lnTo>
                  <a:pt x="593" y="2410"/>
                </a:lnTo>
                <a:lnTo>
                  <a:pt x="585" y="2390"/>
                </a:lnTo>
                <a:lnTo>
                  <a:pt x="582" y="2380"/>
                </a:lnTo>
                <a:lnTo>
                  <a:pt x="576" y="2374"/>
                </a:lnTo>
                <a:lnTo>
                  <a:pt x="574" y="2371"/>
                </a:lnTo>
                <a:lnTo>
                  <a:pt x="569" y="2369"/>
                </a:lnTo>
                <a:lnTo>
                  <a:pt x="566" y="2368"/>
                </a:lnTo>
                <a:lnTo>
                  <a:pt x="561" y="2367"/>
                </a:lnTo>
                <a:lnTo>
                  <a:pt x="561" y="2367"/>
                </a:lnTo>
                <a:lnTo>
                  <a:pt x="557" y="2368"/>
                </a:lnTo>
                <a:lnTo>
                  <a:pt x="553" y="2369"/>
                </a:lnTo>
                <a:lnTo>
                  <a:pt x="551" y="2371"/>
                </a:lnTo>
                <a:lnTo>
                  <a:pt x="550" y="2375"/>
                </a:lnTo>
                <a:lnTo>
                  <a:pt x="546" y="2379"/>
                </a:lnTo>
                <a:lnTo>
                  <a:pt x="545" y="2382"/>
                </a:lnTo>
                <a:lnTo>
                  <a:pt x="543" y="2382"/>
                </a:lnTo>
                <a:lnTo>
                  <a:pt x="543" y="2382"/>
                </a:lnTo>
                <a:lnTo>
                  <a:pt x="538" y="2382"/>
                </a:lnTo>
                <a:lnTo>
                  <a:pt x="535" y="2379"/>
                </a:lnTo>
                <a:lnTo>
                  <a:pt x="531" y="2376"/>
                </a:lnTo>
                <a:lnTo>
                  <a:pt x="529" y="2372"/>
                </a:lnTo>
                <a:lnTo>
                  <a:pt x="525" y="2363"/>
                </a:lnTo>
                <a:lnTo>
                  <a:pt x="524" y="2356"/>
                </a:lnTo>
                <a:lnTo>
                  <a:pt x="524" y="2356"/>
                </a:lnTo>
                <a:lnTo>
                  <a:pt x="525" y="2352"/>
                </a:lnTo>
                <a:lnTo>
                  <a:pt x="527" y="2348"/>
                </a:lnTo>
                <a:lnTo>
                  <a:pt x="530" y="2341"/>
                </a:lnTo>
                <a:lnTo>
                  <a:pt x="542" y="2328"/>
                </a:lnTo>
                <a:lnTo>
                  <a:pt x="546" y="2321"/>
                </a:lnTo>
                <a:lnTo>
                  <a:pt x="548" y="2316"/>
                </a:lnTo>
                <a:lnTo>
                  <a:pt x="550" y="2311"/>
                </a:lnTo>
                <a:lnTo>
                  <a:pt x="550" y="2306"/>
                </a:lnTo>
                <a:lnTo>
                  <a:pt x="548" y="2299"/>
                </a:lnTo>
                <a:lnTo>
                  <a:pt x="546" y="2292"/>
                </a:lnTo>
                <a:lnTo>
                  <a:pt x="543" y="2283"/>
                </a:lnTo>
                <a:lnTo>
                  <a:pt x="543" y="2283"/>
                </a:lnTo>
                <a:lnTo>
                  <a:pt x="547" y="2272"/>
                </a:lnTo>
                <a:lnTo>
                  <a:pt x="554" y="2258"/>
                </a:lnTo>
                <a:lnTo>
                  <a:pt x="563" y="2245"/>
                </a:lnTo>
                <a:lnTo>
                  <a:pt x="573" y="2231"/>
                </a:lnTo>
                <a:lnTo>
                  <a:pt x="583" y="2218"/>
                </a:lnTo>
                <a:lnTo>
                  <a:pt x="594" y="2208"/>
                </a:lnTo>
                <a:lnTo>
                  <a:pt x="599" y="2204"/>
                </a:lnTo>
                <a:lnTo>
                  <a:pt x="605" y="2201"/>
                </a:lnTo>
                <a:lnTo>
                  <a:pt x="611" y="2199"/>
                </a:lnTo>
                <a:lnTo>
                  <a:pt x="616" y="2199"/>
                </a:lnTo>
                <a:lnTo>
                  <a:pt x="616" y="2199"/>
                </a:lnTo>
                <a:lnTo>
                  <a:pt x="620" y="2199"/>
                </a:lnTo>
                <a:lnTo>
                  <a:pt x="623" y="2201"/>
                </a:lnTo>
                <a:lnTo>
                  <a:pt x="626" y="2203"/>
                </a:lnTo>
                <a:lnTo>
                  <a:pt x="628" y="2207"/>
                </a:lnTo>
                <a:lnTo>
                  <a:pt x="630" y="2216"/>
                </a:lnTo>
                <a:lnTo>
                  <a:pt x="631" y="2224"/>
                </a:lnTo>
                <a:lnTo>
                  <a:pt x="631" y="2224"/>
                </a:lnTo>
                <a:lnTo>
                  <a:pt x="630" y="2230"/>
                </a:lnTo>
                <a:lnTo>
                  <a:pt x="629" y="2233"/>
                </a:lnTo>
                <a:lnTo>
                  <a:pt x="627" y="2237"/>
                </a:lnTo>
                <a:lnTo>
                  <a:pt x="623" y="2240"/>
                </a:lnTo>
                <a:lnTo>
                  <a:pt x="619" y="2245"/>
                </a:lnTo>
                <a:lnTo>
                  <a:pt x="618" y="2247"/>
                </a:lnTo>
                <a:lnTo>
                  <a:pt x="616" y="2249"/>
                </a:lnTo>
                <a:lnTo>
                  <a:pt x="616" y="2249"/>
                </a:lnTo>
                <a:lnTo>
                  <a:pt x="618" y="2253"/>
                </a:lnTo>
                <a:lnTo>
                  <a:pt x="621" y="2256"/>
                </a:lnTo>
                <a:lnTo>
                  <a:pt x="632" y="2264"/>
                </a:lnTo>
                <a:lnTo>
                  <a:pt x="650" y="2273"/>
                </a:lnTo>
                <a:lnTo>
                  <a:pt x="670" y="2283"/>
                </a:lnTo>
                <a:lnTo>
                  <a:pt x="692" y="2291"/>
                </a:lnTo>
                <a:lnTo>
                  <a:pt x="712" y="2299"/>
                </a:lnTo>
                <a:lnTo>
                  <a:pt x="729" y="2303"/>
                </a:lnTo>
                <a:lnTo>
                  <a:pt x="741" y="2305"/>
                </a:lnTo>
                <a:lnTo>
                  <a:pt x="741" y="2305"/>
                </a:lnTo>
                <a:lnTo>
                  <a:pt x="746" y="2305"/>
                </a:lnTo>
                <a:lnTo>
                  <a:pt x="751" y="2303"/>
                </a:lnTo>
                <a:lnTo>
                  <a:pt x="761" y="2299"/>
                </a:lnTo>
                <a:lnTo>
                  <a:pt x="772" y="2295"/>
                </a:lnTo>
                <a:lnTo>
                  <a:pt x="776" y="2294"/>
                </a:lnTo>
                <a:lnTo>
                  <a:pt x="782" y="2294"/>
                </a:lnTo>
                <a:lnTo>
                  <a:pt x="782" y="2294"/>
                </a:lnTo>
                <a:lnTo>
                  <a:pt x="794" y="2295"/>
                </a:lnTo>
                <a:lnTo>
                  <a:pt x="804" y="2298"/>
                </a:lnTo>
                <a:lnTo>
                  <a:pt x="814" y="2301"/>
                </a:lnTo>
                <a:lnTo>
                  <a:pt x="823" y="2306"/>
                </a:lnTo>
                <a:lnTo>
                  <a:pt x="833" y="2309"/>
                </a:lnTo>
                <a:lnTo>
                  <a:pt x="842" y="2313"/>
                </a:lnTo>
                <a:lnTo>
                  <a:pt x="851" y="2314"/>
                </a:lnTo>
                <a:lnTo>
                  <a:pt x="863" y="2313"/>
                </a:lnTo>
                <a:lnTo>
                  <a:pt x="863" y="2313"/>
                </a:lnTo>
                <a:lnTo>
                  <a:pt x="876" y="2307"/>
                </a:lnTo>
                <a:lnTo>
                  <a:pt x="888" y="2301"/>
                </a:lnTo>
                <a:lnTo>
                  <a:pt x="898" y="2295"/>
                </a:lnTo>
                <a:lnTo>
                  <a:pt x="906" y="2288"/>
                </a:lnTo>
                <a:lnTo>
                  <a:pt x="914" y="2280"/>
                </a:lnTo>
                <a:lnTo>
                  <a:pt x="920" y="2271"/>
                </a:lnTo>
                <a:lnTo>
                  <a:pt x="927" y="2261"/>
                </a:lnTo>
                <a:lnTo>
                  <a:pt x="932" y="2249"/>
                </a:lnTo>
                <a:lnTo>
                  <a:pt x="932" y="2249"/>
                </a:lnTo>
                <a:lnTo>
                  <a:pt x="954" y="2249"/>
                </a:lnTo>
                <a:lnTo>
                  <a:pt x="954" y="2249"/>
                </a:lnTo>
                <a:lnTo>
                  <a:pt x="954" y="2249"/>
                </a:lnTo>
                <a:lnTo>
                  <a:pt x="960" y="2239"/>
                </a:lnTo>
                <a:lnTo>
                  <a:pt x="965" y="2229"/>
                </a:lnTo>
                <a:lnTo>
                  <a:pt x="972" y="2209"/>
                </a:lnTo>
                <a:lnTo>
                  <a:pt x="979" y="2189"/>
                </a:lnTo>
                <a:lnTo>
                  <a:pt x="982" y="2181"/>
                </a:lnTo>
                <a:lnTo>
                  <a:pt x="987" y="2172"/>
                </a:lnTo>
                <a:lnTo>
                  <a:pt x="987" y="2172"/>
                </a:lnTo>
                <a:lnTo>
                  <a:pt x="991" y="2166"/>
                </a:lnTo>
                <a:lnTo>
                  <a:pt x="995" y="2161"/>
                </a:lnTo>
                <a:lnTo>
                  <a:pt x="1000" y="2157"/>
                </a:lnTo>
                <a:lnTo>
                  <a:pt x="1004" y="2154"/>
                </a:lnTo>
                <a:lnTo>
                  <a:pt x="1014" y="2148"/>
                </a:lnTo>
                <a:lnTo>
                  <a:pt x="1026" y="2143"/>
                </a:lnTo>
                <a:lnTo>
                  <a:pt x="1036" y="2140"/>
                </a:lnTo>
                <a:lnTo>
                  <a:pt x="1047" y="2135"/>
                </a:lnTo>
                <a:lnTo>
                  <a:pt x="1052" y="2132"/>
                </a:lnTo>
                <a:lnTo>
                  <a:pt x="1057" y="2127"/>
                </a:lnTo>
                <a:lnTo>
                  <a:pt x="1061" y="2123"/>
                </a:lnTo>
                <a:lnTo>
                  <a:pt x="1064" y="2117"/>
                </a:lnTo>
                <a:lnTo>
                  <a:pt x="1064" y="2117"/>
                </a:lnTo>
                <a:lnTo>
                  <a:pt x="1069" y="2110"/>
                </a:lnTo>
                <a:lnTo>
                  <a:pt x="1073" y="2101"/>
                </a:lnTo>
                <a:lnTo>
                  <a:pt x="1082" y="2078"/>
                </a:lnTo>
                <a:lnTo>
                  <a:pt x="1090" y="2054"/>
                </a:lnTo>
                <a:lnTo>
                  <a:pt x="1100" y="2028"/>
                </a:lnTo>
                <a:lnTo>
                  <a:pt x="1105" y="2016"/>
                </a:lnTo>
                <a:lnTo>
                  <a:pt x="1110" y="2005"/>
                </a:lnTo>
                <a:lnTo>
                  <a:pt x="1117" y="1994"/>
                </a:lnTo>
                <a:lnTo>
                  <a:pt x="1124" y="1985"/>
                </a:lnTo>
                <a:lnTo>
                  <a:pt x="1131" y="1978"/>
                </a:lnTo>
                <a:lnTo>
                  <a:pt x="1140" y="1972"/>
                </a:lnTo>
                <a:lnTo>
                  <a:pt x="1149" y="1969"/>
                </a:lnTo>
                <a:lnTo>
                  <a:pt x="1159" y="1966"/>
                </a:lnTo>
                <a:lnTo>
                  <a:pt x="1159" y="1966"/>
                </a:lnTo>
                <a:lnTo>
                  <a:pt x="1169" y="1967"/>
                </a:lnTo>
                <a:lnTo>
                  <a:pt x="1178" y="1970"/>
                </a:lnTo>
                <a:lnTo>
                  <a:pt x="1187" y="1972"/>
                </a:lnTo>
                <a:lnTo>
                  <a:pt x="1195" y="1974"/>
                </a:lnTo>
                <a:lnTo>
                  <a:pt x="1210" y="1981"/>
                </a:lnTo>
                <a:lnTo>
                  <a:pt x="1223" y="1986"/>
                </a:lnTo>
                <a:lnTo>
                  <a:pt x="1223" y="1986"/>
                </a:lnTo>
                <a:lnTo>
                  <a:pt x="1285" y="1986"/>
                </a:lnTo>
                <a:lnTo>
                  <a:pt x="1285" y="1986"/>
                </a:lnTo>
                <a:lnTo>
                  <a:pt x="1285" y="1986"/>
                </a:lnTo>
                <a:lnTo>
                  <a:pt x="1295" y="1993"/>
                </a:lnTo>
                <a:lnTo>
                  <a:pt x="1306" y="1998"/>
                </a:lnTo>
                <a:lnTo>
                  <a:pt x="1316" y="2003"/>
                </a:lnTo>
                <a:lnTo>
                  <a:pt x="1326" y="2006"/>
                </a:lnTo>
                <a:lnTo>
                  <a:pt x="1339" y="2009"/>
                </a:lnTo>
                <a:lnTo>
                  <a:pt x="1350" y="2010"/>
                </a:lnTo>
                <a:lnTo>
                  <a:pt x="1377" y="2011"/>
                </a:lnTo>
                <a:lnTo>
                  <a:pt x="1377" y="2011"/>
                </a:lnTo>
                <a:lnTo>
                  <a:pt x="1387" y="2011"/>
                </a:lnTo>
                <a:lnTo>
                  <a:pt x="1397" y="2012"/>
                </a:lnTo>
                <a:lnTo>
                  <a:pt x="1405" y="2015"/>
                </a:lnTo>
                <a:lnTo>
                  <a:pt x="1413" y="2018"/>
                </a:lnTo>
                <a:lnTo>
                  <a:pt x="1426" y="2025"/>
                </a:lnTo>
                <a:lnTo>
                  <a:pt x="1438" y="2033"/>
                </a:lnTo>
                <a:lnTo>
                  <a:pt x="1449" y="2041"/>
                </a:lnTo>
                <a:lnTo>
                  <a:pt x="1462" y="2048"/>
                </a:lnTo>
                <a:lnTo>
                  <a:pt x="1469" y="2051"/>
                </a:lnTo>
                <a:lnTo>
                  <a:pt x="1477" y="2053"/>
                </a:lnTo>
                <a:lnTo>
                  <a:pt x="1485" y="2055"/>
                </a:lnTo>
                <a:lnTo>
                  <a:pt x="1494" y="2055"/>
                </a:lnTo>
                <a:lnTo>
                  <a:pt x="1494" y="2055"/>
                </a:lnTo>
                <a:lnTo>
                  <a:pt x="1500" y="2055"/>
                </a:lnTo>
                <a:lnTo>
                  <a:pt x="1506" y="2053"/>
                </a:lnTo>
                <a:lnTo>
                  <a:pt x="1512" y="2050"/>
                </a:lnTo>
                <a:lnTo>
                  <a:pt x="1516" y="2047"/>
                </a:lnTo>
                <a:lnTo>
                  <a:pt x="1527" y="2038"/>
                </a:lnTo>
                <a:lnTo>
                  <a:pt x="1536" y="2027"/>
                </a:lnTo>
                <a:lnTo>
                  <a:pt x="1547" y="2018"/>
                </a:lnTo>
                <a:lnTo>
                  <a:pt x="1559" y="2009"/>
                </a:lnTo>
                <a:lnTo>
                  <a:pt x="1566" y="2005"/>
                </a:lnTo>
                <a:lnTo>
                  <a:pt x="1573" y="2003"/>
                </a:lnTo>
                <a:lnTo>
                  <a:pt x="1581" y="2001"/>
                </a:lnTo>
                <a:lnTo>
                  <a:pt x="1590" y="2001"/>
                </a:lnTo>
                <a:lnTo>
                  <a:pt x="1590" y="2001"/>
                </a:lnTo>
                <a:lnTo>
                  <a:pt x="1594" y="2001"/>
                </a:lnTo>
                <a:lnTo>
                  <a:pt x="1599" y="2002"/>
                </a:lnTo>
                <a:lnTo>
                  <a:pt x="1607" y="2005"/>
                </a:lnTo>
                <a:lnTo>
                  <a:pt x="1614" y="2011"/>
                </a:lnTo>
                <a:lnTo>
                  <a:pt x="1621" y="2017"/>
                </a:lnTo>
                <a:lnTo>
                  <a:pt x="1628" y="2023"/>
                </a:lnTo>
                <a:lnTo>
                  <a:pt x="1636" y="2028"/>
                </a:lnTo>
                <a:lnTo>
                  <a:pt x="1643" y="2032"/>
                </a:lnTo>
                <a:lnTo>
                  <a:pt x="1647" y="2033"/>
                </a:lnTo>
                <a:lnTo>
                  <a:pt x="1652" y="2033"/>
                </a:lnTo>
                <a:lnTo>
                  <a:pt x="1652" y="2033"/>
                </a:lnTo>
                <a:lnTo>
                  <a:pt x="1653" y="2027"/>
                </a:lnTo>
                <a:lnTo>
                  <a:pt x="1654" y="2023"/>
                </a:lnTo>
                <a:lnTo>
                  <a:pt x="1655" y="2018"/>
                </a:lnTo>
                <a:lnTo>
                  <a:pt x="1658" y="2013"/>
                </a:lnTo>
                <a:lnTo>
                  <a:pt x="1665" y="2006"/>
                </a:lnTo>
                <a:lnTo>
                  <a:pt x="1673" y="2001"/>
                </a:lnTo>
                <a:lnTo>
                  <a:pt x="1682" y="1996"/>
                </a:lnTo>
                <a:lnTo>
                  <a:pt x="1692" y="1992"/>
                </a:lnTo>
                <a:lnTo>
                  <a:pt x="1715" y="1983"/>
                </a:lnTo>
                <a:lnTo>
                  <a:pt x="1727" y="1979"/>
                </a:lnTo>
                <a:lnTo>
                  <a:pt x="1737" y="1974"/>
                </a:lnTo>
                <a:lnTo>
                  <a:pt x="1747" y="1969"/>
                </a:lnTo>
                <a:lnTo>
                  <a:pt x="1756" y="1963"/>
                </a:lnTo>
                <a:lnTo>
                  <a:pt x="1764" y="1955"/>
                </a:lnTo>
                <a:lnTo>
                  <a:pt x="1766" y="1950"/>
                </a:lnTo>
                <a:lnTo>
                  <a:pt x="1768" y="1944"/>
                </a:lnTo>
                <a:lnTo>
                  <a:pt x="1769" y="1940"/>
                </a:lnTo>
                <a:lnTo>
                  <a:pt x="1771" y="1933"/>
                </a:lnTo>
                <a:lnTo>
                  <a:pt x="1771" y="1926"/>
                </a:lnTo>
                <a:lnTo>
                  <a:pt x="1771" y="1919"/>
                </a:lnTo>
                <a:lnTo>
                  <a:pt x="1771" y="1919"/>
                </a:lnTo>
                <a:lnTo>
                  <a:pt x="1759" y="1919"/>
                </a:lnTo>
                <a:lnTo>
                  <a:pt x="1749" y="1917"/>
                </a:lnTo>
                <a:lnTo>
                  <a:pt x="1739" y="1914"/>
                </a:lnTo>
                <a:lnTo>
                  <a:pt x="1730" y="1910"/>
                </a:lnTo>
                <a:lnTo>
                  <a:pt x="1722" y="1905"/>
                </a:lnTo>
                <a:lnTo>
                  <a:pt x="1715" y="1899"/>
                </a:lnTo>
                <a:lnTo>
                  <a:pt x="1708" y="1893"/>
                </a:lnTo>
                <a:lnTo>
                  <a:pt x="1701" y="1886"/>
                </a:lnTo>
                <a:lnTo>
                  <a:pt x="1696" y="1878"/>
                </a:lnTo>
                <a:lnTo>
                  <a:pt x="1691" y="1868"/>
                </a:lnTo>
                <a:lnTo>
                  <a:pt x="1688" y="1859"/>
                </a:lnTo>
                <a:lnTo>
                  <a:pt x="1684" y="1850"/>
                </a:lnTo>
                <a:lnTo>
                  <a:pt x="1681" y="1838"/>
                </a:lnTo>
                <a:lnTo>
                  <a:pt x="1680" y="1828"/>
                </a:lnTo>
                <a:lnTo>
                  <a:pt x="1678" y="1817"/>
                </a:lnTo>
                <a:lnTo>
                  <a:pt x="1677" y="1805"/>
                </a:lnTo>
                <a:lnTo>
                  <a:pt x="1677" y="1805"/>
                </a:lnTo>
                <a:lnTo>
                  <a:pt x="1677" y="1810"/>
                </a:lnTo>
                <a:lnTo>
                  <a:pt x="1677" y="1810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6" name="Freeform 101"/>
          <p:cNvSpPr>
            <a:spLocks/>
          </p:cNvSpPr>
          <p:nvPr/>
        </p:nvSpPr>
        <p:spPr bwMode="auto">
          <a:xfrm>
            <a:off x="2244725" y="4084638"/>
            <a:ext cx="581025" cy="711200"/>
          </a:xfrm>
          <a:custGeom>
            <a:avLst/>
            <a:gdLst/>
            <a:ahLst/>
            <a:cxnLst>
              <a:cxn ang="0">
                <a:pos x="343" y="96"/>
              </a:cxn>
              <a:cxn ang="0">
                <a:pos x="313" y="65"/>
              </a:cxn>
              <a:cxn ang="0">
                <a:pos x="298" y="59"/>
              </a:cxn>
              <a:cxn ang="0">
                <a:pos x="277" y="49"/>
              </a:cxn>
              <a:cxn ang="0">
                <a:pos x="274" y="19"/>
              </a:cxn>
              <a:cxn ang="0">
                <a:pos x="256" y="3"/>
              </a:cxn>
              <a:cxn ang="0">
                <a:pos x="203" y="4"/>
              </a:cxn>
              <a:cxn ang="0">
                <a:pos x="168" y="0"/>
              </a:cxn>
              <a:cxn ang="0">
                <a:pos x="159" y="18"/>
              </a:cxn>
              <a:cxn ang="0">
                <a:pos x="165" y="64"/>
              </a:cxn>
              <a:cxn ang="0">
                <a:pos x="144" y="76"/>
              </a:cxn>
              <a:cxn ang="0">
                <a:pos x="152" y="86"/>
              </a:cxn>
              <a:cxn ang="0">
                <a:pos x="175" y="115"/>
              </a:cxn>
              <a:cxn ang="0">
                <a:pos x="218" y="143"/>
              </a:cxn>
              <a:cxn ang="0">
                <a:pos x="224" y="174"/>
              </a:cxn>
              <a:cxn ang="0">
                <a:pos x="201" y="205"/>
              </a:cxn>
              <a:cxn ang="0">
                <a:pos x="155" y="241"/>
              </a:cxn>
              <a:cxn ang="0">
                <a:pos x="148" y="338"/>
              </a:cxn>
              <a:cxn ang="0">
                <a:pos x="128" y="349"/>
              </a:cxn>
              <a:cxn ang="0">
                <a:pos x="98" y="398"/>
              </a:cxn>
              <a:cxn ang="0">
                <a:pos x="74" y="529"/>
              </a:cxn>
              <a:cxn ang="0">
                <a:pos x="56" y="595"/>
              </a:cxn>
              <a:cxn ang="0">
                <a:pos x="13" y="614"/>
              </a:cxn>
              <a:cxn ang="0">
                <a:pos x="0" y="636"/>
              </a:cxn>
              <a:cxn ang="0">
                <a:pos x="14" y="663"/>
              </a:cxn>
              <a:cxn ang="0">
                <a:pos x="43" y="679"/>
              </a:cxn>
              <a:cxn ang="0">
                <a:pos x="65" y="721"/>
              </a:cxn>
              <a:cxn ang="0">
                <a:pos x="107" y="730"/>
              </a:cxn>
              <a:cxn ang="0">
                <a:pos x="125" y="738"/>
              </a:cxn>
              <a:cxn ang="0">
                <a:pos x="141" y="755"/>
              </a:cxn>
              <a:cxn ang="0">
                <a:pos x="165" y="767"/>
              </a:cxn>
              <a:cxn ang="0">
                <a:pos x="167" y="792"/>
              </a:cxn>
              <a:cxn ang="0">
                <a:pos x="176" y="810"/>
              </a:cxn>
              <a:cxn ang="0">
                <a:pos x="198" y="813"/>
              </a:cxn>
              <a:cxn ang="0">
                <a:pos x="218" y="812"/>
              </a:cxn>
              <a:cxn ang="0">
                <a:pos x="233" y="762"/>
              </a:cxn>
              <a:cxn ang="0">
                <a:pos x="268" y="728"/>
              </a:cxn>
              <a:cxn ang="0">
                <a:pos x="295" y="729"/>
              </a:cxn>
              <a:cxn ang="0">
                <a:pos x="314" y="716"/>
              </a:cxn>
              <a:cxn ang="0">
                <a:pos x="343" y="671"/>
              </a:cxn>
              <a:cxn ang="0">
                <a:pos x="364" y="664"/>
              </a:cxn>
              <a:cxn ang="0">
                <a:pos x="397" y="671"/>
              </a:cxn>
              <a:cxn ang="0">
                <a:pos x="416" y="653"/>
              </a:cxn>
              <a:cxn ang="0">
                <a:pos x="427" y="618"/>
              </a:cxn>
              <a:cxn ang="0">
                <a:pos x="456" y="613"/>
              </a:cxn>
              <a:cxn ang="0">
                <a:pos x="504" y="588"/>
              </a:cxn>
              <a:cxn ang="0">
                <a:pos x="515" y="562"/>
              </a:cxn>
              <a:cxn ang="0">
                <a:pos x="502" y="537"/>
              </a:cxn>
              <a:cxn ang="0">
                <a:pos x="503" y="517"/>
              </a:cxn>
              <a:cxn ang="0">
                <a:pos x="520" y="492"/>
              </a:cxn>
              <a:cxn ang="0">
                <a:pos x="515" y="462"/>
              </a:cxn>
              <a:cxn ang="0">
                <a:pos x="500" y="418"/>
              </a:cxn>
              <a:cxn ang="0">
                <a:pos x="509" y="397"/>
              </a:cxn>
              <a:cxn ang="0">
                <a:pos x="568" y="375"/>
              </a:cxn>
              <a:cxn ang="0">
                <a:pos x="604" y="343"/>
              </a:cxn>
              <a:cxn ang="0">
                <a:pos x="655" y="251"/>
              </a:cxn>
              <a:cxn ang="0">
                <a:pos x="709" y="140"/>
              </a:cxn>
              <a:cxn ang="0">
                <a:pos x="659" y="144"/>
              </a:cxn>
              <a:cxn ang="0">
                <a:pos x="598" y="121"/>
              </a:cxn>
              <a:cxn ang="0">
                <a:pos x="520" y="86"/>
              </a:cxn>
              <a:cxn ang="0">
                <a:pos x="487" y="91"/>
              </a:cxn>
              <a:cxn ang="0">
                <a:pos x="463" y="99"/>
              </a:cxn>
              <a:cxn ang="0">
                <a:pos x="361" y="95"/>
              </a:cxn>
            </a:cxnLst>
            <a:rect l="0" t="0" r="r" b="b"/>
            <a:pathLst>
              <a:path w="709" h="816">
                <a:moveTo>
                  <a:pt x="361" y="99"/>
                </a:moveTo>
                <a:lnTo>
                  <a:pt x="361" y="99"/>
                </a:lnTo>
                <a:lnTo>
                  <a:pt x="354" y="98"/>
                </a:lnTo>
                <a:lnTo>
                  <a:pt x="348" y="97"/>
                </a:lnTo>
                <a:lnTo>
                  <a:pt x="343" y="96"/>
                </a:lnTo>
                <a:lnTo>
                  <a:pt x="339" y="92"/>
                </a:lnTo>
                <a:lnTo>
                  <a:pt x="332" y="87"/>
                </a:lnTo>
                <a:lnTo>
                  <a:pt x="325" y="79"/>
                </a:lnTo>
                <a:lnTo>
                  <a:pt x="319" y="72"/>
                </a:lnTo>
                <a:lnTo>
                  <a:pt x="313" y="65"/>
                </a:lnTo>
                <a:lnTo>
                  <a:pt x="310" y="62"/>
                </a:lnTo>
                <a:lnTo>
                  <a:pt x="306" y="60"/>
                </a:lnTo>
                <a:lnTo>
                  <a:pt x="303" y="59"/>
                </a:lnTo>
                <a:lnTo>
                  <a:pt x="298" y="59"/>
                </a:lnTo>
                <a:lnTo>
                  <a:pt x="298" y="59"/>
                </a:lnTo>
                <a:lnTo>
                  <a:pt x="283" y="59"/>
                </a:lnTo>
                <a:lnTo>
                  <a:pt x="283" y="59"/>
                </a:lnTo>
                <a:lnTo>
                  <a:pt x="281" y="58"/>
                </a:lnTo>
                <a:lnTo>
                  <a:pt x="279" y="56"/>
                </a:lnTo>
                <a:lnTo>
                  <a:pt x="277" y="49"/>
                </a:lnTo>
                <a:lnTo>
                  <a:pt x="277" y="39"/>
                </a:lnTo>
                <a:lnTo>
                  <a:pt x="277" y="33"/>
                </a:lnTo>
                <a:lnTo>
                  <a:pt x="277" y="33"/>
                </a:lnTo>
                <a:lnTo>
                  <a:pt x="275" y="25"/>
                </a:lnTo>
                <a:lnTo>
                  <a:pt x="274" y="19"/>
                </a:lnTo>
                <a:lnTo>
                  <a:pt x="272" y="13"/>
                </a:lnTo>
                <a:lnTo>
                  <a:pt x="268" y="10"/>
                </a:lnTo>
                <a:lnTo>
                  <a:pt x="265" y="6"/>
                </a:lnTo>
                <a:lnTo>
                  <a:pt x="260" y="4"/>
                </a:lnTo>
                <a:lnTo>
                  <a:pt x="256" y="3"/>
                </a:lnTo>
                <a:lnTo>
                  <a:pt x="250" y="2"/>
                </a:lnTo>
                <a:lnTo>
                  <a:pt x="239" y="2"/>
                </a:lnTo>
                <a:lnTo>
                  <a:pt x="227" y="2"/>
                </a:lnTo>
                <a:lnTo>
                  <a:pt x="214" y="3"/>
                </a:lnTo>
                <a:lnTo>
                  <a:pt x="203" y="4"/>
                </a:lnTo>
                <a:lnTo>
                  <a:pt x="203" y="4"/>
                </a:lnTo>
                <a:lnTo>
                  <a:pt x="183" y="4"/>
                </a:lnTo>
                <a:lnTo>
                  <a:pt x="183" y="4"/>
                </a:lnTo>
                <a:lnTo>
                  <a:pt x="176" y="3"/>
                </a:lnTo>
                <a:lnTo>
                  <a:pt x="168" y="0"/>
                </a:lnTo>
                <a:lnTo>
                  <a:pt x="161" y="0"/>
                </a:lnTo>
                <a:lnTo>
                  <a:pt x="159" y="2"/>
                </a:lnTo>
                <a:lnTo>
                  <a:pt x="159" y="4"/>
                </a:lnTo>
                <a:lnTo>
                  <a:pt x="159" y="4"/>
                </a:lnTo>
                <a:lnTo>
                  <a:pt x="159" y="18"/>
                </a:lnTo>
                <a:lnTo>
                  <a:pt x="163" y="29"/>
                </a:lnTo>
                <a:lnTo>
                  <a:pt x="165" y="42"/>
                </a:lnTo>
                <a:lnTo>
                  <a:pt x="166" y="59"/>
                </a:lnTo>
                <a:lnTo>
                  <a:pt x="166" y="59"/>
                </a:lnTo>
                <a:lnTo>
                  <a:pt x="165" y="64"/>
                </a:lnTo>
                <a:lnTo>
                  <a:pt x="164" y="67"/>
                </a:lnTo>
                <a:lnTo>
                  <a:pt x="160" y="71"/>
                </a:lnTo>
                <a:lnTo>
                  <a:pt x="157" y="73"/>
                </a:lnTo>
                <a:lnTo>
                  <a:pt x="150" y="76"/>
                </a:lnTo>
                <a:lnTo>
                  <a:pt x="144" y="76"/>
                </a:lnTo>
                <a:lnTo>
                  <a:pt x="144" y="76"/>
                </a:lnTo>
                <a:lnTo>
                  <a:pt x="151" y="76"/>
                </a:lnTo>
                <a:lnTo>
                  <a:pt x="151" y="76"/>
                </a:lnTo>
                <a:lnTo>
                  <a:pt x="151" y="76"/>
                </a:lnTo>
                <a:lnTo>
                  <a:pt x="152" y="86"/>
                </a:lnTo>
                <a:lnTo>
                  <a:pt x="155" y="94"/>
                </a:lnTo>
                <a:lnTo>
                  <a:pt x="159" y="100"/>
                </a:lnTo>
                <a:lnTo>
                  <a:pt x="164" y="106"/>
                </a:lnTo>
                <a:lnTo>
                  <a:pt x="169" y="111"/>
                </a:lnTo>
                <a:lnTo>
                  <a:pt x="175" y="115"/>
                </a:lnTo>
                <a:lnTo>
                  <a:pt x="189" y="122"/>
                </a:lnTo>
                <a:lnTo>
                  <a:pt x="202" y="129"/>
                </a:lnTo>
                <a:lnTo>
                  <a:pt x="207" y="134"/>
                </a:lnTo>
                <a:lnTo>
                  <a:pt x="213" y="138"/>
                </a:lnTo>
                <a:lnTo>
                  <a:pt x="218" y="143"/>
                </a:lnTo>
                <a:lnTo>
                  <a:pt x="221" y="150"/>
                </a:lnTo>
                <a:lnTo>
                  <a:pt x="224" y="157"/>
                </a:lnTo>
                <a:lnTo>
                  <a:pt x="225" y="165"/>
                </a:lnTo>
                <a:lnTo>
                  <a:pt x="225" y="165"/>
                </a:lnTo>
                <a:lnTo>
                  <a:pt x="224" y="174"/>
                </a:lnTo>
                <a:lnTo>
                  <a:pt x="221" y="182"/>
                </a:lnTo>
                <a:lnTo>
                  <a:pt x="218" y="189"/>
                </a:lnTo>
                <a:lnTo>
                  <a:pt x="212" y="195"/>
                </a:lnTo>
                <a:lnTo>
                  <a:pt x="206" y="201"/>
                </a:lnTo>
                <a:lnTo>
                  <a:pt x="201" y="205"/>
                </a:lnTo>
                <a:lnTo>
                  <a:pt x="186" y="214"/>
                </a:lnTo>
                <a:lnTo>
                  <a:pt x="172" y="224"/>
                </a:lnTo>
                <a:lnTo>
                  <a:pt x="165" y="229"/>
                </a:lnTo>
                <a:lnTo>
                  <a:pt x="159" y="234"/>
                </a:lnTo>
                <a:lnTo>
                  <a:pt x="155" y="241"/>
                </a:lnTo>
                <a:lnTo>
                  <a:pt x="151" y="248"/>
                </a:lnTo>
                <a:lnTo>
                  <a:pt x="149" y="256"/>
                </a:lnTo>
                <a:lnTo>
                  <a:pt x="148" y="264"/>
                </a:lnTo>
                <a:lnTo>
                  <a:pt x="148" y="264"/>
                </a:lnTo>
                <a:lnTo>
                  <a:pt x="148" y="338"/>
                </a:lnTo>
                <a:lnTo>
                  <a:pt x="148" y="338"/>
                </a:lnTo>
                <a:lnTo>
                  <a:pt x="136" y="344"/>
                </a:lnTo>
                <a:lnTo>
                  <a:pt x="136" y="344"/>
                </a:lnTo>
                <a:lnTo>
                  <a:pt x="136" y="344"/>
                </a:lnTo>
                <a:lnTo>
                  <a:pt x="128" y="349"/>
                </a:lnTo>
                <a:lnTo>
                  <a:pt x="120" y="356"/>
                </a:lnTo>
                <a:lnTo>
                  <a:pt x="114" y="365"/>
                </a:lnTo>
                <a:lnTo>
                  <a:pt x="109" y="374"/>
                </a:lnTo>
                <a:lnTo>
                  <a:pt x="103" y="386"/>
                </a:lnTo>
                <a:lnTo>
                  <a:pt x="98" y="398"/>
                </a:lnTo>
                <a:lnTo>
                  <a:pt x="91" y="426"/>
                </a:lnTo>
                <a:lnTo>
                  <a:pt x="85" y="455"/>
                </a:lnTo>
                <a:lnTo>
                  <a:pt x="82" y="482"/>
                </a:lnTo>
                <a:lnTo>
                  <a:pt x="77" y="508"/>
                </a:lnTo>
                <a:lnTo>
                  <a:pt x="74" y="529"/>
                </a:lnTo>
                <a:lnTo>
                  <a:pt x="74" y="529"/>
                </a:lnTo>
                <a:lnTo>
                  <a:pt x="66" y="564"/>
                </a:lnTo>
                <a:lnTo>
                  <a:pt x="61" y="583"/>
                </a:lnTo>
                <a:lnTo>
                  <a:pt x="58" y="590"/>
                </a:lnTo>
                <a:lnTo>
                  <a:pt x="56" y="595"/>
                </a:lnTo>
                <a:lnTo>
                  <a:pt x="56" y="595"/>
                </a:lnTo>
                <a:lnTo>
                  <a:pt x="48" y="599"/>
                </a:lnTo>
                <a:lnTo>
                  <a:pt x="39" y="602"/>
                </a:lnTo>
                <a:lnTo>
                  <a:pt x="21" y="609"/>
                </a:lnTo>
                <a:lnTo>
                  <a:pt x="13" y="614"/>
                </a:lnTo>
                <a:lnTo>
                  <a:pt x="6" y="619"/>
                </a:lnTo>
                <a:lnTo>
                  <a:pt x="4" y="623"/>
                </a:lnTo>
                <a:lnTo>
                  <a:pt x="1" y="626"/>
                </a:lnTo>
                <a:lnTo>
                  <a:pt x="0" y="631"/>
                </a:lnTo>
                <a:lnTo>
                  <a:pt x="0" y="636"/>
                </a:lnTo>
                <a:lnTo>
                  <a:pt x="0" y="636"/>
                </a:lnTo>
                <a:lnTo>
                  <a:pt x="1" y="645"/>
                </a:lnTo>
                <a:lnTo>
                  <a:pt x="4" y="653"/>
                </a:lnTo>
                <a:lnTo>
                  <a:pt x="8" y="659"/>
                </a:lnTo>
                <a:lnTo>
                  <a:pt x="14" y="663"/>
                </a:lnTo>
                <a:lnTo>
                  <a:pt x="20" y="665"/>
                </a:lnTo>
                <a:lnTo>
                  <a:pt x="27" y="668"/>
                </a:lnTo>
                <a:lnTo>
                  <a:pt x="41" y="668"/>
                </a:lnTo>
                <a:lnTo>
                  <a:pt x="41" y="668"/>
                </a:lnTo>
                <a:lnTo>
                  <a:pt x="43" y="679"/>
                </a:lnTo>
                <a:lnTo>
                  <a:pt x="45" y="690"/>
                </a:lnTo>
                <a:lnTo>
                  <a:pt x="49" y="699"/>
                </a:lnTo>
                <a:lnTo>
                  <a:pt x="53" y="707"/>
                </a:lnTo>
                <a:lnTo>
                  <a:pt x="58" y="715"/>
                </a:lnTo>
                <a:lnTo>
                  <a:pt x="65" y="721"/>
                </a:lnTo>
                <a:lnTo>
                  <a:pt x="72" y="725"/>
                </a:lnTo>
                <a:lnTo>
                  <a:pt x="81" y="728"/>
                </a:lnTo>
                <a:lnTo>
                  <a:pt x="81" y="728"/>
                </a:lnTo>
                <a:lnTo>
                  <a:pt x="94" y="729"/>
                </a:lnTo>
                <a:lnTo>
                  <a:pt x="107" y="730"/>
                </a:lnTo>
                <a:lnTo>
                  <a:pt x="113" y="731"/>
                </a:lnTo>
                <a:lnTo>
                  <a:pt x="119" y="732"/>
                </a:lnTo>
                <a:lnTo>
                  <a:pt x="122" y="735"/>
                </a:lnTo>
                <a:lnTo>
                  <a:pt x="125" y="738"/>
                </a:lnTo>
                <a:lnTo>
                  <a:pt x="125" y="738"/>
                </a:lnTo>
                <a:lnTo>
                  <a:pt x="128" y="747"/>
                </a:lnTo>
                <a:lnTo>
                  <a:pt x="132" y="752"/>
                </a:lnTo>
                <a:lnTo>
                  <a:pt x="134" y="754"/>
                </a:lnTo>
                <a:lnTo>
                  <a:pt x="137" y="755"/>
                </a:lnTo>
                <a:lnTo>
                  <a:pt x="141" y="755"/>
                </a:lnTo>
                <a:lnTo>
                  <a:pt x="145" y="756"/>
                </a:lnTo>
                <a:lnTo>
                  <a:pt x="152" y="759"/>
                </a:lnTo>
                <a:lnTo>
                  <a:pt x="163" y="764"/>
                </a:lnTo>
                <a:lnTo>
                  <a:pt x="163" y="764"/>
                </a:lnTo>
                <a:lnTo>
                  <a:pt x="165" y="767"/>
                </a:lnTo>
                <a:lnTo>
                  <a:pt x="167" y="769"/>
                </a:lnTo>
                <a:lnTo>
                  <a:pt x="167" y="772"/>
                </a:lnTo>
                <a:lnTo>
                  <a:pt x="168" y="776"/>
                </a:lnTo>
                <a:lnTo>
                  <a:pt x="167" y="784"/>
                </a:lnTo>
                <a:lnTo>
                  <a:pt x="167" y="792"/>
                </a:lnTo>
                <a:lnTo>
                  <a:pt x="167" y="799"/>
                </a:lnTo>
                <a:lnTo>
                  <a:pt x="167" y="802"/>
                </a:lnTo>
                <a:lnTo>
                  <a:pt x="169" y="806"/>
                </a:lnTo>
                <a:lnTo>
                  <a:pt x="172" y="808"/>
                </a:lnTo>
                <a:lnTo>
                  <a:pt x="176" y="810"/>
                </a:lnTo>
                <a:lnTo>
                  <a:pt x="181" y="812"/>
                </a:lnTo>
                <a:lnTo>
                  <a:pt x="188" y="812"/>
                </a:lnTo>
                <a:lnTo>
                  <a:pt x="188" y="812"/>
                </a:lnTo>
                <a:lnTo>
                  <a:pt x="194" y="813"/>
                </a:lnTo>
                <a:lnTo>
                  <a:pt x="198" y="813"/>
                </a:lnTo>
                <a:lnTo>
                  <a:pt x="205" y="816"/>
                </a:lnTo>
                <a:lnTo>
                  <a:pt x="209" y="816"/>
                </a:lnTo>
                <a:lnTo>
                  <a:pt x="212" y="816"/>
                </a:lnTo>
                <a:lnTo>
                  <a:pt x="214" y="815"/>
                </a:lnTo>
                <a:lnTo>
                  <a:pt x="218" y="812"/>
                </a:lnTo>
                <a:lnTo>
                  <a:pt x="218" y="812"/>
                </a:lnTo>
                <a:lnTo>
                  <a:pt x="219" y="801"/>
                </a:lnTo>
                <a:lnTo>
                  <a:pt x="221" y="789"/>
                </a:lnTo>
                <a:lnTo>
                  <a:pt x="227" y="776"/>
                </a:lnTo>
                <a:lnTo>
                  <a:pt x="233" y="762"/>
                </a:lnTo>
                <a:lnTo>
                  <a:pt x="241" y="751"/>
                </a:lnTo>
                <a:lnTo>
                  <a:pt x="250" y="740"/>
                </a:lnTo>
                <a:lnTo>
                  <a:pt x="259" y="732"/>
                </a:lnTo>
                <a:lnTo>
                  <a:pt x="264" y="729"/>
                </a:lnTo>
                <a:lnTo>
                  <a:pt x="268" y="728"/>
                </a:lnTo>
                <a:lnTo>
                  <a:pt x="268" y="728"/>
                </a:lnTo>
                <a:lnTo>
                  <a:pt x="274" y="726"/>
                </a:lnTo>
                <a:lnTo>
                  <a:pt x="280" y="726"/>
                </a:lnTo>
                <a:lnTo>
                  <a:pt x="290" y="729"/>
                </a:lnTo>
                <a:lnTo>
                  <a:pt x="295" y="729"/>
                </a:lnTo>
                <a:lnTo>
                  <a:pt x="300" y="729"/>
                </a:lnTo>
                <a:lnTo>
                  <a:pt x="305" y="726"/>
                </a:lnTo>
                <a:lnTo>
                  <a:pt x="309" y="724"/>
                </a:lnTo>
                <a:lnTo>
                  <a:pt x="309" y="724"/>
                </a:lnTo>
                <a:lnTo>
                  <a:pt x="314" y="716"/>
                </a:lnTo>
                <a:lnTo>
                  <a:pt x="319" y="707"/>
                </a:lnTo>
                <a:lnTo>
                  <a:pt x="324" y="697"/>
                </a:lnTo>
                <a:lnTo>
                  <a:pt x="329" y="687"/>
                </a:lnTo>
                <a:lnTo>
                  <a:pt x="336" y="678"/>
                </a:lnTo>
                <a:lnTo>
                  <a:pt x="343" y="671"/>
                </a:lnTo>
                <a:lnTo>
                  <a:pt x="348" y="669"/>
                </a:lnTo>
                <a:lnTo>
                  <a:pt x="352" y="667"/>
                </a:lnTo>
                <a:lnTo>
                  <a:pt x="358" y="665"/>
                </a:lnTo>
                <a:lnTo>
                  <a:pt x="364" y="664"/>
                </a:lnTo>
                <a:lnTo>
                  <a:pt x="364" y="664"/>
                </a:lnTo>
                <a:lnTo>
                  <a:pt x="374" y="665"/>
                </a:lnTo>
                <a:lnTo>
                  <a:pt x="384" y="668"/>
                </a:lnTo>
                <a:lnTo>
                  <a:pt x="390" y="671"/>
                </a:lnTo>
                <a:lnTo>
                  <a:pt x="397" y="671"/>
                </a:lnTo>
                <a:lnTo>
                  <a:pt x="397" y="671"/>
                </a:lnTo>
                <a:lnTo>
                  <a:pt x="403" y="671"/>
                </a:lnTo>
                <a:lnTo>
                  <a:pt x="407" y="669"/>
                </a:lnTo>
                <a:lnTo>
                  <a:pt x="410" y="667"/>
                </a:lnTo>
                <a:lnTo>
                  <a:pt x="412" y="663"/>
                </a:lnTo>
                <a:lnTo>
                  <a:pt x="416" y="653"/>
                </a:lnTo>
                <a:lnTo>
                  <a:pt x="417" y="642"/>
                </a:lnTo>
                <a:lnTo>
                  <a:pt x="419" y="632"/>
                </a:lnTo>
                <a:lnTo>
                  <a:pt x="422" y="626"/>
                </a:lnTo>
                <a:lnTo>
                  <a:pt x="424" y="622"/>
                </a:lnTo>
                <a:lnTo>
                  <a:pt x="427" y="618"/>
                </a:lnTo>
                <a:lnTo>
                  <a:pt x="432" y="616"/>
                </a:lnTo>
                <a:lnTo>
                  <a:pt x="438" y="614"/>
                </a:lnTo>
                <a:lnTo>
                  <a:pt x="445" y="613"/>
                </a:lnTo>
                <a:lnTo>
                  <a:pt x="445" y="613"/>
                </a:lnTo>
                <a:lnTo>
                  <a:pt x="456" y="613"/>
                </a:lnTo>
                <a:lnTo>
                  <a:pt x="469" y="609"/>
                </a:lnTo>
                <a:lnTo>
                  <a:pt x="480" y="606"/>
                </a:lnTo>
                <a:lnTo>
                  <a:pt x="491" y="600"/>
                </a:lnTo>
                <a:lnTo>
                  <a:pt x="501" y="593"/>
                </a:lnTo>
                <a:lnTo>
                  <a:pt x="504" y="588"/>
                </a:lnTo>
                <a:lnTo>
                  <a:pt x="508" y="584"/>
                </a:lnTo>
                <a:lnTo>
                  <a:pt x="511" y="579"/>
                </a:lnTo>
                <a:lnTo>
                  <a:pt x="514" y="573"/>
                </a:lnTo>
                <a:lnTo>
                  <a:pt x="515" y="568"/>
                </a:lnTo>
                <a:lnTo>
                  <a:pt x="515" y="562"/>
                </a:lnTo>
                <a:lnTo>
                  <a:pt x="515" y="562"/>
                </a:lnTo>
                <a:lnTo>
                  <a:pt x="515" y="556"/>
                </a:lnTo>
                <a:lnTo>
                  <a:pt x="512" y="552"/>
                </a:lnTo>
                <a:lnTo>
                  <a:pt x="508" y="543"/>
                </a:lnTo>
                <a:lnTo>
                  <a:pt x="502" y="537"/>
                </a:lnTo>
                <a:lnTo>
                  <a:pt x="501" y="533"/>
                </a:lnTo>
                <a:lnTo>
                  <a:pt x="500" y="529"/>
                </a:lnTo>
                <a:lnTo>
                  <a:pt x="500" y="529"/>
                </a:lnTo>
                <a:lnTo>
                  <a:pt x="501" y="523"/>
                </a:lnTo>
                <a:lnTo>
                  <a:pt x="503" y="517"/>
                </a:lnTo>
                <a:lnTo>
                  <a:pt x="507" y="511"/>
                </a:lnTo>
                <a:lnTo>
                  <a:pt x="511" y="507"/>
                </a:lnTo>
                <a:lnTo>
                  <a:pt x="515" y="502"/>
                </a:lnTo>
                <a:lnTo>
                  <a:pt x="518" y="496"/>
                </a:lnTo>
                <a:lnTo>
                  <a:pt x="520" y="492"/>
                </a:lnTo>
                <a:lnTo>
                  <a:pt x="522" y="485"/>
                </a:lnTo>
                <a:lnTo>
                  <a:pt x="522" y="485"/>
                </a:lnTo>
                <a:lnTo>
                  <a:pt x="520" y="476"/>
                </a:lnTo>
                <a:lnTo>
                  <a:pt x="518" y="469"/>
                </a:lnTo>
                <a:lnTo>
                  <a:pt x="515" y="462"/>
                </a:lnTo>
                <a:lnTo>
                  <a:pt x="511" y="456"/>
                </a:lnTo>
                <a:lnTo>
                  <a:pt x="507" y="449"/>
                </a:lnTo>
                <a:lnTo>
                  <a:pt x="503" y="441"/>
                </a:lnTo>
                <a:lnTo>
                  <a:pt x="501" y="431"/>
                </a:lnTo>
                <a:lnTo>
                  <a:pt x="500" y="418"/>
                </a:lnTo>
                <a:lnTo>
                  <a:pt x="500" y="418"/>
                </a:lnTo>
                <a:lnTo>
                  <a:pt x="501" y="412"/>
                </a:lnTo>
                <a:lnTo>
                  <a:pt x="502" y="407"/>
                </a:lnTo>
                <a:lnTo>
                  <a:pt x="506" y="402"/>
                </a:lnTo>
                <a:lnTo>
                  <a:pt x="509" y="397"/>
                </a:lnTo>
                <a:lnTo>
                  <a:pt x="514" y="394"/>
                </a:lnTo>
                <a:lnTo>
                  <a:pt x="518" y="392"/>
                </a:lnTo>
                <a:lnTo>
                  <a:pt x="531" y="387"/>
                </a:lnTo>
                <a:lnTo>
                  <a:pt x="556" y="379"/>
                </a:lnTo>
                <a:lnTo>
                  <a:pt x="568" y="375"/>
                </a:lnTo>
                <a:lnTo>
                  <a:pt x="577" y="371"/>
                </a:lnTo>
                <a:lnTo>
                  <a:pt x="577" y="371"/>
                </a:lnTo>
                <a:lnTo>
                  <a:pt x="587" y="363"/>
                </a:lnTo>
                <a:lnTo>
                  <a:pt x="596" y="354"/>
                </a:lnTo>
                <a:lnTo>
                  <a:pt x="604" y="343"/>
                </a:lnTo>
                <a:lnTo>
                  <a:pt x="610" y="333"/>
                </a:lnTo>
                <a:lnTo>
                  <a:pt x="623" y="309"/>
                </a:lnTo>
                <a:lnTo>
                  <a:pt x="636" y="282"/>
                </a:lnTo>
                <a:lnTo>
                  <a:pt x="636" y="282"/>
                </a:lnTo>
                <a:lnTo>
                  <a:pt x="655" y="251"/>
                </a:lnTo>
                <a:lnTo>
                  <a:pt x="672" y="218"/>
                </a:lnTo>
                <a:lnTo>
                  <a:pt x="690" y="182"/>
                </a:lnTo>
                <a:lnTo>
                  <a:pt x="706" y="146"/>
                </a:lnTo>
                <a:lnTo>
                  <a:pt x="706" y="146"/>
                </a:lnTo>
                <a:lnTo>
                  <a:pt x="709" y="140"/>
                </a:lnTo>
                <a:lnTo>
                  <a:pt x="709" y="140"/>
                </a:lnTo>
                <a:lnTo>
                  <a:pt x="709" y="140"/>
                </a:lnTo>
                <a:lnTo>
                  <a:pt x="691" y="143"/>
                </a:lnTo>
                <a:lnTo>
                  <a:pt x="675" y="144"/>
                </a:lnTo>
                <a:lnTo>
                  <a:pt x="659" y="144"/>
                </a:lnTo>
                <a:lnTo>
                  <a:pt x="645" y="142"/>
                </a:lnTo>
                <a:lnTo>
                  <a:pt x="632" y="138"/>
                </a:lnTo>
                <a:lnTo>
                  <a:pt x="619" y="133"/>
                </a:lnTo>
                <a:lnTo>
                  <a:pt x="608" y="128"/>
                </a:lnTo>
                <a:lnTo>
                  <a:pt x="598" y="121"/>
                </a:lnTo>
                <a:lnTo>
                  <a:pt x="577" y="109"/>
                </a:lnTo>
                <a:lnTo>
                  <a:pt x="555" y="97"/>
                </a:lnTo>
                <a:lnTo>
                  <a:pt x="545" y="91"/>
                </a:lnTo>
                <a:lnTo>
                  <a:pt x="533" y="88"/>
                </a:lnTo>
                <a:lnTo>
                  <a:pt x="520" y="86"/>
                </a:lnTo>
                <a:lnTo>
                  <a:pt x="507" y="84"/>
                </a:lnTo>
                <a:lnTo>
                  <a:pt x="507" y="84"/>
                </a:lnTo>
                <a:lnTo>
                  <a:pt x="501" y="86"/>
                </a:lnTo>
                <a:lnTo>
                  <a:pt x="496" y="87"/>
                </a:lnTo>
                <a:lnTo>
                  <a:pt x="487" y="91"/>
                </a:lnTo>
                <a:lnTo>
                  <a:pt x="482" y="95"/>
                </a:lnTo>
                <a:lnTo>
                  <a:pt x="477" y="97"/>
                </a:lnTo>
                <a:lnTo>
                  <a:pt x="471" y="98"/>
                </a:lnTo>
                <a:lnTo>
                  <a:pt x="463" y="99"/>
                </a:lnTo>
                <a:lnTo>
                  <a:pt x="463" y="99"/>
                </a:lnTo>
                <a:lnTo>
                  <a:pt x="435" y="98"/>
                </a:lnTo>
                <a:lnTo>
                  <a:pt x="410" y="97"/>
                </a:lnTo>
                <a:lnTo>
                  <a:pt x="386" y="96"/>
                </a:lnTo>
                <a:lnTo>
                  <a:pt x="361" y="95"/>
                </a:lnTo>
                <a:lnTo>
                  <a:pt x="361" y="95"/>
                </a:lnTo>
                <a:lnTo>
                  <a:pt x="361" y="99"/>
                </a:lnTo>
                <a:lnTo>
                  <a:pt x="361" y="9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7" name="Freeform 102"/>
          <p:cNvSpPr>
            <a:spLocks/>
          </p:cNvSpPr>
          <p:nvPr/>
        </p:nvSpPr>
        <p:spPr bwMode="auto">
          <a:xfrm>
            <a:off x="1744663" y="2932113"/>
            <a:ext cx="1695450" cy="1027112"/>
          </a:xfrm>
          <a:custGeom>
            <a:avLst/>
            <a:gdLst/>
            <a:ahLst/>
            <a:cxnLst>
              <a:cxn ang="0">
                <a:pos x="1267" y="503"/>
              </a:cxn>
              <a:cxn ang="0">
                <a:pos x="1392" y="591"/>
              </a:cxn>
              <a:cxn ang="0">
                <a:pos x="1831" y="771"/>
              </a:cxn>
              <a:cxn ang="0">
                <a:pos x="2060" y="649"/>
              </a:cxn>
              <a:cxn ang="0">
                <a:pos x="2044" y="584"/>
              </a:cxn>
              <a:cxn ang="0">
                <a:pos x="2060" y="470"/>
              </a:cxn>
              <a:cxn ang="0">
                <a:pos x="1894" y="344"/>
              </a:cxn>
              <a:cxn ang="0">
                <a:pos x="1846" y="406"/>
              </a:cxn>
              <a:cxn ang="0">
                <a:pos x="1793" y="479"/>
              </a:cxn>
              <a:cxn ang="0">
                <a:pos x="1743" y="543"/>
              </a:cxn>
              <a:cxn ang="0">
                <a:pos x="1751" y="467"/>
              </a:cxn>
              <a:cxn ang="0">
                <a:pos x="1652" y="436"/>
              </a:cxn>
              <a:cxn ang="0">
                <a:pos x="1497" y="421"/>
              </a:cxn>
              <a:cxn ang="0">
                <a:pos x="1414" y="370"/>
              </a:cxn>
              <a:cxn ang="0">
                <a:pos x="1481" y="322"/>
              </a:cxn>
              <a:cxn ang="0">
                <a:pos x="1415" y="303"/>
              </a:cxn>
              <a:cxn ang="0">
                <a:pos x="1336" y="292"/>
              </a:cxn>
              <a:cxn ang="0">
                <a:pos x="1079" y="306"/>
              </a:cxn>
              <a:cxn ang="0">
                <a:pos x="961" y="334"/>
              </a:cxn>
              <a:cxn ang="0">
                <a:pos x="953" y="210"/>
              </a:cxn>
              <a:cxn ang="0">
                <a:pos x="1068" y="213"/>
              </a:cxn>
              <a:cxn ang="0">
                <a:pos x="1059" y="75"/>
              </a:cxn>
              <a:cxn ang="0">
                <a:pos x="990" y="66"/>
              </a:cxn>
              <a:cxn ang="0">
                <a:pos x="869" y="179"/>
              </a:cxn>
              <a:cxn ang="0">
                <a:pos x="884" y="261"/>
              </a:cxn>
              <a:cxn ang="0">
                <a:pos x="786" y="352"/>
              </a:cxn>
              <a:cxn ang="0">
                <a:pos x="759" y="297"/>
              </a:cxn>
              <a:cxn ang="0">
                <a:pos x="713" y="223"/>
              </a:cxn>
              <a:cxn ang="0">
                <a:pos x="545" y="220"/>
              </a:cxn>
              <a:cxn ang="0">
                <a:pos x="484" y="349"/>
              </a:cxn>
              <a:cxn ang="0">
                <a:pos x="403" y="280"/>
              </a:cxn>
              <a:cxn ang="0">
                <a:pos x="356" y="160"/>
              </a:cxn>
              <a:cxn ang="0">
                <a:pos x="306" y="264"/>
              </a:cxn>
              <a:cxn ang="0">
                <a:pos x="265" y="332"/>
              </a:cxn>
              <a:cxn ang="0">
                <a:pos x="180" y="302"/>
              </a:cxn>
              <a:cxn ang="0">
                <a:pos x="109" y="391"/>
              </a:cxn>
              <a:cxn ang="0">
                <a:pos x="124" y="465"/>
              </a:cxn>
              <a:cxn ang="0">
                <a:pos x="67" y="572"/>
              </a:cxn>
              <a:cxn ang="0">
                <a:pos x="10" y="753"/>
              </a:cxn>
              <a:cxn ang="0">
                <a:pos x="66" y="822"/>
              </a:cxn>
              <a:cxn ang="0">
                <a:pos x="124" y="871"/>
              </a:cxn>
              <a:cxn ang="0">
                <a:pos x="219" y="913"/>
              </a:cxn>
              <a:cxn ang="0">
                <a:pos x="341" y="982"/>
              </a:cxn>
              <a:cxn ang="0">
                <a:pos x="405" y="1013"/>
              </a:cxn>
              <a:cxn ang="0">
                <a:pos x="442" y="1035"/>
              </a:cxn>
              <a:cxn ang="0">
                <a:pos x="487" y="1098"/>
              </a:cxn>
              <a:cxn ang="0">
                <a:pos x="543" y="1113"/>
              </a:cxn>
              <a:cxn ang="0">
                <a:pos x="565" y="1167"/>
              </a:cxn>
              <a:cxn ang="0">
                <a:pos x="688" y="1126"/>
              </a:cxn>
              <a:cxn ang="0">
                <a:pos x="709" y="1058"/>
              </a:cxn>
              <a:cxn ang="0">
                <a:pos x="769" y="958"/>
              </a:cxn>
              <a:cxn ang="0">
                <a:pos x="694" y="983"/>
              </a:cxn>
              <a:cxn ang="0">
                <a:pos x="629" y="928"/>
              </a:cxn>
              <a:cxn ang="0">
                <a:pos x="712" y="848"/>
              </a:cxn>
              <a:cxn ang="0">
                <a:pos x="717" y="767"/>
              </a:cxn>
              <a:cxn ang="0">
                <a:pos x="690" y="645"/>
              </a:cxn>
              <a:cxn ang="0">
                <a:pos x="850" y="731"/>
              </a:cxn>
              <a:cxn ang="0">
                <a:pos x="937" y="744"/>
              </a:cxn>
              <a:cxn ang="0">
                <a:pos x="998" y="772"/>
              </a:cxn>
              <a:cxn ang="0">
                <a:pos x="990" y="655"/>
              </a:cxn>
              <a:cxn ang="0">
                <a:pos x="1000" y="574"/>
              </a:cxn>
            </a:cxnLst>
            <a:rect l="0" t="0" r="r" b="b"/>
            <a:pathLst>
              <a:path w="2075" h="1179">
                <a:moveTo>
                  <a:pt x="1040" y="517"/>
                </a:moveTo>
                <a:lnTo>
                  <a:pt x="1040" y="517"/>
                </a:lnTo>
                <a:lnTo>
                  <a:pt x="1051" y="521"/>
                </a:lnTo>
                <a:lnTo>
                  <a:pt x="1062" y="524"/>
                </a:lnTo>
                <a:lnTo>
                  <a:pt x="1075" y="524"/>
                </a:lnTo>
                <a:lnTo>
                  <a:pt x="1087" y="525"/>
                </a:lnTo>
                <a:lnTo>
                  <a:pt x="1087" y="525"/>
                </a:lnTo>
                <a:lnTo>
                  <a:pt x="1137" y="524"/>
                </a:lnTo>
                <a:lnTo>
                  <a:pt x="1160" y="524"/>
                </a:lnTo>
                <a:lnTo>
                  <a:pt x="1183" y="521"/>
                </a:lnTo>
                <a:lnTo>
                  <a:pt x="1205" y="519"/>
                </a:lnTo>
                <a:lnTo>
                  <a:pt x="1226" y="516"/>
                </a:lnTo>
                <a:lnTo>
                  <a:pt x="1246" y="510"/>
                </a:lnTo>
                <a:lnTo>
                  <a:pt x="1267" y="503"/>
                </a:lnTo>
                <a:lnTo>
                  <a:pt x="1267" y="503"/>
                </a:lnTo>
                <a:lnTo>
                  <a:pt x="1276" y="501"/>
                </a:lnTo>
                <a:lnTo>
                  <a:pt x="1285" y="500"/>
                </a:lnTo>
                <a:lnTo>
                  <a:pt x="1293" y="502"/>
                </a:lnTo>
                <a:lnTo>
                  <a:pt x="1301" y="504"/>
                </a:lnTo>
                <a:lnTo>
                  <a:pt x="1310" y="509"/>
                </a:lnTo>
                <a:lnTo>
                  <a:pt x="1316" y="515"/>
                </a:lnTo>
                <a:lnTo>
                  <a:pt x="1324" y="521"/>
                </a:lnTo>
                <a:lnTo>
                  <a:pt x="1331" y="528"/>
                </a:lnTo>
                <a:lnTo>
                  <a:pt x="1360" y="562"/>
                </a:lnTo>
                <a:lnTo>
                  <a:pt x="1375" y="578"/>
                </a:lnTo>
                <a:lnTo>
                  <a:pt x="1383" y="585"/>
                </a:lnTo>
                <a:lnTo>
                  <a:pt x="1392" y="591"/>
                </a:lnTo>
                <a:lnTo>
                  <a:pt x="1392" y="591"/>
                </a:lnTo>
                <a:lnTo>
                  <a:pt x="1434" y="615"/>
                </a:lnTo>
                <a:lnTo>
                  <a:pt x="1487" y="642"/>
                </a:lnTo>
                <a:lnTo>
                  <a:pt x="1547" y="672"/>
                </a:lnTo>
                <a:lnTo>
                  <a:pt x="1608" y="702"/>
                </a:lnTo>
                <a:lnTo>
                  <a:pt x="1716" y="754"/>
                </a:lnTo>
                <a:lnTo>
                  <a:pt x="1751" y="770"/>
                </a:lnTo>
                <a:lnTo>
                  <a:pt x="1771" y="778"/>
                </a:lnTo>
                <a:lnTo>
                  <a:pt x="1771" y="778"/>
                </a:lnTo>
                <a:lnTo>
                  <a:pt x="1781" y="779"/>
                </a:lnTo>
                <a:lnTo>
                  <a:pt x="1792" y="779"/>
                </a:lnTo>
                <a:lnTo>
                  <a:pt x="1802" y="778"/>
                </a:lnTo>
                <a:lnTo>
                  <a:pt x="1812" y="777"/>
                </a:lnTo>
                <a:lnTo>
                  <a:pt x="1822" y="775"/>
                </a:lnTo>
                <a:lnTo>
                  <a:pt x="1831" y="771"/>
                </a:lnTo>
                <a:lnTo>
                  <a:pt x="1849" y="764"/>
                </a:lnTo>
                <a:lnTo>
                  <a:pt x="1865" y="755"/>
                </a:lnTo>
                <a:lnTo>
                  <a:pt x="1883" y="744"/>
                </a:lnTo>
                <a:lnTo>
                  <a:pt x="1898" y="732"/>
                </a:lnTo>
                <a:lnTo>
                  <a:pt x="1914" y="719"/>
                </a:lnTo>
                <a:lnTo>
                  <a:pt x="1946" y="694"/>
                </a:lnTo>
                <a:lnTo>
                  <a:pt x="1962" y="683"/>
                </a:lnTo>
                <a:lnTo>
                  <a:pt x="1979" y="672"/>
                </a:lnTo>
                <a:lnTo>
                  <a:pt x="1998" y="663"/>
                </a:lnTo>
                <a:lnTo>
                  <a:pt x="2017" y="656"/>
                </a:lnTo>
                <a:lnTo>
                  <a:pt x="2028" y="654"/>
                </a:lnTo>
                <a:lnTo>
                  <a:pt x="2038" y="651"/>
                </a:lnTo>
                <a:lnTo>
                  <a:pt x="2048" y="650"/>
                </a:lnTo>
                <a:lnTo>
                  <a:pt x="2060" y="649"/>
                </a:lnTo>
                <a:lnTo>
                  <a:pt x="2060" y="649"/>
                </a:lnTo>
                <a:lnTo>
                  <a:pt x="2056" y="657"/>
                </a:lnTo>
                <a:lnTo>
                  <a:pt x="2056" y="657"/>
                </a:lnTo>
                <a:lnTo>
                  <a:pt x="2056" y="657"/>
                </a:lnTo>
                <a:lnTo>
                  <a:pt x="2059" y="651"/>
                </a:lnTo>
                <a:lnTo>
                  <a:pt x="2062" y="646"/>
                </a:lnTo>
                <a:lnTo>
                  <a:pt x="2063" y="639"/>
                </a:lnTo>
                <a:lnTo>
                  <a:pt x="2064" y="631"/>
                </a:lnTo>
                <a:lnTo>
                  <a:pt x="2064" y="631"/>
                </a:lnTo>
                <a:lnTo>
                  <a:pt x="2062" y="619"/>
                </a:lnTo>
                <a:lnTo>
                  <a:pt x="2060" y="609"/>
                </a:lnTo>
                <a:lnTo>
                  <a:pt x="2054" y="600"/>
                </a:lnTo>
                <a:lnTo>
                  <a:pt x="2049" y="592"/>
                </a:lnTo>
                <a:lnTo>
                  <a:pt x="2044" y="584"/>
                </a:lnTo>
                <a:lnTo>
                  <a:pt x="2039" y="576"/>
                </a:lnTo>
                <a:lnTo>
                  <a:pt x="2036" y="566"/>
                </a:lnTo>
                <a:lnTo>
                  <a:pt x="2034" y="557"/>
                </a:lnTo>
                <a:lnTo>
                  <a:pt x="2034" y="557"/>
                </a:lnTo>
                <a:lnTo>
                  <a:pt x="2036" y="548"/>
                </a:lnTo>
                <a:lnTo>
                  <a:pt x="2039" y="541"/>
                </a:lnTo>
                <a:lnTo>
                  <a:pt x="2045" y="534"/>
                </a:lnTo>
                <a:lnTo>
                  <a:pt x="2051" y="527"/>
                </a:lnTo>
                <a:lnTo>
                  <a:pt x="2064" y="513"/>
                </a:lnTo>
                <a:lnTo>
                  <a:pt x="2070" y="507"/>
                </a:lnTo>
                <a:lnTo>
                  <a:pt x="2075" y="498"/>
                </a:lnTo>
                <a:lnTo>
                  <a:pt x="2075" y="498"/>
                </a:lnTo>
                <a:lnTo>
                  <a:pt x="2068" y="485"/>
                </a:lnTo>
                <a:lnTo>
                  <a:pt x="2060" y="470"/>
                </a:lnTo>
                <a:lnTo>
                  <a:pt x="2060" y="470"/>
                </a:lnTo>
                <a:lnTo>
                  <a:pt x="2053" y="460"/>
                </a:lnTo>
                <a:lnTo>
                  <a:pt x="2045" y="451"/>
                </a:lnTo>
                <a:lnTo>
                  <a:pt x="2036" y="443"/>
                </a:lnTo>
                <a:lnTo>
                  <a:pt x="2026" y="436"/>
                </a:lnTo>
                <a:lnTo>
                  <a:pt x="2003" y="421"/>
                </a:lnTo>
                <a:lnTo>
                  <a:pt x="1980" y="409"/>
                </a:lnTo>
                <a:lnTo>
                  <a:pt x="1956" y="395"/>
                </a:lnTo>
                <a:lnTo>
                  <a:pt x="1933" y="380"/>
                </a:lnTo>
                <a:lnTo>
                  <a:pt x="1922" y="372"/>
                </a:lnTo>
                <a:lnTo>
                  <a:pt x="1911" y="364"/>
                </a:lnTo>
                <a:lnTo>
                  <a:pt x="1902" y="355"/>
                </a:lnTo>
                <a:lnTo>
                  <a:pt x="1894" y="344"/>
                </a:lnTo>
                <a:lnTo>
                  <a:pt x="1894" y="344"/>
                </a:lnTo>
                <a:lnTo>
                  <a:pt x="1892" y="344"/>
                </a:lnTo>
                <a:lnTo>
                  <a:pt x="1883" y="344"/>
                </a:lnTo>
                <a:lnTo>
                  <a:pt x="1869" y="348"/>
                </a:lnTo>
                <a:lnTo>
                  <a:pt x="1858" y="351"/>
                </a:lnTo>
                <a:lnTo>
                  <a:pt x="1848" y="356"/>
                </a:lnTo>
                <a:lnTo>
                  <a:pt x="1848" y="356"/>
                </a:lnTo>
                <a:lnTo>
                  <a:pt x="1843" y="358"/>
                </a:lnTo>
                <a:lnTo>
                  <a:pt x="1841" y="362"/>
                </a:lnTo>
                <a:lnTo>
                  <a:pt x="1840" y="365"/>
                </a:lnTo>
                <a:lnTo>
                  <a:pt x="1839" y="368"/>
                </a:lnTo>
                <a:lnTo>
                  <a:pt x="1840" y="376"/>
                </a:lnTo>
                <a:lnTo>
                  <a:pt x="1842" y="387"/>
                </a:lnTo>
                <a:lnTo>
                  <a:pt x="1845" y="396"/>
                </a:lnTo>
                <a:lnTo>
                  <a:pt x="1846" y="406"/>
                </a:lnTo>
                <a:lnTo>
                  <a:pt x="1847" y="417"/>
                </a:lnTo>
                <a:lnTo>
                  <a:pt x="1846" y="421"/>
                </a:lnTo>
                <a:lnTo>
                  <a:pt x="1843" y="425"/>
                </a:lnTo>
                <a:lnTo>
                  <a:pt x="1843" y="425"/>
                </a:lnTo>
                <a:lnTo>
                  <a:pt x="1847" y="444"/>
                </a:lnTo>
                <a:lnTo>
                  <a:pt x="1848" y="460"/>
                </a:lnTo>
                <a:lnTo>
                  <a:pt x="1847" y="472"/>
                </a:lnTo>
                <a:lnTo>
                  <a:pt x="1845" y="480"/>
                </a:lnTo>
                <a:lnTo>
                  <a:pt x="1840" y="485"/>
                </a:lnTo>
                <a:lnTo>
                  <a:pt x="1835" y="488"/>
                </a:lnTo>
                <a:lnTo>
                  <a:pt x="1828" y="488"/>
                </a:lnTo>
                <a:lnTo>
                  <a:pt x="1823" y="487"/>
                </a:lnTo>
                <a:lnTo>
                  <a:pt x="1808" y="483"/>
                </a:lnTo>
                <a:lnTo>
                  <a:pt x="1793" y="479"/>
                </a:lnTo>
                <a:lnTo>
                  <a:pt x="1786" y="478"/>
                </a:lnTo>
                <a:lnTo>
                  <a:pt x="1780" y="478"/>
                </a:lnTo>
                <a:lnTo>
                  <a:pt x="1774" y="480"/>
                </a:lnTo>
                <a:lnTo>
                  <a:pt x="1771" y="483"/>
                </a:lnTo>
                <a:lnTo>
                  <a:pt x="1771" y="483"/>
                </a:lnTo>
                <a:lnTo>
                  <a:pt x="1772" y="494"/>
                </a:lnTo>
                <a:lnTo>
                  <a:pt x="1772" y="503"/>
                </a:lnTo>
                <a:lnTo>
                  <a:pt x="1771" y="511"/>
                </a:lnTo>
                <a:lnTo>
                  <a:pt x="1769" y="519"/>
                </a:lnTo>
                <a:lnTo>
                  <a:pt x="1764" y="527"/>
                </a:lnTo>
                <a:lnTo>
                  <a:pt x="1759" y="533"/>
                </a:lnTo>
                <a:lnTo>
                  <a:pt x="1755" y="538"/>
                </a:lnTo>
                <a:lnTo>
                  <a:pt x="1749" y="541"/>
                </a:lnTo>
                <a:lnTo>
                  <a:pt x="1743" y="543"/>
                </a:lnTo>
                <a:lnTo>
                  <a:pt x="1739" y="544"/>
                </a:lnTo>
                <a:lnTo>
                  <a:pt x="1733" y="543"/>
                </a:lnTo>
                <a:lnTo>
                  <a:pt x="1730" y="540"/>
                </a:lnTo>
                <a:lnTo>
                  <a:pt x="1726" y="534"/>
                </a:lnTo>
                <a:lnTo>
                  <a:pt x="1724" y="526"/>
                </a:lnTo>
                <a:lnTo>
                  <a:pt x="1723" y="516"/>
                </a:lnTo>
                <a:lnTo>
                  <a:pt x="1723" y="503"/>
                </a:lnTo>
                <a:lnTo>
                  <a:pt x="1723" y="503"/>
                </a:lnTo>
                <a:lnTo>
                  <a:pt x="1724" y="496"/>
                </a:lnTo>
                <a:lnTo>
                  <a:pt x="1726" y="490"/>
                </a:lnTo>
                <a:lnTo>
                  <a:pt x="1728" y="486"/>
                </a:lnTo>
                <a:lnTo>
                  <a:pt x="1733" y="481"/>
                </a:lnTo>
                <a:lnTo>
                  <a:pt x="1742" y="474"/>
                </a:lnTo>
                <a:lnTo>
                  <a:pt x="1751" y="467"/>
                </a:lnTo>
                <a:lnTo>
                  <a:pt x="1756" y="464"/>
                </a:lnTo>
                <a:lnTo>
                  <a:pt x="1759" y="459"/>
                </a:lnTo>
                <a:lnTo>
                  <a:pt x="1763" y="455"/>
                </a:lnTo>
                <a:lnTo>
                  <a:pt x="1764" y="449"/>
                </a:lnTo>
                <a:lnTo>
                  <a:pt x="1765" y="443"/>
                </a:lnTo>
                <a:lnTo>
                  <a:pt x="1764" y="436"/>
                </a:lnTo>
                <a:lnTo>
                  <a:pt x="1761" y="428"/>
                </a:lnTo>
                <a:lnTo>
                  <a:pt x="1756" y="418"/>
                </a:lnTo>
                <a:lnTo>
                  <a:pt x="1756" y="418"/>
                </a:lnTo>
                <a:lnTo>
                  <a:pt x="1718" y="427"/>
                </a:lnTo>
                <a:lnTo>
                  <a:pt x="1688" y="434"/>
                </a:lnTo>
                <a:lnTo>
                  <a:pt x="1675" y="435"/>
                </a:lnTo>
                <a:lnTo>
                  <a:pt x="1663" y="436"/>
                </a:lnTo>
                <a:lnTo>
                  <a:pt x="1652" y="436"/>
                </a:lnTo>
                <a:lnTo>
                  <a:pt x="1642" y="435"/>
                </a:lnTo>
                <a:lnTo>
                  <a:pt x="1632" y="433"/>
                </a:lnTo>
                <a:lnTo>
                  <a:pt x="1621" y="431"/>
                </a:lnTo>
                <a:lnTo>
                  <a:pt x="1612" y="426"/>
                </a:lnTo>
                <a:lnTo>
                  <a:pt x="1603" y="420"/>
                </a:lnTo>
                <a:lnTo>
                  <a:pt x="1581" y="408"/>
                </a:lnTo>
                <a:lnTo>
                  <a:pt x="1558" y="389"/>
                </a:lnTo>
                <a:lnTo>
                  <a:pt x="1558" y="389"/>
                </a:lnTo>
                <a:lnTo>
                  <a:pt x="1532" y="408"/>
                </a:lnTo>
                <a:lnTo>
                  <a:pt x="1521" y="413"/>
                </a:lnTo>
                <a:lnTo>
                  <a:pt x="1513" y="418"/>
                </a:lnTo>
                <a:lnTo>
                  <a:pt x="1506" y="420"/>
                </a:lnTo>
                <a:lnTo>
                  <a:pt x="1501" y="421"/>
                </a:lnTo>
                <a:lnTo>
                  <a:pt x="1497" y="421"/>
                </a:lnTo>
                <a:lnTo>
                  <a:pt x="1492" y="420"/>
                </a:lnTo>
                <a:lnTo>
                  <a:pt x="1490" y="418"/>
                </a:lnTo>
                <a:lnTo>
                  <a:pt x="1488" y="416"/>
                </a:lnTo>
                <a:lnTo>
                  <a:pt x="1484" y="410"/>
                </a:lnTo>
                <a:lnTo>
                  <a:pt x="1480" y="404"/>
                </a:lnTo>
                <a:lnTo>
                  <a:pt x="1476" y="402"/>
                </a:lnTo>
                <a:lnTo>
                  <a:pt x="1473" y="399"/>
                </a:lnTo>
                <a:lnTo>
                  <a:pt x="1473" y="399"/>
                </a:lnTo>
                <a:lnTo>
                  <a:pt x="1452" y="393"/>
                </a:lnTo>
                <a:lnTo>
                  <a:pt x="1435" y="386"/>
                </a:lnTo>
                <a:lnTo>
                  <a:pt x="1423" y="379"/>
                </a:lnTo>
                <a:lnTo>
                  <a:pt x="1419" y="376"/>
                </a:lnTo>
                <a:lnTo>
                  <a:pt x="1415" y="373"/>
                </a:lnTo>
                <a:lnTo>
                  <a:pt x="1414" y="370"/>
                </a:lnTo>
                <a:lnTo>
                  <a:pt x="1414" y="367"/>
                </a:lnTo>
                <a:lnTo>
                  <a:pt x="1417" y="364"/>
                </a:lnTo>
                <a:lnTo>
                  <a:pt x="1420" y="362"/>
                </a:lnTo>
                <a:lnTo>
                  <a:pt x="1426" y="359"/>
                </a:lnTo>
                <a:lnTo>
                  <a:pt x="1433" y="357"/>
                </a:lnTo>
                <a:lnTo>
                  <a:pt x="1455" y="352"/>
                </a:lnTo>
                <a:lnTo>
                  <a:pt x="1455" y="352"/>
                </a:lnTo>
                <a:lnTo>
                  <a:pt x="1455" y="349"/>
                </a:lnTo>
                <a:lnTo>
                  <a:pt x="1456" y="345"/>
                </a:lnTo>
                <a:lnTo>
                  <a:pt x="1457" y="342"/>
                </a:lnTo>
                <a:lnTo>
                  <a:pt x="1458" y="339"/>
                </a:lnTo>
                <a:lnTo>
                  <a:pt x="1465" y="333"/>
                </a:lnTo>
                <a:lnTo>
                  <a:pt x="1472" y="327"/>
                </a:lnTo>
                <a:lnTo>
                  <a:pt x="1481" y="322"/>
                </a:lnTo>
                <a:lnTo>
                  <a:pt x="1490" y="318"/>
                </a:lnTo>
                <a:lnTo>
                  <a:pt x="1509" y="310"/>
                </a:lnTo>
                <a:lnTo>
                  <a:pt x="1521" y="303"/>
                </a:lnTo>
                <a:lnTo>
                  <a:pt x="1525" y="301"/>
                </a:lnTo>
                <a:lnTo>
                  <a:pt x="1525" y="299"/>
                </a:lnTo>
                <a:lnTo>
                  <a:pt x="1525" y="298"/>
                </a:lnTo>
                <a:lnTo>
                  <a:pt x="1521" y="296"/>
                </a:lnTo>
                <a:lnTo>
                  <a:pt x="1512" y="294"/>
                </a:lnTo>
                <a:lnTo>
                  <a:pt x="1499" y="291"/>
                </a:lnTo>
                <a:lnTo>
                  <a:pt x="1480" y="289"/>
                </a:lnTo>
                <a:lnTo>
                  <a:pt x="1480" y="289"/>
                </a:lnTo>
                <a:lnTo>
                  <a:pt x="1421" y="289"/>
                </a:lnTo>
                <a:lnTo>
                  <a:pt x="1421" y="289"/>
                </a:lnTo>
                <a:lnTo>
                  <a:pt x="1415" y="303"/>
                </a:lnTo>
                <a:lnTo>
                  <a:pt x="1408" y="315"/>
                </a:lnTo>
                <a:lnTo>
                  <a:pt x="1400" y="325"/>
                </a:lnTo>
                <a:lnTo>
                  <a:pt x="1397" y="328"/>
                </a:lnTo>
                <a:lnTo>
                  <a:pt x="1392" y="330"/>
                </a:lnTo>
                <a:lnTo>
                  <a:pt x="1389" y="332"/>
                </a:lnTo>
                <a:lnTo>
                  <a:pt x="1384" y="332"/>
                </a:lnTo>
                <a:lnTo>
                  <a:pt x="1381" y="329"/>
                </a:lnTo>
                <a:lnTo>
                  <a:pt x="1376" y="326"/>
                </a:lnTo>
                <a:lnTo>
                  <a:pt x="1372" y="320"/>
                </a:lnTo>
                <a:lnTo>
                  <a:pt x="1367" y="312"/>
                </a:lnTo>
                <a:lnTo>
                  <a:pt x="1364" y="302"/>
                </a:lnTo>
                <a:lnTo>
                  <a:pt x="1359" y="289"/>
                </a:lnTo>
                <a:lnTo>
                  <a:pt x="1359" y="289"/>
                </a:lnTo>
                <a:lnTo>
                  <a:pt x="1336" y="292"/>
                </a:lnTo>
                <a:lnTo>
                  <a:pt x="1305" y="295"/>
                </a:lnTo>
                <a:lnTo>
                  <a:pt x="1273" y="296"/>
                </a:lnTo>
                <a:lnTo>
                  <a:pt x="1245" y="297"/>
                </a:lnTo>
                <a:lnTo>
                  <a:pt x="1245" y="297"/>
                </a:lnTo>
                <a:lnTo>
                  <a:pt x="1227" y="296"/>
                </a:lnTo>
                <a:lnTo>
                  <a:pt x="1209" y="295"/>
                </a:lnTo>
                <a:lnTo>
                  <a:pt x="1178" y="291"/>
                </a:lnTo>
                <a:lnTo>
                  <a:pt x="1152" y="288"/>
                </a:lnTo>
                <a:lnTo>
                  <a:pt x="1139" y="288"/>
                </a:lnTo>
                <a:lnTo>
                  <a:pt x="1128" y="288"/>
                </a:lnTo>
                <a:lnTo>
                  <a:pt x="1116" y="290"/>
                </a:lnTo>
                <a:lnTo>
                  <a:pt x="1105" y="294"/>
                </a:lnTo>
                <a:lnTo>
                  <a:pt x="1092" y="298"/>
                </a:lnTo>
                <a:lnTo>
                  <a:pt x="1079" y="306"/>
                </a:lnTo>
                <a:lnTo>
                  <a:pt x="1067" y="317"/>
                </a:lnTo>
                <a:lnTo>
                  <a:pt x="1053" y="330"/>
                </a:lnTo>
                <a:lnTo>
                  <a:pt x="1037" y="347"/>
                </a:lnTo>
                <a:lnTo>
                  <a:pt x="1021" y="367"/>
                </a:lnTo>
                <a:lnTo>
                  <a:pt x="1021" y="367"/>
                </a:lnTo>
                <a:lnTo>
                  <a:pt x="1017" y="371"/>
                </a:lnTo>
                <a:lnTo>
                  <a:pt x="1014" y="373"/>
                </a:lnTo>
                <a:lnTo>
                  <a:pt x="1010" y="374"/>
                </a:lnTo>
                <a:lnTo>
                  <a:pt x="1006" y="374"/>
                </a:lnTo>
                <a:lnTo>
                  <a:pt x="1002" y="372"/>
                </a:lnTo>
                <a:lnTo>
                  <a:pt x="998" y="370"/>
                </a:lnTo>
                <a:lnTo>
                  <a:pt x="988" y="363"/>
                </a:lnTo>
                <a:lnTo>
                  <a:pt x="970" y="344"/>
                </a:lnTo>
                <a:lnTo>
                  <a:pt x="961" y="334"/>
                </a:lnTo>
                <a:lnTo>
                  <a:pt x="952" y="326"/>
                </a:lnTo>
                <a:lnTo>
                  <a:pt x="952" y="326"/>
                </a:lnTo>
                <a:lnTo>
                  <a:pt x="953" y="318"/>
                </a:lnTo>
                <a:lnTo>
                  <a:pt x="954" y="309"/>
                </a:lnTo>
                <a:lnTo>
                  <a:pt x="954" y="290"/>
                </a:lnTo>
                <a:lnTo>
                  <a:pt x="952" y="272"/>
                </a:lnTo>
                <a:lnTo>
                  <a:pt x="948" y="256"/>
                </a:lnTo>
                <a:lnTo>
                  <a:pt x="945" y="241"/>
                </a:lnTo>
                <a:lnTo>
                  <a:pt x="940" y="230"/>
                </a:lnTo>
                <a:lnTo>
                  <a:pt x="937" y="220"/>
                </a:lnTo>
                <a:lnTo>
                  <a:pt x="937" y="220"/>
                </a:lnTo>
                <a:lnTo>
                  <a:pt x="941" y="218"/>
                </a:lnTo>
                <a:lnTo>
                  <a:pt x="946" y="215"/>
                </a:lnTo>
                <a:lnTo>
                  <a:pt x="953" y="210"/>
                </a:lnTo>
                <a:lnTo>
                  <a:pt x="960" y="204"/>
                </a:lnTo>
                <a:lnTo>
                  <a:pt x="963" y="200"/>
                </a:lnTo>
                <a:lnTo>
                  <a:pt x="968" y="198"/>
                </a:lnTo>
                <a:lnTo>
                  <a:pt x="972" y="196"/>
                </a:lnTo>
                <a:lnTo>
                  <a:pt x="978" y="195"/>
                </a:lnTo>
                <a:lnTo>
                  <a:pt x="986" y="195"/>
                </a:lnTo>
                <a:lnTo>
                  <a:pt x="995" y="195"/>
                </a:lnTo>
                <a:lnTo>
                  <a:pt x="1006" y="197"/>
                </a:lnTo>
                <a:lnTo>
                  <a:pt x="1018" y="200"/>
                </a:lnTo>
                <a:lnTo>
                  <a:pt x="1033" y="205"/>
                </a:lnTo>
                <a:lnTo>
                  <a:pt x="1051" y="212"/>
                </a:lnTo>
                <a:lnTo>
                  <a:pt x="1051" y="212"/>
                </a:lnTo>
                <a:lnTo>
                  <a:pt x="1060" y="214"/>
                </a:lnTo>
                <a:lnTo>
                  <a:pt x="1068" y="213"/>
                </a:lnTo>
                <a:lnTo>
                  <a:pt x="1075" y="211"/>
                </a:lnTo>
                <a:lnTo>
                  <a:pt x="1079" y="205"/>
                </a:lnTo>
                <a:lnTo>
                  <a:pt x="1084" y="199"/>
                </a:lnTo>
                <a:lnTo>
                  <a:pt x="1086" y="190"/>
                </a:lnTo>
                <a:lnTo>
                  <a:pt x="1089" y="181"/>
                </a:lnTo>
                <a:lnTo>
                  <a:pt x="1090" y="170"/>
                </a:lnTo>
                <a:lnTo>
                  <a:pt x="1090" y="159"/>
                </a:lnTo>
                <a:lnTo>
                  <a:pt x="1089" y="147"/>
                </a:lnTo>
                <a:lnTo>
                  <a:pt x="1086" y="124"/>
                </a:lnTo>
                <a:lnTo>
                  <a:pt x="1082" y="104"/>
                </a:lnTo>
                <a:lnTo>
                  <a:pt x="1076" y="88"/>
                </a:lnTo>
                <a:lnTo>
                  <a:pt x="1076" y="88"/>
                </a:lnTo>
                <a:lnTo>
                  <a:pt x="1067" y="82"/>
                </a:lnTo>
                <a:lnTo>
                  <a:pt x="1059" y="75"/>
                </a:lnTo>
                <a:lnTo>
                  <a:pt x="1043" y="59"/>
                </a:lnTo>
                <a:lnTo>
                  <a:pt x="1028" y="42"/>
                </a:lnTo>
                <a:lnTo>
                  <a:pt x="1014" y="26"/>
                </a:lnTo>
                <a:lnTo>
                  <a:pt x="1003" y="12"/>
                </a:lnTo>
                <a:lnTo>
                  <a:pt x="995" y="2"/>
                </a:lnTo>
                <a:lnTo>
                  <a:pt x="992" y="0"/>
                </a:lnTo>
                <a:lnTo>
                  <a:pt x="990" y="0"/>
                </a:lnTo>
                <a:lnTo>
                  <a:pt x="988" y="2"/>
                </a:lnTo>
                <a:lnTo>
                  <a:pt x="987" y="6"/>
                </a:lnTo>
                <a:lnTo>
                  <a:pt x="987" y="6"/>
                </a:lnTo>
                <a:lnTo>
                  <a:pt x="988" y="28"/>
                </a:lnTo>
                <a:lnTo>
                  <a:pt x="990" y="45"/>
                </a:lnTo>
                <a:lnTo>
                  <a:pt x="990" y="59"/>
                </a:lnTo>
                <a:lnTo>
                  <a:pt x="990" y="66"/>
                </a:lnTo>
                <a:lnTo>
                  <a:pt x="987" y="73"/>
                </a:lnTo>
                <a:lnTo>
                  <a:pt x="985" y="80"/>
                </a:lnTo>
                <a:lnTo>
                  <a:pt x="980" y="86"/>
                </a:lnTo>
                <a:lnTo>
                  <a:pt x="974" y="95"/>
                </a:lnTo>
                <a:lnTo>
                  <a:pt x="965" y="101"/>
                </a:lnTo>
                <a:lnTo>
                  <a:pt x="955" y="111"/>
                </a:lnTo>
                <a:lnTo>
                  <a:pt x="942" y="120"/>
                </a:lnTo>
                <a:lnTo>
                  <a:pt x="908" y="142"/>
                </a:lnTo>
                <a:lnTo>
                  <a:pt x="908" y="142"/>
                </a:lnTo>
                <a:lnTo>
                  <a:pt x="891" y="154"/>
                </a:lnTo>
                <a:lnTo>
                  <a:pt x="878" y="165"/>
                </a:lnTo>
                <a:lnTo>
                  <a:pt x="875" y="169"/>
                </a:lnTo>
                <a:lnTo>
                  <a:pt x="871" y="174"/>
                </a:lnTo>
                <a:lnTo>
                  <a:pt x="869" y="179"/>
                </a:lnTo>
                <a:lnTo>
                  <a:pt x="868" y="183"/>
                </a:lnTo>
                <a:lnTo>
                  <a:pt x="868" y="188"/>
                </a:lnTo>
                <a:lnTo>
                  <a:pt x="868" y="191"/>
                </a:lnTo>
                <a:lnTo>
                  <a:pt x="870" y="199"/>
                </a:lnTo>
                <a:lnTo>
                  <a:pt x="873" y="206"/>
                </a:lnTo>
                <a:lnTo>
                  <a:pt x="878" y="214"/>
                </a:lnTo>
                <a:lnTo>
                  <a:pt x="883" y="221"/>
                </a:lnTo>
                <a:lnTo>
                  <a:pt x="887" y="228"/>
                </a:lnTo>
                <a:lnTo>
                  <a:pt x="890" y="236"/>
                </a:lnTo>
                <a:lnTo>
                  <a:pt x="891" y="243"/>
                </a:lnTo>
                <a:lnTo>
                  <a:pt x="891" y="248"/>
                </a:lnTo>
                <a:lnTo>
                  <a:pt x="890" y="252"/>
                </a:lnTo>
                <a:lnTo>
                  <a:pt x="887" y="257"/>
                </a:lnTo>
                <a:lnTo>
                  <a:pt x="884" y="261"/>
                </a:lnTo>
                <a:lnTo>
                  <a:pt x="875" y="271"/>
                </a:lnTo>
                <a:lnTo>
                  <a:pt x="860" y="282"/>
                </a:lnTo>
                <a:lnTo>
                  <a:pt x="860" y="282"/>
                </a:lnTo>
                <a:lnTo>
                  <a:pt x="860" y="283"/>
                </a:lnTo>
                <a:lnTo>
                  <a:pt x="857" y="283"/>
                </a:lnTo>
                <a:lnTo>
                  <a:pt x="850" y="282"/>
                </a:lnTo>
                <a:lnTo>
                  <a:pt x="846" y="283"/>
                </a:lnTo>
                <a:lnTo>
                  <a:pt x="839" y="286"/>
                </a:lnTo>
                <a:lnTo>
                  <a:pt x="832" y="290"/>
                </a:lnTo>
                <a:lnTo>
                  <a:pt x="823" y="297"/>
                </a:lnTo>
                <a:lnTo>
                  <a:pt x="823" y="297"/>
                </a:lnTo>
                <a:lnTo>
                  <a:pt x="808" y="319"/>
                </a:lnTo>
                <a:lnTo>
                  <a:pt x="797" y="334"/>
                </a:lnTo>
                <a:lnTo>
                  <a:pt x="786" y="352"/>
                </a:lnTo>
                <a:lnTo>
                  <a:pt x="786" y="352"/>
                </a:lnTo>
                <a:lnTo>
                  <a:pt x="787" y="342"/>
                </a:lnTo>
                <a:lnTo>
                  <a:pt x="785" y="334"/>
                </a:lnTo>
                <a:lnTo>
                  <a:pt x="781" y="327"/>
                </a:lnTo>
                <a:lnTo>
                  <a:pt x="777" y="322"/>
                </a:lnTo>
                <a:lnTo>
                  <a:pt x="770" y="318"/>
                </a:lnTo>
                <a:lnTo>
                  <a:pt x="764" y="315"/>
                </a:lnTo>
                <a:lnTo>
                  <a:pt x="753" y="311"/>
                </a:lnTo>
                <a:lnTo>
                  <a:pt x="748" y="310"/>
                </a:lnTo>
                <a:lnTo>
                  <a:pt x="745" y="307"/>
                </a:lnTo>
                <a:lnTo>
                  <a:pt x="743" y="306"/>
                </a:lnTo>
                <a:lnTo>
                  <a:pt x="746" y="304"/>
                </a:lnTo>
                <a:lnTo>
                  <a:pt x="750" y="301"/>
                </a:lnTo>
                <a:lnTo>
                  <a:pt x="759" y="297"/>
                </a:lnTo>
                <a:lnTo>
                  <a:pt x="789" y="286"/>
                </a:lnTo>
                <a:lnTo>
                  <a:pt x="789" y="286"/>
                </a:lnTo>
                <a:lnTo>
                  <a:pt x="784" y="273"/>
                </a:lnTo>
                <a:lnTo>
                  <a:pt x="777" y="260"/>
                </a:lnTo>
                <a:lnTo>
                  <a:pt x="770" y="249"/>
                </a:lnTo>
                <a:lnTo>
                  <a:pt x="762" y="237"/>
                </a:lnTo>
                <a:lnTo>
                  <a:pt x="753" y="228"/>
                </a:lnTo>
                <a:lnTo>
                  <a:pt x="745" y="221"/>
                </a:lnTo>
                <a:lnTo>
                  <a:pt x="740" y="218"/>
                </a:lnTo>
                <a:lnTo>
                  <a:pt x="735" y="217"/>
                </a:lnTo>
                <a:lnTo>
                  <a:pt x="732" y="215"/>
                </a:lnTo>
                <a:lnTo>
                  <a:pt x="727" y="215"/>
                </a:lnTo>
                <a:lnTo>
                  <a:pt x="727" y="215"/>
                </a:lnTo>
                <a:lnTo>
                  <a:pt x="713" y="223"/>
                </a:lnTo>
                <a:lnTo>
                  <a:pt x="701" y="230"/>
                </a:lnTo>
                <a:lnTo>
                  <a:pt x="688" y="234"/>
                </a:lnTo>
                <a:lnTo>
                  <a:pt x="675" y="237"/>
                </a:lnTo>
                <a:lnTo>
                  <a:pt x="663" y="238"/>
                </a:lnTo>
                <a:lnTo>
                  <a:pt x="651" y="238"/>
                </a:lnTo>
                <a:lnTo>
                  <a:pt x="640" y="237"/>
                </a:lnTo>
                <a:lnTo>
                  <a:pt x="628" y="236"/>
                </a:lnTo>
                <a:lnTo>
                  <a:pt x="608" y="231"/>
                </a:lnTo>
                <a:lnTo>
                  <a:pt x="588" y="226"/>
                </a:lnTo>
                <a:lnTo>
                  <a:pt x="571" y="222"/>
                </a:lnTo>
                <a:lnTo>
                  <a:pt x="563" y="220"/>
                </a:lnTo>
                <a:lnTo>
                  <a:pt x="555" y="220"/>
                </a:lnTo>
                <a:lnTo>
                  <a:pt x="555" y="220"/>
                </a:lnTo>
                <a:lnTo>
                  <a:pt x="545" y="220"/>
                </a:lnTo>
                <a:lnTo>
                  <a:pt x="537" y="221"/>
                </a:lnTo>
                <a:lnTo>
                  <a:pt x="530" y="223"/>
                </a:lnTo>
                <a:lnTo>
                  <a:pt x="524" y="226"/>
                </a:lnTo>
                <a:lnTo>
                  <a:pt x="518" y="228"/>
                </a:lnTo>
                <a:lnTo>
                  <a:pt x="513" y="231"/>
                </a:lnTo>
                <a:lnTo>
                  <a:pt x="509" y="235"/>
                </a:lnTo>
                <a:lnTo>
                  <a:pt x="505" y="240"/>
                </a:lnTo>
                <a:lnTo>
                  <a:pt x="499" y="250"/>
                </a:lnTo>
                <a:lnTo>
                  <a:pt x="495" y="261"/>
                </a:lnTo>
                <a:lnTo>
                  <a:pt x="493" y="273"/>
                </a:lnTo>
                <a:lnTo>
                  <a:pt x="490" y="286"/>
                </a:lnTo>
                <a:lnTo>
                  <a:pt x="488" y="312"/>
                </a:lnTo>
                <a:lnTo>
                  <a:pt x="487" y="337"/>
                </a:lnTo>
                <a:lnTo>
                  <a:pt x="484" y="349"/>
                </a:lnTo>
                <a:lnTo>
                  <a:pt x="481" y="359"/>
                </a:lnTo>
                <a:lnTo>
                  <a:pt x="476" y="367"/>
                </a:lnTo>
                <a:lnTo>
                  <a:pt x="473" y="371"/>
                </a:lnTo>
                <a:lnTo>
                  <a:pt x="470" y="374"/>
                </a:lnTo>
                <a:lnTo>
                  <a:pt x="470" y="374"/>
                </a:lnTo>
                <a:lnTo>
                  <a:pt x="461" y="367"/>
                </a:lnTo>
                <a:lnTo>
                  <a:pt x="453" y="360"/>
                </a:lnTo>
                <a:lnTo>
                  <a:pt x="445" y="351"/>
                </a:lnTo>
                <a:lnTo>
                  <a:pt x="437" y="342"/>
                </a:lnTo>
                <a:lnTo>
                  <a:pt x="429" y="330"/>
                </a:lnTo>
                <a:lnTo>
                  <a:pt x="422" y="319"/>
                </a:lnTo>
                <a:lnTo>
                  <a:pt x="415" y="306"/>
                </a:lnTo>
                <a:lnTo>
                  <a:pt x="409" y="294"/>
                </a:lnTo>
                <a:lnTo>
                  <a:pt x="403" y="280"/>
                </a:lnTo>
                <a:lnTo>
                  <a:pt x="397" y="266"/>
                </a:lnTo>
                <a:lnTo>
                  <a:pt x="394" y="252"/>
                </a:lnTo>
                <a:lnTo>
                  <a:pt x="390" y="238"/>
                </a:lnTo>
                <a:lnTo>
                  <a:pt x="387" y="223"/>
                </a:lnTo>
                <a:lnTo>
                  <a:pt x="386" y="210"/>
                </a:lnTo>
                <a:lnTo>
                  <a:pt x="386" y="196"/>
                </a:lnTo>
                <a:lnTo>
                  <a:pt x="386" y="183"/>
                </a:lnTo>
                <a:lnTo>
                  <a:pt x="386" y="183"/>
                </a:lnTo>
                <a:lnTo>
                  <a:pt x="386" y="179"/>
                </a:lnTo>
                <a:lnTo>
                  <a:pt x="382" y="175"/>
                </a:lnTo>
                <a:lnTo>
                  <a:pt x="377" y="170"/>
                </a:lnTo>
                <a:lnTo>
                  <a:pt x="372" y="166"/>
                </a:lnTo>
                <a:lnTo>
                  <a:pt x="365" y="162"/>
                </a:lnTo>
                <a:lnTo>
                  <a:pt x="356" y="160"/>
                </a:lnTo>
                <a:lnTo>
                  <a:pt x="346" y="158"/>
                </a:lnTo>
                <a:lnTo>
                  <a:pt x="337" y="158"/>
                </a:lnTo>
                <a:lnTo>
                  <a:pt x="328" y="159"/>
                </a:lnTo>
                <a:lnTo>
                  <a:pt x="318" y="162"/>
                </a:lnTo>
                <a:lnTo>
                  <a:pt x="310" y="168"/>
                </a:lnTo>
                <a:lnTo>
                  <a:pt x="302" y="177"/>
                </a:lnTo>
                <a:lnTo>
                  <a:pt x="297" y="182"/>
                </a:lnTo>
                <a:lnTo>
                  <a:pt x="295" y="189"/>
                </a:lnTo>
                <a:lnTo>
                  <a:pt x="289" y="204"/>
                </a:lnTo>
                <a:lnTo>
                  <a:pt x="284" y="222"/>
                </a:lnTo>
                <a:lnTo>
                  <a:pt x="283" y="245"/>
                </a:lnTo>
                <a:lnTo>
                  <a:pt x="283" y="245"/>
                </a:lnTo>
                <a:lnTo>
                  <a:pt x="296" y="254"/>
                </a:lnTo>
                <a:lnTo>
                  <a:pt x="306" y="264"/>
                </a:lnTo>
                <a:lnTo>
                  <a:pt x="313" y="272"/>
                </a:lnTo>
                <a:lnTo>
                  <a:pt x="319" y="280"/>
                </a:lnTo>
                <a:lnTo>
                  <a:pt x="321" y="288"/>
                </a:lnTo>
                <a:lnTo>
                  <a:pt x="322" y="295"/>
                </a:lnTo>
                <a:lnTo>
                  <a:pt x="321" y="302"/>
                </a:lnTo>
                <a:lnTo>
                  <a:pt x="320" y="307"/>
                </a:lnTo>
                <a:lnTo>
                  <a:pt x="316" y="313"/>
                </a:lnTo>
                <a:lnTo>
                  <a:pt x="312" y="318"/>
                </a:lnTo>
                <a:lnTo>
                  <a:pt x="307" y="321"/>
                </a:lnTo>
                <a:lnTo>
                  <a:pt x="302" y="326"/>
                </a:lnTo>
                <a:lnTo>
                  <a:pt x="290" y="330"/>
                </a:lnTo>
                <a:lnTo>
                  <a:pt x="278" y="334"/>
                </a:lnTo>
                <a:lnTo>
                  <a:pt x="278" y="334"/>
                </a:lnTo>
                <a:lnTo>
                  <a:pt x="265" y="332"/>
                </a:lnTo>
                <a:lnTo>
                  <a:pt x="253" y="328"/>
                </a:lnTo>
                <a:lnTo>
                  <a:pt x="243" y="324"/>
                </a:lnTo>
                <a:lnTo>
                  <a:pt x="234" y="318"/>
                </a:lnTo>
                <a:lnTo>
                  <a:pt x="227" y="311"/>
                </a:lnTo>
                <a:lnTo>
                  <a:pt x="222" y="304"/>
                </a:lnTo>
                <a:lnTo>
                  <a:pt x="219" y="295"/>
                </a:lnTo>
                <a:lnTo>
                  <a:pt x="216" y="286"/>
                </a:lnTo>
                <a:lnTo>
                  <a:pt x="216" y="286"/>
                </a:lnTo>
                <a:lnTo>
                  <a:pt x="201" y="298"/>
                </a:lnTo>
                <a:lnTo>
                  <a:pt x="193" y="302"/>
                </a:lnTo>
                <a:lnTo>
                  <a:pt x="189" y="304"/>
                </a:lnTo>
                <a:lnTo>
                  <a:pt x="184" y="304"/>
                </a:lnTo>
                <a:lnTo>
                  <a:pt x="184" y="304"/>
                </a:lnTo>
                <a:lnTo>
                  <a:pt x="180" y="302"/>
                </a:lnTo>
                <a:lnTo>
                  <a:pt x="175" y="296"/>
                </a:lnTo>
                <a:lnTo>
                  <a:pt x="166" y="286"/>
                </a:lnTo>
                <a:lnTo>
                  <a:pt x="166" y="286"/>
                </a:lnTo>
                <a:lnTo>
                  <a:pt x="146" y="286"/>
                </a:lnTo>
                <a:lnTo>
                  <a:pt x="146" y="286"/>
                </a:lnTo>
                <a:lnTo>
                  <a:pt x="146" y="286"/>
                </a:lnTo>
                <a:lnTo>
                  <a:pt x="146" y="298"/>
                </a:lnTo>
                <a:lnTo>
                  <a:pt x="145" y="310"/>
                </a:lnTo>
                <a:lnTo>
                  <a:pt x="143" y="320"/>
                </a:lnTo>
                <a:lnTo>
                  <a:pt x="139" y="329"/>
                </a:lnTo>
                <a:lnTo>
                  <a:pt x="132" y="345"/>
                </a:lnTo>
                <a:lnTo>
                  <a:pt x="124" y="360"/>
                </a:lnTo>
                <a:lnTo>
                  <a:pt x="116" y="375"/>
                </a:lnTo>
                <a:lnTo>
                  <a:pt x="109" y="391"/>
                </a:lnTo>
                <a:lnTo>
                  <a:pt x="106" y="401"/>
                </a:lnTo>
                <a:lnTo>
                  <a:pt x="105" y="410"/>
                </a:lnTo>
                <a:lnTo>
                  <a:pt x="102" y="421"/>
                </a:lnTo>
                <a:lnTo>
                  <a:pt x="102" y="433"/>
                </a:lnTo>
                <a:lnTo>
                  <a:pt x="102" y="433"/>
                </a:lnTo>
                <a:lnTo>
                  <a:pt x="104" y="440"/>
                </a:lnTo>
                <a:lnTo>
                  <a:pt x="106" y="444"/>
                </a:lnTo>
                <a:lnTo>
                  <a:pt x="109" y="448"/>
                </a:lnTo>
                <a:lnTo>
                  <a:pt x="114" y="450"/>
                </a:lnTo>
                <a:lnTo>
                  <a:pt x="117" y="452"/>
                </a:lnTo>
                <a:lnTo>
                  <a:pt x="121" y="456"/>
                </a:lnTo>
                <a:lnTo>
                  <a:pt x="124" y="459"/>
                </a:lnTo>
                <a:lnTo>
                  <a:pt x="124" y="465"/>
                </a:lnTo>
                <a:lnTo>
                  <a:pt x="124" y="465"/>
                </a:lnTo>
                <a:lnTo>
                  <a:pt x="123" y="474"/>
                </a:lnTo>
                <a:lnTo>
                  <a:pt x="121" y="480"/>
                </a:lnTo>
                <a:lnTo>
                  <a:pt x="116" y="483"/>
                </a:lnTo>
                <a:lnTo>
                  <a:pt x="112" y="487"/>
                </a:lnTo>
                <a:lnTo>
                  <a:pt x="106" y="490"/>
                </a:lnTo>
                <a:lnTo>
                  <a:pt x="101" y="494"/>
                </a:lnTo>
                <a:lnTo>
                  <a:pt x="98" y="500"/>
                </a:lnTo>
                <a:lnTo>
                  <a:pt x="96" y="507"/>
                </a:lnTo>
                <a:lnTo>
                  <a:pt x="96" y="507"/>
                </a:lnTo>
                <a:lnTo>
                  <a:pt x="92" y="521"/>
                </a:lnTo>
                <a:lnTo>
                  <a:pt x="87" y="535"/>
                </a:lnTo>
                <a:lnTo>
                  <a:pt x="81" y="549"/>
                </a:lnTo>
                <a:lnTo>
                  <a:pt x="75" y="561"/>
                </a:lnTo>
                <a:lnTo>
                  <a:pt x="67" y="572"/>
                </a:lnTo>
                <a:lnTo>
                  <a:pt x="59" y="584"/>
                </a:lnTo>
                <a:lnTo>
                  <a:pt x="43" y="605"/>
                </a:lnTo>
                <a:lnTo>
                  <a:pt x="26" y="628"/>
                </a:lnTo>
                <a:lnTo>
                  <a:pt x="20" y="641"/>
                </a:lnTo>
                <a:lnTo>
                  <a:pt x="13" y="654"/>
                </a:lnTo>
                <a:lnTo>
                  <a:pt x="8" y="669"/>
                </a:lnTo>
                <a:lnTo>
                  <a:pt x="3" y="684"/>
                </a:lnTo>
                <a:lnTo>
                  <a:pt x="1" y="701"/>
                </a:lnTo>
                <a:lnTo>
                  <a:pt x="0" y="719"/>
                </a:lnTo>
                <a:lnTo>
                  <a:pt x="0" y="719"/>
                </a:lnTo>
                <a:lnTo>
                  <a:pt x="1" y="730"/>
                </a:lnTo>
                <a:lnTo>
                  <a:pt x="2" y="739"/>
                </a:lnTo>
                <a:lnTo>
                  <a:pt x="6" y="747"/>
                </a:lnTo>
                <a:lnTo>
                  <a:pt x="10" y="753"/>
                </a:lnTo>
                <a:lnTo>
                  <a:pt x="15" y="757"/>
                </a:lnTo>
                <a:lnTo>
                  <a:pt x="20" y="762"/>
                </a:lnTo>
                <a:lnTo>
                  <a:pt x="31" y="769"/>
                </a:lnTo>
                <a:lnTo>
                  <a:pt x="43" y="776"/>
                </a:lnTo>
                <a:lnTo>
                  <a:pt x="48" y="779"/>
                </a:lnTo>
                <a:lnTo>
                  <a:pt x="53" y="784"/>
                </a:lnTo>
                <a:lnTo>
                  <a:pt x="56" y="788"/>
                </a:lnTo>
                <a:lnTo>
                  <a:pt x="60" y="794"/>
                </a:lnTo>
                <a:lnTo>
                  <a:pt x="62" y="802"/>
                </a:lnTo>
                <a:lnTo>
                  <a:pt x="62" y="810"/>
                </a:lnTo>
                <a:lnTo>
                  <a:pt x="62" y="810"/>
                </a:lnTo>
                <a:lnTo>
                  <a:pt x="63" y="815"/>
                </a:lnTo>
                <a:lnTo>
                  <a:pt x="63" y="818"/>
                </a:lnTo>
                <a:lnTo>
                  <a:pt x="66" y="822"/>
                </a:lnTo>
                <a:lnTo>
                  <a:pt x="67" y="824"/>
                </a:lnTo>
                <a:lnTo>
                  <a:pt x="73" y="826"/>
                </a:lnTo>
                <a:lnTo>
                  <a:pt x="79" y="828"/>
                </a:lnTo>
                <a:lnTo>
                  <a:pt x="93" y="828"/>
                </a:lnTo>
                <a:lnTo>
                  <a:pt x="100" y="828"/>
                </a:lnTo>
                <a:lnTo>
                  <a:pt x="107" y="830"/>
                </a:lnTo>
                <a:lnTo>
                  <a:pt x="107" y="830"/>
                </a:lnTo>
                <a:lnTo>
                  <a:pt x="109" y="831"/>
                </a:lnTo>
                <a:lnTo>
                  <a:pt x="112" y="833"/>
                </a:lnTo>
                <a:lnTo>
                  <a:pt x="116" y="840"/>
                </a:lnTo>
                <a:lnTo>
                  <a:pt x="117" y="848"/>
                </a:lnTo>
                <a:lnTo>
                  <a:pt x="120" y="856"/>
                </a:lnTo>
                <a:lnTo>
                  <a:pt x="122" y="864"/>
                </a:lnTo>
                <a:lnTo>
                  <a:pt x="124" y="871"/>
                </a:lnTo>
                <a:lnTo>
                  <a:pt x="127" y="874"/>
                </a:lnTo>
                <a:lnTo>
                  <a:pt x="129" y="876"/>
                </a:lnTo>
                <a:lnTo>
                  <a:pt x="132" y="877"/>
                </a:lnTo>
                <a:lnTo>
                  <a:pt x="136" y="877"/>
                </a:lnTo>
                <a:lnTo>
                  <a:pt x="136" y="877"/>
                </a:lnTo>
                <a:lnTo>
                  <a:pt x="166" y="877"/>
                </a:lnTo>
                <a:lnTo>
                  <a:pt x="166" y="877"/>
                </a:lnTo>
                <a:lnTo>
                  <a:pt x="170" y="878"/>
                </a:lnTo>
                <a:lnTo>
                  <a:pt x="175" y="879"/>
                </a:lnTo>
                <a:lnTo>
                  <a:pt x="183" y="884"/>
                </a:lnTo>
                <a:lnTo>
                  <a:pt x="191" y="891"/>
                </a:lnTo>
                <a:lnTo>
                  <a:pt x="199" y="898"/>
                </a:lnTo>
                <a:lnTo>
                  <a:pt x="208" y="906"/>
                </a:lnTo>
                <a:lnTo>
                  <a:pt x="219" y="913"/>
                </a:lnTo>
                <a:lnTo>
                  <a:pt x="229" y="918"/>
                </a:lnTo>
                <a:lnTo>
                  <a:pt x="236" y="921"/>
                </a:lnTo>
                <a:lnTo>
                  <a:pt x="243" y="922"/>
                </a:lnTo>
                <a:lnTo>
                  <a:pt x="243" y="922"/>
                </a:lnTo>
                <a:lnTo>
                  <a:pt x="243" y="936"/>
                </a:lnTo>
                <a:lnTo>
                  <a:pt x="245" y="946"/>
                </a:lnTo>
                <a:lnTo>
                  <a:pt x="249" y="954"/>
                </a:lnTo>
                <a:lnTo>
                  <a:pt x="253" y="962"/>
                </a:lnTo>
                <a:lnTo>
                  <a:pt x="253" y="962"/>
                </a:lnTo>
                <a:lnTo>
                  <a:pt x="315" y="962"/>
                </a:lnTo>
                <a:lnTo>
                  <a:pt x="315" y="962"/>
                </a:lnTo>
                <a:lnTo>
                  <a:pt x="315" y="962"/>
                </a:lnTo>
                <a:lnTo>
                  <a:pt x="330" y="973"/>
                </a:lnTo>
                <a:lnTo>
                  <a:pt x="341" y="982"/>
                </a:lnTo>
                <a:lnTo>
                  <a:pt x="360" y="1001"/>
                </a:lnTo>
                <a:lnTo>
                  <a:pt x="360" y="1001"/>
                </a:lnTo>
                <a:lnTo>
                  <a:pt x="362" y="1012"/>
                </a:lnTo>
                <a:lnTo>
                  <a:pt x="365" y="1021"/>
                </a:lnTo>
                <a:lnTo>
                  <a:pt x="367" y="1023"/>
                </a:lnTo>
                <a:lnTo>
                  <a:pt x="369" y="1025"/>
                </a:lnTo>
                <a:lnTo>
                  <a:pt x="373" y="1028"/>
                </a:lnTo>
                <a:lnTo>
                  <a:pt x="379" y="1028"/>
                </a:lnTo>
                <a:lnTo>
                  <a:pt x="379" y="1028"/>
                </a:lnTo>
                <a:lnTo>
                  <a:pt x="387" y="1027"/>
                </a:lnTo>
                <a:lnTo>
                  <a:pt x="392" y="1024"/>
                </a:lnTo>
                <a:lnTo>
                  <a:pt x="398" y="1021"/>
                </a:lnTo>
                <a:lnTo>
                  <a:pt x="402" y="1017"/>
                </a:lnTo>
                <a:lnTo>
                  <a:pt x="405" y="1013"/>
                </a:lnTo>
                <a:lnTo>
                  <a:pt x="409" y="1009"/>
                </a:lnTo>
                <a:lnTo>
                  <a:pt x="413" y="1007"/>
                </a:lnTo>
                <a:lnTo>
                  <a:pt x="419" y="1006"/>
                </a:lnTo>
                <a:lnTo>
                  <a:pt x="419" y="1006"/>
                </a:lnTo>
                <a:lnTo>
                  <a:pt x="425" y="1007"/>
                </a:lnTo>
                <a:lnTo>
                  <a:pt x="433" y="1011"/>
                </a:lnTo>
                <a:lnTo>
                  <a:pt x="438" y="1014"/>
                </a:lnTo>
                <a:lnTo>
                  <a:pt x="440" y="1015"/>
                </a:lnTo>
                <a:lnTo>
                  <a:pt x="441" y="1016"/>
                </a:lnTo>
                <a:lnTo>
                  <a:pt x="441" y="1016"/>
                </a:lnTo>
                <a:lnTo>
                  <a:pt x="443" y="1022"/>
                </a:lnTo>
                <a:lnTo>
                  <a:pt x="443" y="1027"/>
                </a:lnTo>
                <a:lnTo>
                  <a:pt x="443" y="1031"/>
                </a:lnTo>
                <a:lnTo>
                  <a:pt x="442" y="1035"/>
                </a:lnTo>
                <a:lnTo>
                  <a:pt x="438" y="1044"/>
                </a:lnTo>
                <a:lnTo>
                  <a:pt x="437" y="1048"/>
                </a:lnTo>
                <a:lnTo>
                  <a:pt x="437" y="1053"/>
                </a:lnTo>
                <a:lnTo>
                  <a:pt x="437" y="1053"/>
                </a:lnTo>
                <a:lnTo>
                  <a:pt x="438" y="1058"/>
                </a:lnTo>
                <a:lnTo>
                  <a:pt x="440" y="1062"/>
                </a:lnTo>
                <a:lnTo>
                  <a:pt x="442" y="1066"/>
                </a:lnTo>
                <a:lnTo>
                  <a:pt x="445" y="1069"/>
                </a:lnTo>
                <a:lnTo>
                  <a:pt x="452" y="1074"/>
                </a:lnTo>
                <a:lnTo>
                  <a:pt x="460" y="1080"/>
                </a:lnTo>
                <a:lnTo>
                  <a:pt x="468" y="1083"/>
                </a:lnTo>
                <a:lnTo>
                  <a:pt x="476" y="1089"/>
                </a:lnTo>
                <a:lnTo>
                  <a:pt x="483" y="1095"/>
                </a:lnTo>
                <a:lnTo>
                  <a:pt x="487" y="1098"/>
                </a:lnTo>
                <a:lnTo>
                  <a:pt x="489" y="1101"/>
                </a:lnTo>
                <a:lnTo>
                  <a:pt x="489" y="1101"/>
                </a:lnTo>
                <a:lnTo>
                  <a:pt x="490" y="1105"/>
                </a:lnTo>
                <a:lnTo>
                  <a:pt x="493" y="1107"/>
                </a:lnTo>
                <a:lnTo>
                  <a:pt x="496" y="1109"/>
                </a:lnTo>
                <a:lnTo>
                  <a:pt x="498" y="1109"/>
                </a:lnTo>
                <a:lnTo>
                  <a:pt x="506" y="1109"/>
                </a:lnTo>
                <a:lnTo>
                  <a:pt x="514" y="1108"/>
                </a:lnTo>
                <a:lnTo>
                  <a:pt x="524" y="1107"/>
                </a:lnTo>
                <a:lnTo>
                  <a:pt x="532" y="1106"/>
                </a:lnTo>
                <a:lnTo>
                  <a:pt x="535" y="1106"/>
                </a:lnTo>
                <a:lnTo>
                  <a:pt x="539" y="1107"/>
                </a:lnTo>
                <a:lnTo>
                  <a:pt x="541" y="1109"/>
                </a:lnTo>
                <a:lnTo>
                  <a:pt x="543" y="1113"/>
                </a:lnTo>
                <a:lnTo>
                  <a:pt x="543" y="1113"/>
                </a:lnTo>
                <a:lnTo>
                  <a:pt x="549" y="1121"/>
                </a:lnTo>
                <a:lnTo>
                  <a:pt x="551" y="1130"/>
                </a:lnTo>
                <a:lnTo>
                  <a:pt x="554" y="1139"/>
                </a:lnTo>
                <a:lnTo>
                  <a:pt x="554" y="1147"/>
                </a:lnTo>
                <a:lnTo>
                  <a:pt x="554" y="1165"/>
                </a:lnTo>
                <a:lnTo>
                  <a:pt x="555" y="1172"/>
                </a:lnTo>
                <a:lnTo>
                  <a:pt x="558" y="1179"/>
                </a:lnTo>
                <a:lnTo>
                  <a:pt x="558" y="1179"/>
                </a:lnTo>
                <a:lnTo>
                  <a:pt x="558" y="1175"/>
                </a:lnTo>
                <a:lnTo>
                  <a:pt x="558" y="1175"/>
                </a:lnTo>
                <a:lnTo>
                  <a:pt x="558" y="1175"/>
                </a:lnTo>
                <a:lnTo>
                  <a:pt x="562" y="1170"/>
                </a:lnTo>
                <a:lnTo>
                  <a:pt x="565" y="1167"/>
                </a:lnTo>
                <a:lnTo>
                  <a:pt x="570" y="1164"/>
                </a:lnTo>
                <a:lnTo>
                  <a:pt x="574" y="1161"/>
                </a:lnTo>
                <a:lnTo>
                  <a:pt x="586" y="1158"/>
                </a:lnTo>
                <a:lnTo>
                  <a:pt x="598" y="1157"/>
                </a:lnTo>
                <a:lnTo>
                  <a:pt x="598" y="1157"/>
                </a:lnTo>
                <a:lnTo>
                  <a:pt x="617" y="1156"/>
                </a:lnTo>
                <a:lnTo>
                  <a:pt x="638" y="1151"/>
                </a:lnTo>
                <a:lnTo>
                  <a:pt x="657" y="1145"/>
                </a:lnTo>
                <a:lnTo>
                  <a:pt x="675" y="1138"/>
                </a:lnTo>
                <a:lnTo>
                  <a:pt x="675" y="1138"/>
                </a:lnTo>
                <a:lnTo>
                  <a:pt x="681" y="1136"/>
                </a:lnTo>
                <a:lnTo>
                  <a:pt x="685" y="1132"/>
                </a:lnTo>
                <a:lnTo>
                  <a:pt x="687" y="1130"/>
                </a:lnTo>
                <a:lnTo>
                  <a:pt x="688" y="1126"/>
                </a:lnTo>
                <a:lnTo>
                  <a:pt x="688" y="1122"/>
                </a:lnTo>
                <a:lnTo>
                  <a:pt x="687" y="1118"/>
                </a:lnTo>
                <a:lnTo>
                  <a:pt x="684" y="1108"/>
                </a:lnTo>
                <a:lnTo>
                  <a:pt x="675" y="1091"/>
                </a:lnTo>
                <a:lnTo>
                  <a:pt x="674" y="1084"/>
                </a:lnTo>
                <a:lnTo>
                  <a:pt x="674" y="1082"/>
                </a:lnTo>
                <a:lnTo>
                  <a:pt x="675" y="1080"/>
                </a:lnTo>
                <a:lnTo>
                  <a:pt x="675" y="1080"/>
                </a:lnTo>
                <a:lnTo>
                  <a:pt x="679" y="1077"/>
                </a:lnTo>
                <a:lnTo>
                  <a:pt x="684" y="1074"/>
                </a:lnTo>
                <a:lnTo>
                  <a:pt x="693" y="1069"/>
                </a:lnTo>
                <a:lnTo>
                  <a:pt x="702" y="1065"/>
                </a:lnTo>
                <a:lnTo>
                  <a:pt x="705" y="1061"/>
                </a:lnTo>
                <a:lnTo>
                  <a:pt x="709" y="1058"/>
                </a:lnTo>
                <a:lnTo>
                  <a:pt x="709" y="1058"/>
                </a:lnTo>
                <a:lnTo>
                  <a:pt x="716" y="1050"/>
                </a:lnTo>
                <a:lnTo>
                  <a:pt x="727" y="1040"/>
                </a:lnTo>
                <a:lnTo>
                  <a:pt x="753" y="1019"/>
                </a:lnTo>
                <a:lnTo>
                  <a:pt x="765" y="1008"/>
                </a:lnTo>
                <a:lnTo>
                  <a:pt x="777" y="999"/>
                </a:lnTo>
                <a:lnTo>
                  <a:pt x="784" y="990"/>
                </a:lnTo>
                <a:lnTo>
                  <a:pt x="786" y="986"/>
                </a:lnTo>
                <a:lnTo>
                  <a:pt x="786" y="984"/>
                </a:lnTo>
                <a:lnTo>
                  <a:pt x="786" y="984"/>
                </a:lnTo>
                <a:lnTo>
                  <a:pt x="785" y="977"/>
                </a:lnTo>
                <a:lnTo>
                  <a:pt x="781" y="971"/>
                </a:lnTo>
                <a:lnTo>
                  <a:pt x="776" y="964"/>
                </a:lnTo>
                <a:lnTo>
                  <a:pt x="769" y="958"/>
                </a:lnTo>
                <a:lnTo>
                  <a:pt x="761" y="952"/>
                </a:lnTo>
                <a:lnTo>
                  <a:pt x="753" y="947"/>
                </a:lnTo>
                <a:lnTo>
                  <a:pt x="743" y="944"/>
                </a:lnTo>
                <a:lnTo>
                  <a:pt x="734" y="943"/>
                </a:lnTo>
                <a:lnTo>
                  <a:pt x="734" y="943"/>
                </a:lnTo>
                <a:lnTo>
                  <a:pt x="731" y="944"/>
                </a:lnTo>
                <a:lnTo>
                  <a:pt x="727" y="945"/>
                </a:lnTo>
                <a:lnTo>
                  <a:pt x="722" y="950"/>
                </a:lnTo>
                <a:lnTo>
                  <a:pt x="716" y="956"/>
                </a:lnTo>
                <a:lnTo>
                  <a:pt x="711" y="963"/>
                </a:lnTo>
                <a:lnTo>
                  <a:pt x="707" y="970"/>
                </a:lnTo>
                <a:lnTo>
                  <a:pt x="702" y="977"/>
                </a:lnTo>
                <a:lnTo>
                  <a:pt x="696" y="982"/>
                </a:lnTo>
                <a:lnTo>
                  <a:pt x="694" y="983"/>
                </a:lnTo>
                <a:lnTo>
                  <a:pt x="690" y="984"/>
                </a:lnTo>
                <a:lnTo>
                  <a:pt x="690" y="984"/>
                </a:lnTo>
                <a:lnTo>
                  <a:pt x="681" y="983"/>
                </a:lnTo>
                <a:lnTo>
                  <a:pt x="671" y="981"/>
                </a:lnTo>
                <a:lnTo>
                  <a:pt x="661" y="977"/>
                </a:lnTo>
                <a:lnTo>
                  <a:pt x="649" y="973"/>
                </a:lnTo>
                <a:lnTo>
                  <a:pt x="640" y="968"/>
                </a:lnTo>
                <a:lnTo>
                  <a:pt x="632" y="962"/>
                </a:lnTo>
                <a:lnTo>
                  <a:pt x="626" y="956"/>
                </a:lnTo>
                <a:lnTo>
                  <a:pt x="625" y="953"/>
                </a:lnTo>
                <a:lnTo>
                  <a:pt x="625" y="951"/>
                </a:lnTo>
                <a:lnTo>
                  <a:pt x="625" y="951"/>
                </a:lnTo>
                <a:lnTo>
                  <a:pt x="626" y="940"/>
                </a:lnTo>
                <a:lnTo>
                  <a:pt x="629" y="928"/>
                </a:lnTo>
                <a:lnTo>
                  <a:pt x="635" y="916"/>
                </a:lnTo>
                <a:lnTo>
                  <a:pt x="641" y="903"/>
                </a:lnTo>
                <a:lnTo>
                  <a:pt x="648" y="892"/>
                </a:lnTo>
                <a:lnTo>
                  <a:pt x="656" y="882"/>
                </a:lnTo>
                <a:lnTo>
                  <a:pt x="663" y="875"/>
                </a:lnTo>
                <a:lnTo>
                  <a:pt x="669" y="869"/>
                </a:lnTo>
                <a:lnTo>
                  <a:pt x="669" y="869"/>
                </a:lnTo>
                <a:lnTo>
                  <a:pt x="679" y="867"/>
                </a:lnTo>
                <a:lnTo>
                  <a:pt x="694" y="864"/>
                </a:lnTo>
                <a:lnTo>
                  <a:pt x="701" y="862"/>
                </a:lnTo>
                <a:lnTo>
                  <a:pt x="707" y="859"/>
                </a:lnTo>
                <a:lnTo>
                  <a:pt x="711" y="854"/>
                </a:lnTo>
                <a:lnTo>
                  <a:pt x="712" y="851"/>
                </a:lnTo>
                <a:lnTo>
                  <a:pt x="712" y="848"/>
                </a:lnTo>
                <a:lnTo>
                  <a:pt x="712" y="848"/>
                </a:lnTo>
                <a:lnTo>
                  <a:pt x="712" y="844"/>
                </a:lnTo>
                <a:lnTo>
                  <a:pt x="711" y="840"/>
                </a:lnTo>
                <a:lnTo>
                  <a:pt x="708" y="834"/>
                </a:lnTo>
                <a:lnTo>
                  <a:pt x="703" y="828"/>
                </a:lnTo>
                <a:lnTo>
                  <a:pt x="702" y="823"/>
                </a:lnTo>
                <a:lnTo>
                  <a:pt x="702" y="818"/>
                </a:lnTo>
                <a:lnTo>
                  <a:pt x="702" y="818"/>
                </a:lnTo>
                <a:lnTo>
                  <a:pt x="702" y="808"/>
                </a:lnTo>
                <a:lnTo>
                  <a:pt x="704" y="799"/>
                </a:lnTo>
                <a:lnTo>
                  <a:pt x="708" y="791"/>
                </a:lnTo>
                <a:lnTo>
                  <a:pt x="711" y="783"/>
                </a:lnTo>
                <a:lnTo>
                  <a:pt x="713" y="775"/>
                </a:lnTo>
                <a:lnTo>
                  <a:pt x="717" y="767"/>
                </a:lnTo>
                <a:lnTo>
                  <a:pt x="719" y="756"/>
                </a:lnTo>
                <a:lnTo>
                  <a:pt x="719" y="745"/>
                </a:lnTo>
                <a:lnTo>
                  <a:pt x="719" y="745"/>
                </a:lnTo>
                <a:lnTo>
                  <a:pt x="719" y="731"/>
                </a:lnTo>
                <a:lnTo>
                  <a:pt x="716" y="718"/>
                </a:lnTo>
                <a:lnTo>
                  <a:pt x="711" y="707"/>
                </a:lnTo>
                <a:lnTo>
                  <a:pt x="707" y="698"/>
                </a:lnTo>
                <a:lnTo>
                  <a:pt x="698" y="679"/>
                </a:lnTo>
                <a:lnTo>
                  <a:pt x="695" y="670"/>
                </a:lnTo>
                <a:lnTo>
                  <a:pt x="694" y="661"/>
                </a:lnTo>
                <a:lnTo>
                  <a:pt x="694" y="661"/>
                </a:lnTo>
                <a:lnTo>
                  <a:pt x="693" y="653"/>
                </a:lnTo>
                <a:lnTo>
                  <a:pt x="692" y="648"/>
                </a:lnTo>
                <a:lnTo>
                  <a:pt x="690" y="645"/>
                </a:lnTo>
                <a:lnTo>
                  <a:pt x="694" y="639"/>
                </a:lnTo>
                <a:lnTo>
                  <a:pt x="694" y="639"/>
                </a:lnTo>
                <a:lnTo>
                  <a:pt x="728" y="651"/>
                </a:lnTo>
                <a:lnTo>
                  <a:pt x="759" y="664"/>
                </a:lnTo>
                <a:lnTo>
                  <a:pt x="776" y="671"/>
                </a:lnTo>
                <a:lnTo>
                  <a:pt x="791" y="678"/>
                </a:lnTo>
                <a:lnTo>
                  <a:pt x="807" y="687"/>
                </a:lnTo>
                <a:lnTo>
                  <a:pt x="823" y="698"/>
                </a:lnTo>
                <a:lnTo>
                  <a:pt x="823" y="698"/>
                </a:lnTo>
                <a:lnTo>
                  <a:pt x="829" y="704"/>
                </a:lnTo>
                <a:lnTo>
                  <a:pt x="833" y="710"/>
                </a:lnTo>
                <a:lnTo>
                  <a:pt x="840" y="723"/>
                </a:lnTo>
                <a:lnTo>
                  <a:pt x="843" y="727"/>
                </a:lnTo>
                <a:lnTo>
                  <a:pt x="850" y="731"/>
                </a:lnTo>
                <a:lnTo>
                  <a:pt x="858" y="733"/>
                </a:lnTo>
                <a:lnTo>
                  <a:pt x="870" y="733"/>
                </a:lnTo>
                <a:lnTo>
                  <a:pt x="870" y="733"/>
                </a:lnTo>
                <a:lnTo>
                  <a:pt x="908" y="733"/>
                </a:lnTo>
                <a:lnTo>
                  <a:pt x="908" y="733"/>
                </a:lnTo>
                <a:lnTo>
                  <a:pt x="909" y="740"/>
                </a:lnTo>
                <a:lnTo>
                  <a:pt x="911" y="746"/>
                </a:lnTo>
                <a:lnTo>
                  <a:pt x="916" y="750"/>
                </a:lnTo>
                <a:lnTo>
                  <a:pt x="919" y="752"/>
                </a:lnTo>
                <a:lnTo>
                  <a:pt x="922" y="753"/>
                </a:lnTo>
                <a:lnTo>
                  <a:pt x="922" y="753"/>
                </a:lnTo>
                <a:lnTo>
                  <a:pt x="927" y="752"/>
                </a:lnTo>
                <a:lnTo>
                  <a:pt x="932" y="748"/>
                </a:lnTo>
                <a:lnTo>
                  <a:pt x="937" y="744"/>
                </a:lnTo>
                <a:lnTo>
                  <a:pt x="940" y="738"/>
                </a:lnTo>
                <a:lnTo>
                  <a:pt x="940" y="738"/>
                </a:lnTo>
                <a:lnTo>
                  <a:pt x="945" y="744"/>
                </a:lnTo>
                <a:lnTo>
                  <a:pt x="949" y="750"/>
                </a:lnTo>
                <a:lnTo>
                  <a:pt x="956" y="763"/>
                </a:lnTo>
                <a:lnTo>
                  <a:pt x="961" y="769"/>
                </a:lnTo>
                <a:lnTo>
                  <a:pt x="967" y="773"/>
                </a:lnTo>
                <a:lnTo>
                  <a:pt x="975" y="777"/>
                </a:lnTo>
                <a:lnTo>
                  <a:pt x="984" y="778"/>
                </a:lnTo>
                <a:lnTo>
                  <a:pt x="984" y="778"/>
                </a:lnTo>
                <a:lnTo>
                  <a:pt x="988" y="778"/>
                </a:lnTo>
                <a:lnTo>
                  <a:pt x="992" y="777"/>
                </a:lnTo>
                <a:lnTo>
                  <a:pt x="995" y="775"/>
                </a:lnTo>
                <a:lnTo>
                  <a:pt x="998" y="772"/>
                </a:lnTo>
                <a:lnTo>
                  <a:pt x="1000" y="769"/>
                </a:lnTo>
                <a:lnTo>
                  <a:pt x="1001" y="764"/>
                </a:lnTo>
                <a:lnTo>
                  <a:pt x="1002" y="759"/>
                </a:lnTo>
                <a:lnTo>
                  <a:pt x="1002" y="753"/>
                </a:lnTo>
                <a:lnTo>
                  <a:pt x="1002" y="753"/>
                </a:lnTo>
                <a:lnTo>
                  <a:pt x="1003" y="732"/>
                </a:lnTo>
                <a:lnTo>
                  <a:pt x="1003" y="711"/>
                </a:lnTo>
                <a:lnTo>
                  <a:pt x="1002" y="700"/>
                </a:lnTo>
                <a:lnTo>
                  <a:pt x="1001" y="688"/>
                </a:lnTo>
                <a:lnTo>
                  <a:pt x="999" y="677"/>
                </a:lnTo>
                <a:lnTo>
                  <a:pt x="995" y="664"/>
                </a:lnTo>
                <a:lnTo>
                  <a:pt x="995" y="664"/>
                </a:lnTo>
                <a:lnTo>
                  <a:pt x="993" y="658"/>
                </a:lnTo>
                <a:lnTo>
                  <a:pt x="990" y="655"/>
                </a:lnTo>
                <a:lnTo>
                  <a:pt x="985" y="654"/>
                </a:lnTo>
                <a:lnTo>
                  <a:pt x="982" y="651"/>
                </a:lnTo>
                <a:lnTo>
                  <a:pt x="977" y="649"/>
                </a:lnTo>
                <a:lnTo>
                  <a:pt x="974" y="646"/>
                </a:lnTo>
                <a:lnTo>
                  <a:pt x="970" y="640"/>
                </a:lnTo>
                <a:lnTo>
                  <a:pt x="970" y="631"/>
                </a:lnTo>
                <a:lnTo>
                  <a:pt x="970" y="631"/>
                </a:lnTo>
                <a:lnTo>
                  <a:pt x="970" y="623"/>
                </a:lnTo>
                <a:lnTo>
                  <a:pt x="972" y="615"/>
                </a:lnTo>
                <a:lnTo>
                  <a:pt x="975" y="607"/>
                </a:lnTo>
                <a:lnTo>
                  <a:pt x="978" y="600"/>
                </a:lnTo>
                <a:lnTo>
                  <a:pt x="983" y="593"/>
                </a:lnTo>
                <a:lnTo>
                  <a:pt x="988" y="587"/>
                </a:lnTo>
                <a:lnTo>
                  <a:pt x="1000" y="574"/>
                </a:lnTo>
                <a:lnTo>
                  <a:pt x="1011" y="562"/>
                </a:lnTo>
                <a:lnTo>
                  <a:pt x="1024" y="549"/>
                </a:lnTo>
                <a:lnTo>
                  <a:pt x="1035" y="534"/>
                </a:lnTo>
                <a:lnTo>
                  <a:pt x="1039" y="526"/>
                </a:lnTo>
                <a:lnTo>
                  <a:pt x="1044" y="517"/>
                </a:lnTo>
                <a:lnTo>
                  <a:pt x="1044" y="517"/>
                </a:lnTo>
                <a:lnTo>
                  <a:pt x="1040" y="517"/>
                </a:lnTo>
                <a:lnTo>
                  <a:pt x="1040" y="5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8" name="Freeform 103"/>
          <p:cNvSpPr>
            <a:spLocks/>
          </p:cNvSpPr>
          <p:nvPr/>
        </p:nvSpPr>
        <p:spPr bwMode="auto">
          <a:xfrm>
            <a:off x="7681913" y="1763713"/>
            <a:ext cx="1184275" cy="1846262"/>
          </a:xfrm>
          <a:custGeom>
            <a:avLst/>
            <a:gdLst/>
            <a:ahLst/>
            <a:cxnLst>
              <a:cxn ang="0">
                <a:pos x="995" y="1897"/>
              </a:cxn>
              <a:cxn ang="0">
                <a:pos x="1446" y="2078"/>
              </a:cxn>
              <a:cxn ang="0">
                <a:pos x="1389" y="1862"/>
              </a:cxn>
              <a:cxn ang="0">
                <a:pos x="1309" y="1810"/>
              </a:cxn>
              <a:cxn ang="0">
                <a:pos x="1305" y="1710"/>
              </a:cxn>
              <a:cxn ang="0">
                <a:pos x="1354" y="1673"/>
              </a:cxn>
              <a:cxn ang="0">
                <a:pos x="1252" y="1614"/>
              </a:cxn>
              <a:cxn ang="0">
                <a:pos x="1206" y="1514"/>
              </a:cxn>
              <a:cxn ang="0">
                <a:pos x="1242" y="1438"/>
              </a:cxn>
              <a:cxn ang="0">
                <a:pos x="1227" y="1369"/>
              </a:cxn>
              <a:cxn ang="0">
                <a:pos x="1100" y="1300"/>
              </a:cxn>
              <a:cxn ang="0">
                <a:pos x="1072" y="1210"/>
              </a:cxn>
              <a:cxn ang="0">
                <a:pos x="1122" y="1204"/>
              </a:cxn>
              <a:cxn ang="0">
                <a:pos x="1057" y="1147"/>
              </a:cxn>
              <a:cxn ang="0">
                <a:pos x="938" y="1114"/>
              </a:cxn>
              <a:cxn ang="0">
                <a:pos x="919" y="1055"/>
              </a:cxn>
              <a:cxn ang="0">
                <a:pos x="870" y="1063"/>
              </a:cxn>
              <a:cxn ang="0">
                <a:pos x="872" y="1130"/>
              </a:cxn>
              <a:cxn ang="0">
                <a:pos x="819" y="1114"/>
              </a:cxn>
              <a:cxn ang="0">
                <a:pos x="651" y="868"/>
              </a:cxn>
              <a:cxn ang="0">
                <a:pos x="644" y="810"/>
              </a:cxn>
              <a:cxn ang="0">
                <a:pos x="695" y="763"/>
              </a:cxn>
              <a:cxn ang="0">
                <a:pos x="677" y="642"/>
              </a:cxn>
              <a:cxn ang="0">
                <a:pos x="743" y="702"/>
              </a:cxn>
              <a:cxn ang="0">
                <a:pos x="723" y="631"/>
              </a:cxn>
              <a:cxn ang="0">
                <a:pos x="704" y="511"/>
              </a:cxn>
              <a:cxn ang="0">
                <a:pos x="770" y="433"/>
              </a:cxn>
              <a:cxn ang="0">
                <a:pos x="861" y="415"/>
              </a:cxn>
              <a:cxn ang="0">
                <a:pos x="731" y="78"/>
              </a:cxn>
              <a:cxn ang="0">
                <a:pos x="651" y="18"/>
              </a:cxn>
              <a:cxn ang="0">
                <a:pos x="606" y="60"/>
              </a:cxn>
              <a:cxn ang="0">
                <a:pos x="574" y="181"/>
              </a:cxn>
              <a:cxn ang="0">
                <a:pos x="535" y="262"/>
              </a:cxn>
              <a:cxn ang="0">
                <a:pos x="405" y="308"/>
              </a:cxn>
              <a:cxn ang="0">
                <a:pos x="352" y="259"/>
              </a:cxn>
              <a:cxn ang="0">
                <a:pos x="308" y="209"/>
              </a:cxn>
              <a:cxn ang="0">
                <a:pos x="192" y="273"/>
              </a:cxn>
              <a:cxn ang="0">
                <a:pos x="77" y="383"/>
              </a:cxn>
              <a:cxn ang="0">
                <a:pos x="48" y="437"/>
              </a:cxn>
              <a:cxn ang="0">
                <a:pos x="1" y="496"/>
              </a:cxn>
              <a:cxn ang="0">
                <a:pos x="26" y="530"/>
              </a:cxn>
              <a:cxn ang="0">
                <a:pos x="63" y="584"/>
              </a:cxn>
              <a:cxn ang="0">
                <a:pos x="118" y="606"/>
              </a:cxn>
              <a:cxn ang="0">
                <a:pos x="201" y="704"/>
              </a:cxn>
              <a:cxn ang="0">
                <a:pos x="282" y="726"/>
              </a:cxn>
              <a:cxn ang="0">
                <a:pos x="309" y="787"/>
              </a:cxn>
              <a:cxn ang="0">
                <a:pos x="341" y="787"/>
              </a:cxn>
              <a:cxn ang="0">
                <a:pos x="381" y="789"/>
              </a:cxn>
              <a:cxn ang="0">
                <a:pos x="330" y="703"/>
              </a:cxn>
              <a:cxn ang="0">
                <a:pos x="309" y="599"/>
              </a:cxn>
              <a:cxn ang="0">
                <a:pos x="366" y="566"/>
              </a:cxn>
              <a:cxn ang="0">
                <a:pos x="367" y="672"/>
              </a:cxn>
              <a:cxn ang="0">
                <a:pos x="495" y="774"/>
              </a:cxn>
              <a:cxn ang="0">
                <a:pos x="521" y="935"/>
              </a:cxn>
              <a:cxn ang="0">
                <a:pos x="584" y="1143"/>
              </a:cxn>
              <a:cxn ang="0">
                <a:pos x="644" y="1426"/>
              </a:cxn>
              <a:cxn ang="0">
                <a:pos x="677" y="1525"/>
              </a:cxn>
              <a:cxn ang="0">
                <a:pos x="725" y="1649"/>
              </a:cxn>
            </a:cxnLst>
            <a:rect l="0" t="0" r="r" b="b"/>
            <a:pathLst>
              <a:path w="1447" h="2116">
                <a:moveTo>
                  <a:pt x="802" y="1748"/>
                </a:moveTo>
                <a:lnTo>
                  <a:pt x="802" y="1748"/>
                </a:lnTo>
                <a:lnTo>
                  <a:pt x="822" y="1767"/>
                </a:lnTo>
                <a:lnTo>
                  <a:pt x="843" y="1788"/>
                </a:lnTo>
                <a:lnTo>
                  <a:pt x="873" y="1815"/>
                </a:lnTo>
                <a:lnTo>
                  <a:pt x="909" y="1842"/>
                </a:lnTo>
                <a:lnTo>
                  <a:pt x="930" y="1857"/>
                </a:lnTo>
                <a:lnTo>
                  <a:pt x="950" y="1871"/>
                </a:lnTo>
                <a:lnTo>
                  <a:pt x="972" y="1885"/>
                </a:lnTo>
                <a:lnTo>
                  <a:pt x="995" y="1897"/>
                </a:lnTo>
                <a:lnTo>
                  <a:pt x="1019" y="1910"/>
                </a:lnTo>
                <a:lnTo>
                  <a:pt x="1044" y="1922"/>
                </a:lnTo>
                <a:lnTo>
                  <a:pt x="1044" y="1922"/>
                </a:lnTo>
                <a:lnTo>
                  <a:pt x="1086" y="1940"/>
                </a:lnTo>
                <a:lnTo>
                  <a:pt x="1136" y="1963"/>
                </a:lnTo>
                <a:lnTo>
                  <a:pt x="1244" y="2016"/>
                </a:lnTo>
                <a:lnTo>
                  <a:pt x="1353" y="2070"/>
                </a:lnTo>
                <a:lnTo>
                  <a:pt x="1447" y="2116"/>
                </a:lnTo>
                <a:lnTo>
                  <a:pt x="1447" y="2116"/>
                </a:lnTo>
                <a:lnTo>
                  <a:pt x="1446" y="2078"/>
                </a:lnTo>
                <a:lnTo>
                  <a:pt x="1443" y="2044"/>
                </a:lnTo>
                <a:lnTo>
                  <a:pt x="1438" y="2011"/>
                </a:lnTo>
                <a:lnTo>
                  <a:pt x="1433" y="1981"/>
                </a:lnTo>
                <a:lnTo>
                  <a:pt x="1426" y="1954"/>
                </a:lnTo>
                <a:lnTo>
                  <a:pt x="1416" y="1927"/>
                </a:lnTo>
                <a:lnTo>
                  <a:pt x="1407" y="1903"/>
                </a:lnTo>
                <a:lnTo>
                  <a:pt x="1397" y="1880"/>
                </a:lnTo>
                <a:lnTo>
                  <a:pt x="1397" y="1880"/>
                </a:lnTo>
                <a:lnTo>
                  <a:pt x="1392" y="1870"/>
                </a:lnTo>
                <a:lnTo>
                  <a:pt x="1389" y="1862"/>
                </a:lnTo>
                <a:lnTo>
                  <a:pt x="1384" y="1855"/>
                </a:lnTo>
                <a:lnTo>
                  <a:pt x="1380" y="1849"/>
                </a:lnTo>
                <a:lnTo>
                  <a:pt x="1375" y="1846"/>
                </a:lnTo>
                <a:lnTo>
                  <a:pt x="1369" y="1842"/>
                </a:lnTo>
                <a:lnTo>
                  <a:pt x="1359" y="1838"/>
                </a:lnTo>
                <a:lnTo>
                  <a:pt x="1346" y="1833"/>
                </a:lnTo>
                <a:lnTo>
                  <a:pt x="1334" y="1827"/>
                </a:lnTo>
                <a:lnTo>
                  <a:pt x="1326" y="1823"/>
                </a:lnTo>
                <a:lnTo>
                  <a:pt x="1319" y="1817"/>
                </a:lnTo>
                <a:lnTo>
                  <a:pt x="1309" y="1810"/>
                </a:lnTo>
                <a:lnTo>
                  <a:pt x="1301" y="1800"/>
                </a:lnTo>
                <a:lnTo>
                  <a:pt x="1301" y="1800"/>
                </a:lnTo>
                <a:lnTo>
                  <a:pt x="1298" y="1795"/>
                </a:lnTo>
                <a:lnTo>
                  <a:pt x="1296" y="1789"/>
                </a:lnTo>
                <a:lnTo>
                  <a:pt x="1294" y="1782"/>
                </a:lnTo>
                <a:lnTo>
                  <a:pt x="1293" y="1775"/>
                </a:lnTo>
                <a:lnTo>
                  <a:pt x="1293" y="1758"/>
                </a:lnTo>
                <a:lnTo>
                  <a:pt x="1296" y="1741"/>
                </a:lnTo>
                <a:lnTo>
                  <a:pt x="1299" y="1725"/>
                </a:lnTo>
                <a:lnTo>
                  <a:pt x="1305" y="1710"/>
                </a:lnTo>
                <a:lnTo>
                  <a:pt x="1308" y="1704"/>
                </a:lnTo>
                <a:lnTo>
                  <a:pt x="1312" y="1700"/>
                </a:lnTo>
                <a:lnTo>
                  <a:pt x="1316" y="1696"/>
                </a:lnTo>
                <a:lnTo>
                  <a:pt x="1320" y="1694"/>
                </a:lnTo>
                <a:lnTo>
                  <a:pt x="1320" y="1694"/>
                </a:lnTo>
                <a:lnTo>
                  <a:pt x="1337" y="1687"/>
                </a:lnTo>
                <a:lnTo>
                  <a:pt x="1349" y="1680"/>
                </a:lnTo>
                <a:lnTo>
                  <a:pt x="1352" y="1678"/>
                </a:lnTo>
                <a:lnTo>
                  <a:pt x="1354" y="1675"/>
                </a:lnTo>
                <a:lnTo>
                  <a:pt x="1354" y="1673"/>
                </a:lnTo>
                <a:lnTo>
                  <a:pt x="1354" y="1671"/>
                </a:lnTo>
                <a:lnTo>
                  <a:pt x="1353" y="1670"/>
                </a:lnTo>
                <a:lnTo>
                  <a:pt x="1351" y="1667"/>
                </a:lnTo>
                <a:lnTo>
                  <a:pt x="1343" y="1664"/>
                </a:lnTo>
                <a:lnTo>
                  <a:pt x="1320" y="1655"/>
                </a:lnTo>
                <a:lnTo>
                  <a:pt x="1306" y="1649"/>
                </a:lnTo>
                <a:lnTo>
                  <a:pt x="1291" y="1641"/>
                </a:lnTo>
                <a:lnTo>
                  <a:pt x="1275" y="1632"/>
                </a:lnTo>
                <a:lnTo>
                  <a:pt x="1259" y="1621"/>
                </a:lnTo>
                <a:lnTo>
                  <a:pt x="1252" y="1614"/>
                </a:lnTo>
                <a:lnTo>
                  <a:pt x="1245" y="1607"/>
                </a:lnTo>
                <a:lnTo>
                  <a:pt x="1238" y="1599"/>
                </a:lnTo>
                <a:lnTo>
                  <a:pt x="1231" y="1590"/>
                </a:lnTo>
                <a:lnTo>
                  <a:pt x="1225" y="1581"/>
                </a:lnTo>
                <a:lnTo>
                  <a:pt x="1221" y="1571"/>
                </a:lnTo>
                <a:lnTo>
                  <a:pt x="1216" y="1559"/>
                </a:lnTo>
                <a:lnTo>
                  <a:pt x="1213" y="1546"/>
                </a:lnTo>
                <a:lnTo>
                  <a:pt x="1213" y="1546"/>
                </a:lnTo>
                <a:lnTo>
                  <a:pt x="1209" y="1528"/>
                </a:lnTo>
                <a:lnTo>
                  <a:pt x="1206" y="1514"/>
                </a:lnTo>
                <a:lnTo>
                  <a:pt x="1202" y="1504"/>
                </a:lnTo>
                <a:lnTo>
                  <a:pt x="1201" y="1495"/>
                </a:lnTo>
                <a:lnTo>
                  <a:pt x="1201" y="1488"/>
                </a:lnTo>
                <a:lnTo>
                  <a:pt x="1204" y="1481"/>
                </a:lnTo>
                <a:lnTo>
                  <a:pt x="1209" y="1474"/>
                </a:lnTo>
                <a:lnTo>
                  <a:pt x="1217" y="1466"/>
                </a:lnTo>
                <a:lnTo>
                  <a:pt x="1217" y="1466"/>
                </a:lnTo>
                <a:lnTo>
                  <a:pt x="1227" y="1456"/>
                </a:lnTo>
                <a:lnTo>
                  <a:pt x="1236" y="1446"/>
                </a:lnTo>
                <a:lnTo>
                  <a:pt x="1242" y="1438"/>
                </a:lnTo>
                <a:lnTo>
                  <a:pt x="1247" y="1430"/>
                </a:lnTo>
                <a:lnTo>
                  <a:pt x="1251" y="1422"/>
                </a:lnTo>
                <a:lnTo>
                  <a:pt x="1252" y="1415"/>
                </a:lnTo>
                <a:lnTo>
                  <a:pt x="1253" y="1408"/>
                </a:lnTo>
                <a:lnTo>
                  <a:pt x="1252" y="1401"/>
                </a:lnTo>
                <a:lnTo>
                  <a:pt x="1250" y="1396"/>
                </a:lnTo>
                <a:lnTo>
                  <a:pt x="1247" y="1390"/>
                </a:lnTo>
                <a:lnTo>
                  <a:pt x="1243" y="1384"/>
                </a:lnTo>
                <a:lnTo>
                  <a:pt x="1238" y="1378"/>
                </a:lnTo>
                <a:lnTo>
                  <a:pt x="1227" y="1369"/>
                </a:lnTo>
                <a:lnTo>
                  <a:pt x="1212" y="1361"/>
                </a:lnTo>
                <a:lnTo>
                  <a:pt x="1195" y="1353"/>
                </a:lnTo>
                <a:lnTo>
                  <a:pt x="1179" y="1345"/>
                </a:lnTo>
                <a:lnTo>
                  <a:pt x="1145" y="1331"/>
                </a:lnTo>
                <a:lnTo>
                  <a:pt x="1130" y="1324"/>
                </a:lnTo>
                <a:lnTo>
                  <a:pt x="1117" y="1316"/>
                </a:lnTo>
                <a:lnTo>
                  <a:pt x="1107" y="1308"/>
                </a:lnTo>
                <a:lnTo>
                  <a:pt x="1102" y="1305"/>
                </a:lnTo>
                <a:lnTo>
                  <a:pt x="1100" y="1300"/>
                </a:lnTo>
                <a:lnTo>
                  <a:pt x="1100" y="1300"/>
                </a:lnTo>
                <a:lnTo>
                  <a:pt x="1079" y="1263"/>
                </a:lnTo>
                <a:lnTo>
                  <a:pt x="1064" y="1236"/>
                </a:lnTo>
                <a:lnTo>
                  <a:pt x="1056" y="1217"/>
                </a:lnTo>
                <a:lnTo>
                  <a:pt x="1053" y="1207"/>
                </a:lnTo>
                <a:lnTo>
                  <a:pt x="1053" y="1204"/>
                </a:lnTo>
                <a:lnTo>
                  <a:pt x="1053" y="1202"/>
                </a:lnTo>
                <a:lnTo>
                  <a:pt x="1055" y="1201"/>
                </a:lnTo>
                <a:lnTo>
                  <a:pt x="1057" y="1202"/>
                </a:lnTo>
                <a:lnTo>
                  <a:pt x="1064" y="1206"/>
                </a:lnTo>
                <a:lnTo>
                  <a:pt x="1072" y="1210"/>
                </a:lnTo>
                <a:lnTo>
                  <a:pt x="1083" y="1217"/>
                </a:lnTo>
                <a:lnTo>
                  <a:pt x="1092" y="1222"/>
                </a:lnTo>
                <a:lnTo>
                  <a:pt x="1102" y="1227"/>
                </a:lnTo>
                <a:lnTo>
                  <a:pt x="1107" y="1227"/>
                </a:lnTo>
                <a:lnTo>
                  <a:pt x="1110" y="1227"/>
                </a:lnTo>
                <a:lnTo>
                  <a:pt x="1114" y="1225"/>
                </a:lnTo>
                <a:lnTo>
                  <a:pt x="1117" y="1222"/>
                </a:lnTo>
                <a:lnTo>
                  <a:pt x="1120" y="1217"/>
                </a:lnTo>
                <a:lnTo>
                  <a:pt x="1121" y="1212"/>
                </a:lnTo>
                <a:lnTo>
                  <a:pt x="1122" y="1204"/>
                </a:lnTo>
                <a:lnTo>
                  <a:pt x="1122" y="1194"/>
                </a:lnTo>
                <a:lnTo>
                  <a:pt x="1121" y="1183"/>
                </a:lnTo>
                <a:lnTo>
                  <a:pt x="1117" y="1168"/>
                </a:lnTo>
                <a:lnTo>
                  <a:pt x="1117" y="1168"/>
                </a:lnTo>
                <a:lnTo>
                  <a:pt x="1110" y="1163"/>
                </a:lnTo>
                <a:lnTo>
                  <a:pt x="1102" y="1158"/>
                </a:lnTo>
                <a:lnTo>
                  <a:pt x="1093" y="1154"/>
                </a:lnTo>
                <a:lnTo>
                  <a:pt x="1083" y="1151"/>
                </a:lnTo>
                <a:lnTo>
                  <a:pt x="1071" y="1148"/>
                </a:lnTo>
                <a:lnTo>
                  <a:pt x="1057" y="1147"/>
                </a:lnTo>
                <a:lnTo>
                  <a:pt x="1042" y="1148"/>
                </a:lnTo>
                <a:lnTo>
                  <a:pt x="1026" y="1149"/>
                </a:lnTo>
                <a:lnTo>
                  <a:pt x="1026" y="1149"/>
                </a:lnTo>
                <a:lnTo>
                  <a:pt x="996" y="1145"/>
                </a:lnTo>
                <a:lnTo>
                  <a:pt x="984" y="1141"/>
                </a:lnTo>
                <a:lnTo>
                  <a:pt x="972" y="1138"/>
                </a:lnTo>
                <a:lnTo>
                  <a:pt x="962" y="1135"/>
                </a:lnTo>
                <a:lnTo>
                  <a:pt x="953" y="1129"/>
                </a:lnTo>
                <a:lnTo>
                  <a:pt x="945" y="1122"/>
                </a:lnTo>
                <a:lnTo>
                  <a:pt x="938" y="1114"/>
                </a:lnTo>
                <a:lnTo>
                  <a:pt x="938" y="1114"/>
                </a:lnTo>
                <a:lnTo>
                  <a:pt x="941" y="1117"/>
                </a:lnTo>
                <a:lnTo>
                  <a:pt x="938" y="1114"/>
                </a:lnTo>
                <a:lnTo>
                  <a:pt x="938" y="1114"/>
                </a:lnTo>
                <a:lnTo>
                  <a:pt x="938" y="1114"/>
                </a:lnTo>
                <a:lnTo>
                  <a:pt x="932" y="1103"/>
                </a:lnTo>
                <a:lnTo>
                  <a:pt x="927" y="1091"/>
                </a:lnTo>
                <a:lnTo>
                  <a:pt x="923" y="1075"/>
                </a:lnTo>
                <a:lnTo>
                  <a:pt x="919" y="1055"/>
                </a:lnTo>
                <a:lnTo>
                  <a:pt x="919" y="1055"/>
                </a:lnTo>
                <a:lnTo>
                  <a:pt x="915" y="1049"/>
                </a:lnTo>
                <a:lnTo>
                  <a:pt x="910" y="1046"/>
                </a:lnTo>
                <a:lnTo>
                  <a:pt x="903" y="1042"/>
                </a:lnTo>
                <a:lnTo>
                  <a:pt x="899" y="1042"/>
                </a:lnTo>
                <a:lnTo>
                  <a:pt x="895" y="1042"/>
                </a:lnTo>
                <a:lnTo>
                  <a:pt x="891" y="1044"/>
                </a:lnTo>
                <a:lnTo>
                  <a:pt x="885" y="1047"/>
                </a:lnTo>
                <a:lnTo>
                  <a:pt x="880" y="1051"/>
                </a:lnTo>
                <a:lnTo>
                  <a:pt x="876" y="1056"/>
                </a:lnTo>
                <a:lnTo>
                  <a:pt x="870" y="1063"/>
                </a:lnTo>
                <a:lnTo>
                  <a:pt x="864" y="1072"/>
                </a:lnTo>
                <a:lnTo>
                  <a:pt x="864" y="1072"/>
                </a:lnTo>
                <a:lnTo>
                  <a:pt x="862" y="1077"/>
                </a:lnTo>
                <a:lnTo>
                  <a:pt x="862" y="1082"/>
                </a:lnTo>
                <a:lnTo>
                  <a:pt x="862" y="1086"/>
                </a:lnTo>
                <a:lnTo>
                  <a:pt x="863" y="1092"/>
                </a:lnTo>
                <a:lnTo>
                  <a:pt x="866" y="1103"/>
                </a:lnTo>
                <a:lnTo>
                  <a:pt x="871" y="1115"/>
                </a:lnTo>
                <a:lnTo>
                  <a:pt x="873" y="1126"/>
                </a:lnTo>
                <a:lnTo>
                  <a:pt x="872" y="1130"/>
                </a:lnTo>
                <a:lnTo>
                  <a:pt x="871" y="1135"/>
                </a:lnTo>
                <a:lnTo>
                  <a:pt x="869" y="1137"/>
                </a:lnTo>
                <a:lnTo>
                  <a:pt x="864" y="1139"/>
                </a:lnTo>
                <a:lnTo>
                  <a:pt x="858" y="1139"/>
                </a:lnTo>
                <a:lnTo>
                  <a:pt x="849" y="1139"/>
                </a:lnTo>
                <a:lnTo>
                  <a:pt x="849" y="1139"/>
                </a:lnTo>
                <a:lnTo>
                  <a:pt x="845" y="1137"/>
                </a:lnTo>
                <a:lnTo>
                  <a:pt x="840" y="1133"/>
                </a:lnTo>
                <a:lnTo>
                  <a:pt x="830" y="1125"/>
                </a:lnTo>
                <a:lnTo>
                  <a:pt x="819" y="1114"/>
                </a:lnTo>
                <a:lnTo>
                  <a:pt x="808" y="1100"/>
                </a:lnTo>
                <a:lnTo>
                  <a:pt x="796" y="1083"/>
                </a:lnTo>
                <a:lnTo>
                  <a:pt x="784" y="1064"/>
                </a:lnTo>
                <a:lnTo>
                  <a:pt x="757" y="1024"/>
                </a:lnTo>
                <a:lnTo>
                  <a:pt x="731" y="980"/>
                </a:lnTo>
                <a:lnTo>
                  <a:pt x="703" y="937"/>
                </a:lnTo>
                <a:lnTo>
                  <a:pt x="690" y="917"/>
                </a:lnTo>
                <a:lnTo>
                  <a:pt x="677" y="899"/>
                </a:lnTo>
                <a:lnTo>
                  <a:pt x="664" y="881"/>
                </a:lnTo>
                <a:lnTo>
                  <a:pt x="651" y="868"/>
                </a:lnTo>
                <a:lnTo>
                  <a:pt x="651" y="868"/>
                </a:lnTo>
                <a:lnTo>
                  <a:pt x="644" y="860"/>
                </a:lnTo>
                <a:lnTo>
                  <a:pt x="640" y="851"/>
                </a:lnTo>
                <a:lnTo>
                  <a:pt x="636" y="845"/>
                </a:lnTo>
                <a:lnTo>
                  <a:pt x="634" y="838"/>
                </a:lnTo>
                <a:lnTo>
                  <a:pt x="634" y="831"/>
                </a:lnTo>
                <a:lnTo>
                  <a:pt x="635" y="825"/>
                </a:lnTo>
                <a:lnTo>
                  <a:pt x="637" y="819"/>
                </a:lnTo>
                <a:lnTo>
                  <a:pt x="640" y="815"/>
                </a:lnTo>
                <a:lnTo>
                  <a:pt x="644" y="810"/>
                </a:lnTo>
                <a:lnTo>
                  <a:pt x="650" y="805"/>
                </a:lnTo>
                <a:lnTo>
                  <a:pt x="656" y="802"/>
                </a:lnTo>
                <a:lnTo>
                  <a:pt x="663" y="799"/>
                </a:lnTo>
                <a:lnTo>
                  <a:pt x="678" y="794"/>
                </a:lnTo>
                <a:lnTo>
                  <a:pt x="696" y="790"/>
                </a:lnTo>
                <a:lnTo>
                  <a:pt x="696" y="790"/>
                </a:lnTo>
                <a:lnTo>
                  <a:pt x="697" y="782"/>
                </a:lnTo>
                <a:lnTo>
                  <a:pt x="698" y="775"/>
                </a:lnTo>
                <a:lnTo>
                  <a:pt x="697" y="769"/>
                </a:lnTo>
                <a:lnTo>
                  <a:pt x="695" y="763"/>
                </a:lnTo>
                <a:lnTo>
                  <a:pt x="690" y="756"/>
                </a:lnTo>
                <a:lnTo>
                  <a:pt x="685" y="750"/>
                </a:lnTo>
                <a:lnTo>
                  <a:pt x="666" y="735"/>
                </a:lnTo>
                <a:lnTo>
                  <a:pt x="666" y="735"/>
                </a:lnTo>
                <a:lnTo>
                  <a:pt x="666" y="650"/>
                </a:lnTo>
                <a:lnTo>
                  <a:pt x="666" y="650"/>
                </a:lnTo>
                <a:lnTo>
                  <a:pt x="666" y="650"/>
                </a:lnTo>
                <a:lnTo>
                  <a:pt x="670" y="645"/>
                </a:lnTo>
                <a:lnTo>
                  <a:pt x="673" y="643"/>
                </a:lnTo>
                <a:lnTo>
                  <a:pt x="677" y="642"/>
                </a:lnTo>
                <a:lnTo>
                  <a:pt x="681" y="644"/>
                </a:lnTo>
                <a:lnTo>
                  <a:pt x="686" y="648"/>
                </a:lnTo>
                <a:lnTo>
                  <a:pt x="691" y="652"/>
                </a:lnTo>
                <a:lnTo>
                  <a:pt x="702" y="664"/>
                </a:lnTo>
                <a:lnTo>
                  <a:pt x="713" y="677"/>
                </a:lnTo>
                <a:lnTo>
                  <a:pt x="724" y="689"/>
                </a:lnTo>
                <a:lnTo>
                  <a:pt x="729" y="694"/>
                </a:lnTo>
                <a:lnTo>
                  <a:pt x="734" y="698"/>
                </a:lnTo>
                <a:lnTo>
                  <a:pt x="739" y="701"/>
                </a:lnTo>
                <a:lnTo>
                  <a:pt x="743" y="702"/>
                </a:lnTo>
                <a:lnTo>
                  <a:pt x="743" y="702"/>
                </a:lnTo>
                <a:lnTo>
                  <a:pt x="750" y="700"/>
                </a:lnTo>
                <a:lnTo>
                  <a:pt x="752" y="697"/>
                </a:lnTo>
                <a:lnTo>
                  <a:pt x="754" y="695"/>
                </a:lnTo>
                <a:lnTo>
                  <a:pt x="755" y="689"/>
                </a:lnTo>
                <a:lnTo>
                  <a:pt x="755" y="683"/>
                </a:lnTo>
                <a:lnTo>
                  <a:pt x="751" y="675"/>
                </a:lnTo>
                <a:lnTo>
                  <a:pt x="748" y="668"/>
                </a:lnTo>
                <a:lnTo>
                  <a:pt x="736" y="650"/>
                </a:lnTo>
                <a:lnTo>
                  <a:pt x="723" y="631"/>
                </a:lnTo>
                <a:lnTo>
                  <a:pt x="709" y="612"/>
                </a:lnTo>
                <a:lnTo>
                  <a:pt x="704" y="602"/>
                </a:lnTo>
                <a:lnTo>
                  <a:pt x="700" y="593"/>
                </a:lnTo>
                <a:lnTo>
                  <a:pt x="696" y="584"/>
                </a:lnTo>
                <a:lnTo>
                  <a:pt x="696" y="576"/>
                </a:lnTo>
                <a:lnTo>
                  <a:pt x="696" y="576"/>
                </a:lnTo>
                <a:lnTo>
                  <a:pt x="696" y="558"/>
                </a:lnTo>
                <a:lnTo>
                  <a:pt x="698" y="541"/>
                </a:lnTo>
                <a:lnTo>
                  <a:pt x="701" y="525"/>
                </a:lnTo>
                <a:lnTo>
                  <a:pt x="704" y="511"/>
                </a:lnTo>
                <a:lnTo>
                  <a:pt x="709" y="498"/>
                </a:lnTo>
                <a:lnTo>
                  <a:pt x="713" y="486"/>
                </a:lnTo>
                <a:lnTo>
                  <a:pt x="719" y="475"/>
                </a:lnTo>
                <a:lnTo>
                  <a:pt x="725" y="467"/>
                </a:lnTo>
                <a:lnTo>
                  <a:pt x="732" y="459"/>
                </a:lnTo>
                <a:lnTo>
                  <a:pt x="739" y="451"/>
                </a:lnTo>
                <a:lnTo>
                  <a:pt x="747" y="445"/>
                </a:lnTo>
                <a:lnTo>
                  <a:pt x="754" y="441"/>
                </a:lnTo>
                <a:lnTo>
                  <a:pt x="762" y="436"/>
                </a:lnTo>
                <a:lnTo>
                  <a:pt x="770" y="433"/>
                </a:lnTo>
                <a:lnTo>
                  <a:pt x="786" y="427"/>
                </a:lnTo>
                <a:lnTo>
                  <a:pt x="802" y="423"/>
                </a:lnTo>
                <a:lnTo>
                  <a:pt x="817" y="422"/>
                </a:lnTo>
                <a:lnTo>
                  <a:pt x="843" y="421"/>
                </a:lnTo>
                <a:lnTo>
                  <a:pt x="853" y="421"/>
                </a:lnTo>
                <a:lnTo>
                  <a:pt x="859" y="421"/>
                </a:lnTo>
                <a:lnTo>
                  <a:pt x="861" y="420"/>
                </a:lnTo>
                <a:lnTo>
                  <a:pt x="862" y="419"/>
                </a:lnTo>
                <a:lnTo>
                  <a:pt x="862" y="416"/>
                </a:lnTo>
                <a:lnTo>
                  <a:pt x="861" y="415"/>
                </a:lnTo>
                <a:lnTo>
                  <a:pt x="861" y="415"/>
                </a:lnTo>
                <a:lnTo>
                  <a:pt x="853" y="404"/>
                </a:lnTo>
                <a:lnTo>
                  <a:pt x="845" y="391"/>
                </a:lnTo>
                <a:lnTo>
                  <a:pt x="836" y="376"/>
                </a:lnTo>
                <a:lnTo>
                  <a:pt x="827" y="359"/>
                </a:lnTo>
                <a:lnTo>
                  <a:pt x="810" y="319"/>
                </a:lnTo>
                <a:lnTo>
                  <a:pt x="790" y="270"/>
                </a:lnTo>
                <a:lnTo>
                  <a:pt x="771" y="214"/>
                </a:lnTo>
                <a:lnTo>
                  <a:pt x="751" y="151"/>
                </a:lnTo>
                <a:lnTo>
                  <a:pt x="731" y="78"/>
                </a:lnTo>
                <a:lnTo>
                  <a:pt x="710" y="0"/>
                </a:lnTo>
                <a:lnTo>
                  <a:pt x="710" y="0"/>
                </a:lnTo>
                <a:lnTo>
                  <a:pt x="701" y="0"/>
                </a:lnTo>
                <a:lnTo>
                  <a:pt x="693" y="2"/>
                </a:lnTo>
                <a:lnTo>
                  <a:pt x="686" y="6"/>
                </a:lnTo>
                <a:lnTo>
                  <a:pt x="679" y="9"/>
                </a:lnTo>
                <a:lnTo>
                  <a:pt x="666" y="16"/>
                </a:lnTo>
                <a:lnTo>
                  <a:pt x="659" y="18"/>
                </a:lnTo>
                <a:lnTo>
                  <a:pt x="651" y="18"/>
                </a:lnTo>
                <a:lnTo>
                  <a:pt x="651" y="18"/>
                </a:lnTo>
                <a:lnTo>
                  <a:pt x="647" y="18"/>
                </a:lnTo>
                <a:lnTo>
                  <a:pt x="642" y="17"/>
                </a:lnTo>
                <a:lnTo>
                  <a:pt x="635" y="14"/>
                </a:lnTo>
                <a:lnTo>
                  <a:pt x="622" y="3"/>
                </a:lnTo>
                <a:lnTo>
                  <a:pt x="622" y="3"/>
                </a:lnTo>
                <a:lnTo>
                  <a:pt x="616" y="13"/>
                </a:lnTo>
                <a:lnTo>
                  <a:pt x="612" y="21"/>
                </a:lnTo>
                <a:lnTo>
                  <a:pt x="610" y="30"/>
                </a:lnTo>
                <a:lnTo>
                  <a:pt x="609" y="39"/>
                </a:lnTo>
                <a:lnTo>
                  <a:pt x="606" y="60"/>
                </a:lnTo>
                <a:lnTo>
                  <a:pt x="605" y="70"/>
                </a:lnTo>
                <a:lnTo>
                  <a:pt x="603" y="80"/>
                </a:lnTo>
                <a:lnTo>
                  <a:pt x="603" y="80"/>
                </a:lnTo>
                <a:lnTo>
                  <a:pt x="598" y="93"/>
                </a:lnTo>
                <a:lnTo>
                  <a:pt x="594" y="105"/>
                </a:lnTo>
                <a:lnTo>
                  <a:pt x="584" y="128"/>
                </a:lnTo>
                <a:lnTo>
                  <a:pt x="580" y="139"/>
                </a:lnTo>
                <a:lnTo>
                  <a:pt x="576" y="152"/>
                </a:lnTo>
                <a:lnTo>
                  <a:pt x="574" y="166"/>
                </a:lnTo>
                <a:lnTo>
                  <a:pt x="574" y="181"/>
                </a:lnTo>
                <a:lnTo>
                  <a:pt x="574" y="181"/>
                </a:lnTo>
                <a:lnTo>
                  <a:pt x="574" y="216"/>
                </a:lnTo>
                <a:lnTo>
                  <a:pt x="574" y="216"/>
                </a:lnTo>
                <a:lnTo>
                  <a:pt x="573" y="228"/>
                </a:lnTo>
                <a:lnTo>
                  <a:pt x="569" y="238"/>
                </a:lnTo>
                <a:lnTo>
                  <a:pt x="565" y="245"/>
                </a:lnTo>
                <a:lnTo>
                  <a:pt x="559" y="252"/>
                </a:lnTo>
                <a:lnTo>
                  <a:pt x="552" y="257"/>
                </a:lnTo>
                <a:lnTo>
                  <a:pt x="544" y="260"/>
                </a:lnTo>
                <a:lnTo>
                  <a:pt x="535" y="262"/>
                </a:lnTo>
                <a:lnTo>
                  <a:pt x="525" y="265"/>
                </a:lnTo>
                <a:lnTo>
                  <a:pt x="504" y="267"/>
                </a:lnTo>
                <a:lnTo>
                  <a:pt x="482" y="269"/>
                </a:lnTo>
                <a:lnTo>
                  <a:pt x="462" y="273"/>
                </a:lnTo>
                <a:lnTo>
                  <a:pt x="453" y="275"/>
                </a:lnTo>
                <a:lnTo>
                  <a:pt x="445" y="280"/>
                </a:lnTo>
                <a:lnTo>
                  <a:pt x="445" y="280"/>
                </a:lnTo>
                <a:lnTo>
                  <a:pt x="421" y="299"/>
                </a:lnTo>
                <a:lnTo>
                  <a:pt x="413" y="304"/>
                </a:lnTo>
                <a:lnTo>
                  <a:pt x="405" y="308"/>
                </a:lnTo>
                <a:lnTo>
                  <a:pt x="397" y="312"/>
                </a:lnTo>
                <a:lnTo>
                  <a:pt x="390" y="313"/>
                </a:lnTo>
                <a:lnTo>
                  <a:pt x="390" y="313"/>
                </a:lnTo>
                <a:lnTo>
                  <a:pt x="382" y="312"/>
                </a:lnTo>
                <a:lnTo>
                  <a:pt x="374" y="308"/>
                </a:lnTo>
                <a:lnTo>
                  <a:pt x="368" y="303"/>
                </a:lnTo>
                <a:lnTo>
                  <a:pt x="364" y="296"/>
                </a:lnTo>
                <a:lnTo>
                  <a:pt x="359" y="288"/>
                </a:lnTo>
                <a:lnTo>
                  <a:pt x="357" y="278"/>
                </a:lnTo>
                <a:lnTo>
                  <a:pt x="352" y="259"/>
                </a:lnTo>
                <a:lnTo>
                  <a:pt x="347" y="239"/>
                </a:lnTo>
                <a:lnTo>
                  <a:pt x="345" y="230"/>
                </a:lnTo>
                <a:lnTo>
                  <a:pt x="343" y="222"/>
                </a:lnTo>
                <a:lnTo>
                  <a:pt x="339" y="215"/>
                </a:lnTo>
                <a:lnTo>
                  <a:pt x="335" y="211"/>
                </a:lnTo>
                <a:lnTo>
                  <a:pt x="330" y="207"/>
                </a:lnTo>
                <a:lnTo>
                  <a:pt x="323" y="206"/>
                </a:lnTo>
                <a:lnTo>
                  <a:pt x="323" y="206"/>
                </a:lnTo>
                <a:lnTo>
                  <a:pt x="315" y="207"/>
                </a:lnTo>
                <a:lnTo>
                  <a:pt x="308" y="209"/>
                </a:lnTo>
                <a:lnTo>
                  <a:pt x="303" y="214"/>
                </a:lnTo>
                <a:lnTo>
                  <a:pt x="298" y="220"/>
                </a:lnTo>
                <a:lnTo>
                  <a:pt x="288" y="230"/>
                </a:lnTo>
                <a:lnTo>
                  <a:pt x="283" y="236"/>
                </a:lnTo>
                <a:lnTo>
                  <a:pt x="276" y="239"/>
                </a:lnTo>
                <a:lnTo>
                  <a:pt x="276" y="239"/>
                </a:lnTo>
                <a:lnTo>
                  <a:pt x="253" y="246"/>
                </a:lnTo>
                <a:lnTo>
                  <a:pt x="231" y="254"/>
                </a:lnTo>
                <a:lnTo>
                  <a:pt x="210" y="262"/>
                </a:lnTo>
                <a:lnTo>
                  <a:pt x="192" y="273"/>
                </a:lnTo>
                <a:lnTo>
                  <a:pt x="175" y="284"/>
                </a:lnTo>
                <a:lnTo>
                  <a:pt x="159" y="299"/>
                </a:lnTo>
                <a:lnTo>
                  <a:pt x="144" y="315"/>
                </a:lnTo>
                <a:lnTo>
                  <a:pt x="129" y="335"/>
                </a:lnTo>
                <a:lnTo>
                  <a:pt x="129" y="335"/>
                </a:lnTo>
                <a:lnTo>
                  <a:pt x="122" y="344"/>
                </a:lnTo>
                <a:lnTo>
                  <a:pt x="114" y="353"/>
                </a:lnTo>
                <a:lnTo>
                  <a:pt x="106" y="361"/>
                </a:lnTo>
                <a:lnTo>
                  <a:pt x="97" y="369"/>
                </a:lnTo>
                <a:lnTo>
                  <a:pt x="77" y="383"/>
                </a:lnTo>
                <a:lnTo>
                  <a:pt x="55" y="400"/>
                </a:lnTo>
                <a:lnTo>
                  <a:pt x="55" y="400"/>
                </a:lnTo>
                <a:lnTo>
                  <a:pt x="54" y="405"/>
                </a:lnTo>
                <a:lnTo>
                  <a:pt x="53" y="410"/>
                </a:lnTo>
                <a:lnTo>
                  <a:pt x="54" y="420"/>
                </a:lnTo>
                <a:lnTo>
                  <a:pt x="54" y="425"/>
                </a:lnTo>
                <a:lnTo>
                  <a:pt x="54" y="430"/>
                </a:lnTo>
                <a:lnTo>
                  <a:pt x="52" y="434"/>
                </a:lnTo>
                <a:lnTo>
                  <a:pt x="48" y="437"/>
                </a:lnTo>
                <a:lnTo>
                  <a:pt x="48" y="437"/>
                </a:lnTo>
                <a:lnTo>
                  <a:pt x="38" y="444"/>
                </a:lnTo>
                <a:lnTo>
                  <a:pt x="29" y="448"/>
                </a:lnTo>
                <a:lnTo>
                  <a:pt x="21" y="451"/>
                </a:lnTo>
                <a:lnTo>
                  <a:pt x="14" y="454"/>
                </a:lnTo>
                <a:lnTo>
                  <a:pt x="11" y="456"/>
                </a:lnTo>
                <a:lnTo>
                  <a:pt x="8" y="459"/>
                </a:lnTo>
                <a:lnTo>
                  <a:pt x="6" y="463"/>
                </a:lnTo>
                <a:lnTo>
                  <a:pt x="5" y="466"/>
                </a:lnTo>
                <a:lnTo>
                  <a:pt x="2" y="479"/>
                </a:lnTo>
                <a:lnTo>
                  <a:pt x="1" y="496"/>
                </a:lnTo>
                <a:lnTo>
                  <a:pt x="1" y="496"/>
                </a:lnTo>
                <a:lnTo>
                  <a:pt x="1" y="505"/>
                </a:lnTo>
                <a:lnTo>
                  <a:pt x="0" y="514"/>
                </a:lnTo>
                <a:lnTo>
                  <a:pt x="0" y="522"/>
                </a:lnTo>
                <a:lnTo>
                  <a:pt x="0" y="526"/>
                </a:lnTo>
                <a:lnTo>
                  <a:pt x="1" y="529"/>
                </a:lnTo>
                <a:lnTo>
                  <a:pt x="1" y="529"/>
                </a:lnTo>
                <a:lnTo>
                  <a:pt x="6" y="530"/>
                </a:lnTo>
                <a:lnTo>
                  <a:pt x="13" y="530"/>
                </a:lnTo>
                <a:lnTo>
                  <a:pt x="26" y="530"/>
                </a:lnTo>
                <a:lnTo>
                  <a:pt x="42" y="530"/>
                </a:lnTo>
                <a:lnTo>
                  <a:pt x="55" y="533"/>
                </a:lnTo>
                <a:lnTo>
                  <a:pt x="55" y="533"/>
                </a:lnTo>
                <a:lnTo>
                  <a:pt x="59" y="534"/>
                </a:lnTo>
                <a:lnTo>
                  <a:pt x="61" y="536"/>
                </a:lnTo>
                <a:lnTo>
                  <a:pt x="64" y="541"/>
                </a:lnTo>
                <a:lnTo>
                  <a:pt x="67" y="548"/>
                </a:lnTo>
                <a:lnTo>
                  <a:pt x="67" y="555"/>
                </a:lnTo>
                <a:lnTo>
                  <a:pt x="64" y="570"/>
                </a:lnTo>
                <a:lnTo>
                  <a:pt x="63" y="584"/>
                </a:lnTo>
                <a:lnTo>
                  <a:pt x="63" y="584"/>
                </a:lnTo>
                <a:lnTo>
                  <a:pt x="64" y="588"/>
                </a:lnTo>
                <a:lnTo>
                  <a:pt x="65" y="591"/>
                </a:lnTo>
                <a:lnTo>
                  <a:pt x="70" y="597"/>
                </a:lnTo>
                <a:lnTo>
                  <a:pt x="77" y="601"/>
                </a:lnTo>
                <a:lnTo>
                  <a:pt x="84" y="603"/>
                </a:lnTo>
                <a:lnTo>
                  <a:pt x="92" y="605"/>
                </a:lnTo>
                <a:lnTo>
                  <a:pt x="101" y="605"/>
                </a:lnTo>
                <a:lnTo>
                  <a:pt x="118" y="606"/>
                </a:lnTo>
                <a:lnTo>
                  <a:pt x="118" y="606"/>
                </a:lnTo>
                <a:lnTo>
                  <a:pt x="184" y="662"/>
                </a:lnTo>
                <a:lnTo>
                  <a:pt x="184" y="662"/>
                </a:lnTo>
                <a:lnTo>
                  <a:pt x="184" y="662"/>
                </a:lnTo>
                <a:lnTo>
                  <a:pt x="185" y="672"/>
                </a:lnTo>
                <a:lnTo>
                  <a:pt x="186" y="680"/>
                </a:lnTo>
                <a:lnTo>
                  <a:pt x="187" y="687"/>
                </a:lnTo>
                <a:lnTo>
                  <a:pt x="190" y="693"/>
                </a:lnTo>
                <a:lnTo>
                  <a:pt x="193" y="697"/>
                </a:lnTo>
                <a:lnTo>
                  <a:pt x="197" y="702"/>
                </a:lnTo>
                <a:lnTo>
                  <a:pt x="201" y="704"/>
                </a:lnTo>
                <a:lnTo>
                  <a:pt x="207" y="706"/>
                </a:lnTo>
                <a:lnTo>
                  <a:pt x="217" y="709"/>
                </a:lnTo>
                <a:lnTo>
                  <a:pt x="231" y="710"/>
                </a:lnTo>
                <a:lnTo>
                  <a:pt x="245" y="711"/>
                </a:lnTo>
                <a:lnTo>
                  <a:pt x="261" y="713"/>
                </a:lnTo>
                <a:lnTo>
                  <a:pt x="261" y="713"/>
                </a:lnTo>
                <a:lnTo>
                  <a:pt x="268" y="715"/>
                </a:lnTo>
                <a:lnTo>
                  <a:pt x="274" y="717"/>
                </a:lnTo>
                <a:lnTo>
                  <a:pt x="278" y="721"/>
                </a:lnTo>
                <a:lnTo>
                  <a:pt x="282" y="726"/>
                </a:lnTo>
                <a:lnTo>
                  <a:pt x="285" y="732"/>
                </a:lnTo>
                <a:lnTo>
                  <a:pt x="288" y="738"/>
                </a:lnTo>
                <a:lnTo>
                  <a:pt x="292" y="751"/>
                </a:lnTo>
                <a:lnTo>
                  <a:pt x="296" y="764"/>
                </a:lnTo>
                <a:lnTo>
                  <a:pt x="299" y="775"/>
                </a:lnTo>
                <a:lnTo>
                  <a:pt x="301" y="780"/>
                </a:lnTo>
                <a:lnTo>
                  <a:pt x="304" y="784"/>
                </a:lnTo>
                <a:lnTo>
                  <a:pt x="306" y="786"/>
                </a:lnTo>
                <a:lnTo>
                  <a:pt x="309" y="787"/>
                </a:lnTo>
                <a:lnTo>
                  <a:pt x="309" y="787"/>
                </a:lnTo>
                <a:lnTo>
                  <a:pt x="314" y="786"/>
                </a:lnTo>
                <a:lnTo>
                  <a:pt x="317" y="785"/>
                </a:lnTo>
                <a:lnTo>
                  <a:pt x="323" y="781"/>
                </a:lnTo>
                <a:lnTo>
                  <a:pt x="328" y="777"/>
                </a:lnTo>
                <a:lnTo>
                  <a:pt x="331" y="775"/>
                </a:lnTo>
                <a:lnTo>
                  <a:pt x="335" y="775"/>
                </a:lnTo>
                <a:lnTo>
                  <a:pt x="335" y="775"/>
                </a:lnTo>
                <a:lnTo>
                  <a:pt x="336" y="779"/>
                </a:lnTo>
                <a:lnTo>
                  <a:pt x="337" y="784"/>
                </a:lnTo>
                <a:lnTo>
                  <a:pt x="341" y="787"/>
                </a:lnTo>
                <a:lnTo>
                  <a:pt x="344" y="790"/>
                </a:lnTo>
                <a:lnTo>
                  <a:pt x="347" y="793"/>
                </a:lnTo>
                <a:lnTo>
                  <a:pt x="352" y="795"/>
                </a:lnTo>
                <a:lnTo>
                  <a:pt x="357" y="796"/>
                </a:lnTo>
                <a:lnTo>
                  <a:pt x="361" y="797"/>
                </a:lnTo>
                <a:lnTo>
                  <a:pt x="361" y="797"/>
                </a:lnTo>
                <a:lnTo>
                  <a:pt x="366" y="796"/>
                </a:lnTo>
                <a:lnTo>
                  <a:pt x="372" y="795"/>
                </a:lnTo>
                <a:lnTo>
                  <a:pt x="376" y="792"/>
                </a:lnTo>
                <a:lnTo>
                  <a:pt x="381" y="789"/>
                </a:lnTo>
                <a:lnTo>
                  <a:pt x="388" y="781"/>
                </a:lnTo>
                <a:lnTo>
                  <a:pt x="393" y="775"/>
                </a:lnTo>
                <a:lnTo>
                  <a:pt x="393" y="775"/>
                </a:lnTo>
                <a:lnTo>
                  <a:pt x="389" y="764"/>
                </a:lnTo>
                <a:lnTo>
                  <a:pt x="383" y="754"/>
                </a:lnTo>
                <a:lnTo>
                  <a:pt x="376" y="743"/>
                </a:lnTo>
                <a:lnTo>
                  <a:pt x="367" y="734"/>
                </a:lnTo>
                <a:lnTo>
                  <a:pt x="359" y="725"/>
                </a:lnTo>
                <a:lnTo>
                  <a:pt x="350" y="718"/>
                </a:lnTo>
                <a:lnTo>
                  <a:pt x="330" y="703"/>
                </a:lnTo>
                <a:lnTo>
                  <a:pt x="313" y="693"/>
                </a:lnTo>
                <a:lnTo>
                  <a:pt x="298" y="685"/>
                </a:lnTo>
                <a:lnTo>
                  <a:pt x="288" y="679"/>
                </a:lnTo>
                <a:lnTo>
                  <a:pt x="284" y="675"/>
                </a:lnTo>
                <a:lnTo>
                  <a:pt x="284" y="675"/>
                </a:lnTo>
                <a:lnTo>
                  <a:pt x="284" y="670"/>
                </a:lnTo>
                <a:lnTo>
                  <a:pt x="285" y="662"/>
                </a:lnTo>
                <a:lnTo>
                  <a:pt x="291" y="643"/>
                </a:lnTo>
                <a:lnTo>
                  <a:pt x="299" y="621"/>
                </a:lnTo>
                <a:lnTo>
                  <a:pt x="309" y="599"/>
                </a:lnTo>
                <a:lnTo>
                  <a:pt x="316" y="589"/>
                </a:lnTo>
                <a:lnTo>
                  <a:pt x="323" y="580"/>
                </a:lnTo>
                <a:lnTo>
                  <a:pt x="330" y="571"/>
                </a:lnTo>
                <a:lnTo>
                  <a:pt x="338" y="564"/>
                </a:lnTo>
                <a:lnTo>
                  <a:pt x="346" y="557"/>
                </a:lnTo>
                <a:lnTo>
                  <a:pt x="354" y="553"/>
                </a:lnTo>
                <a:lnTo>
                  <a:pt x="364" y="551"/>
                </a:lnTo>
                <a:lnTo>
                  <a:pt x="372" y="551"/>
                </a:lnTo>
                <a:lnTo>
                  <a:pt x="372" y="551"/>
                </a:lnTo>
                <a:lnTo>
                  <a:pt x="366" y="566"/>
                </a:lnTo>
                <a:lnTo>
                  <a:pt x="360" y="579"/>
                </a:lnTo>
                <a:lnTo>
                  <a:pt x="357" y="593"/>
                </a:lnTo>
                <a:lnTo>
                  <a:pt x="354" y="604"/>
                </a:lnTo>
                <a:lnTo>
                  <a:pt x="353" y="616"/>
                </a:lnTo>
                <a:lnTo>
                  <a:pt x="353" y="626"/>
                </a:lnTo>
                <a:lnTo>
                  <a:pt x="354" y="636"/>
                </a:lnTo>
                <a:lnTo>
                  <a:pt x="357" y="647"/>
                </a:lnTo>
                <a:lnTo>
                  <a:pt x="359" y="655"/>
                </a:lnTo>
                <a:lnTo>
                  <a:pt x="362" y="664"/>
                </a:lnTo>
                <a:lnTo>
                  <a:pt x="367" y="672"/>
                </a:lnTo>
                <a:lnTo>
                  <a:pt x="372" y="679"/>
                </a:lnTo>
                <a:lnTo>
                  <a:pt x="384" y="693"/>
                </a:lnTo>
                <a:lnTo>
                  <a:pt x="397" y="705"/>
                </a:lnTo>
                <a:lnTo>
                  <a:pt x="412" y="716"/>
                </a:lnTo>
                <a:lnTo>
                  <a:pt x="428" y="726"/>
                </a:lnTo>
                <a:lnTo>
                  <a:pt x="457" y="743"/>
                </a:lnTo>
                <a:lnTo>
                  <a:pt x="471" y="752"/>
                </a:lnTo>
                <a:lnTo>
                  <a:pt x="482" y="761"/>
                </a:lnTo>
                <a:lnTo>
                  <a:pt x="491" y="770"/>
                </a:lnTo>
                <a:lnTo>
                  <a:pt x="495" y="774"/>
                </a:lnTo>
                <a:lnTo>
                  <a:pt x="497" y="779"/>
                </a:lnTo>
                <a:lnTo>
                  <a:pt x="497" y="779"/>
                </a:lnTo>
                <a:lnTo>
                  <a:pt x="505" y="800"/>
                </a:lnTo>
                <a:lnTo>
                  <a:pt x="510" y="818"/>
                </a:lnTo>
                <a:lnTo>
                  <a:pt x="514" y="836"/>
                </a:lnTo>
                <a:lnTo>
                  <a:pt x="517" y="853"/>
                </a:lnTo>
                <a:lnTo>
                  <a:pt x="519" y="870"/>
                </a:lnTo>
                <a:lnTo>
                  <a:pt x="520" y="886"/>
                </a:lnTo>
                <a:lnTo>
                  <a:pt x="521" y="918"/>
                </a:lnTo>
                <a:lnTo>
                  <a:pt x="521" y="935"/>
                </a:lnTo>
                <a:lnTo>
                  <a:pt x="523" y="954"/>
                </a:lnTo>
                <a:lnTo>
                  <a:pt x="526" y="973"/>
                </a:lnTo>
                <a:lnTo>
                  <a:pt x="530" y="995"/>
                </a:lnTo>
                <a:lnTo>
                  <a:pt x="536" y="1018"/>
                </a:lnTo>
                <a:lnTo>
                  <a:pt x="543" y="1044"/>
                </a:lnTo>
                <a:lnTo>
                  <a:pt x="553" y="1071"/>
                </a:lnTo>
                <a:lnTo>
                  <a:pt x="567" y="1102"/>
                </a:lnTo>
                <a:lnTo>
                  <a:pt x="567" y="1102"/>
                </a:lnTo>
                <a:lnTo>
                  <a:pt x="575" y="1121"/>
                </a:lnTo>
                <a:lnTo>
                  <a:pt x="584" y="1143"/>
                </a:lnTo>
                <a:lnTo>
                  <a:pt x="603" y="1192"/>
                </a:lnTo>
                <a:lnTo>
                  <a:pt x="621" y="1246"/>
                </a:lnTo>
                <a:lnTo>
                  <a:pt x="636" y="1300"/>
                </a:lnTo>
                <a:lnTo>
                  <a:pt x="636" y="1300"/>
                </a:lnTo>
                <a:lnTo>
                  <a:pt x="644" y="1329"/>
                </a:lnTo>
                <a:lnTo>
                  <a:pt x="649" y="1354"/>
                </a:lnTo>
                <a:lnTo>
                  <a:pt x="650" y="1376"/>
                </a:lnTo>
                <a:lnTo>
                  <a:pt x="650" y="1396"/>
                </a:lnTo>
                <a:lnTo>
                  <a:pt x="648" y="1412"/>
                </a:lnTo>
                <a:lnTo>
                  <a:pt x="644" y="1426"/>
                </a:lnTo>
                <a:lnTo>
                  <a:pt x="637" y="1449"/>
                </a:lnTo>
                <a:lnTo>
                  <a:pt x="634" y="1458"/>
                </a:lnTo>
                <a:lnTo>
                  <a:pt x="633" y="1467"/>
                </a:lnTo>
                <a:lnTo>
                  <a:pt x="632" y="1475"/>
                </a:lnTo>
                <a:lnTo>
                  <a:pt x="634" y="1483"/>
                </a:lnTo>
                <a:lnTo>
                  <a:pt x="639" y="1492"/>
                </a:lnTo>
                <a:lnTo>
                  <a:pt x="648" y="1502"/>
                </a:lnTo>
                <a:lnTo>
                  <a:pt x="659" y="1512"/>
                </a:lnTo>
                <a:lnTo>
                  <a:pt x="677" y="1525"/>
                </a:lnTo>
                <a:lnTo>
                  <a:pt x="677" y="1525"/>
                </a:lnTo>
                <a:lnTo>
                  <a:pt x="686" y="1533"/>
                </a:lnTo>
                <a:lnTo>
                  <a:pt x="694" y="1541"/>
                </a:lnTo>
                <a:lnTo>
                  <a:pt x="698" y="1550"/>
                </a:lnTo>
                <a:lnTo>
                  <a:pt x="702" y="1559"/>
                </a:lnTo>
                <a:lnTo>
                  <a:pt x="704" y="1569"/>
                </a:lnTo>
                <a:lnTo>
                  <a:pt x="706" y="1580"/>
                </a:lnTo>
                <a:lnTo>
                  <a:pt x="710" y="1605"/>
                </a:lnTo>
                <a:lnTo>
                  <a:pt x="713" y="1619"/>
                </a:lnTo>
                <a:lnTo>
                  <a:pt x="718" y="1634"/>
                </a:lnTo>
                <a:lnTo>
                  <a:pt x="725" y="1649"/>
                </a:lnTo>
                <a:lnTo>
                  <a:pt x="733" y="1666"/>
                </a:lnTo>
                <a:lnTo>
                  <a:pt x="744" y="1685"/>
                </a:lnTo>
                <a:lnTo>
                  <a:pt x="761" y="1704"/>
                </a:lnTo>
                <a:lnTo>
                  <a:pt x="779" y="1726"/>
                </a:lnTo>
                <a:lnTo>
                  <a:pt x="802" y="1748"/>
                </a:lnTo>
                <a:lnTo>
                  <a:pt x="802" y="1748"/>
                </a:lnTo>
                <a:lnTo>
                  <a:pt x="802" y="1748"/>
                </a:lnTo>
                <a:lnTo>
                  <a:pt x="802" y="174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09" name="Freeform 104"/>
          <p:cNvSpPr>
            <a:spLocks/>
          </p:cNvSpPr>
          <p:nvPr/>
        </p:nvSpPr>
        <p:spPr bwMode="auto">
          <a:xfrm>
            <a:off x="4087813" y="3030538"/>
            <a:ext cx="44450" cy="50800"/>
          </a:xfrm>
          <a:custGeom>
            <a:avLst/>
            <a:gdLst/>
            <a:ahLst/>
            <a:cxnLst>
              <a:cxn ang="0">
                <a:pos x="44" y="25"/>
              </a:cxn>
              <a:cxn ang="0">
                <a:pos x="44" y="25"/>
              </a:cxn>
              <a:cxn ang="0">
                <a:pos x="41" y="25"/>
              </a:cxn>
              <a:cxn ang="0">
                <a:pos x="39" y="23"/>
              </a:cxn>
              <a:cxn ang="0">
                <a:pos x="38" y="21"/>
              </a:cxn>
              <a:cxn ang="0">
                <a:pos x="36" y="17"/>
              </a:cxn>
              <a:cxn ang="0">
                <a:pos x="36" y="8"/>
              </a:cxn>
              <a:cxn ang="0">
                <a:pos x="38" y="0"/>
              </a:cxn>
              <a:cxn ang="0">
                <a:pos x="38" y="0"/>
              </a:cxn>
              <a:cxn ang="0">
                <a:pos x="27" y="5"/>
              </a:cxn>
              <a:cxn ang="0">
                <a:pos x="15" y="13"/>
              </a:cxn>
              <a:cxn ang="0">
                <a:pos x="9" y="17"/>
              </a:cxn>
              <a:cxn ang="0">
                <a:pos x="4" y="23"/>
              </a:cxn>
              <a:cxn ang="0">
                <a:pos x="1" y="28"/>
              </a:cxn>
              <a:cxn ang="0">
                <a:pos x="0" y="33"/>
              </a:cxn>
              <a:cxn ang="0">
                <a:pos x="0" y="33"/>
              </a:cxn>
              <a:cxn ang="0">
                <a:pos x="1" y="37"/>
              </a:cxn>
              <a:cxn ang="0">
                <a:pos x="2" y="40"/>
              </a:cxn>
              <a:cxn ang="0">
                <a:pos x="5" y="46"/>
              </a:cxn>
              <a:cxn ang="0">
                <a:pos x="11" y="51"/>
              </a:cxn>
              <a:cxn ang="0">
                <a:pos x="18" y="54"/>
              </a:cxn>
              <a:cxn ang="0">
                <a:pos x="26" y="56"/>
              </a:cxn>
              <a:cxn ang="0">
                <a:pos x="34" y="57"/>
              </a:cxn>
              <a:cxn ang="0">
                <a:pos x="52" y="59"/>
              </a:cxn>
              <a:cxn ang="0">
                <a:pos x="52" y="59"/>
              </a:cxn>
              <a:cxn ang="0">
                <a:pos x="52" y="37"/>
              </a:cxn>
              <a:cxn ang="0">
                <a:pos x="52" y="37"/>
              </a:cxn>
              <a:cxn ang="0">
                <a:pos x="52" y="37"/>
              </a:cxn>
              <a:cxn ang="0">
                <a:pos x="50" y="37"/>
              </a:cxn>
              <a:cxn ang="0">
                <a:pos x="49" y="36"/>
              </a:cxn>
              <a:cxn ang="0">
                <a:pos x="48" y="31"/>
              </a:cxn>
              <a:cxn ang="0">
                <a:pos x="47" y="28"/>
              </a:cxn>
              <a:cxn ang="0">
                <a:pos x="46" y="26"/>
              </a:cxn>
              <a:cxn ang="0">
                <a:pos x="44" y="25"/>
              </a:cxn>
              <a:cxn ang="0">
                <a:pos x="44" y="25"/>
              </a:cxn>
              <a:cxn ang="0">
                <a:pos x="44" y="25"/>
              </a:cxn>
            </a:cxnLst>
            <a:rect l="0" t="0" r="r" b="b"/>
            <a:pathLst>
              <a:path w="52" h="59">
                <a:moveTo>
                  <a:pt x="44" y="25"/>
                </a:moveTo>
                <a:lnTo>
                  <a:pt x="44" y="25"/>
                </a:lnTo>
                <a:lnTo>
                  <a:pt x="41" y="25"/>
                </a:lnTo>
                <a:lnTo>
                  <a:pt x="39" y="23"/>
                </a:lnTo>
                <a:lnTo>
                  <a:pt x="38" y="21"/>
                </a:lnTo>
                <a:lnTo>
                  <a:pt x="36" y="17"/>
                </a:lnTo>
                <a:lnTo>
                  <a:pt x="36" y="8"/>
                </a:lnTo>
                <a:lnTo>
                  <a:pt x="38" y="0"/>
                </a:lnTo>
                <a:lnTo>
                  <a:pt x="38" y="0"/>
                </a:lnTo>
                <a:lnTo>
                  <a:pt x="27" y="5"/>
                </a:lnTo>
                <a:lnTo>
                  <a:pt x="15" y="13"/>
                </a:lnTo>
                <a:lnTo>
                  <a:pt x="9" y="17"/>
                </a:lnTo>
                <a:lnTo>
                  <a:pt x="4" y="23"/>
                </a:lnTo>
                <a:lnTo>
                  <a:pt x="1" y="28"/>
                </a:lnTo>
                <a:lnTo>
                  <a:pt x="0" y="33"/>
                </a:lnTo>
                <a:lnTo>
                  <a:pt x="0" y="33"/>
                </a:lnTo>
                <a:lnTo>
                  <a:pt x="1" y="37"/>
                </a:lnTo>
                <a:lnTo>
                  <a:pt x="2" y="40"/>
                </a:lnTo>
                <a:lnTo>
                  <a:pt x="5" y="46"/>
                </a:lnTo>
                <a:lnTo>
                  <a:pt x="11" y="51"/>
                </a:lnTo>
                <a:lnTo>
                  <a:pt x="18" y="54"/>
                </a:lnTo>
                <a:lnTo>
                  <a:pt x="26" y="56"/>
                </a:lnTo>
                <a:lnTo>
                  <a:pt x="34" y="57"/>
                </a:lnTo>
                <a:lnTo>
                  <a:pt x="52" y="59"/>
                </a:lnTo>
                <a:lnTo>
                  <a:pt x="52" y="59"/>
                </a:lnTo>
                <a:lnTo>
                  <a:pt x="52" y="37"/>
                </a:lnTo>
                <a:lnTo>
                  <a:pt x="52" y="37"/>
                </a:lnTo>
                <a:lnTo>
                  <a:pt x="52" y="37"/>
                </a:lnTo>
                <a:lnTo>
                  <a:pt x="50" y="37"/>
                </a:lnTo>
                <a:lnTo>
                  <a:pt x="49" y="36"/>
                </a:lnTo>
                <a:lnTo>
                  <a:pt x="48" y="31"/>
                </a:lnTo>
                <a:lnTo>
                  <a:pt x="47" y="28"/>
                </a:lnTo>
                <a:lnTo>
                  <a:pt x="46" y="26"/>
                </a:lnTo>
                <a:lnTo>
                  <a:pt x="44" y="25"/>
                </a:lnTo>
                <a:lnTo>
                  <a:pt x="44" y="25"/>
                </a:lnTo>
                <a:lnTo>
                  <a:pt x="44" y="2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0" name="Freeform 105"/>
          <p:cNvSpPr>
            <a:spLocks/>
          </p:cNvSpPr>
          <p:nvPr/>
        </p:nvSpPr>
        <p:spPr bwMode="auto">
          <a:xfrm>
            <a:off x="6145213" y="2222500"/>
            <a:ext cx="28575" cy="46038"/>
          </a:xfrm>
          <a:custGeom>
            <a:avLst/>
            <a:gdLst/>
            <a:ahLst/>
            <a:cxnLst>
              <a:cxn ang="0">
                <a:pos x="30" y="0"/>
              </a:cxn>
              <a:cxn ang="0">
                <a:pos x="30" y="0"/>
              </a:cxn>
              <a:cxn ang="0">
                <a:pos x="11" y="0"/>
              </a:cxn>
              <a:cxn ang="0">
                <a:pos x="11" y="0"/>
              </a:cxn>
              <a:cxn ang="0">
                <a:pos x="8" y="0"/>
              </a:cxn>
              <a:cxn ang="0">
                <a:pos x="4" y="2"/>
              </a:cxn>
              <a:cxn ang="0">
                <a:pos x="1" y="6"/>
              </a:cxn>
              <a:cxn ang="0">
                <a:pos x="0" y="10"/>
              </a:cxn>
              <a:cxn ang="0">
                <a:pos x="0" y="10"/>
              </a:cxn>
              <a:cxn ang="0">
                <a:pos x="1" y="15"/>
              </a:cxn>
              <a:cxn ang="0">
                <a:pos x="2" y="22"/>
              </a:cxn>
              <a:cxn ang="0">
                <a:pos x="4" y="27"/>
              </a:cxn>
              <a:cxn ang="0">
                <a:pos x="8" y="34"/>
              </a:cxn>
              <a:cxn ang="0">
                <a:pos x="11" y="40"/>
              </a:cxn>
              <a:cxn ang="0">
                <a:pos x="16" y="46"/>
              </a:cxn>
              <a:cxn ang="0">
                <a:pos x="20" y="49"/>
              </a:cxn>
              <a:cxn ang="0">
                <a:pos x="25" y="50"/>
              </a:cxn>
              <a:cxn ang="0">
                <a:pos x="25" y="50"/>
              </a:cxn>
              <a:cxn ang="0">
                <a:pos x="28" y="50"/>
              </a:cxn>
              <a:cxn ang="0">
                <a:pos x="31" y="48"/>
              </a:cxn>
              <a:cxn ang="0">
                <a:pos x="34" y="42"/>
              </a:cxn>
              <a:cxn ang="0">
                <a:pos x="35" y="37"/>
              </a:cxn>
              <a:cxn ang="0">
                <a:pos x="36" y="32"/>
              </a:cxn>
              <a:cxn ang="0">
                <a:pos x="36" y="32"/>
              </a:cxn>
              <a:cxn ang="0">
                <a:pos x="36" y="25"/>
              </a:cxn>
              <a:cxn ang="0">
                <a:pos x="34" y="19"/>
              </a:cxn>
              <a:cxn ang="0">
                <a:pos x="30" y="10"/>
              </a:cxn>
              <a:cxn ang="0">
                <a:pos x="30" y="10"/>
              </a:cxn>
              <a:cxn ang="0">
                <a:pos x="30" y="0"/>
              </a:cxn>
              <a:cxn ang="0">
                <a:pos x="30" y="0"/>
              </a:cxn>
            </a:cxnLst>
            <a:rect l="0" t="0" r="r" b="b"/>
            <a:pathLst>
              <a:path w="36" h="50">
                <a:moveTo>
                  <a:pt x="30" y="0"/>
                </a:moveTo>
                <a:lnTo>
                  <a:pt x="30" y="0"/>
                </a:lnTo>
                <a:lnTo>
                  <a:pt x="11" y="0"/>
                </a:lnTo>
                <a:lnTo>
                  <a:pt x="11" y="0"/>
                </a:lnTo>
                <a:lnTo>
                  <a:pt x="8" y="0"/>
                </a:lnTo>
                <a:lnTo>
                  <a:pt x="4" y="2"/>
                </a:lnTo>
                <a:lnTo>
                  <a:pt x="1" y="6"/>
                </a:lnTo>
                <a:lnTo>
                  <a:pt x="0" y="10"/>
                </a:lnTo>
                <a:lnTo>
                  <a:pt x="0" y="10"/>
                </a:lnTo>
                <a:lnTo>
                  <a:pt x="1" y="15"/>
                </a:lnTo>
                <a:lnTo>
                  <a:pt x="2" y="22"/>
                </a:lnTo>
                <a:lnTo>
                  <a:pt x="4" y="27"/>
                </a:lnTo>
                <a:lnTo>
                  <a:pt x="8" y="34"/>
                </a:lnTo>
                <a:lnTo>
                  <a:pt x="11" y="40"/>
                </a:lnTo>
                <a:lnTo>
                  <a:pt x="16" y="46"/>
                </a:lnTo>
                <a:lnTo>
                  <a:pt x="20" y="49"/>
                </a:lnTo>
                <a:lnTo>
                  <a:pt x="25" y="50"/>
                </a:lnTo>
                <a:lnTo>
                  <a:pt x="25" y="50"/>
                </a:lnTo>
                <a:lnTo>
                  <a:pt x="28" y="50"/>
                </a:lnTo>
                <a:lnTo>
                  <a:pt x="31" y="48"/>
                </a:lnTo>
                <a:lnTo>
                  <a:pt x="34" y="42"/>
                </a:lnTo>
                <a:lnTo>
                  <a:pt x="35" y="37"/>
                </a:lnTo>
                <a:lnTo>
                  <a:pt x="36" y="32"/>
                </a:lnTo>
                <a:lnTo>
                  <a:pt x="36" y="32"/>
                </a:lnTo>
                <a:lnTo>
                  <a:pt x="36" y="25"/>
                </a:lnTo>
                <a:lnTo>
                  <a:pt x="34" y="19"/>
                </a:lnTo>
                <a:lnTo>
                  <a:pt x="30" y="10"/>
                </a:lnTo>
                <a:lnTo>
                  <a:pt x="30" y="10"/>
                </a:lnTo>
                <a:lnTo>
                  <a:pt x="30" y="0"/>
                </a:lnTo>
                <a:lnTo>
                  <a:pt x="30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1" name="Freeform 106"/>
          <p:cNvSpPr>
            <a:spLocks/>
          </p:cNvSpPr>
          <p:nvPr/>
        </p:nvSpPr>
        <p:spPr bwMode="auto">
          <a:xfrm>
            <a:off x="5894388" y="2165350"/>
            <a:ext cx="38100" cy="57150"/>
          </a:xfrm>
          <a:custGeom>
            <a:avLst/>
            <a:gdLst/>
            <a:ahLst/>
            <a:cxnLst>
              <a:cxn ang="0">
                <a:pos x="37" y="29"/>
              </a:cxn>
              <a:cxn ang="0">
                <a:pos x="37" y="29"/>
              </a:cxn>
              <a:cxn ang="0">
                <a:pos x="35" y="29"/>
              </a:cxn>
              <a:cxn ang="0">
                <a:pos x="35" y="28"/>
              </a:cxn>
              <a:cxn ang="0">
                <a:pos x="35" y="25"/>
              </a:cxn>
              <a:cxn ang="0">
                <a:pos x="34" y="22"/>
              </a:cxn>
              <a:cxn ang="0">
                <a:pos x="33" y="18"/>
              </a:cxn>
              <a:cxn ang="0">
                <a:pos x="33" y="18"/>
              </a:cxn>
              <a:cxn ang="0">
                <a:pos x="31" y="16"/>
              </a:cxn>
              <a:cxn ang="0">
                <a:pos x="27" y="13"/>
              </a:cxn>
              <a:cxn ang="0">
                <a:pos x="19" y="8"/>
              </a:cxn>
              <a:cxn ang="0">
                <a:pos x="9" y="4"/>
              </a:cxn>
              <a:cxn ang="0">
                <a:pos x="0" y="0"/>
              </a:cxn>
              <a:cxn ang="0">
                <a:pos x="0" y="0"/>
              </a:cxn>
              <a:cxn ang="0">
                <a:pos x="0" y="12"/>
              </a:cxn>
              <a:cxn ang="0">
                <a:pos x="0" y="12"/>
              </a:cxn>
              <a:cxn ang="0">
                <a:pos x="1" y="16"/>
              </a:cxn>
              <a:cxn ang="0">
                <a:pos x="4" y="24"/>
              </a:cxn>
              <a:cxn ang="0">
                <a:pos x="14" y="43"/>
              </a:cxn>
              <a:cxn ang="0">
                <a:pos x="25" y="60"/>
              </a:cxn>
              <a:cxn ang="0">
                <a:pos x="30" y="64"/>
              </a:cxn>
              <a:cxn ang="0">
                <a:pos x="33" y="67"/>
              </a:cxn>
              <a:cxn ang="0">
                <a:pos x="33" y="67"/>
              </a:cxn>
              <a:cxn ang="0">
                <a:pos x="37" y="66"/>
              </a:cxn>
              <a:cxn ang="0">
                <a:pos x="39" y="64"/>
              </a:cxn>
              <a:cxn ang="0">
                <a:pos x="41" y="62"/>
              </a:cxn>
              <a:cxn ang="0">
                <a:pos x="42" y="60"/>
              </a:cxn>
              <a:cxn ang="0">
                <a:pos x="43" y="55"/>
              </a:cxn>
              <a:cxn ang="0">
                <a:pos x="45" y="52"/>
              </a:cxn>
              <a:cxn ang="0">
                <a:pos x="45" y="52"/>
              </a:cxn>
              <a:cxn ang="0">
                <a:pos x="42" y="39"/>
              </a:cxn>
              <a:cxn ang="0">
                <a:pos x="40" y="32"/>
              </a:cxn>
              <a:cxn ang="0">
                <a:pos x="39" y="30"/>
              </a:cxn>
              <a:cxn ang="0">
                <a:pos x="37" y="29"/>
              </a:cxn>
              <a:cxn ang="0">
                <a:pos x="37" y="29"/>
              </a:cxn>
              <a:cxn ang="0">
                <a:pos x="37" y="29"/>
              </a:cxn>
            </a:cxnLst>
            <a:rect l="0" t="0" r="r" b="b"/>
            <a:pathLst>
              <a:path w="45" h="67">
                <a:moveTo>
                  <a:pt x="37" y="29"/>
                </a:moveTo>
                <a:lnTo>
                  <a:pt x="37" y="29"/>
                </a:lnTo>
                <a:lnTo>
                  <a:pt x="35" y="29"/>
                </a:lnTo>
                <a:lnTo>
                  <a:pt x="35" y="28"/>
                </a:lnTo>
                <a:lnTo>
                  <a:pt x="35" y="25"/>
                </a:lnTo>
                <a:lnTo>
                  <a:pt x="34" y="22"/>
                </a:lnTo>
                <a:lnTo>
                  <a:pt x="33" y="18"/>
                </a:lnTo>
                <a:lnTo>
                  <a:pt x="33" y="18"/>
                </a:lnTo>
                <a:lnTo>
                  <a:pt x="31" y="16"/>
                </a:lnTo>
                <a:lnTo>
                  <a:pt x="27" y="13"/>
                </a:lnTo>
                <a:lnTo>
                  <a:pt x="19" y="8"/>
                </a:lnTo>
                <a:lnTo>
                  <a:pt x="9" y="4"/>
                </a:lnTo>
                <a:lnTo>
                  <a:pt x="0" y="0"/>
                </a:lnTo>
                <a:lnTo>
                  <a:pt x="0" y="0"/>
                </a:lnTo>
                <a:lnTo>
                  <a:pt x="0" y="12"/>
                </a:lnTo>
                <a:lnTo>
                  <a:pt x="0" y="12"/>
                </a:lnTo>
                <a:lnTo>
                  <a:pt x="1" y="16"/>
                </a:lnTo>
                <a:lnTo>
                  <a:pt x="4" y="24"/>
                </a:lnTo>
                <a:lnTo>
                  <a:pt x="14" y="43"/>
                </a:lnTo>
                <a:lnTo>
                  <a:pt x="25" y="60"/>
                </a:lnTo>
                <a:lnTo>
                  <a:pt x="30" y="64"/>
                </a:lnTo>
                <a:lnTo>
                  <a:pt x="33" y="67"/>
                </a:lnTo>
                <a:lnTo>
                  <a:pt x="33" y="67"/>
                </a:lnTo>
                <a:lnTo>
                  <a:pt x="37" y="66"/>
                </a:lnTo>
                <a:lnTo>
                  <a:pt x="39" y="64"/>
                </a:lnTo>
                <a:lnTo>
                  <a:pt x="41" y="62"/>
                </a:lnTo>
                <a:lnTo>
                  <a:pt x="42" y="60"/>
                </a:lnTo>
                <a:lnTo>
                  <a:pt x="43" y="55"/>
                </a:lnTo>
                <a:lnTo>
                  <a:pt x="45" y="52"/>
                </a:lnTo>
                <a:lnTo>
                  <a:pt x="45" y="52"/>
                </a:lnTo>
                <a:lnTo>
                  <a:pt x="42" y="39"/>
                </a:lnTo>
                <a:lnTo>
                  <a:pt x="40" y="32"/>
                </a:lnTo>
                <a:lnTo>
                  <a:pt x="39" y="30"/>
                </a:lnTo>
                <a:lnTo>
                  <a:pt x="37" y="29"/>
                </a:lnTo>
                <a:lnTo>
                  <a:pt x="37" y="29"/>
                </a:lnTo>
                <a:lnTo>
                  <a:pt x="37" y="2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2" name="Freeform 107"/>
          <p:cNvSpPr>
            <a:spLocks/>
          </p:cNvSpPr>
          <p:nvPr/>
        </p:nvSpPr>
        <p:spPr bwMode="auto">
          <a:xfrm>
            <a:off x="2058988" y="4665663"/>
            <a:ext cx="476250" cy="692150"/>
          </a:xfrm>
          <a:custGeom>
            <a:avLst/>
            <a:gdLst/>
            <a:ahLst/>
            <a:cxnLst>
              <a:cxn ang="0">
                <a:pos x="329" y="679"/>
              </a:cxn>
              <a:cxn ang="0">
                <a:pos x="372" y="621"/>
              </a:cxn>
              <a:cxn ang="0">
                <a:pos x="392" y="559"/>
              </a:cxn>
              <a:cxn ang="0">
                <a:pos x="454" y="516"/>
              </a:cxn>
              <a:cxn ang="0">
                <a:pos x="482" y="524"/>
              </a:cxn>
              <a:cxn ang="0">
                <a:pos x="503" y="512"/>
              </a:cxn>
              <a:cxn ang="0">
                <a:pos x="541" y="423"/>
              </a:cxn>
              <a:cxn ang="0">
                <a:pos x="478" y="437"/>
              </a:cxn>
              <a:cxn ang="0">
                <a:pos x="417" y="426"/>
              </a:cxn>
              <a:cxn ang="0">
                <a:pos x="380" y="420"/>
              </a:cxn>
              <a:cxn ang="0">
                <a:pos x="354" y="396"/>
              </a:cxn>
              <a:cxn ang="0">
                <a:pos x="344" y="323"/>
              </a:cxn>
              <a:cxn ang="0">
                <a:pos x="380" y="287"/>
              </a:cxn>
              <a:cxn ang="0">
                <a:pos x="420" y="291"/>
              </a:cxn>
              <a:cxn ang="0">
                <a:pos x="425" y="316"/>
              </a:cxn>
              <a:cxn ang="0">
                <a:pos x="405" y="342"/>
              </a:cxn>
              <a:cxn ang="0">
                <a:pos x="439" y="342"/>
              </a:cxn>
              <a:cxn ang="0">
                <a:pos x="458" y="370"/>
              </a:cxn>
              <a:cxn ang="0">
                <a:pos x="480" y="363"/>
              </a:cxn>
              <a:cxn ang="0">
                <a:pos x="529" y="344"/>
              </a:cxn>
              <a:cxn ang="0">
                <a:pos x="568" y="331"/>
              </a:cxn>
              <a:cxn ang="0">
                <a:pos x="557" y="279"/>
              </a:cxn>
              <a:cxn ang="0">
                <a:pos x="573" y="229"/>
              </a:cxn>
              <a:cxn ang="0">
                <a:pos x="577" y="214"/>
              </a:cxn>
              <a:cxn ang="0">
                <a:pos x="553" y="224"/>
              </a:cxn>
              <a:cxn ang="0">
                <a:pos x="471" y="183"/>
              </a:cxn>
              <a:cxn ang="0">
                <a:pos x="447" y="144"/>
              </a:cxn>
              <a:cxn ang="0">
                <a:pos x="423" y="145"/>
              </a:cxn>
              <a:cxn ang="0">
                <a:pos x="398" y="138"/>
              </a:cxn>
              <a:cxn ang="0">
                <a:pos x="396" y="104"/>
              </a:cxn>
              <a:cxn ang="0">
                <a:pos x="374" y="88"/>
              </a:cxn>
              <a:cxn ang="0">
                <a:pos x="354" y="70"/>
              </a:cxn>
              <a:cxn ang="0">
                <a:pos x="323" y="61"/>
              </a:cxn>
              <a:cxn ang="0">
                <a:pos x="282" y="39"/>
              </a:cxn>
              <a:cxn ang="0">
                <a:pos x="259" y="0"/>
              </a:cxn>
              <a:cxn ang="0">
                <a:pos x="188" y="39"/>
              </a:cxn>
              <a:cxn ang="0">
                <a:pos x="159" y="47"/>
              </a:cxn>
              <a:cxn ang="0">
                <a:pos x="178" y="92"/>
              </a:cxn>
              <a:cxn ang="0">
                <a:pos x="157" y="114"/>
              </a:cxn>
              <a:cxn ang="0">
                <a:pos x="60" y="129"/>
              </a:cxn>
              <a:cxn ang="0">
                <a:pos x="75" y="163"/>
              </a:cxn>
              <a:cxn ang="0">
                <a:pos x="67" y="195"/>
              </a:cxn>
              <a:cxn ang="0">
                <a:pos x="12" y="246"/>
              </a:cxn>
              <a:cxn ang="0">
                <a:pos x="0" y="284"/>
              </a:cxn>
              <a:cxn ang="0">
                <a:pos x="7" y="373"/>
              </a:cxn>
              <a:cxn ang="0">
                <a:pos x="48" y="463"/>
              </a:cxn>
              <a:cxn ang="0">
                <a:pos x="60" y="533"/>
              </a:cxn>
              <a:cxn ang="0">
                <a:pos x="65" y="592"/>
              </a:cxn>
              <a:cxn ang="0">
                <a:pos x="88" y="588"/>
              </a:cxn>
              <a:cxn ang="0">
                <a:pos x="109" y="584"/>
              </a:cxn>
              <a:cxn ang="0">
                <a:pos x="130" y="618"/>
              </a:cxn>
              <a:cxn ang="0">
                <a:pos x="118" y="634"/>
              </a:cxn>
              <a:cxn ang="0">
                <a:pos x="90" y="655"/>
              </a:cxn>
              <a:cxn ang="0">
                <a:pos x="109" y="681"/>
              </a:cxn>
              <a:cxn ang="0">
                <a:pos x="106" y="713"/>
              </a:cxn>
              <a:cxn ang="0">
                <a:pos x="94" y="739"/>
              </a:cxn>
              <a:cxn ang="0">
                <a:pos x="144" y="768"/>
              </a:cxn>
              <a:cxn ang="0">
                <a:pos x="173" y="757"/>
              </a:cxn>
              <a:cxn ang="0">
                <a:pos x="195" y="763"/>
              </a:cxn>
              <a:cxn ang="0">
                <a:pos x="229" y="793"/>
              </a:cxn>
              <a:cxn ang="0">
                <a:pos x="260" y="787"/>
              </a:cxn>
              <a:cxn ang="0">
                <a:pos x="318" y="732"/>
              </a:cxn>
            </a:cxnLst>
            <a:rect l="0" t="0" r="r" b="b"/>
            <a:pathLst>
              <a:path w="583" h="794">
                <a:moveTo>
                  <a:pt x="314" y="717"/>
                </a:moveTo>
                <a:lnTo>
                  <a:pt x="314" y="717"/>
                </a:lnTo>
                <a:lnTo>
                  <a:pt x="316" y="705"/>
                </a:lnTo>
                <a:lnTo>
                  <a:pt x="318" y="695"/>
                </a:lnTo>
                <a:lnTo>
                  <a:pt x="323" y="687"/>
                </a:lnTo>
                <a:lnTo>
                  <a:pt x="329" y="679"/>
                </a:lnTo>
                <a:lnTo>
                  <a:pt x="343" y="664"/>
                </a:lnTo>
                <a:lnTo>
                  <a:pt x="351" y="656"/>
                </a:lnTo>
                <a:lnTo>
                  <a:pt x="358" y="648"/>
                </a:lnTo>
                <a:lnTo>
                  <a:pt x="358" y="648"/>
                </a:lnTo>
                <a:lnTo>
                  <a:pt x="367" y="633"/>
                </a:lnTo>
                <a:lnTo>
                  <a:pt x="372" y="621"/>
                </a:lnTo>
                <a:lnTo>
                  <a:pt x="374" y="611"/>
                </a:lnTo>
                <a:lnTo>
                  <a:pt x="375" y="602"/>
                </a:lnTo>
                <a:lnTo>
                  <a:pt x="377" y="592"/>
                </a:lnTo>
                <a:lnTo>
                  <a:pt x="379" y="582"/>
                </a:lnTo>
                <a:lnTo>
                  <a:pt x="384" y="572"/>
                </a:lnTo>
                <a:lnTo>
                  <a:pt x="392" y="559"/>
                </a:lnTo>
                <a:lnTo>
                  <a:pt x="392" y="559"/>
                </a:lnTo>
                <a:lnTo>
                  <a:pt x="403" y="549"/>
                </a:lnTo>
                <a:lnTo>
                  <a:pt x="423" y="534"/>
                </a:lnTo>
                <a:lnTo>
                  <a:pt x="434" y="527"/>
                </a:lnTo>
                <a:lnTo>
                  <a:pt x="445" y="521"/>
                </a:lnTo>
                <a:lnTo>
                  <a:pt x="454" y="516"/>
                </a:lnTo>
                <a:lnTo>
                  <a:pt x="461" y="515"/>
                </a:lnTo>
                <a:lnTo>
                  <a:pt x="461" y="515"/>
                </a:lnTo>
                <a:lnTo>
                  <a:pt x="465" y="515"/>
                </a:lnTo>
                <a:lnTo>
                  <a:pt x="469" y="516"/>
                </a:lnTo>
                <a:lnTo>
                  <a:pt x="476" y="520"/>
                </a:lnTo>
                <a:lnTo>
                  <a:pt x="482" y="524"/>
                </a:lnTo>
                <a:lnTo>
                  <a:pt x="486" y="526"/>
                </a:lnTo>
                <a:lnTo>
                  <a:pt x="491" y="526"/>
                </a:lnTo>
                <a:lnTo>
                  <a:pt x="491" y="526"/>
                </a:lnTo>
                <a:lnTo>
                  <a:pt x="493" y="524"/>
                </a:lnTo>
                <a:lnTo>
                  <a:pt x="495" y="522"/>
                </a:lnTo>
                <a:lnTo>
                  <a:pt x="503" y="512"/>
                </a:lnTo>
                <a:lnTo>
                  <a:pt x="511" y="496"/>
                </a:lnTo>
                <a:lnTo>
                  <a:pt x="520" y="478"/>
                </a:lnTo>
                <a:lnTo>
                  <a:pt x="535" y="444"/>
                </a:lnTo>
                <a:lnTo>
                  <a:pt x="540" y="430"/>
                </a:lnTo>
                <a:lnTo>
                  <a:pt x="541" y="423"/>
                </a:lnTo>
                <a:lnTo>
                  <a:pt x="541" y="423"/>
                </a:lnTo>
                <a:lnTo>
                  <a:pt x="524" y="423"/>
                </a:lnTo>
                <a:lnTo>
                  <a:pt x="524" y="423"/>
                </a:lnTo>
                <a:lnTo>
                  <a:pt x="524" y="423"/>
                </a:lnTo>
                <a:lnTo>
                  <a:pt x="512" y="428"/>
                </a:lnTo>
                <a:lnTo>
                  <a:pt x="497" y="434"/>
                </a:lnTo>
                <a:lnTo>
                  <a:pt x="478" y="437"/>
                </a:lnTo>
                <a:lnTo>
                  <a:pt x="457" y="438"/>
                </a:lnTo>
                <a:lnTo>
                  <a:pt x="457" y="438"/>
                </a:lnTo>
                <a:lnTo>
                  <a:pt x="448" y="437"/>
                </a:lnTo>
                <a:lnTo>
                  <a:pt x="441" y="436"/>
                </a:lnTo>
                <a:lnTo>
                  <a:pt x="428" y="430"/>
                </a:lnTo>
                <a:lnTo>
                  <a:pt x="417" y="426"/>
                </a:lnTo>
                <a:lnTo>
                  <a:pt x="410" y="423"/>
                </a:lnTo>
                <a:lnTo>
                  <a:pt x="402" y="423"/>
                </a:lnTo>
                <a:lnTo>
                  <a:pt x="402" y="423"/>
                </a:lnTo>
                <a:lnTo>
                  <a:pt x="394" y="423"/>
                </a:lnTo>
                <a:lnTo>
                  <a:pt x="387" y="422"/>
                </a:lnTo>
                <a:lnTo>
                  <a:pt x="380" y="420"/>
                </a:lnTo>
                <a:lnTo>
                  <a:pt x="374" y="417"/>
                </a:lnTo>
                <a:lnTo>
                  <a:pt x="369" y="414"/>
                </a:lnTo>
                <a:lnTo>
                  <a:pt x="364" y="411"/>
                </a:lnTo>
                <a:lnTo>
                  <a:pt x="361" y="406"/>
                </a:lnTo>
                <a:lnTo>
                  <a:pt x="356" y="401"/>
                </a:lnTo>
                <a:lnTo>
                  <a:pt x="354" y="396"/>
                </a:lnTo>
                <a:lnTo>
                  <a:pt x="350" y="389"/>
                </a:lnTo>
                <a:lnTo>
                  <a:pt x="347" y="374"/>
                </a:lnTo>
                <a:lnTo>
                  <a:pt x="344" y="355"/>
                </a:lnTo>
                <a:lnTo>
                  <a:pt x="343" y="335"/>
                </a:lnTo>
                <a:lnTo>
                  <a:pt x="343" y="335"/>
                </a:lnTo>
                <a:lnTo>
                  <a:pt x="344" y="323"/>
                </a:lnTo>
                <a:lnTo>
                  <a:pt x="347" y="313"/>
                </a:lnTo>
                <a:lnTo>
                  <a:pt x="350" y="305"/>
                </a:lnTo>
                <a:lnTo>
                  <a:pt x="355" y="298"/>
                </a:lnTo>
                <a:lnTo>
                  <a:pt x="362" y="293"/>
                </a:lnTo>
                <a:lnTo>
                  <a:pt x="370" y="290"/>
                </a:lnTo>
                <a:lnTo>
                  <a:pt x="380" y="287"/>
                </a:lnTo>
                <a:lnTo>
                  <a:pt x="392" y="286"/>
                </a:lnTo>
                <a:lnTo>
                  <a:pt x="392" y="286"/>
                </a:lnTo>
                <a:lnTo>
                  <a:pt x="403" y="287"/>
                </a:lnTo>
                <a:lnTo>
                  <a:pt x="409" y="287"/>
                </a:lnTo>
                <a:lnTo>
                  <a:pt x="415" y="289"/>
                </a:lnTo>
                <a:lnTo>
                  <a:pt x="420" y="291"/>
                </a:lnTo>
                <a:lnTo>
                  <a:pt x="424" y="294"/>
                </a:lnTo>
                <a:lnTo>
                  <a:pt x="426" y="299"/>
                </a:lnTo>
                <a:lnTo>
                  <a:pt x="427" y="306"/>
                </a:lnTo>
                <a:lnTo>
                  <a:pt x="427" y="306"/>
                </a:lnTo>
                <a:lnTo>
                  <a:pt x="427" y="312"/>
                </a:lnTo>
                <a:lnTo>
                  <a:pt x="425" y="316"/>
                </a:lnTo>
                <a:lnTo>
                  <a:pt x="423" y="320"/>
                </a:lnTo>
                <a:lnTo>
                  <a:pt x="419" y="323"/>
                </a:lnTo>
                <a:lnTo>
                  <a:pt x="412" y="331"/>
                </a:lnTo>
                <a:lnTo>
                  <a:pt x="409" y="336"/>
                </a:lnTo>
                <a:lnTo>
                  <a:pt x="405" y="342"/>
                </a:lnTo>
                <a:lnTo>
                  <a:pt x="405" y="342"/>
                </a:lnTo>
                <a:lnTo>
                  <a:pt x="411" y="344"/>
                </a:lnTo>
                <a:lnTo>
                  <a:pt x="415" y="345"/>
                </a:lnTo>
                <a:lnTo>
                  <a:pt x="419" y="345"/>
                </a:lnTo>
                <a:lnTo>
                  <a:pt x="423" y="345"/>
                </a:lnTo>
                <a:lnTo>
                  <a:pt x="430" y="343"/>
                </a:lnTo>
                <a:lnTo>
                  <a:pt x="439" y="342"/>
                </a:lnTo>
                <a:lnTo>
                  <a:pt x="439" y="342"/>
                </a:lnTo>
                <a:lnTo>
                  <a:pt x="441" y="350"/>
                </a:lnTo>
                <a:lnTo>
                  <a:pt x="446" y="360"/>
                </a:lnTo>
                <a:lnTo>
                  <a:pt x="449" y="365"/>
                </a:lnTo>
                <a:lnTo>
                  <a:pt x="454" y="368"/>
                </a:lnTo>
                <a:lnTo>
                  <a:pt x="458" y="370"/>
                </a:lnTo>
                <a:lnTo>
                  <a:pt x="464" y="371"/>
                </a:lnTo>
                <a:lnTo>
                  <a:pt x="464" y="371"/>
                </a:lnTo>
                <a:lnTo>
                  <a:pt x="470" y="370"/>
                </a:lnTo>
                <a:lnTo>
                  <a:pt x="473" y="369"/>
                </a:lnTo>
                <a:lnTo>
                  <a:pt x="477" y="367"/>
                </a:lnTo>
                <a:lnTo>
                  <a:pt x="480" y="363"/>
                </a:lnTo>
                <a:lnTo>
                  <a:pt x="481" y="359"/>
                </a:lnTo>
                <a:lnTo>
                  <a:pt x="484" y="354"/>
                </a:lnTo>
                <a:lnTo>
                  <a:pt x="486" y="342"/>
                </a:lnTo>
                <a:lnTo>
                  <a:pt x="486" y="342"/>
                </a:lnTo>
                <a:lnTo>
                  <a:pt x="504" y="343"/>
                </a:lnTo>
                <a:lnTo>
                  <a:pt x="529" y="344"/>
                </a:lnTo>
                <a:lnTo>
                  <a:pt x="540" y="343"/>
                </a:lnTo>
                <a:lnTo>
                  <a:pt x="552" y="340"/>
                </a:lnTo>
                <a:lnTo>
                  <a:pt x="561" y="337"/>
                </a:lnTo>
                <a:lnTo>
                  <a:pt x="564" y="333"/>
                </a:lnTo>
                <a:lnTo>
                  <a:pt x="568" y="331"/>
                </a:lnTo>
                <a:lnTo>
                  <a:pt x="568" y="331"/>
                </a:lnTo>
                <a:lnTo>
                  <a:pt x="563" y="323"/>
                </a:lnTo>
                <a:lnTo>
                  <a:pt x="558" y="315"/>
                </a:lnTo>
                <a:lnTo>
                  <a:pt x="557" y="305"/>
                </a:lnTo>
                <a:lnTo>
                  <a:pt x="556" y="291"/>
                </a:lnTo>
                <a:lnTo>
                  <a:pt x="556" y="291"/>
                </a:lnTo>
                <a:lnTo>
                  <a:pt x="557" y="279"/>
                </a:lnTo>
                <a:lnTo>
                  <a:pt x="560" y="270"/>
                </a:lnTo>
                <a:lnTo>
                  <a:pt x="562" y="261"/>
                </a:lnTo>
                <a:lnTo>
                  <a:pt x="565" y="254"/>
                </a:lnTo>
                <a:lnTo>
                  <a:pt x="569" y="246"/>
                </a:lnTo>
                <a:lnTo>
                  <a:pt x="571" y="238"/>
                </a:lnTo>
                <a:lnTo>
                  <a:pt x="573" y="229"/>
                </a:lnTo>
                <a:lnTo>
                  <a:pt x="575" y="217"/>
                </a:lnTo>
                <a:lnTo>
                  <a:pt x="575" y="217"/>
                </a:lnTo>
                <a:lnTo>
                  <a:pt x="579" y="214"/>
                </a:lnTo>
                <a:lnTo>
                  <a:pt x="583" y="213"/>
                </a:lnTo>
                <a:lnTo>
                  <a:pt x="583" y="213"/>
                </a:lnTo>
                <a:lnTo>
                  <a:pt x="577" y="214"/>
                </a:lnTo>
                <a:lnTo>
                  <a:pt x="572" y="215"/>
                </a:lnTo>
                <a:lnTo>
                  <a:pt x="564" y="218"/>
                </a:lnTo>
                <a:lnTo>
                  <a:pt x="558" y="223"/>
                </a:lnTo>
                <a:lnTo>
                  <a:pt x="555" y="224"/>
                </a:lnTo>
                <a:lnTo>
                  <a:pt x="553" y="224"/>
                </a:lnTo>
                <a:lnTo>
                  <a:pt x="553" y="224"/>
                </a:lnTo>
                <a:lnTo>
                  <a:pt x="546" y="224"/>
                </a:lnTo>
                <a:lnTo>
                  <a:pt x="539" y="222"/>
                </a:lnTo>
                <a:lnTo>
                  <a:pt x="523" y="216"/>
                </a:lnTo>
                <a:lnTo>
                  <a:pt x="504" y="207"/>
                </a:lnTo>
                <a:lnTo>
                  <a:pt x="487" y="195"/>
                </a:lnTo>
                <a:lnTo>
                  <a:pt x="471" y="183"/>
                </a:lnTo>
                <a:lnTo>
                  <a:pt x="458" y="169"/>
                </a:lnTo>
                <a:lnTo>
                  <a:pt x="454" y="162"/>
                </a:lnTo>
                <a:lnTo>
                  <a:pt x="449" y="155"/>
                </a:lnTo>
                <a:lnTo>
                  <a:pt x="447" y="149"/>
                </a:lnTo>
                <a:lnTo>
                  <a:pt x="447" y="144"/>
                </a:lnTo>
                <a:lnTo>
                  <a:pt x="447" y="144"/>
                </a:lnTo>
                <a:lnTo>
                  <a:pt x="443" y="147"/>
                </a:lnTo>
                <a:lnTo>
                  <a:pt x="441" y="148"/>
                </a:lnTo>
                <a:lnTo>
                  <a:pt x="438" y="148"/>
                </a:lnTo>
                <a:lnTo>
                  <a:pt x="434" y="148"/>
                </a:lnTo>
                <a:lnTo>
                  <a:pt x="427" y="145"/>
                </a:lnTo>
                <a:lnTo>
                  <a:pt x="423" y="145"/>
                </a:lnTo>
                <a:lnTo>
                  <a:pt x="417" y="144"/>
                </a:lnTo>
                <a:lnTo>
                  <a:pt x="417" y="144"/>
                </a:lnTo>
                <a:lnTo>
                  <a:pt x="410" y="144"/>
                </a:lnTo>
                <a:lnTo>
                  <a:pt x="405" y="142"/>
                </a:lnTo>
                <a:lnTo>
                  <a:pt x="401" y="140"/>
                </a:lnTo>
                <a:lnTo>
                  <a:pt x="398" y="138"/>
                </a:lnTo>
                <a:lnTo>
                  <a:pt x="396" y="134"/>
                </a:lnTo>
                <a:lnTo>
                  <a:pt x="396" y="131"/>
                </a:lnTo>
                <a:lnTo>
                  <a:pt x="396" y="124"/>
                </a:lnTo>
                <a:lnTo>
                  <a:pt x="396" y="116"/>
                </a:lnTo>
                <a:lnTo>
                  <a:pt x="397" y="108"/>
                </a:lnTo>
                <a:lnTo>
                  <a:pt x="396" y="104"/>
                </a:lnTo>
                <a:lnTo>
                  <a:pt x="396" y="101"/>
                </a:lnTo>
                <a:lnTo>
                  <a:pt x="394" y="99"/>
                </a:lnTo>
                <a:lnTo>
                  <a:pt x="392" y="96"/>
                </a:lnTo>
                <a:lnTo>
                  <a:pt x="392" y="96"/>
                </a:lnTo>
                <a:lnTo>
                  <a:pt x="381" y="91"/>
                </a:lnTo>
                <a:lnTo>
                  <a:pt x="374" y="88"/>
                </a:lnTo>
                <a:lnTo>
                  <a:pt x="370" y="87"/>
                </a:lnTo>
                <a:lnTo>
                  <a:pt x="366" y="87"/>
                </a:lnTo>
                <a:lnTo>
                  <a:pt x="363" y="86"/>
                </a:lnTo>
                <a:lnTo>
                  <a:pt x="361" y="84"/>
                </a:lnTo>
                <a:lnTo>
                  <a:pt x="357" y="79"/>
                </a:lnTo>
                <a:lnTo>
                  <a:pt x="354" y="70"/>
                </a:lnTo>
                <a:lnTo>
                  <a:pt x="354" y="70"/>
                </a:lnTo>
                <a:lnTo>
                  <a:pt x="351" y="67"/>
                </a:lnTo>
                <a:lnTo>
                  <a:pt x="348" y="64"/>
                </a:lnTo>
                <a:lnTo>
                  <a:pt x="342" y="63"/>
                </a:lnTo>
                <a:lnTo>
                  <a:pt x="336" y="62"/>
                </a:lnTo>
                <a:lnTo>
                  <a:pt x="323" y="61"/>
                </a:lnTo>
                <a:lnTo>
                  <a:pt x="310" y="60"/>
                </a:lnTo>
                <a:lnTo>
                  <a:pt x="310" y="60"/>
                </a:lnTo>
                <a:lnTo>
                  <a:pt x="301" y="57"/>
                </a:lnTo>
                <a:lnTo>
                  <a:pt x="294" y="53"/>
                </a:lnTo>
                <a:lnTo>
                  <a:pt x="287" y="47"/>
                </a:lnTo>
                <a:lnTo>
                  <a:pt x="282" y="39"/>
                </a:lnTo>
                <a:lnTo>
                  <a:pt x="278" y="31"/>
                </a:lnTo>
                <a:lnTo>
                  <a:pt x="274" y="22"/>
                </a:lnTo>
                <a:lnTo>
                  <a:pt x="272" y="11"/>
                </a:lnTo>
                <a:lnTo>
                  <a:pt x="270" y="0"/>
                </a:lnTo>
                <a:lnTo>
                  <a:pt x="270" y="0"/>
                </a:lnTo>
                <a:lnTo>
                  <a:pt x="259" y="0"/>
                </a:lnTo>
                <a:lnTo>
                  <a:pt x="259" y="0"/>
                </a:lnTo>
                <a:lnTo>
                  <a:pt x="239" y="15"/>
                </a:lnTo>
                <a:lnTo>
                  <a:pt x="227" y="23"/>
                </a:lnTo>
                <a:lnTo>
                  <a:pt x="214" y="30"/>
                </a:lnTo>
                <a:lnTo>
                  <a:pt x="202" y="35"/>
                </a:lnTo>
                <a:lnTo>
                  <a:pt x="188" y="39"/>
                </a:lnTo>
                <a:lnTo>
                  <a:pt x="181" y="39"/>
                </a:lnTo>
                <a:lnTo>
                  <a:pt x="174" y="40"/>
                </a:lnTo>
                <a:lnTo>
                  <a:pt x="167" y="39"/>
                </a:lnTo>
                <a:lnTo>
                  <a:pt x="159" y="38"/>
                </a:lnTo>
                <a:lnTo>
                  <a:pt x="159" y="38"/>
                </a:lnTo>
                <a:lnTo>
                  <a:pt x="159" y="47"/>
                </a:lnTo>
                <a:lnTo>
                  <a:pt x="160" y="55"/>
                </a:lnTo>
                <a:lnTo>
                  <a:pt x="164" y="62"/>
                </a:lnTo>
                <a:lnTo>
                  <a:pt x="167" y="68"/>
                </a:lnTo>
                <a:lnTo>
                  <a:pt x="174" y="78"/>
                </a:lnTo>
                <a:lnTo>
                  <a:pt x="176" y="85"/>
                </a:lnTo>
                <a:lnTo>
                  <a:pt x="178" y="92"/>
                </a:lnTo>
                <a:lnTo>
                  <a:pt x="178" y="92"/>
                </a:lnTo>
                <a:lnTo>
                  <a:pt x="176" y="98"/>
                </a:lnTo>
                <a:lnTo>
                  <a:pt x="174" y="102"/>
                </a:lnTo>
                <a:lnTo>
                  <a:pt x="170" y="107"/>
                </a:lnTo>
                <a:lnTo>
                  <a:pt x="164" y="110"/>
                </a:lnTo>
                <a:lnTo>
                  <a:pt x="157" y="114"/>
                </a:lnTo>
                <a:lnTo>
                  <a:pt x="149" y="117"/>
                </a:lnTo>
                <a:lnTo>
                  <a:pt x="132" y="122"/>
                </a:lnTo>
                <a:lnTo>
                  <a:pt x="112" y="125"/>
                </a:lnTo>
                <a:lnTo>
                  <a:pt x="92" y="127"/>
                </a:lnTo>
                <a:lnTo>
                  <a:pt x="75" y="129"/>
                </a:lnTo>
                <a:lnTo>
                  <a:pt x="60" y="129"/>
                </a:lnTo>
                <a:lnTo>
                  <a:pt x="60" y="129"/>
                </a:lnTo>
                <a:lnTo>
                  <a:pt x="61" y="134"/>
                </a:lnTo>
                <a:lnTo>
                  <a:pt x="62" y="139"/>
                </a:lnTo>
                <a:lnTo>
                  <a:pt x="68" y="148"/>
                </a:lnTo>
                <a:lnTo>
                  <a:pt x="73" y="157"/>
                </a:lnTo>
                <a:lnTo>
                  <a:pt x="75" y="163"/>
                </a:lnTo>
                <a:lnTo>
                  <a:pt x="75" y="169"/>
                </a:lnTo>
                <a:lnTo>
                  <a:pt x="75" y="169"/>
                </a:lnTo>
                <a:lnTo>
                  <a:pt x="75" y="176"/>
                </a:lnTo>
                <a:lnTo>
                  <a:pt x="73" y="183"/>
                </a:lnTo>
                <a:lnTo>
                  <a:pt x="71" y="190"/>
                </a:lnTo>
                <a:lnTo>
                  <a:pt x="67" y="195"/>
                </a:lnTo>
                <a:lnTo>
                  <a:pt x="62" y="201"/>
                </a:lnTo>
                <a:lnTo>
                  <a:pt x="57" y="206"/>
                </a:lnTo>
                <a:lnTo>
                  <a:pt x="46" y="215"/>
                </a:lnTo>
                <a:lnTo>
                  <a:pt x="25" y="232"/>
                </a:lnTo>
                <a:lnTo>
                  <a:pt x="15" y="241"/>
                </a:lnTo>
                <a:lnTo>
                  <a:pt x="12" y="246"/>
                </a:lnTo>
                <a:lnTo>
                  <a:pt x="8" y="251"/>
                </a:lnTo>
                <a:lnTo>
                  <a:pt x="8" y="251"/>
                </a:lnTo>
                <a:lnTo>
                  <a:pt x="4" y="259"/>
                </a:lnTo>
                <a:lnTo>
                  <a:pt x="2" y="267"/>
                </a:lnTo>
                <a:lnTo>
                  <a:pt x="0" y="275"/>
                </a:lnTo>
                <a:lnTo>
                  <a:pt x="0" y="284"/>
                </a:lnTo>
                <a:lnTo>
                  <a:pt x="0" y="302"/>
                </a:lnTo>
                <a:lnTo>
                  <a:pt x="2" y="323"/>
                </a:lnTo>
                <a:lnTo>
                  <a:pt x="2" y="323"/>
                </a:lnTo>
                <a:lnTo>
                  <a:pt x="3" y="342"/>
                </a:lnTo>
                <a:lnTo>
                  <a:pt x="5" y="358"/>
                </a:lnTo>
                <a:lnTo>
                  <a:pt x="7" y="373"/>
                </a:lnTo>
                <a:lnTo>
                  <a:pt x="11" y="385"/>
                </a:lnTo>
                <a:lnTo>
                  <a:pt x="15" y="398"/>
                </a:lnTo>
                <a:lnTo>
                  <a:pt x="20" y="409"/>
                </a:lnTo>
                <a:lnTo>
                  <a:pt x="31" y="431"/>
                </a:lnTo>
                <a:lnTo>
                  <a:pt x="42" y="453"/>
                </a:lnTo>
                <a:lnTo>
                  <a:pt x="48" y="463"/>
                </a:lnTo>
                <a:lnTo>
                  <a:pt x="51" y="475"/>
                </a:lnTo>
                <a:lnTo>
                  <a:pt x="56" y="488"/>
                </a:lnTo>
                <a:lnTo>
                  <a:pt x="58" y="501"/>
                </a:lnTo>
                <a:lnTo>
                  <a:pt x="60" y="516"/>
                </a:lnTo>
                <a:lnTo>
                  <a:pt x="60" y="533"/>
                </a:lnTo>
                <a:lnTo>
                  <a:pt x="60" y="533"/>
                </a:lnTo>
                <a:lnTo>
                  <a:pt x="60" y="566"/>
                </a:lnTo>
                <a:lnTo>
                  <a:pt x="60" y="566"/>
                </a:lnTo>
                <a:lnTo>
                  <a:pt x="61" y="576"/>
                </a:lnTo>
                <a:lnTo>
                  <a:pt x="62" y="587"/>
                </a:lnTo>
                <a:lnTo>
                  <a:pt x="64" y="590"/>
                </a:lnTo>
                <a:lnTo>
                  <a:pt x="65" y="592"/>
                </a:lnTo>
                <a:lnTo>
                  <a:pt x="68" y="595"/>
                </a:lnTo>
                <a:lnTo>
                  <a:pt x="72" y="596"/>
                </a:lnTo>
                <a:lnTo>
                  <a:pt x="72" y="596"/>
                </a:lnTo>
                <a:lnTo>
                  <a:pt x="76" y="595"/>
                </a:lnTo>
                <a:lnTo>
                  <a:pt x="81" y="594"/>
                </a:lnTo>
                <a:lnTo>
                  <a:pt x="88" y="588"/>
                </a:lnTo>
                <a:lnTo>
                  <a:pt x="94" y="583"/>
                </a:lnTo>
                <a:lnTo>
                  <a:pt x="97" y="581"/>
                </a:lnTo>
                <a:lnTo>
                  <a:pt x="100" y="581"/>
                </a:lnTo>
                <a:lnTo>
                  <a:pt x="100" y="581"/>
                </a:lnTo>
                <a:lnTo>
                  <a:pt x="104" y="582"/>
                </a:lnTo>
                <a:lnTo>
                  <a:pt x="109" y="584"/>
                </a:lnTo>
                <a:lnTo>
                  <a:pt x="113" y="589"/>
                </a:lnTo>
                <a:lnTo>
                  <a:pt x="118" y="594"/>
                </a:lnTo>
                <a:lnTo>
                  <a:pt x="122" y="599"/>
                </a:lnTo>
                <a:lnTo>
                  <a:pt x="127" y="606"/>
                </a:lnTo>
                <a:lnTo>
                  <a:pt x="129" y="612"/>
                </a:lnTo>
                <a:lnTo>
                  <a:pt x="130" y="618"/>
                </a:lnTo>
                <a:lnTo>
                  <a:pt x="130" y="618"/>
                </a:lnTo>
                <a:lnTo>
                  <a:pt x="129" y="621"/>
                </a:lnTo>
                <a:lnTo>
                  <a:pt x="128" y="625"/>
                </a:lnTo>
                <a:lnTo>
                  <a:pt x="126" y="628"/>
                </a:lnTo>
                <a:lnTo>
                  <a:pt x="123" y="630"/>
                </a:lnTo>
                <a:lnTo>
                  <a:pt x="118" y="634"/>
                </a:lnTo>
                <a:lnTo>
                  <a:pt x="110" y="637"/>
                </a:lnTo>
                <a:lnTo>
                  <a:pt x="103" y="641"/>
                </a:lnTo>
                <a:lnTo>
                  <a:pt x="96" y="644"/>
                </a:lnTo>
                <a:lnTo>
                  <a:pt x="91" y="649"/>
                </a:lnTo>
                <a:lnTo>
                  <a:pt x="90" y="651"/>
                </a:lnTo>
                <a:lnTo>
                  <a:pt x="90" y="655"/>
                </a:lnTo>
                <a:lnTo>
                  <a:pt x="90" y="655"/>
                </a:lnTo>
                <a:lnTo>
                  <a:pt x="91" y="659"/>
                </a:lnTo>
                <a:lnTo>
                  <a:pt x="94" y="664"/>
                </a:lnTo>
                <a:lnTo>
                  <a:pt x="100" y="672"/>
                </a:lnTo>
                <a:lnTo>
                  <a:pt x="105" y="676"/>
                </a:lnTo>
                <a:lnTo>
                  <a:pt x="109" y="681"/>
                </a:lnTo>
                <a:lnTo>
                  <a:pt x="111" y="687"/>
                </a:lnTo>
                <a:lnTo>
                  <a:pt x="112" y="695"/>
                </a:lnTo>
                <a:lnTo>
                  <a:pt x="112" y="695"/>
                </a:lnTo>
                <a:lnTo>
                  <a:pt x="111" y="703"/>
                </a:lnTo>
                <a:lnTo>
                  <a:pt x="109" y="709"/>
                </a:lnTo>
                <a:lnTo>
                  <a:pt x="106" y="713"/>
                </a:lnTo>
                <a:lnTo>
                  <a:pt x="103" y="717"/>
                </a:lnTo>
                <a:lnTo>
                  <a:pt x="99" y="720"/>
                </a:lnTo>
                <a:lnTo>
                  <a:pt x="96" y="725"/>
                </a:lnTo>
                <a:lnTo>
                  <a:pt x="95" y="730"/>
                </a:lnTo>
                <a:lnTo>
                  <a:pt x="94" y="739"/>
                </a:lnTo>
                <a:lnTo>
                  <a:pt x="94" y="739"/>
                </a:lnTo>
                <a:lnTo>
                  <a:pt x="96" y="741"/>
                </a:lnTo>
                <a:lnTo>
                  <a:pt x="100" y="745"/>
                </a:lnTo>
                <a:lnTo>
                  <a:pt x="115" y="755"/>
                </a:lnTo>
                <a:lnTo>
                  <a:pt x="133" y="764"/>
                </a:lnTo>
                <a:lnTo>
                  <a:pt x="140" y="767"/>
                </a:lnTo>
                <a:lnTo>
                  <a:pt x="144" y="768"/>
                </a:lnTo>
                <a:lnTo>
                  <a:pt x="144" y="768"/>
                </a:lnTo>
                <a:lnTo>
                  <a:pt x="150" y="767"/>
                </a:lnTo>
                <a:lnTo>
                  <a:pt x="153" y="766"/>
                </a:lnTo>
                <a:lnTo>
                  <a:pt x="161" y="763"/>
                </a:lnTo>
                <a:lnTo>
                  <a:pt x="168" y="759"/>
                </a:lnTo>
                <a:lnTo>
                  <a:pt x="173" y="757"/>
                </a:lnTo>
                <a:lnTo>
                  <a:pt x="178" y="757"/>
                </a:lnTo>
                <a:lnTo>
                  <a:pt x="178" y="757"/>
                </a:lnTo>
                <a:lnTo>
                  <a:pt x="183" y="757"/>
                </a:lnTo>
                <a:lnTo>
                  <a:pt x="187" y="758"/>
                </a:lnTo>
                <a:lnTo>
                  <a:pt x="191" y="760"/>
                </a:lnTo>
                <a:lnTo>
                  <a:pt x="195" y="763"/>
                </a:lnTo>
                <a:lnTo>
                  <a:pt x="202" y="768"/>
                </a:lnTo>
                <a:lnTo>
                  <a:pt x="207" y="775"/>
                </a:lnTo>
                <a:lnTo>
                  <a:pt x="213" y="782"/>
                </a:lnTo>
                <a:lnTo>
                  <a:pt x="220" y="788"/>
                </a:lnTo>
                <a:lnTo>
                  <a:pt x="225" y="790"/>
                </a:lnTo>
                <a:lnTo>
                  <a:pt x="229" y="793"/>
                </a:lnTo>
                <a:lnTo>
                  <a:pt x="235" y="794"/>
                </a:lnTo>
                <a:lnTo>
                  <a:pt x="241" y="794"/>
                </a:lnTo>
                <a:lnTo>
                  <a:pt x="241" y="794"/>
                </a:lnTo>
                <a:lnTo>
                  <a:pt x="245" y="794"/>
                </a:lnTo>
                <a:lnTo>
                  <a:pt x="250" y="791"/>
                </a:lnTo>
                <a:lnTo>
                  <a:pt x="260" y="787"/>
                </a:lnTo>
                <a:lnTo>
                  <a:pt x="270" y="778"/>
                </a:lnTo>
                <a:lnTo>
                  <a:pt x="280" y="768"/>
                </a:lnTo>
                <a:lnTo>
                  <a:pt x="300" y="747"/>
                </a:lnTo>
                <a:lnTo>
                  <a:pt x="309" y="739"/>
                </a:lnTo>
                <a:lnTo>
                  <a:pt x="318" y="732"/>
                </a:lnTo>
                <a:lnTo>
                  <a:pt x="318" y="732"/>
                </a:lnTo>
                <a:lnTo>
                  <a:pt x="314" y="717"/>
                </a:lnTo>
                <a:lnTo>
                  <a:pt x="314" y="7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3" name="Freeform 108"/>
          <p:cNvSpPr>
            <a:spLocks/>
          </p:cNvSpPr>
          <p:nvPr/>
        </p:nvSpPr>
        <p:spPr bwMode="auto">
          <a:xfrm>
            <a:off x="1382713" y="4352925"/>
            <a:ext cx="319087" cy="246063"/>
          </a:xfrm>
          <a:custGeom>
            <a:avLst/>
            <a:gdLst/>
            <a:ahLst/>
            <a:cxnLst>
              <a:cxn ang="0">
                <a:pos x="107" y="11"/>
              </a:cxn>
              <a:cxn ang="0">
                <a:pos x="94" y="35"/>
              </a:cxn>
              <a:cxn ang="0">
                <a:pos x="65" y="61"/>
              </a:cxn>
              <a:cxn ang="0">
                <a:pos x="15" y="88"/>
              </a:cxn>
              <a:cxn ang="0">
                <a:pos x="3" y="103"/>
              </a:cxn>
              <a:cxn ang="0">
                <a:pos x="22" y="129"/>
              </a:cxn>
              <a:cxn ang="0">
                <a:pos x="47" y="145"/>
              </a:cxn>
              <a:cxn ang="0">
                <a:pos x="60" y="146"/>
              </a:cxn>
              <a:cxn ang="0">
                <a:pos x="81" y="137"/>
              </a:cxn>
              <a:cxn ang="0">
                <a:pos x="89" y="136"/>
              </a:cxn>
              <a:cxn ang="0">
                <a:pos x="111" y="146"/>
              </a:cxn>
              <a:cxn ang="0">
                <a:pos x="120" y="170"/>
              </a:cxn>
              <a:cxn ang="0">
                <a:pos x="126" y="220"/>
              </a:cxn>
              <a:cxn ang="0">
                <a:pos x="136" y="240"/>
              </a:cxn>
              <a:cxn ang="0">
                <a:pos x="151" y="245"/>
              </a:cxn>
              <a:cxn ang="0">
                <a:pos x="164" y="237"/>
              </a:cxn>
              <a:cxn ang="0">
                <a:pos x="175" y="224"/>
              </a:cxn>
              <a:cxn ang="0">
                <a:pos x="187" y="220"/>
              </a:cxn>
              <a:cxn ang="0">
                <a:pos x="204" y="224"/>
              </a:cxn>
              <a:cxn ang="0">
                <a:pos x="226" y="243"/>
              </a:cxn>
              <a:cxn ang="0">
                <a:pos x="248" y="262"/>
              </a:cxn>
              <a:cxn ang="0">
                <a:pos x="265" y="268"/>
              </a:cxn>
              <a:cxn ang="0">
                <a:pos x="280" y="268"/>
              </a:cxn>
              <a:cxn ang="0">
                <a:pos x="281" y="266"/>
              </a:cxn>
              <a:cxn ang="0">
                <a:pos x="287" y="264"/>
              </a:cxn>
              <a:cxn ang="0">
                <a:pos x="301" y="267"/>
              </a:cxn>
              <a:cxn ang="0">
                <a:pos x="325" y="279"/>
              </a:cxn>
              <a:cxn ang="0">
                <a:pos x="342" y="283"/>
              </a:cxn>
              <a:cxn ang="0">
                <a:pos x="354" y="278"/>
              </a:cxn>
              <a:cxn ang="0">
                <a:pos x="364" y="261"/>
              </a:cxn>
              <a:cxn ang="0">
                <a:pos x="367" y="220"/>
              </a:cxn>
              <a:cxn ang="0">
                <a:pos x="371" y="213"/>
              </a:cxn>
              <a:cxn ang="0">
                <a:pos x="388" y="198"/>
              </a:cxn>
              <a:cxn ang="0">
                <a:pos x="389" y="190"/>
              </a:cxn>
              <a:cxn ang="0">
                <a:pos x="382" y="182"/>
              </a:cxn>
              <a:cxn ang="0">
                <a:pos x="374" y="171"/>
              </a:cxn>
              <a:cxn ang="0">
                <a:pos x="344" y="141"/>
              </a:cxn>
              <a:cxn ang="0">
                <a:pos x="339" y="132"/>
              </a:cxn>
              <a:cxn ang="0">
                <a:pos x="313" y="138"/>
              </a:cxn>
              <a:cxn ang="0">
                <a:pos x="275" y="159"/>
              </a:cxn>
              <a:cxn ang="0">
                <a:pos x="248" y="171"/>
              </a:cxn>
              <a:cxn ang="0">
                <a:pos x="234" y="170"/>
              </a:cxn>
              <a:cxn ang="0">
                <a:pos x="214" y="156"/>
              </a:cxn>
              <a:cxn ang="0">
                <a:pos x="203" y="130"/>
              </a:cxn>
              <a:cxn ang="0">
                <a:pos x="202" y="98"/>
              </a:cxn>
              <a:cxn ang="0">
                <a:pos x="194" y="54"/>
              </a:cxn>
              <a:cxn ang="0">
                <a:pos x="184" y="39"/>
              </a:cxn>
              <a:cxn ang="0">
                <a:pos x="168" y="32"/>
              </a:cxn>
              <a:cxn ang="0">
                <a:pos x="144" y="29"/>
              </a:cxn>
              <a:cxn ang="0">
                <a:pos x="118" y="16"/>
              </a:cxn>
              <a:cxn ang="0">
                <a:pos x="111" y="4"/>
              </a:cxn>
              <a:cxn ang="0">
                <a:pos x="110" y="0"/>
              </a:cxn>
            </a:cxnLst>
            <a:rect l="0" t="0" r="r" b="b"/>
            <a:pathLst>
              <a:path w="389" h="283">
                <a:moveTo>
                  <a:pt x="110" y="3"/>
                </a:moveTo>
                <a:lnTo>
                  <a:pt x="110" y="3"/>
                </a:lnTo>
                <a:lnTo>
                  <a:pt x="107" y="11"/>
                </a:lnTo>
                <a:lnTo>
                  <a:pt x="104" y="20"/>
                </a:lnTo>
                <a:lnTo>
                  <a:pt x="99" y="27"/>
                </a:lnTo>
                <a:lnTo>
                  <a:pt x="94" y="35"/>
                </a:lnTo>
                <a:lnTo>
                  <a:pt x="87" y="42"/>
                </a:lnTo>
                <a:lnTo>
                  <a:pt x="80" y="49"/>
                </a:lnTo>
                <a:lnTo>
                  <a:pt x="65" y="61"/>
                </a:lnTo>
                <a:lnTo>
                  <a:pt x="47" y="72"/>
                </a:lnTo>
                <a:lnTo>
                  <a:pt x="31" y="80"/>
                </a:lnTo>
                <a:lnTo>
                  <a:pt x="15" y="88"/>
                </a:lnTo>
                <a:lnTo>
                  <a:pt x="0" y="94"/>
                </a:lnTo>
                <a:lnTo>
                  <a:pt x="0" y="94"/>
                </a:lnTo>
                <a:lnTo>
                  <a:pt x="3" y="103"/>
                </a:lnTo>
                <a:lnTo>
                  <a:pt x="7" y="113"/>
                </a:lnTo>
                <a:lnTo>
                  <a:pt x="14" y="121"/>
                </a:lnTo>
                <a:lnTo>
                  <a:pt x="22" y="129"/>
                </a:lnTo>
                <a:lnTo>
                  <a:pt x="30" y="136"/>
                </a:lnTo>
                <a:lnTo>
                  <a:pt x="39" y="141"/>
                </a:lnTo>
                <a:lnTo>
                  <a:pt x="47" y="145"/>
                </a:lnTo>
                <a:lnTo>
                  <a:pt x="56" y="147"/>
                </a:lnTo>
                <a:lnTo>
                  <a:pt x="56" y="147"/>
                </a:lnTo>
                <a:lnTo>
                  <a:pt x="60" y="146"/>
                </a:lnTo>
                <a:lnTo>
                  <a:pt x="65" y="145"/>
                </a:lnTo>
                <a:lnTo>
                  <a:pt x="73" y="141"/>
                </a:lnTo>
                <a:lnTo>
                  <a:pt x="81" y="137"/>
                </a:lnTo>
                <a:lnTo>
                  <a:pt x="84" y="136"/>
                </a:lnTo>
                <a:lnTo>
                  <a:pt x="89" y="136"/>
                </a:lnTo>
                <a:lnTo>
                  <a:pt x="89" y="136"/>
                </a:lnTo>
                <a:lnTo>
                  <a:pt x="97" y="137"/>
                </a:lnTo>
                <a:lnTo>
                  <a:pt x="105" y="140"/>
                </a:lnTo>
                <a:lnTo>
                  <a:pt x="111" y="146"/>
                </a:lnTo>
                <a:lnTo>
                  <a:pt x="114" y="153"/>
                </a:lnTo>
                <a:lnTo>
                  <a:pt x="118" y="161"/>
                </a:lnTo>
                <a:lnTo>
                  <a:pt x="120" y="170"/>
                </a:lnTo>
                <a:lnTo>
                  <a:pt x="122" y="191"/>
                </a:lnTo>
                <a:lnTo>
                  <a:pt x="125" y="210"/>
                </a:lnTo>
                <a:lnTo>
                  <a:pt x="126" y="220"/>
                </a:lnTo>
                <a:lnTo>
                  <a:pt x="128" y="228"/>
                </a:lnTo>
                <a:lnTo>
                  <a:pt x="131" y="234"/>
                </a:lnTo>
                <a:lnTo>
                  <a:pt x="136" y="240"/>
                </a:lnTo>
                <a:lnTo>
                  <a:pt x="143" y="244"/>
                </a:lnTo>
                <a:lnTo>
                  <a:pt x="151" y="245"/>
                </a:lnTo>
                <a:lnTo>
                  <a:pt x="151" y="245"/>
                </a:lnTo>
                <a:lnTo>
                  <a:pt x="156" y="244"/>
                </a:lnTo>
                <a:lnTo>
                  <a:pt x="160" y="241"/>
                </a:lnTo>
                <a:lnTo>
                  <a:pt x="164" y="237"/>
                </a:lnTo>
                <a:lnTo>
                  <a:pt x="167" y="232"/>
                </a:lnTo>
                <a:lnTo>
                  <a:pt x="172" y="228"/>
                </a:lnTo>
                <a:lnTo>
                  <a:pt x="175" y="224"/>
                </a:lnTo>
                <a:lnTo>
                  <a:pt x="181" y="221"/>
                </a:lnTo>
                <a:lnTo>
                  <a:pt x="187" y="220"/>
                </a:lnTo>
                <a:lnTo>
                  <a:pt x="187" y="220"/>
                </a:lnTo>
                <a:lnTo>
                  <a:pt x="194" y="221"/>
                </a:lnTo>
                <a:lnTo>
                  <a:pt x="198" y="222"/>
                </a:lnTo>
                <a:lnTo>
                  <a:pt x="204" y="224"/>
                </a:lnTo>
                <a:lnTo>
                  <a:pt x="209" y="226"/>
                </a:lnTo>
                <a:lnTo>
                  <a:pt x="218" y="234"/>
                </a:lnTo>
                <a:lnTo>
                  <a:pt x="226" y="243"/>
                </a:lnTo>
                <a:lnTo>
                  <a:pt x="234" y="251"/>
                </a:lnTo>
                <a:lnTo>
                  <a:pt x="243" y="259"/>
                </a:lnTo>
                <a:lnTo>
                  <a:pt x="248" y="262"/>
                </a:lnTo>
                <a:lnTo>
                  <a:pt x="253" y="264"/>
                </a:lnTo>
                <a:lnTo>
                  <a:pt x="259" y="267"/>
                </a:lnTo>
                <a:lnTo>
                  <a:pt x="265" y="268"/>
                </a:lnTo>
                <a:lnTo>
                  <a:pt x="265" y="268"/>
                </a:lnTo>
                <a:lnTo>
                  <a:pt x="280" y="268"/>
                </a:lnTo>
                <a:lnTo>
                  <a:pt x="280" y="268"/>
                </a:lnTo>
                <a:lnTo>
                  <a:pt x="280" y="268"/>
                </a:lnTo>
                <a:lnTo>
                  <a:pt x="282" y="267"/>
                </a:lnTo>
                <a:lnTo>
                  <a:pt x="281" y="266"/>
                </a:lnTo>
                <a:lnTo>
                  <a:pt x="281" y="266"/>
                </a:lnTo>
                <a:lnTo>
                  <a:pt x="281" y="264"/>
                </a:lnTo>
                <a:lnTo>
                  <a:pt x="287" y="264"/>
                </a:lnTo>
                <a:lnTo>
                  <a:pt x="287" y="264"/>
                </a:lnTo>
                <a:lnTo>
                  <a:pt x="294" y="264"/>
                </a:lnTo>
                <a:lnTo>
                  <a:pt x="301" y="267"/>
                </a:lnTo>
                <a:lnTo>
                  <a:pt x="313" y="274"/>
                </a:lnTo>
                <a:lnTo>
                  <a:pt x="319" y="277"/>
                </a:lnTo>
                <a:lnTo>
                  <a:pt x="325" y="279"/>
                </a:lnTo>
                <a:lnTo>
                  <a:pt x="333" y="282"/>
                </a:lnTo>
                <a:lnTo>
                  <a:pt x="342" y="283"/>
                </a:lnTo>
                <a:lnTo>
                  <a:pt x="342" y="283"/>
                </a:lnTo>
                <a:lnTo>
                  <a:pt x="347" y="282"/>
                </a:lnTo>
                <a:lnTo>
                  <a:pt x="350" y="281"/>
                </a:lnTo>
                <a:lnTo>
                  <a:pt x="354" y="278"/>
                </a:lnTo>
                <a:lnTo>
                  <a:pt x="357" y="276"/>
                </a:lnTo>
                <a:lnTo>
                  <a:pt x="362" y="269"/>
                </a:lnTo>
                <a:lnTo>
                  <a:pt x="364" y="261"/>
                </a:lnTo>
                <a:lnTo>
                  <a:pt x="366" y="251"/>
                </a:lnTo>
                <a:lnTo>
                  <a:pt x="367" y="240"/>
                </a:lnTo>
                <a:lnTo>
                  <a:pt x="367" y="220"/>
                </a:lnTo>
                <a:lnTo>
                  <a:pt x="367" y="220"/>
                </a:lnTo>
                <a:lnTo>
                  <a:pt x="369" y="216"/>
                </a:lnTo>
                <a:lnTo>
                  <a:pt x="371" y="213"/>
                </a:lnTo>
                <a:lnTo>
                  <a:pt x="379" y="207"/>
                </a:lnTo>
                <a:lnTo>
                  <a:pt x="386" y="201"/>
                </a:lnTo>
                <a:lnTo>
                  <a:pt x="388" y="198"/>
                </a:lnTo>
                <a:lnTo>
                  <a:pt x="389" y="194"/>
                </a:lnTo>
                <a:lnTo>
                  <a:pt x="389" y="194"/>
                </a:lnTo>
                <a:lnTo>
                  <a:pt x="389" y="190"/>
                </a:lnTo>
                <a:lnTo>
                  <a:pt x="387" y="186"/>
                </a:lnTo>
                <a:lnTo>
                  <a:pt x="385" y="184"/>
                </a:lnTo>
                <a:lnTo>
                  <a:pt x="382" y="182"/>
                </a:lnTo>
                <a:lnTo>
                  <a:pt x="377" y="178"/>
                </a:lnTo>
                <a:lnTo>
                  <a:pt x="375" y="176"/>
                </a:lnTo>
                <a:lnTo>
                  <a:pt x="374" y="171"/>
                </a:lnTo>
                <a:lnTo>
                  <a:pt x="374" y="171"/>
                </a:lnTo>
                <a:lnTo>
                  <a:pt x="357" y="154"/>
                </a:lnTo>
                <a:lnTo>
                  <a:pt x="344" y="141"/>
                </a:lnTo>
                <a:lnTo>
                  <a:pt x="340" y="136"/>
                </a:lnTo>
                <a:lnTo>
                  <a:pt x="339" y="132"/>
                </a:lnTo>
                <a:lnTo>
                  <a:pt x="339" y="132"/>
                </a:lnTo>
                <a:lnTo>
                  <a:pt x="332" y="132"/>
                </a:lnTo>
                <a:lnTo>
                  <a:pt x="326" y="133"/>
                </a:lnTo>
                <a:lnTo>
                  <a:pt x="313" y="138"/>
                </a:lnTo>
                <a:lnTo>
                  <a:pt x="299" y="145"/>
                </a:lnTo>
                <a:lnTo>
                  <a:pt x="288" y="152"/>
                </a:lnTo>
                <a:lnTo>
                  <a:pt x="275" y="159"/>
                </a:lnTo>
                <a:lnTo>
                  <a:pt x="264" y="165"/>
                </a:lnTo>
                <a:lnTo>
                  <a:pt x="252" y="170"/>
                </a:lnTo>
                <a:lnTo>
                  <a:pt x="248" y="171"/>
                </a:lnTo>
                <a:lnTo>
                  <a:pt x="242" y="171"/>
                </a:lnTo>
                <a:lnTo>
                  <a:pt x="242" y="171"/>
                </a:lnTo>
                <a:lnTo>
                  <a:pt x="234" y="170"/>
                </a:lnTo>
                <a:lnTo>
                  <a:pt x="227" y="168"/>
                </a:lnTo>
                <a:lnTo>
                  <a:pt x="220" y="162"/>
                </a:lnTo>
                <a:lnTo>
                  <a:pt x="214" y="156"/>
                </a:lnTo>
                <a:lnTo>
                  <a:pt x="209" y="148"/>
                </a:lnTo>
                <a:lnTo>
                  <a:pt x="205" y="139"/>
                </a:lnTo>
                <a:lnTo>
                  <a:pt x="203" y="130"/>
                </a:lnTo>
                <a:lnTo>
                  <a:pt x="202" y="121"/>
                </a:lnTo>
                <a:lnTo>
                  <a:pt x="202" y="121"/>
                </a:lnTo>
                <a:lnTo>
                  <a:pt x="202" y="98"/>
                </a:lnTo>
                <a:lnTo>
                  <a:pt x="201" y="83"/>
                </a:lnTo>
                <a:lnTo>
                  <a:pt x="197" y="68"/>
                </a:lnTo>
                <a:lnTo>
                  <a:pt x="194" y="54"/>
                </a:lnTo>
                <a:lnTo>
                  <a:pt x="191" y="48"/>
                </a:lnTo>
                <a:lnTo>
                  <a:pt x="188" y="43"/>
                </a:lnTo>
                <a:lnTo>
                  <a:pt x="184" y="39"/>
                </a:lnTo>
                <a:lnTo>
                  <a:pt x="180" y="35"/>
                </a:lnTo>
                <a:lnTo>
                  <a:pt x="175" y="33"/>
                </a:lnTo>
                <a:lnTo>
                  <a:pt x="168" y="32"/>
                </a:lnTo>
                <a:lnTo>
                  <a:pt x="168" y="32"/>
                </a:lnTo>
                <a:lnTo>
                  <a:pt x="153" y="31"/>
                </a:lnTo>
                <a:lnTo>
                  <a:pt x="144" y="29"/>
                </a:lnTo>
                <a:lnTo>
                  <a:pt x="134" y="25"/>
                </a:lnTo>
                <a:lnTo>
                  <a:pt x="125" y="22"/>
                </a:lnTo>
                <a:lnTo>
                  <a:pt x="118" y="16"/>
                </a:lnTo>
                <a:lnTo>
                  <a:pt x="114" y="12"/>
                </a:lnTo>
                <a:lnTo>
                  <a:pt x="112" y="8"/>
                </a:lnTo>
                <a:lnTo>
                  <a:pt x="111" y="4"/>
                </a:lnTo>
                <a:lnTo>
                  <a:pt x="110" y="0"/>
                </a:lnTo>
                <a:lnTo>
                  <a:pt x="110" y="0"/>
                </a:lnTo>
                <a:lnTo>
                  <a:pt x="110" y="0"/>
                </a:lnTo>
                <a:lnTo>
                  <a:pt x="110" y="3"/>
                </a:lnTo>
                <a:lnTo>
                  <a:pt x="110" y="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4" name="Freeform 109"/>
          <p:cNvSpPr>
            <a:spLocks/>
          </p:cNvSpPr>
          <p:nvPr/>
        </p:nvSpPr>
        <p:spPr bwMode="auto">
          <a:xfrm>
            <a:off x="4083050" y="5822950"/>
            <a:ext cx="438150" cy="458788"/>
          </a:xfrm>
          <a:custGeom>
            <a:avLst/>
            <a:gdLst/>
            <a:ahLst/>
            <a:cxnLst>
              <a:cxn ang="0">
                <a:pos x="3" y="300"/>
              </a:cxn>
              <a:cxn ang="0">
                <a:pos x="1" y="315"/>
              </a:cxn>
              <a:cxn ang="0">
                <a:pos x="9" y="336"/>
              </a:cxn>
              <a:cxn ang="0">
                <a:pos x="42" y="355"/>
              </a:cxn>
              <a:cxn ang="0">
                <a:pos x="71" y="372"/>
              </a:cxn>
              <a:cxn ang="0">
                <a:pos x="70" y="407"/>
              </a:cxn>
              <a:cxn ang="0">
                <a:pos x="73" y="425"/>
              </a:cxn>
              <a:cxn ang="0">
                <a:pos x="88" y="440"/>
              </a:cxn>
              <a:cxn ang="0">
                <a:pos x="135" y="451"/>
              </a:cxn>
              <a:cxn ang="0">
                <a:pos x="149" y="462"/>
              </a:cxn>
              <a:cxn ang="0">
                <a:pos x="162" y="475"/>
              </a:cxn>
              <a:cxn ang="0">
                <a:pos x="178" y="476"/>
              </a:cxn>
              <a:cxn ang="0">
                <a:pos x="200" y="463"/>
              </a:cxn>
              <a:cxn ang="0">
                <a:pos x="225" y="438"/>
              </a:cxn>
              <a:cxn ang="0">
                <a:pos x="242" y="432"/>
              </a:cxn>
              <a:cxn ang="0">
                <a:pos x="246" y="491"/>
              </a:cxn>
              <a:cxn ang="0">
                <a:pos x="269" y="517"/>
              </a:cxn>
              <a:cxn ang="0">
                <a:pos x="292" y="525"/>
              </a:cxn>
              <a:cxn ang="0">
                <a:pos x="339" y="516"/>
              </a:cxn>
              <a:cxn ang="0">
                <a:pos x="356" y="502"/>
              </a:cxn>
              <a:cxn ang="0">
                <a:pos x="374" y="472"/>
              </a:cxn>
              <a:cxn ang="0">
                <a:pos x="405" y="463"/>
              </a:cxn>
              <a:cxn ang="0">
                <a:pos x="463" y="458"/>
              </a:cxn>
              <a:cxn ang="0">
                <a:pos x="497" y="436"/>
              </a:cxn>
              <a:cxn ang="0">
                <a:pos x="506" y="399"/>
              </a:cxn>
              <a:cxn ang="0">
                <a:pos x="496" y="370"/>
              </a:cxn>
              <a:cxn ang="0">
                <a:pos x="499" y="354"/>
              </a:cxn>
              <a:cxn ang="0">
                <a:pos x="513" y="339"/>
              </a:cxn>
              <a:cxn ang="0">
                <a:pos x="536" y="337"/>
              </a:cxn>
              <a:cxn ang="0">
                <a:pos x="530" y="315"/>
              </a:cxn>
              <a:cxn ang="0">
                <a:pos x="500" y="285"/>
              </a:cxn>
              <a:cxn ang="0">
                <a:pos x="465" y="249"/>
              </a:cxn>
              <a:cxn ang="0">
                <a:pos x="455" y="214"/>
              </a:cxn>
              <a:cxn ang="0">
                <a:pos x="437" y="171"/>
              </a:cxn>
              <a:cxn ang="0">
                <a:pos x="414" y="197"/>
              </a:cxn>
              <a:cxn ang="0">
                <a:pos x="398" y="200"/>
              </a:cxn>
              <a:cxn ang="0">
                <a:pos x="364" y="187"/>
              </a:cxn>
              <a:cxn ang="0">
                <a:pos x="361" y="171"/>
              </a:cxn>
              <a:cxn ang="0">
                <a:pos x="367" y="135"/>
              </a:cxn>
              <a:cxn ang="0">
                <a:pos x="358" y="128"/>
              </a:cxn>
              <a:cxn ang="0">
                <a:pos x="358" y="113"/>
              </a:cxn>
              <a:cxn ang="0">
                <a:pos x="381" y="80"/>
              </a:cxn>
              <a:cxn ang="0">
                <a:pos x="408" y="51"/>
              </a:cxn>
              <a:cxn ang="0">
                <a:pos x="389" y="27"/>
              </a:cxn>
              <a:cxn ang="0">
                <a:pos x="340" y="18"/>
              </a:cxn>
              <a:cxn ang="0">
                <a:pos x="293" y="4"/>
              </a:cxn>
              <a:cxn ang="0">
                <a:pos x="263" y="5"/>
              </a:cxn>
              <a:cxn ang="0">
                <a:pos x="244" y="23"/>
              </a:cxn>
              <a:cxn ang="0">
                <a:pos x="245" y="46"/>
              </a:cxn>
              <a:cxn ang="0">
                <a:pos x="257" y="69"/>
              </a:cxn>
              <a:cxn ang="0">
                <a:pos x="260" y="89"/>
              </a:cxn>
              <a:cxn ang="0">
                <a:pos x="245" y="107"/>
              </a:cxn>
              <a:cxn ang="0">
                <a:pos x="191" y="119"/>
              </a:cxn>
              <a:cxn ang="0">
                <a:pos x="157" y="124"/>
              </a:cxn>
              <a:cxn ang="0">
                <a:pos x="129" y="139"/>
              </a:cxn>
              <a:cxn ang="0">
                <a:pos x="36" y="182"/>
              </a:cxn>
              <a:cxn ang="0">
                <a:pos x="2" y="208"/>
              </a:cxn>
              <a:cxn ang="0">
                <a:pos x="2" y="219"/>
              </a:cxn>
              <a:cxn ang="0">
                <a:pos x="23" y="234"/>
              </a:cxn>
              <a:cxn ang="0">
                <a:pos x="42" y="248"/>
              </a:cxn>
              <a:cxn ang="0">
                <a:pos x="43" y="261"/>
              </a:cxn>
              <a:cxn ang="0">
                <a:pos x="34" y="277"/>
              </a:cxn>
              <a:cxn ang="0">
                <a:pos x="3" y="296"/>
              </a:cxn>
            </a:cxnLst>
            <a:rect l="0" t="0" r="r" b="b"/>
            <a:pathLst>
              <a:path w="536" h="525">
                <a:moveTo>
                  <a:pt x="7" y="293"/>
                </a:moveTo>
                <a:lnTo>
                  <a:pt x="7" y="293"/>
                </a:lnTo>
                <a:lnTo>
                  <a:pt x="7" y="296"/>
                </a:lnTo>
                <a:lnTo>
                  <a:pt x="3" y="300"/>
                </a:lnTo>
                <a:lnTo>
                  <a:pt x="1" y="304"/>
                </a:lnTo>
                <a:lnTo>
                  <a:pt x="0" y="307"/>
                </a:lnTo>
                <a:lnTo>
                  <a:pt x="0" y="307"/>
                </a:lnTo>
                <a:lnTo>
                  <a:pt x="1" y="315"/>
                </a:lnTo>
                <a:lnTo>
                  <a:pt x="2" y="321"/>
                </a:lnTo>
                <a:lnTo>
                  <a:pt x="3" y="326"/>
                </a:lnTo>
                <a:lnTo>
                  <a:pt x="7" y="331"/>
                </a:lnTo>
                <a:lnTo>
                  <a:pt x="9" y="336"/>
                </a:lnTo>
                <a:lnTo>
                  <a:pt x="13" y="339"/>
                </a:lnTo>
                <a:lnTo>
                  <a:pt x="22" y="346"/>
                </a:lnTo>
                <a:lnTo>
                  <a:pt x="32" y="350"/>
                </a:lnTo>
                <a:lnTo>
                  <a:pt x="42" y="355"/>
                </a:lnTo>
                <a:lnTo>
                  <a:pt x="63" y="362"/>
                </a:lnTo>
                <a:lnTo>
                  <a:pt x="63" y="362"/>
                </a:lnTo>
                <a:lnTo>
                  <a:pt x="68" y="367"/>
                </a:lnTo>
                <a:lnTo>
                  <a:pt x="71" y="372"/>
                </a:lnTo>
                <a:lnTo>
                  <a:pt x="72" y="379"/>
                </a:lnTo>
                <a:lnTo>
                  <a:pt x="73" y="385"/>
                </a:lnTo>
                <a:lnTo>
                  <a:pt x="71" y="400"/>
                </a:lnTo>
                <a:lnTo>
                  <a:pt x="70" y="407"/>
                </a:lnTo>
                <a:lnTo>
                  <a:pt x="70" y="414"/>
                </a:lnTo>
                <a:lnTo>
                  <a:pt x="70" y="414"/>
                </a:lnTo>
                <a:lnTo>
                  <a:pt x="71" y="420"/>
                </a:lnTo>
                <a:lnTo>
                  <a:pt x="73" y="425"/>
                </a:lnTo>
                <a:lnTo>
                  <a:pt x="76" y="430"/>
                </a:lnTo>
                <a:lnTo>
                  <a:pt x="79" y="433"/>
                </a:lnTo>
                <a:lnTo>
                  <a:pt x="84" y="437"/>
                </a:lnTo>
                <a:lnTo>
                  <a:pt x="88" y="440"/>
                </a:lnTo>
                <a:lnTo>
                  <a:pt x="99" y="445"/>
                </a:lnTo>
                <a:lnTo>
                  <a:pt x="111" y="448"/>
                </a:lnTo>
                <a:lnTo>
                  <a:pt x="123" y="449"/>
                </a:lnTo>
                <a:lnTo>
                  <a:pt x="135" y="451"/>
                </a:lnTo>
                <a:lnTo>
                  <a:pt x="147" y="451"/>
                </a:lnTo>
                <a:lnTo>
                  <a:pt x="147" y="451"/>
                </a:lnTo>
                <a:lnTo>
                  <a:pt x="148" y="458"/>
                </a:lnTo>
                <a:lnTo>
                  <a:pt x="149" y="462"/>
                </a:lnTo>
                <a:lnTo>
                  <a:pt x="152" y="467"/>
                </a:lnTo>
                <a:lnTo>
                  <a:pt x="154" y="470"/>
                </a:lnTo>
                <a:lnTo>
                  <a:pt x="158" y="474"/>
                </a:lnTo>
                <a:lnTo>
                  <a:pt x="162" y="475"/>
                </a:lnTo>
                <a:lnTo>
                  <a:pt x="167" y="476"/>
                </a:lnTo>
                <a:lnTo>
                  <a:pt x="172" y="477"/>
                </a:lnTo>
                <a:lnTo>
                  <a:pt x="172" y="477"/>
                </a:lnTo>
                <a:lnTo>
                  <a:pt x="178" y="476"/>
                </a:lnTo>
                <a:lnTo>
                  <a:pt x="184" y="475"/>
                </a:lnTo>
                <a:lnTo>
                  <a:pt x="188" y="472"/>
                </a:lnTo>
                <a:lnTo>
                  <a:pt x="192" y="470"/>
                </a:lnTo>
                <a:lnTo>
                  <a:pt x="200" y="463"/>
                </a:lnTo>
                <a:lnTo>
                  <a:pt x="207" y="456"/>
                </a:lnTo>
                <a:lnTo>
                  <a:pt x="213" y="448"/>
                </a:lnTo>
                <a:lnTo>
                  <a:pt x="221" y="440"/>
                </a:lnTo>
                <a:lnTo>
                  <a:pt x="225" y="438"/>
                </a:lnTo>
                <a:lnTo>
                  <a:pt x="230" y="436"/>
                </a:lnTo>
                <a:lnTo>
                  <a:pt x="236" y="433"/>
                </a:lnTo>
                <a:lnTo>
                  <a:pt x="242" y="432"/>
                </a:lnTo>
                <a:lnTo>
                  <a:pt x="242" y="432"/>
                </a:lnTo>
                <a:lnTo>
                  <a:pt x="242" y="477"/>
                </a:lnTo>
                <a:lnTo>
                  <a:pt x="242" y="477"/>
                </a:lnTo>
                <a:lnTo>
                  <a:pt x="244" y="484"/>
                </a:lnTo>
                <a:lnTo>
                  <a:pt x="246" y="491"/>
                </a:lnTo>
                <a:lnTo>
                  <a:pt x="249" y="497"/>
                </a:lnTo>
                <a:lnTo>
                  <a:pt x="254" y="501"/>
                </a:lnTo>
                <a:lnTo>
                  <a:pt x="264" y="512"/>
                </a:lnTo>
                <a:lnTo>
                  <a:pt x="269" y="517"/>
                </a:lnTo>
                <a:lnTo>
                  <a:pt x="271" y="524"/>
                </a:lnTo>
                <a:lnTo>
                  <a:pt x="271" y="524"/>
                </a:lnTo>
                <a:lnTo>
                  <a:pt x="282" y="525"/>
                </a:lnTo>
                <a:lnTo>
                  <a:pt x="292" y="525"/>
                </a:lnTo>
                <a:lnTo>
                  <a:pt x="305" y="525"/>
                </a:lnTo>
                <a:lnTo>
                  <a:pt x="318" y="524"/>
                </a:lnTo>
                <a:lnTo>
                  <a:pt x="332" y="520"/>
                </a:lnTo>
                <a:lnTo>
                  <a:pt x="339" y="516"/>
                </a:lnTo>
                <a:lnTo>
                  <a:pt x="345" y="513"/>
                </a:lnTo>
                <a:lnTo>
                  <a:pt x="352" y="508"/>
                </a:lnTo>
                <a:lnTo>
                  <a:pt x="356" y="502"/>
                </a:lnTo>
                <a:lnTo>
                  <a:pt x="356" y="502"/>
                </a:lnTo>
                <a:lnTo>
                  <a:pt x="359" y="492"/>
                </a:lnTo>
                <a:lnTo>
                  <a:pt x="363" y="484"/>
                </a:lnTo>
                <a:lnTo>
                  <a:pt x="368" y="478"/>
                </a:lnTo>
                <a:lnTo>
                  <a:pt x="374" y="472"/>
                </a:lnTo>
                <a:lnTo>
                  <a:pt x="381" y="469"/>
                </a:lnTo>
                <a:lnTo>
                  <a:pt x="389" y="467"/>
                </a:lnTo>
                <a:lnTo>
                  <a:pt x="397" y="464"/>
                </a:lnTo>
                <a:lnTo>
                  <a:pt x="405" y="463"/>
                </a:lnTo>
                <a:lnTo>
                  <a:pt x="422" y="462"/>
                </a:lnTo>
                <a:lnTo>
                  <a:pt x="439" y="461"/>
                </a:lnTo>
                <a:lnTo>
                  <a:pt x="456" y="459"/>
                </a:lnTo>
                <a:lnTo>
                  <a:pt x="463" y="458"/>
                </a:lnTo>
                <a:lnTo>
                  <a:pt x="470" y="454"/>
                </a:lnTo>
                <a:lnTo>
                  <a:pt x="470" y="454"/>
                </a:lnTo>
                <a:lnTo>
                  <a:pt x="484" y="446"/>
                </a:lnTo>
                <a:lnTo>
                  <a:pt x="497" y="436"/>
                </a:lnTo>
                <a:lnTo>
                  <a:pt x="522" y="417"/>
                </a:lnTo>
                <a:lnTo>
                  <a:pt x="522" y="417"/>
                </a:lnTo>
                <a:lnTo>
                  <a:pt x="514" y="410"/>
                </a:lnTo>
                <a:lnTo>
                  <a:pt x="506" y="399"/>
                </a:lnTo>
                <a:lnTo>
                  <a:pt x="501" y="393"/>
                </a:lnTo>
                <a:lnTo>
                  <a:pt x="499" y="386"/>
                </a:lnTo>
                <a:lnTo>
                  <a:pt x="497" y="378"/>
                </a:lnTo>
                <a:lnTo>
                  <a:pt x="496" y="370"/>
                </a:lnTo>
                <a:lnTo>
                  <a:pt x="496" y="370"/>
                </a:lnTo>
                <a:lnTo>
                  <a:pt x="496" y="364"/>
                </a:lnTo>
                <a:lnTo>
                  <a:pt x="497" y="360"/>
                </a:lnTo>
                <a:lnTo>
                  <a:pt x="499" y="354"/>
                </a:lnTo>
                <a:lnTo>
                  <a:pt x="501" y="349"/>
                </a:lnTo>
                <a:lnTo>
                  <a:pt x="505" y="345"/>
                </a:lnTo>
                <a:lnTo>
                  <a:pt x="508" y="341"/>
                </a:lnTo>
                <a:lnTo>
                  <a:pt x="513" y="339"/>
                </a:lnTo>
                <a:lnTo>
                  <a:pt x="519" y="337"/>
                </a:lnTo>
                <a:lnTo>
                  <a:pt x="519" y="337"/>
                </a:lnTo>
                <a:lnTo>
                  <a:pt x="536" y="337"/>
                </a:lnTo>
                <a:lnTo>
                  <a:pt x="536" y="337"/>
                </a:lnTo>
                <a:lnTo>
                  <a:pt x="536" y="337"/>
                </a:lnTo>
                <a:lnTo>
                  <a:pt x="536" y="329"/>
                </a:lnTo>
                <a:lnTo>
                  <a:pt x="534" y="322"/>
                </a:lnTo>
                <a:lnTo>
                  <a:pt x="530" y="315"/>
                </a:lnTo>
                <a:lnTo>
                  <a:pt x="526" y="308"/>
                </a:lnTo>
                <a:lnTo>
                  <a:pt x="520" y="302"/>
                </a:lnTo>
                <a:lnTo>
                  <a:pt x="514" y="296"/>
                </a:lnTo>
                <a:lnTo>
                  <a:pt x="500" y="285"/>
                </a:lnTo>
                <a:lnTo>
                  <a:pt x="486" y="273"/>
                </a:lnTo>
                <a:lnTo>
                  <a:pt x="475" y="262"/>
                </a:lnTo>
                <a:lnTo>
                  <a:pt x="469" y="256"/>
                </a:lnTo>
                <a:lnTo>
                  <a:pt x="465" y="249"/>
                </a:lnTo>
                <a:lnTo>
                  <a:pt x="461" y="241"/>
                </a:lnTo>
                <a:lnTo>
                  <a:pt x="459" y="233"/>
                </a:lnTo>
                <a:lnTo>
                  <a:pt x="459" y="233"/>
                </a:lnTo>
                <a:lnTo>
                  <a:pt x="455" y="214"/>
                </a:lnTo>
                <a:lnTo>
                  <a:pt x="451" y="197"/>
                </a:lnTo>
                <a:lnTo>
                  <a:pt x="445" y="184"/>
                </a:lnTo>
                <a:lnTo>
                  <a:pt x="437" y="171"/>
                </a:lnTo>
                <a:lnTo>
                  <a:pt x="437" y="171"/>
                </a:lnTo>
                <a:lnTo>
                  <a:pt x="431" y="179"/>
                </a:lnTo>
                <a:lnTo>
                  <a:pt x="423" y="189"/>
                </a:lnTo>
                <a:lnTo>
                  <a:pt x="419" y="194"/>
                </a:lnTo>
                <a:lnTo>
                  <a:pt x="414" y="197"/>
                </a:lnTo>
                <a:lnTo>
                  <a:pt x="409" y="200"/>
                </a:lnTo>
                <a:lnTo>
                  <a:pt x="404" y="201"/>
                </a:lnTo>
                <a:lnTo>
                  <a:pt x="404" y="201"/>
                </a:lnTo>
                <a:lnTo>
                  <a:pt x="398" y="200"/>
                </a:lnTo>
                <a:lnTo>
                  <a:pt x="391" y="199"/>
                </a:lnTo>
                <a:lnTo>
                  <a:pt x="376" y="194"/>
                </a:lnTo>
                <a:lnTo>
                  <a:pt x="370" y="191"/>
                </a:lnTo>
                <a:lnTo>
                  <a:pt x="364" y="187"/>
                </a:lnTo>
                <a:lnTo>
                  <a:pt x="361" y="182"/>
                </a:lnTo>
                <a:lnTo>
                  <a:pt x="360" y="179"/>
                </a:lnTo>
                <a:lnTo>
                  <a:pt x="360" y="179"/>
                </a:lnTo>
                <a:lnTo>
                  <a:pt x="361" y="171"/>
                </a:lnTo>
                <a:lnTo>
                  <a:pt x="362" y="164"/>
                </a:lnTo>
                <a:lnTo>
                  <a:pt x="367" y="149"/>
                </a:lnTo>
                <a:lnTo>
                  <a:pt x="367" y="149"/>
                </a:lnTo>
                <a:lnTo>
                  <a:pt x="367" y="135"/>
                </a:lnTo>
                <a:lnTo>
                  <a:pt x="367" y="135"/>
                </a:lnTo>
                <a:lnTo>
                  <a:pt x="367" y="135"/>
                </a:lnTo>
                <a:lnTo>
                  <a:pt x="362" y="132"/>
                </a:lnTo>
                <a:lnTo>
                  <a:pt x="358" y="128"/>
                </a:lnTo>
                <a:lnTo>
                  <a:pt x="356" y="126"/>
                </a:lnTo>
                <a:lnTo>
                  <a:pt x="356" y="124"/>
                </a:lnTo>
                <a:lnTo>
                  <a:pt x="356" y="124"/>
                </a:lnTo>
                <a:lnTo>
                  <a:pt x="358" y="113"/>
                </a:lnTo>
                <a:lnTo>
                  <a:pt x="361" y="103"/>
                </a:lnTo>
                <a:lnTo>
                  <a:pt x="366" y="95"/>
                </a:lnTo>
                <a:lnTo>
                  <a:pt x="372" y="87"/>
                </a:lnTo>
                <a:lnTo>
                  <a:pt x="381" y="80"/>
                </a:lnTo>
                <a:lnTo>
                  <a:pt x="389" y="73"/>
                </a:lnTo>
                <a:lnTo>
                  <a:pt x="407" y="62"/>
                </a:lnTo>
                <a:lnTo>
                  <a:pt x="407" y="62"/>
                </a:lnTo>
                <a:lnTo>
                  <a:pt x="408" y="51"/>
                </a:lnTo>
                <a:lnTo>
                  <a:pt x="406" y="43"/>
                </a:lnTo>
                <a:lnTo>
                  <a:pt x="401" y="36"/>
                </a:lnTo>
                <a:lnTo>
                  <a:pt x="395" y="32"/>
                </a:lnTo>
                <a:lnTo>
                  <a:pt x="389" y="27"/>
                </a:lnTo>
                <a:lnTo>
                  <a:pt x="381" y="25"/>
                </a:lnTo>
                <a:lnTo>
                  <a:pt x="371" y="23"/>
                </a:lnTo>
                <a:lnTo>
                  <a:pt x="361" y="20"/>
                </a:lnTo>
                <a:lnTo>
                  <a:pt x="340" y="18"/>
                </a:lnTo>
                <a:lnTo>
                  <a:pt x="318" y="14"/>
                </a:lnTo>
                <a:lnTo>
                  <a:pt x="309" y="12"/>
                </a:lnTo>
                <a:lnTo>
                  <a:pt x="300" y="9"/>
                </a:lnTo>
                <a:lnTo>
                  <a:pt x="293" y="4"/>
                </a:lnTo>
                <a:lnTo>
                  <a:pt x="286" y="0"/>
                </a:lnTo>
                <a:lnTo>
                  <a:pt x="286" y="0"/>
                </a:lnTo>
                <a:lnTo>
                  <a:pt x="270" y="3"/>
                </a:lnTo>
                <a:lnTo>
                  <a:pt x="263" y="5"/>
                </a:lnTo>
                <a:lnTo>
                  <a:pt x="256" y="8"/>
                </a:lnTo>
                <a:lnTo>
                  <a:pt x="251" y="12"/>
                </a:lnTo>
                <a:lnTo>
                  <a:pt x="246" y="17"/>
                </a:lnTo>
                <a:lnTo>
                  <a:pt x="244" y="23"/>
                </a:lnTo>
                <a:lnTo>
                  <a:pt x="242" y="28"/>
                </a:lnTo>
                <a:lnTo>
                  <a:pt x="242" y="28"/>
                </a:lnTo>
                <a:lnTo>
                  <a:pt x="244" y="39"/>
                </a:lnTo>
                <a:lnTo>
                  <a:pt x="245" y="46"/>
                </a:lnTo>
                <a:lnTo>
                  <a:pt x="248" y="52"/>
                </a:lnTo>
                <a:lnTo>
                  <a:pt x="252" y="57"/>
                </a:lnTo>
                <a:lnTo>
                  <a:pt x="255" y="63"/>
                </a:lnTo>
                <a:lnTo>
                  <a:pt x="257" y="69"/>
                </a:lnTo>
                <a:lnTo>
                  <a:pt x="260" y="74"/>
                </a:lnTo>
                <a:lnTo>
                  <a:pt x="261" y="84"/>
                </a:lnTo>
                <a:lnTo>
                  <a:pt x="261" y="84"/>
                </a:lnTo>
                <a:lnTo>
                  <a:pt x="260" y="89"/>
                </a:lnTo>
                <a:lnTo>
                  <a:pt x="257" y="94"/>
                </a:lnTo>
                <a:lnTo>
                  <a:pt x="254" y="98"/>
                </a:lnTo>
                <a:lnTo>
                  <a:pt x="249" y="103"/>
                </a:lnTo>
                <a:lnTo>
                  <a:pt x="245" y="107"/>
                </a:lnTo>
                <a:lnTo>
                  <a:pt x="238" y="109"/>
                </a:lnTo>
                <a:lnTo>
                  <a:pt x="224" y="113"/>
                </a:lnTo>
                <a:lnTo>
                  <a:pt x="208" y="117"/>
                </a:lnTo>
                <a:lnTo>
                  <a:pt x="191" y="119"/>
                </a:lnTo>
                <a:lnTo>
                  <a:pt x="176" y="121"/>
                </a:lnTo>
                <a:lnTo>
                  <a:pt x="162" y="124"/>
                </a:lnTo>
                <a:lnTo>
                  <a:pt x="162" y="124"/>
                </a:lnTo>
                <a:lnTo>
                  <a:pt x="157" y="124"/>
                </a:lnTo>
                <a:lnTo>
                  <a:pt x="153" y="125"/>
                </a:lnTo>
                <a:lnTo>
                  <a:pt x="145" y="128"/>
                </a:lnTo>
                <a:lnTo>
                  <a:pt x="138" y="133"/>
                </a:lnTo>
                <a:lnTo>
                  <a:pt x="129" y="139"/>
                </a:lnTo>
                <a:lnTo>
                  <a:pt x="129" y="139"/>
                </a:lnTo>
                <a:lnTo>
                  <a:pt x="102" y="150"/>
                </a:lnTo>
                <a:lnTo>
                  <a:pt x="58" y="171"/>
                </a:lnTo>
                <a:lnTo>
                  <a:pt x="36" y="182"/>
                </a:lnTo>
                <a:lnTo>
                  <a:pt x="18" y="194"/>
                </a:lnTo>
                <a:lnTo>
                  <a:pt x="11" y="199"/>
                </a:lnTo>
                <a:lnTo>
                  <a:pt x="5" y="204"/>
                </a:lnTo>
                <a:lnTo>
                  <a:pt x="2" y="208"/>
                </a:lnTo>
                <a:lnTo>
                  <a:pt x="0" y="212"/>
                </a:lnTo>
                <a:lnTo>
                  <a:pt x="0" y="212"/>
                </a:lnTo>
                <a:lnTo>
                  <a:pt x="1" y="216"/>
                </a:lnTo>
                <a:lnTo>
                  <a:pt x="2" y="219"/>
                </a:lnTo>
                <a:lnTo>
                  <a:pt x="4" y="222"/>
                </a:lnTo>
                <a:lnTo>
                  <a:pt x="7" y="225"/>
                </a:lnTo>
                <a:lnTo>
                  <a:pt x="15" y="230"/>
                </a:lnTo>
                <a:lnTo>
                  <a:pt x="23" y="234"/>
                </a:lnTo>
                <a:lnTo>
                  <a:pt x="31" y="238"/>
                </a:lnTo>
                <a:lnTo>
                  <a:pt x="38" y="242"/>
                </a:lnTo>
                <a:lnTo>
                  <a:pt x="40" y="246"/>
                </a:lnTo>
                <a:lnTo>
                  <a:pt x="42" y="248"/>
                </a:lnTo>
                <a:lnTo>
                  <a:pt x="43" y="252"/>
                </a:lnTo>
                <a:lnTo>
                  <a:pt x="45" y="256"/>
                </a:lnTo>
                <a:lnTo>
                  <a:pt x="45" y="256"/>
                </a:lnTo>
                <a:lnTo>
                  <a:pt x="43" y="261"/>
                </a:lnTo>
                <a:lnTo>
                  <a:pt x="43" y="265"/>
                </a:lnTo>
                <a:lnTo>
                  <a:pt x="41" y="269"/>
                </a:lnTo>
                <a:lnTo>
                  <a:pt x="40" y="272"/>
                </a:lnTo>
                <a:lnTo>
                  <a:pt x="34" y="277"/>
                </a:lnTo>
                <a:lnTo>
                  <a:pt x="28" y="280"/>
                </a:lnTo>
                <a:lnTo>
                  <a:pt x="15" y="286"/>
                </a:lnTo>
                <a:lnTo>
                  <a:pt x="9" y="291"/>
                </a:lnTo>
                <a:lnTo>
                  <a:pt x="3" y="296"/>
                </a:lnTo>
                <a:lnTo>
                  <a:pt x="3" y="296"/>
                </a:lnTo>
                <a:lnTo>
                  <a:pt x="7" y="293"/>
                </a:lnTo>
                <a:lnTo>
                  <a:pt x="7" y="29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5" name="Freeform 110"/>
          <p:cNvSpPr>
            <a:spLocks/>
          </p:cNvSpPr>
          <p:nvPr/>
        </p:nvSpPr>
        <p:spPr bwMode="auto">
          <a:xfrm>
            <a:off x="5162550" y="4881563"/>
            <a:ext cx="1185863" cy="1157287"/>
          </a:xfrm>
          <a:custGeom>
            <a:avLst/>
            <a:gdLst/>
            <a:ahLst/>
            <a:cxnLst>
              <a:cxn ang="0">
                <a:pos x="1333" y="253"/>
              </a:cxn>
              <a:cxn ang="0">
                <a:pos x="1249" y="99"/>
              </a:cxn>
              <a:cxn ang="0">
                <a:pos x="1249" y="44"/>
              </a:cxn>
              <a:cxn ang="0">
                <a:pos x="1216" y="22"/>
              </a:cxn>
              <a:cxn ang="0">
                <a:pos x="1142" y="128"/>
              </a:cxn>
              <a:cxn ang="0">
                <a:pos x="1113" y="165"/>
              </a:cxn>
              <a:cxn ang="0">
                <a:pos x="1065" y="159"/>
              </a:cxn>
              <a:cxn ang="0">
                <a:pos x="1014" y="138"/>
              </a:cxn>
              <a:cxn ang="0">
                <a:pos x="954" y="157"/>
              </a:cxn>
              <a:cxn ang="0">
                <a:pos x="908" y="156"/>
              </a:cxn>
              <a:cxn ang="0">
                <a:pos x="841" y="193"/>
              </a:cxn>
              <a:cxn ang="0">
                <a:pos x="803" y="228"/>
              </a:cxn>
              <a:cxn ang="0">
                <a:pos x="736" y="275"/>
              </a:cxn>
              <a:cxn ang="0">
                <a:pos x="731" y="325"/>
              </a:cxn>
              <a:cxn ang="0">
                <a:pos x="766" y="384"/>
              </a:cxn>
              <a:cxn ang="0">
                <a:pos x="762" y="473"/>
              </a:cxn>
              <a:cxn ang="0">
                <a:pos x="804" y="531"/>
              </a:cxn>
              <a:cxn ang="0">
                <a:pos x="799" y="443"/>
              </a:cxn>
              <a:cxn ang="0">
                <a:pos x="828" y="382"/>
              </a:cxn>
              <a:cxn ang="0">
                <a:pos x="864" y="543"/>
              </a:cxn>
              <a:cxn ang="0">
                <a:pos x="891" y="634"/>
              </a:cxn>
              <a:cxn ang="0">
                <a:pos x="854" y="684"/>
              </a:cxn>
              <a:cxn ang="0">
                <a:pos x="858" y="716"/>
              </a:cxn>
              <a:cxn ang="0">
                <a:pos x="872" y="749"/>
              </a:cxn>
              <a:cxn ang="0">
                <a:pos x="816" y="846"/>
              </a:cxn>
              <a:cxn ang="0">
                <a:pos x="740" y="903"/>
              </a:cxn>
              <a:cxn ang="0">
                <a:pos x="689" y="955"/>
              </a:cxn>
              <a:cxn ang="0">
                <a:pos x="668" y="1059"/>
              </a:cxn>
              <a:cxn ang="0">
                <a:pos x="553" y="1120"/>
              </a:cxn>
              <a:cxn ang="0">
                <a:pos x="509" y="1180"/>
              </a:cxn>
              <a:cxn ang="0">
                <a:pos x="492" y="1160"/>
              </a:cxn>
              <a:cxn ang="0">
                <a:pos x="445" y="1142"/>
              </a:cxn>
              <a:cxn ang="0">
                <a:pos x="399" y="1085"/>
              </a:cxn>
              <a:cxn ang="0">
                <a:pos x="332" y="1045"/>
              </a:cxn>
              <a:cxn ang="0">
                <a:pos x="269" y="1025"/>
              </a:cxn>
              <a:cxn ang="0">
                <a:pos x="155" y="976"/>
              </a:cxn>
              <a:cxn ang="0">
                <a:pos x="122" y="912"/>
              </a:cxn>
              <a:cxn ang="0">
                <a:pos x="64" y="961"/>
              </a:cxn>
              <a:cxn ang="0">
                <a:pos x="9" y="1009"/>
              </a:cxn>
              <a:cxn ang="0">
                <a:pos x="0" y="1058"/>
              </a:cxn>
              <a:cxn ang="0">
                <a:pos x="36" y="1119"/>
              </a:cxn>
              <a:cxn ang="0">
                <a:pos x="354" y="1197"/>
              </a:cxn>
              <a:cxn ang="0">
                <a:pos x="429" y="1317"/>
              </a:cxn>
              <a:cxn ang="0">
                <a:pos x="532" y="1320"/>
              </a:cxn>
              <a:cxn ang="0">
                <a:pos x="693" y="1244"/>
              </a:cxn>
              <a:cxn ang="0">
                <a:pos x="829" y="1268"/>
              </a:cxn>
              <a:cxn ang="0">
                <a:pos x="889" y="1266"/>
              </a:cxn>
              <a:cxn ang="0">
                <a:pos x="941" y="1197"/>
              </a:cxn>
              <a:cxn ang="0">
                <a:pos x="903" y="1157"/>
              </a:cxn>
              <a:cxn ang="0">
                <a:pos x="916" y="1096"/>
              </a:cxn>
              <a:cxn ang="0">
                <a:pos x="904" y="1046"/>
              </a:cxn>
              <a:cxn ang="0">
                <a:pos x="979" y="1023"/>
              </a:cxn>
              <a:cxn ang="0">
                <a:pos x="1033" y="981"/>
              </a:cxn>
              <a:cxn ang="0">
                <a:pos x="1105" y="964"/>
              </a:cxn>
              <a:cxn ang="0">
                <a:pos x="1149" y="893"/>
              </a:cxn>
              <a:cxn ang="0">
                <a:pos x="1216" y="811"/>
              </a:cxn>
              <a:cxn ang="0">
                <a:pos x="1325" y="715"/>
              </a:cxn>
              <a:cxn ang="0">
                <a:pos x="1312" y="638"/>
              </a:cxn>
              <a:cxn ang="0">
                <a:pos x="1267" y="579"/>
              </a:cxn>
              <a:cxn ang="0">
                <a:pos x="1319" y="520"/>
              </a:cxn>
              <a:cxn ang="0">
                <a:pos x="1400" y="386"/>
              </a:cxn>
              <a:cxn ang="0">
                <a:pos x="1452" y="324"/>
              </a:cxn>
            </a:cxnLst>
            <a:rect l="0" t="0" r="r" b="b"/>
            <a:pathLst>
              <a:path w="1452" h="1328">
                <a:moveTo>
                  <a:pt x="1407" y="272"/>
                </a:moveTo>
                <a:lnTo>
                  <a:pt x="1407" y="272"/>
                </a:lnTo>
                <a:lnTo>
                  <a:pt x="1397" y="265"/>
                </a:lnTo>
                <a:lnTo>
                  <a:pt x="1389" y="261"/>
                </a:lnTo>
                <a:lnTo>
                  <a:pt x="1381" y="259"/>
                </a:lnTo>
                <a:lnTo>
                  <a:pt x="1373" y="258"/>
                </a:lnTo>
                <a:lnTo>
                  <a:pt x="1355" y="258"/>
                </a:lnTo>
                <a:lnTo>
                  <a:pt x="1345" y="257"/>
                </a:lnTo>
                <a:lnTo>
                  <a:pt x="1333" y="253"/>
                </a:lnTo>
                <a:lnTo>
                  <a:pt x="1333" y="253"/>
                </a:lnTo>
                <a:lnTo>
                  <a:pt x="1320" y="225"/>
                </a:lnTo>
                <a:lnTo>
                  <a:pt x="1310" y="202"/>
                </a:lnTo>
                <a:lnTo>
                  <a:pt x="1304" y="187"/>
                </a:lnTo>
                <a:lnTo>
                  <a:pt x="1304" y="187"/>
                </a:lnTo>
                <a:lnTo>
                  <a:pt x="1295" y="166"/>
                </a:lnTo>
                <a:lnTo>
                  <a:pt x="1285" y="149"/>
                </a:lnTo>
                <a:lnTo>
                  <a:pt x="1261" y="109"/>
                </a:lnTo>
                <a:lnTo>
                  <a:pt x="1261" y="109"/>
                </a:lnTo>
                <a:lnTo>
                  <a:pt x="1255" y="105"/>
                </a:lnTo>
                <a:lnTo>
                  <a:pt x="1249" y="99"/>
                </a:lnTo>
                <a:lnTo>
                  <a:pt x="1246" y="96"/>
                </a:lnTo>
                <a:lnTo>
                  <a:pt x="1243" y="91"/>
                </a:lnTo>
                <a:lnTo>
                  <a:pt x="1242" y="86"/>
                </a:lnTo>
                <a:lnTo>
                  <a:pt x="1241" y="81"/>
                </a:lnTo>
                <a:lnTo>
                  <a:pt x="1241" y="81"/>
                </a:lnTo>
                <a:lnTo>
                  <a:pt x="1241" y="68"/>
                </a:lnTo>
                <a:lnTo>
                  <a:pt x="1242" y="61"/>
                </a:lnTo>
                <a:lnTo>
                  <a:pt x="1243" y="54"/>
                </a:lnTo>
                <a:lnTo>
                  <a:pt x="1246" y="48"/>
                </a:lnTo>
                <a:lnTo>
                  <a:pt x="1249" y="44"/>
                </a:lnTo>
                <a:lnTo>
                  <a:pt x="1254" y="40"/>
                </a:lnTo>
                <a:lnTo>
                  <a:pt x="1261" y="39"/>
                </a:lnTo>
                <a:lnTo>
                  <a:pt x="1267" y="17"/>
                </a:lnTo>
                <a:lnTo>
                  <a:pt x="1267" y="0"/>
                </a:lnTo>
                <a:lnTo>
                  <a:pt x="1267" y="0"/>
                </a:lnTo>
                <a:lnTo>
                  <a:pt x="1254" y="0"/>
                </a:lnTo>
                <a:lnTo>
                  <a:pt x="1242" y="2"/>
                </a:lnTo>
                <a:lnTo>
                  <a:pt x="1232" y="7"/>
                </a:lnTo>
                <a:lnTo>
                  <a:pt x="1224" y="14"/>
                </a:lnTo>
                <a:lnTo>
                  <a:pt x="1216" y="22"/>
                </a:lnTo>
                <a:lnTo>
                  <a:pt x="1209" y="31"/>
                </a:lnTo>
                <a:lnTo>
                  <a:pt x="1203" y="42"/>
                </a:lnTo>
                <a:lnTo>
                  <a:pt x="1198" y="53"/>
                </a:lnTo>
                <a:lnTo>
                  <a:pt x="1187" y="76"/>
                </a:lnTo>
                <a:lnTo>
                  <a:pt x="1182" y="86"/>
                </a:lnTo>
                <a:lnTo>
                  <a:pt x="1175" y="98"/>
                </a:lnTo>
                <a:lnTo>
                  <a:pt x="1170" y="107"/>
                </a:lnTo>
                <a:lnTo>
                  <a:pt x="1162" y="115"/>
                </a:lnTo>
                <a:lnTo>
                  <a:pt x="1152" y="122"/>
                </a:lnTo>
                <a:lnTo>
                  <a:pt x="1142" y="128"/>
                </a:lnTo>
                <a:lnTo>
                  <a:pt x="1142" y="128"/>
                </a:lnTo>
                <a:lnTo>
                  <a:pt x="1140" y="130"/>
                </a:lnTo>
                <a:lnTo>
                  <a:pt x="1139" y="135"/>
                </a:lnTo>
                <a:lnTo>
                  <a:pt x="1134" y="147"/>
                </a:lnTo>
                <a:lnTo>
                  <a:pt x="1132" y="154"/>
                </a:lnTo>
                <a:lnTo>
                  <a:pt x="1127" y="160"/>
                </a:lnTo>
                <a:lnTo>
                  <a:pt x="1125" y="161"/>
                </a:lnTo>
                <a:lnTo>
                  <a:pt x="1121" y="164"/>
                </a:lnTo>
                <a:lnTo>
                  <a:pt x="1118" y="165"/>
                </a:lnTo>
                <a:lnTo>
                  <a:pt x="1113" y="165"/>
                </a:lnTo>
                <a:lnTo>
                  <a:pt x="1113" y="165"/>
                </a:lnTo>
                <a:lnTo>
                  <a:pt x="1109" y="165"/>
                </a:lnTo>
                <a:lnTo>
                  <a:pt x="1104" y="164"/>
                </a:lnTo>
                <a:lnTo>
                  <a:pt x="1095" y="159"/>
                </a:lnTo>
                <a:lnTo>
                  <a:pt x="1088" y="156"/>
                </a:lnTo>
                <a:lnTo>
                  <a:pt x="1083" y="153"/>
                </a:lnTo>
                <a:lnTo>
                  <a:pt x="1083" y="153"/>
                </a:lnTo>
                <a:lnTo>
                  <a:pt x="1079" y="154"/>
                </a:lnTo>
                <a:lnTo>
                  <a:pt x="1074" y="156"/>
                </a:lnTo>
                <a:lnTo>
                  <a:pt x="1065" y="159"/>
                </a:lnTo>
                <a:lnTo>
                  <a:pt x="1057" y="164"/>
                </a:lnTo>
                <a:lnTo>
                  <a:pt x="1052" y="165"/>
                </a:lnTo>
                <a:lnTo>
                  <a:pt x="1046" y="165"/>
                </a:lnTo>
                <a:lnTo>
                  <a:pt x="1046" y="165"/>
                </a:lnTo>
                <a:lnTo>
                  <a:pt x="1038" y="164"/>
                </a:lnTo>
                <a:lnTo>
                  <a:pt x="1032" y="161"/>
                </a:lnTo>
                <a:lnTo>
                  <a:pt x="1027" y="158"/>
                </a:lnTo>
                <a:lnTo>
                  <a:pt x="1023" y="153"/>
                </a:lnTo>
                <a:lnTo>
                  <a:pt x="1017" y="143"/>
                </a:lnTo>
                <a:lnTo>
                  <a:pt x="1014" y="138"/>
                </a:lnTo>
                <a:lnTo>
                  <a:pt x="1010" y="136"/>
                </a:lnTo>
                <a:lnTo>
                  <a:pt x="1010" y="136"/>
                </a:lnTo>
                <a:lnTo>
                  <a:pt x="1005" y="141"/>
                </a:lnTo>
                <a:lnTo>
                  <a:pt x="999" y="145"/>
                </a:lnTo>
                <a:lnTo>
                  <a:pt x="994" y="149"/>
                </a:lnTo>
                <a:lnTo>
                  <a:pt x="987" y="152"/>
                </a:lnTo>
                <a:lnTo>
                  <a:pt x="979" y="154"/>
                </a:lnTo>
                <a:lnTo>
                  <a:pt x="972" y="156"/>
                </a:lnTo>
                <a:lnTo>
                  <a:pt x="954" y="157"/>
                </a:lnTo>
                <a:lnTo>
                  <a:pt x="954" y="157"/>
                </a:lnTo>
                <a:lnTo>
                  <a:pt x="950" y="157"/>
                </a:lnTo>
                <a:lnTo>
                  <a:pt x="945" y="154"/>
                </a:lnTo>
                <a:lnTo>
                  <a:pt x="934" y="146"/>
                </a:lnTo>
                <a:lnTo>
                  <a:pt x="925" y="139"/>
                </a:lnTo>
                <a:lnTo>
                  <a:pt x="919" y="136"/>
                </a:lnTo>
                <a:lnTo>
                  <a:pt x="919" y="136"/>
                </a:lnTo>
                <a:lnTo>
                  <a:pt x="915" y="137"/>
                </a:lnTo>
                <a:lnTo>
                  <a:pt x="914" y="139"/>
                </a:lnTo>
                <a:lnTo>
                  <a:pt x="911" y="146"/>
                </a:lnTo>
                <a:lnTo>
                  <a:pt x="908" y="156"/>
                </a:lnTo>
                <a:lnTo>
                  <a:pt x="907" y="165"/>
                </a:lnTo>
                <a:lnTo>
                  <a:pt x="905" y="181"/>
                </a:lnTo>
                <a:lnTo>
                  <a:pt x="905" y="188"/>
                </a:lnTo>
                <a:lnTo>
                  <a:pt x="904" y="191"/>
                </a:lnTo>
                <a:lnTo>
                  <a:pt x="904" y="191"/>
                </a:lnTo>
                <a:lnTo>
                  <a:pt x="891" y="193"/>
                </a:lnTo>
                <a:lnTo>
                  <a:pt x="877" y="195"/>
                </a:lnTo>
                <a:lnTo>
                  <a:pt x="865" y="195"/>
                </a:lnTo>
                <a:lnTo>
                  <a:pt x="852" y="193"/>
                </a:lnTo>
                <a:lnTo>
                  <a:pt x="841" y="193"/>
                </a:lnTo>
                <a:lnTo>
                  <a:pt x="831" y="193"/>
                </a:lnTo>
                <a:lnTo>
                  <a:pt x="822" y="195"/>
                </a:lnTo>
                <a:lnTo>
                  <a:pt x="819" y="196"/>
                </a:lnTo>
                <a:lnTo>
                  <a:pt x="815" y="198"/>
                </a:lnTo>
                <a:lnTo>
                  <a:pt x="815" y="198"/>
                </a:lnTo>
                <a:lnTo>
                  <a:pt x="808" y="204"/>
                </a:lnTo>
                <a:lnTo>
                  <a:pt x="805" y="210"/>
                </a:lnTo>
                <a:lnTo>
                  <a:pt x="804" y="215"/>
                </a:lnTo>
                <a:lnTo>
                  <a:pt x="804" y="221"/>
                </a:lnTo>
                <a:lnTo>
                  <a:pt x="803" y="228"/>
                </a:lnTo>
                <a:lnTo>
                  <a:pt x="803" y="234"/>
                </a:lnTo>
                <a:lnTo>
                  <a:pt x="800" y="240"/>
                </a:lnTo>
                <a:lnTo>
                  <a:pt x="797" y="245"/>
                </a:lnTo>
                <a:lnTo>
                  <a:pt x="797" y="245"/>
                </a:lnTo>
                <a:lnTo>
                  <a:pt x="792" y="249"/>
                </a:lnTo>
                <a:lnTo>
                  <a:pt x="788" y="252"/>
                </a:lnTo>
                <a:lnTo>
                  <a:pt x="776" y="258"/>
                </a:lnTo>
                <a:lnTo>
                  <a:pt x="752" y="267"/>
                </a:lnTo>
                <a:lnTo>
                  <a:pt x="742" y="272"/>
                </a:lnTo>
                <a:lnTo>
                  <a:pt x="736" y="275"/>
                </a:lnTo>
                <a:lnTo>
                  <a:pt x="732" y="280"/>
                </a:lnTo>
                <a:lnTo>
                  <a:pt x="729" y="284"/>
                </a:lnTo>
                <a:lnTo>
                  <a:pt x="725" y="290"/>
                </a:lnTo>
                <a:lnTo>
                  <a:pt x="724" y="297"/>
                </a:lnTo>
                <a:lnTo>
                  <a:pt x="724" y="304"/>
                </a:lnTo>
                <a:lnTo>
                  <a:pt x="724" y="304"/>
                </a:lnTo>
                <a:lnTo>
                  <a:pt x="724" y="310"/>
                </a:lnTo>
                <a:lnTo>
                  <a:pt x="725" y="314"/>
                </a:lnTo>
                <a:lnTo>
                  <a:pt x="728" y="320"/>
                </a:lnTo>
                <a:lnTo>
                  <a:pt x="731" y="325"/>
                </a:lnTo>
                <a:lnTo>
                  <a:pt x="739" y="333"/>
                </a:lnTo>
                <a:lnTo>
                  <a:pt x="750" y="341"/>
                </a:lnTo>
                <a:lnTo>
                  <a:pt x="760" y="348"/>
                </a:lnTo>
                <a:lnTo>
                  <a:pt x="770" y="353"/>
                </a:lnTo>
                <a:lnTo>
                  <a:pt x="780" y="358"/>
                </a:lnTo>
                <a:lnTo>
                  <a:pt x="786" y="363"/>
                </a:lnTo>
                <a:lnTo>
                  <a:pt x="786" y="363"/>
                </a:lnTo>
                <a:lnTo>
                  <a:pt x="778" y="370"/>
                </a:lnTo>
                <a:lnTo>
                  <a:pt x="771" y="376"/>
                </a:lnTo>
                <a:lnTo>
                  <a:pt x="766" y="384"/>
                </a:lnTo>
                <a:lnTo>
                  <a:pt x="761" y="393"/>
                </a:lnTo>
                <a:lnTo>
                  <a:pt x="758" y="401"/>
                </a:lnTo>
                <a:lnTo>
                  <a:pt x="754" y="411"/>
                </a:lnTo>
                <a:lnTo>
                  <a:pt x="753" y="421"/>
                </a:lnTo>
                <a:lnTo>
                  <a:pt x="752" y="433"/>
                </a:lnTo>
                <a:lnTo>
                  <a:pt x="752" y="433"/>
                </a:lnTo>
                <a:lnTo>
                  <a:pt x="753" y="443"/>
                </a:lnTo>
                <a:lnTo>
                  <a:pt x="755" y="454"/>
                </a:lnTo>
                <a:lnTo>
                  <a:pt x="758" y="464"/>
                </a:lnTo>
                <a:lnTo>
                  <a:pt x="762" y="473"/>
                </a:lnTo>
                <a:lnTo>
                  <a:pt x="767" y="481"/>
                </a:lnTo>
                <a:lnTo>
                  <a:pt x="773" y="489"/>
                </a:lnTo>
                <a:lnTo>
                  <a:pt x="780" y="495"/>
                </a:lnTo>
                <a:lnTo>
                  <a:pt x="786" y="498"/>
                </a:lnTo>
                <a:lnTo>
                  <a:pt x="786" y="498"/>
                </a:lnTo>
                <a:lnTo>
                  <a:pt x="791" y="512"/>
                </a:lnTo>
                <a:lnTo>
                  <a:pt x="793" y="526"/>
                </a:lnTo>
                <a:lnTo>
                  <a:pt x="798" y="551"/>
                </a:lnTo>
                <a:lnTo>
                  <a:pt x="798" y="551"/>
                </a:lnTo>
                <a:lnTo>
                  <a:pt x="804" y="531"/>
                </a:lnTo>
                <a:lnTo>
                  <a:pt x="809" y="510"/>
                </a:lnTo>
                <a:lnTo>
                  <a:pt x="814" y="492"/>
                </a:lnTo>
                <a:lnTo>
                  <a:pt x="815" y="481"/>
                </a:lnTo>
                <a:lnTo>
                  <a:pt x="815" y="481"/>
                </a:lnTo>
                <a:lnTo>
                  <a:pt x="815" y="473"/>
                </a:lnTo>
                <a:lnTo>
                  <a:pt x="813" y="466"/>
                </a:lnTo>
                <a:lnTo>
                  <a:pt x="809" y="460"/>
                </a:lnTo>
                <a:lnTo>
                  <a:pt x="806" y="455"/>
                </a:lnTo>
                <a:lnTo>
                  <a:pt x="803" y="449"/>
                </a:lnTo>
                <a:lnTo>
                  <a:pt x="799" y="443"/>
                </a:lnTo>
                <a:lnTo>
                  <a:pt x="798" y="437"/>
                </a:lnTo>
                <a:lnTo>
                  <a:pt x="797" y="429"/>
                </a:lnTo>
                <a:lnTo>
                  <a:pt x="797" y="429"/>
                </a:lnTo>
                <a:lnTo>
                  <a:pt x="797" y="421"/>
                </a:lnTo>
                <a:lnTo>
                  <a:pt x="799" y="412"/>
                </a:lnTo>
                <a:lnTo>
                  <a:pt x="803" y="404"/>
                </a:lnTo>
                <a:lnTo>
                  <a:pt x="807" y="397"/>
                </a:lnTo>
                <a:lnTo>
                  <a:pt x="813" y="390"/>
                </a:lnTo>
                <a:lnTo>
                  <a:pt x="820" y="386"/>
                </a:lnTo>
                <a:lnTo>
                  <a:pt x="828" y="382"/>
                </a:lnTo>
                <a:lnTo>
                  <a:pt x="837" y="381"/>
                </a:lnTo>
                <a:lnTo>
                  <a:pt x="837" y="381"/>
                </a:lnTo>
                <a:lnTo>
                  <a:pt x="841" y="382"/>
                </a:lnTo>
                <a:lnTo>
                  <a:pt x="843" y="384"/>
                </a:lnTo>
                <a:lnTo>
                  <a:pt x="850" y="395"/>
                </a:lnTo>
                <a:lnTo>
                  <a:pt x="855" y="409"/>
                </a:lnTo>
                <a:lnTo>
                  <a:pt x="861" y="425"/>
                </a:lnTo>
                <a:lnTo>
                  <a:pt x="870" y="456"/>
                </a:lnTo>
                <a:lnTo>
                  <a:pt x="874" y="473"/>
                </a:lnTo>
                <a:lnTo>
                  <a:pt x="864" y="543"/>
                </a:lnTo>
                <a:lnTo>
                  <a:pt x="864" y="543"/>
                </a:lnTo>
                <a:lnTo>
                  <a:pt x="865" y="543"/>
                </a:lnTo>
                <a:lnTo>
                  <a:pt x="866" y="546"/>
                </a:lnTo>
                <a:lnTo>
                  <a:pt x="870" y="554"/>
                </a:lnTo>
                <a:lnTo>
                  <a:pt x="881" y="578"/>
                </a:lnTo>
                <a:lnTo>
                  <a:pt x="889" y="604"/>
                </a:lnTo>
                <a:lnTo>
                  <a:pt x="891" y="613"/>
                </a:lnTo>
                <a:lnTo>
                  <a:pt x="892" y="620"/>
                </a:lnTo>
                <a:lnTo>
                  <a:pt x="892" y="620"/>
                </a:lnTo>
                <a:lnTo>
                  <a:pt x="891" y="634"/>
                </a:lnTo>
                <a:lnTo>
                  <a:pt x="889" y="647"/>
                </a:lnTo>
                <a:lnTo>
                  <a:pt x="885" y="658"/>
                </a:lnTo>
                <a:lnTo>
                  <a:pt x="882" y="666"/>
                </a:lnTo>
                <a:lnTo>
                  <a:pt x="876" y="673"/>
                </a:lnTo>
                <a:lnTo>
                  <a:pt x="870" y="679"/>
                </a:lnTo>
                <a:lnTo>
                  <a:pt x="865" y="681"/>
                </a:lnTo>
                <a:lnTo>
                  <a:pt x="860" y="683"/>
                </a:lnTo>
                <a:lnTo>
                  <a:pt x="860" y="683"/>
                </a:lnTo>
                <a:lnTo>
                  <a:pt x="857" y="684"/>
                </a:lnTo>
                <a:lnTo>
                  <a:pt x="854" y="684"/>
                </a:lnTo>
                <a:lnTo>
                  <a:pt x="851" y="686"/>
                </a:lnTo>
                <a:lnTo>
                  <a:pt x="850" y="686"/>
                </a:lnTo>
                <a:lnTo>
                  <a:pt x="849" y="686"/>
                </a:lnTo>
                <a:lnTo>
                  <a:pt x="841" y="683"/>
                </a:lnTo>
                <a:lnTo>
                  <a:pt x="841" y="683"/>
                </a:lnTo>
                <a:lnTo>
                  <a:pt x="841" y="719"/>
                </a:lnTo>
                <a:lnTo>
                  <a:pt x="841" y="719"/>
                </a:lnTo>
                <a:lnTo>
                  <a:pt x="845" y="718"/>
                </a:lnTo>
                <a:lnTo>
                  <a:pt x="851" y="717"/>
                </a:lnTo>
                <a:lnTo>
                  <a:pt x="858" y="716"/>
                </a:lnTo>
                <a:lnTo>
                  <a:pt x="864" y="715"/>
                </a:lnTo>
                <a:lnTo>
                  <a:pt x="869" y="716"/>
                </a:lnTo>
                <a:lnTo>
                  <a:pt x="874" y="718"/>
                </a:lnTo>
                <a:lnTo>
                  <a:pt x="875" y="719"/>
                </a:lnTo>
                <a:lnTo>
                  <a:pt x="876" y="723"/>
                </a:lnTo>
                <a:lnTo>
                  <a:pt x="877" y="731"/>
                </a:lnTo>
                <a:lnTo>
                  <a:pt x="877" y="731"/>
                </a:lnTo>
                <a:lnTo>
                  <a:pt x="877" y="734"/>
                </a:lnTo>
                <a:lnTo>
                  <a:pt x="876" y="739"/>
                </a:lnTo>
                <a:lnTo>
                  <a:pt x="872" y="749"/>
                </a:lnTo>
                <a:lnTo>
                  <a:pt x="866" y="760"/>
                </a:lnTo>
                <a:lnTo>
                  <a:pt x="858" y="770"/>
                </a:lnTo>
                <a:lnTo>
                  <a:pt x="841" y="790"/>
                </a:lnTo>
                <a:lnTo>
                  <a:pt x="826" y="805"/>
                </a:lnTo>
                <a:lnTo>
                  <a:pt x="826" y="805"/>
                </a:lnTo>
                <a:lnTo>
                  <a:pt x="823" y="810"/>
                </a:lnTo>
                <a:lnTo>
                  <a:pt x="821" y="816"/>
                </a:lnTo>
                <a:lnTo>
                  <a:pt x="820" y="831"/>
                </a:lnTo>
                <a:lnTo>
                  <a:pt x="819" y="839"/>
                </a:lnTo>
                <a:lnTo>
                  <a:pt x="816" y="846"/>
                </a:lnTo>
                <a:lnTo>
                  <a:pt x="813" y="853"/>
                </a:lnTo>
                <a:lnTo>
                  <a:pt x="808" y="859"/>
                </a:lnTo>
                <a:lnTo>
                  <a:pt x="808" y="859"/>
                </a:lnTo>
                <a:lnTo>
                  <a:pt x="793" y="867"/>
                </a:lnTo>
                <a:lnTo>
                  <a:pt x="776" y="874"/>
                </a:lnTo>
                <a:lnTo>
                  <a:pt x="760" y="883"/>
                </a:lnTo>
                <a:lnTo>
                  <a:pt x="753" y="889"/>
                </a:lnTo>
                <a:lnTo>
                  <a:pt x="745" y="895"/>
                </a:lnTo>
                <a:lnTo>
                  <a:pt x="745" y="895"/>
                </a:lnTo>
                <a:lnTo>
                  <a:pt x="740" y="903"/>
                </a:lnTo>
                <a:lnTo>
                  <a:pt x="733" y="916"/>
                </a:lnTo>
                <a:lnTo>
                  <a:pt x="725" y="929"/>
                </a:lnTo>
                <a:lnTo>
                  <a:pt x="721" y="935"/>
                </a:lnTo>
                <a:lnTo>
                  <a:pt x="716" y="939"/>
                </a:lnTo>
                <a:lnTo>
                  <a:pt x="716" y="939"/>
                </a:lnTo>
                <a:lnTo>
                  <a:pt x="709" y="944"/>
                </a:lnTo>
                <a:lnTo>
                  <a:pt x="704" y="946"/>
                </a:lnTo>
                <a:lnTo>
                  <a:pt x="694" y="949"/>
                </a:lnTo>
                <a:lnTo>
                  <a:pt x="691" y="952"/>
                </a:lnTo>
                <a:lnTo>
                  <a:pt x="689" y="955"/>
                </a:lnTo>
                <a:lnTo>
                  <a:pt x="687" y="960"/>
                </a:lnTo>
                <a:lnTo>
                  <a:pt x="686" y="969"/>
                </a:lnTo>
                <a:lnTo>
                  <a:pt x="686" y="969"/>
                </a:lnTo>
                <a:lnTo>
                  <a:pt x="686" y="1009"/>
                </a:lnTo>
                <a:lnTo>
                  <a:pt x="686" y="1009"/>
                </a:lnTo>
                <a:lnTo>
                  <a:pt x="686" y="1020"/>
                </a:lnTo>
                <a:lnTo>
                  <a:pt x="683" y="1030"/>
                </a:lnTo>
                <a:lnTo>
                  <a:pt x="679" y="1040"/>
                </a:lnTo>
                <a:lnTo>
                  <a:pt x="674" y="1050"/>
                </a:lnTo>
                <a:lnTo>
                  <a:pt x="668" y="1059"/>
                </a:lnTo>
                <a:lnTo>
                  <a:pt x="660" y="1067"/>
                </a:lnTo>
                <a:lnTo>
                  <a:pt x="652" y="1075"/>
                </a:lnTo>
                <a:lnTo>
                  <a:pt x="643" y="1083"/>
                </a:lnTo>
                <a:lnTo>
                  <a:pt x="632" y="1090"/>
                </a:lnTo>
                <a:lnTo>
                  <a:pt x="622" y="1096"/>
                </a:lnTo>
                <a:lnTo>
                  <a:pt x="610" y="1101"/>
                </a:lnTo>
                <a:lnTo>
                  <a:pt x="599" y="1106"/>
                </a:lnTo>
                <a:lnTo>
                  <a:pt x="576" y="1115"/>
                </a:lnTo>
                <a:lnTo>
                  <a:pt x="553" y="1120"/>
                </a:lnTo>
                <a:lnTo>
                  <a:pt x="553" y="1120"/>
                </a:lnTo>
                <a:lnTo>
                  <a:pt x="556" y="1131"/>
                </a:lnTo>
                <a:lnTo>
                  <a:pt x="557" y="1138"/>
                </a:lnTo>
                <a:lnTo>
                  <a:pt x="557" y="1145"/>
                </a:lnTo>
                <a:lnTo>
                  <a:pt x="557" y="1145"/>
                </a:lnTo>
                <a:lnTo>
                  <a:pt x="551" y="1150"/>
                </a:lnTo>
                <a:lnTo>
                  <a:pt x="542" y="1154"/>
                </a:lnTo>
                <a:lnTo>
                  <a:pt x="526" y="1161"/>
                </a:lnTo>
                <a:lnTo>
                  <a:pt x="519" y="1166"/>
                </a:lnTo>
                <a:lnTo>
                  <a:pt x="514" y="1172"/>
                </a:lnTo>
                <a:lnTo>
                  <a:pt x="509" y="1180"/>
                </a:lnTo>
                <a:lnTo>
                  <a:pt x="508" y="1184"/>
                </a:lnTo>
                <a:lnTo>
                  <a:pt x="507" y="1189"/>
                </a:lnTo>
                <a:lnTo>
                  <a:pt x="507" y="1189"/>
                </a:lnTo>
                <a:lnTo>
                  <a:pt x="500" y="1188"/>
                </a:lnTo>
                <a:lnTo>
                  <a:pt x="496" y="1185"/>
                </a:lnTo>
                <a:lnTo>
                  <a:pt x="495" y="1182"/>
                </a:lnTo>
                <a:lnTo>
                  <a:pt x="495" y="1178"/>
                </a:lnTo>
                <a:lnTo>
                  <a:pt x="496" y="1170"/>
                </a:lnTo>
                <a:lnTo>
                  <a:pt x="495" y="1165"/>
                </a:lnTo>
                <a:lnTo>
                  <a:pt x="492" y="1160"/>
                </a:lnTo>
                <a:lnTo>
                  <a:pt x="492" y="1160"/>
                </a:lnTo>
                <a:lnTo>
                  <a:pt x="487" y="1151"/>
                </a:lnTo>
                <a:lnTo>
                  <a:pt x="481" y="1144"/>
                </a:lnTo>
                <a:lnTo>
                  <a:pt x="477" y="1141"/>
                </a:lnTo>
                <a:lnTo>
                  <a:pt x="472" y="1139"/>
                </a:lnTo>
                <a:lnTo>
                  <a:pt x="467" y="1139"/>
                </a:lnTo>
                <a:lnTo>
                  <a:pt x="461" y="1141"/>
                </a:lnTo>
                <a:lnTo>
                  <a:pt x="453" y="1141"/>
                </a:lnTo>
                <a:lnTo>
                  <a:pt x="445" y="1142"/>
                </a:lnTo>
                <a:lnTo>
                  <a:pt x="445" y="1142"/>
                </a:lnTo>
                <a:lnTo>
                  <a:pt x="437" y="1141"/>
                </a:lnTo>
                <a:lnTo>
                  <a:pt x="431" y="1138"/>
                </a:lnTo>
                <a:lnTo>
                  <a:pt x="427" y="1134"/>
                </a:lnTo>
                <a:lnTo>
                  <a:pt x="424" y="1128"/>
                </a:lnTo>
                <a:lnTo>
                  <a:pt x="419" y="1116"/>
                </a:lnTo>
                <a:lnTo>
                  <a:pt x="415" y="1105"/>
                </a:lnTo>
                <a:lnTo>
                  <a:pt x="415" y="1105"/>
                </a:lnTo>
                <a:lnTo>
                  <a:pt x="411" y="1099"/>
                </a:lnTo>
                <a:lnTo>
                  <a:pt x="407" y="1093"/>
                </a:lnTo>
                <a:lnTo>
                  <a:pt x="399" y="1085"/>
                </a:lnTo>
                <a:lnTo>
                  <a:pt x="388" y="1078"/>
                </a:lnTo>
                <a:lnTo>
                  <a:pt x="378" y="1073"/>
                </a:lnTo>
                <a:lnTo>
                  <a:pt x="368" y="1068"/>
                </a:lnTo>
                <a:lnTo>
                  <a:pt x="358" y="1061"/>
                </a:lnTo>
                <a:lnTo>
                  <a:pt x="349" y="1053"/>
                </a:lnTo>
                <a:lnTo>
                  <a:pt x="346" y="1047"/>
                </a:lnTo>
                <a:lnTo>
                  <a:pt x="341" y="1042"/>
                </a:lnTo>
                <a:lnTo>
                  <a:pt x="341" y="1042"/>
                </a:lnTo>
                <a:lnTo>
                  <a:pt x="337" y="1044"/>
                </a:lnTo>
                <a:lnTo>
                  <a:pt x="332" y="1045"/>
                </a:lnTo>
                <a:lnTo>
                  <a:pt x="327" y="1045"/>
                </a:lnTo>
                <a:lnTo>
                  <a:pt x="324" y="1045"/>
                </a:lnTo>
                <a:lnTo>
                  <a:pt x="318" y="1043"/>
                </a:lnTo>
                <a:lnTo>
                  <a:pt x="312" y="1042"/>
                </a:lnTo>
                <a:lnTo>
                  <a:pt x="312" y="1042"/>
                </a:lnTo>
                <a:lnTo>
                  <a:pt x="305" y="1042"/>
                </a:lnTo>
                <a:lnTo>
                  <a:pt x="299" y="1040"/>
                </a:lnTo>
                <a:lnTo>
                  <a:pt x="287" y="1037"/>
                </a:lnTo>
                <a:lnTo>
                  <a:pt x="277" y="1032"/>
                </a:lnTo>
                <a:lnTo>
                  <a:pt x="269" y="1025"/>
                </a:lnTo>
                <a:lnTo>
                  <a:pt x="249" y="1010"/>
                </a:lnTo>
                <a:lnTo>
                  <a:pt x="238" y="1004"/>
                </a:lnTo>
                <a:lnTo>
                  <a:pt x="224" y="998"/>
                </a:lnTo>
                <a:lnTo>
                  <a:pt x="224" y="998"/>
                </a:lnTo>
                <a:lnTo>
                  <a:pt x="213" y="994"/>
                </a:lnTo>
                <a:lnTo>
                  <a:pt x="202" y="992"/>
                </a:lnTo>
                <a:lnTo>
                  <a:pt x="181" y="987"/>
                </a:lnTo>
                <a:lnTo>
                  <a:pt x="172" y="985"/>
                </a:lnTo>
                <a:lnTo>
                  <a:pt x="163" y="981"/>
                </a:lnTo>
                <a:lnTo>
                  <a:pt x="155" y="976"/>
                </a:lnTo>
                <a:lnTo>
                  <a:pt x="147" y="969"/>
                </a:lnTo>
                <a:lnTo>
                  <a:pt x="147" y="969"/>
                </a:lnTo>
                <a:lnTo>
                  <a:pt x="144" y="966"/>
                </a:lnTo>
                <a:lnTo>
                  <a:pt x="142" y="962"/>
                </a:lnTo>
                <a:lnTo>
                  <a:pt x="140" y="953"/>
                </a:lnTo>
                <a:lnTo>
                  <a:pt x="135" y="933"/>
                </a:lnTo>
                <a:lnTo>
                  <a:pt x="133" y="924"/>
                </a:lnTo>
                <a:lnTo>
                  <a:pt x="129" y="917"/>
                </a:lnTo>
                <a:lnTo>
                  <a:pt x="126" y="914"/>
                </a:lnTo>
                <a:lnTo>
                  <a:pt x="122" y="912"/>
                </a:lnTo>
                <a:lnTo>
                  <a:pt x="118" y="910"/>
                </a:lnTo>
                <a:lnTo>
                  <a:pt x="113" y="909"/>
                </a:lnTo>
                <a:lnTo>
                  <a:pt x="113" y="909"/>
                </a:lnTo>
                <a:lnTo>
                  <a:pt x="105" y="910"/>
                </a:lnTo>
                <a:lnTo>
                  <a:pt x="97" y="914"/>
                </a:lnTo>
                <a:lnTo>
                  <a:pt x="91" y="920"/>
                </a:lnTo>
                <a:lnTo>
                  <a:pt x="84" y="926"/>
                </a:lnTo>
                <a:lnTo>
                  <a:pt x="80" y="933"/>
                </a:lnTo>
                <a:lnTo>
                  <a:pt x="74" y="943"/>
                </a:lnTo>
                <a:lnTo>
                  <a:pt x="64" y="961"/>
                </a:lnTo>
                <a:lnTo>
                  <a:pt x="53" y="978"/>
                </a:lnTo>
                <a:lnTo>
                  <a:pt x="48" y="985"/>
                </a:lnTo>
                <a:lnTo>
                  <a:pt x="42" y="992"/>
                </a:lnTo>
                <a:lnTo>
                  <a:pt x="35" y="997"/>
                </a:lnTo>
                <a:lnTo>
                  <a:pt x="27" y="999"/>
                </a:lnTo>
                <a:lnTo>
                  <a:pt x="18" y="1000"/>
                </a:lnTo>
                <a:lnTo>
                  <a:pt x="7" y="998"/>
                </a:lnTo>
                <a:lnTo>
                  <a:pt x="7" y="998"/>
                </a:lnTo>
                <a:lnTo>
                  <a:pt x="6" y="1004"/>
                </a:lnTo>
                <a:lnTo>
                  <a:pt x="9" y="1009"/>
                </a:lnTo>
                <a:lnTo>
                  <a:pt x="12" y="1021"/>
                </a:lnTo>
                <a:lnTo>
                  <a:pt x="14" y="1027"/>
                </a:lnTo>
                <a:lnTo>
                  <a:pt x="14" y="1031"/>
                </a:lnTo>
                <a:lnTo>
                  <a:pt x="13" y="1033"/>
                </a:lnTo>
                <a:lnTo>
                  <a:pt x="12" y="1035"/>
                </a:lnTo>
                <a:lnTo>
                  <a:pt x="7" y="1038"/>
                </a:lnTo>
                <a:lnTo>
                  <a:pt x="7" y="1038"/>
                </a:lnTo>
                <a:lnTo>
                  <a:pt x="6" y="1044"/>
                </a:lnTo>
                <a:lnTo>
                  <a:pt x="4" y="1051"/>
                </a:lnTo>
                <a:lnTo>
                  <a:pt x="0" y="1058"/>
                </a:lnTo>
                <a:lnTo>
                  <a:pt x="0" y="1068"/>
                </a:lnTo>
                <a:lnTo>
                  <a:pt x="0" y="1068"/>
                </a:lnTo>
                <a:lnTo>
                  <a:pt x="2" y="1077"/>
                </a:lnTo>
                <a:lnTo>
                  <a:pt x="5" y="1085"/>
                </a:lnTo>
                <a:lnTo>
                  <a:pt x="10" y="1092"/>
                </a:lnTo>
                <a:lnTo>
                  <a:pt x="15" y="1099"/>
                </a:lnTo>
                <a:lnTo>
                  <a:pt x="28" y="1111"/>
                </a:lnTo>
                <a:lnTo>
                  <a:pt x="33" y="1115"/>
                </a:lnTo>
                <a:lnTo>
                  <a:pt x="36" y="1119"/>
                </a:lnTo>
                <a:lnTo>
                  <a:pt x="36" y="1119"/>
                </a:lnTo>
                <a:lnTo>
                  <a:pt x="72" y="1127"/>
                </a:lnTo>
                <a:lnTo>
                  <a:pt x="109" y="1135"/>
                </a:lnTo>
                <a:lnTo>
                  <a:pt x="187" y="1151"/>
                </a:lnTo>
                <a:lnTo>
                  <a:pt x="263" y="1167"/>
                </a:lnTo>
                <a:lnTo>
                  <a:pt x="300" y="1176"/>
                </a:lnTo>
                <a:lnTo>
                  <a:pt x="334" y="1185"/>
                </a:lnTo>
                <a:lnTo>
                  <a:pt x="334" y="1185"/>
                </a:lnTo>
                <a:lnTo>
                  <a:pt x="340" y="1188"/>
                </a:lnTo>
                <a:lnTo>
                  <a:pt x="345" y="1190"/>
                </a:lnTo>
                <a:lnTo>
                  <a:pt x="354" y="1197"/>
                </a:lnTo>
                <a:lnTo>
                  <a:pt x="361" y="1205"/>
                </a:lnTo>
                <a:lnTo>
                  <a:pt x="368" y="1215"/>
                </a:lnTo>
                <a:lnTo>
                  <a:pt x="373" y="1227"/>
                </a:lnTo>
                <a:lnTo>
                  <a:pt x="378" y="1238"/>
                </a:lnTo>
                <a:lnTo>
                  <a:pt x="388" y="1264"/>
                </a:lnTo>
                <a:lnTo>
                  <a:pt x="394" y="1276"/>
                </a:lnTo>
                <a:lnTo>
                  <a:pt x="401" y="1288"/>
                </a:lnTo>
                <a:lnTo>
                  <a:pt x="408" y="1299"/>
                </a:lnTo>
                <a:lnTo>
                  <a:pt x="417" y="1309"/>
                </a:lnTo>
                <a:lnTo>
                  <a:pt x="429" y="1317"/>
                </a:lnTo>
                <a:lnTo>
                  <a:pt x="434" y="1320"/>
                </a:lnTo>
                <a:lnTo>
                  <a:pt x="441" y="1323"/>
                </a:lnTo>
                <a:lnTo>
                  <a:pt x="448" y="1326"/>
                </a:lnTo>
                <a:lnTo>
                  <a:pt x="456" y="1327"/>
                </a:lnTo>
                <a:lnTo>
                  <a:pt x="464" y="1328"/>
                </a:lnTo>
                <a:lnTo>
                  <a:pt x="473" y="1328"/>
                </a:lnTo>
                <a:lnTo>
                  <a:pt x="473" y="1328"/>
                </a:lnTo>
                <a:lnTo>
                  <a:pt x="495" y="1327"/>
                </a:lnTo>
                <a:lnTo>
                  <a:pt x="515" y="1325"/>
                </a:lnTo>
                <a:lnTo>
                  <a:pt x="532" y="1320"/>
                </a:lnTo>
                <a:lnTo>
                  <a:pt x="547" y="1314"/>
                </a:lnTo>
                <a:lnTo>
                  <a:pt x="562" y="1307"/>
                </a:lnTo>
                <a:lnTo>
                  <a:pt x="575" y="1300"/>
                </a:lnTo>
                <a:lnTo>
                  <a:pt x="600" y="1284"/>
                </a:lnTo>
                <a:lnTo>
                  <a:pt x="613" y="1276"/>
                </a:lnTo>
                <a:lnTo>
                  <a:pt x="625" y="1268"/>
                </a:lnTo>
                <a:lnTo>
                  <a:pt x="640" y="1260"/>
                </a:lnTo>
                <a:lnTo>
                  <a:pt x="655" y="1254"/>
                </a:lnTo>
                <a:lnTo>
                  <a:pt x="674" y="1249"/>
                </a:lnTo>
                <a:lnTo>
                  <a:pt x="693" y="1244"/>
                </a:lnTo>
                <a:lnTo>
                  <a:pt x="716" y="1241"/>
                </a:lnTo>
                <a:lnTo>
                  <a:pt x="742" y="1241"/>
                </a:lnTo>
                <a:lnTo>
                  <a:pt x="742" y="1241"/>
                </a:lnTo>
                <a:lnTo>
                  <a:pt x="752" y="1241"/>
                </a:lnTo>
                <a:lnTo>
                  <a:pt x="762" y="1242"/>
                </a:lnTo>
                <a:lnTo>
                  <a:pt x="771" y="1244"/>
                </a:lnTo>
                <a:lnTo>
                  <a:pt x="781" y="1246"/>
                </a:lnTo>
                <a:lnTo>
                  <a:pt x="798" y="1253"/>
                </a:lnTo>
                <a:lnTo>
                  <a:pt x="814" y="1261"/>
                </a:lnTo>
                <a:lnTo>
                  <a:pt x="829" y="1268"/>
                </a:lnTo>
                <a:lnTo>
                  <a:pt x="843" y="1273"/>
                </a:lnTo>
                <a:lnTo>
                  <a:pt x="849" y="1274"/>
                </a:lnTo>
                <a:lnTo>
                  <a:pt x="855" y="1275"/>
                </a:lnTo>
                <a:lnTo>
                  <a:pt x="861" y="1275"/>
                </a:lnTo>
                <a:lnTo>
                  <a:pt x="867" y="1274"/>
                </a:lnTo>
                <a:lnTo>
                  <a:pt x="867" y="1274"/>
                </a:lnTo>
                <a:lnTo>
                  <a:pt x="873" y="1272"/>
                </a:lnTo>
                <a:lnTo>
                  <a:pt x="877" y="1271"/>
                </a:lnTo>
                <a:lnTo>
                  <a:pt x="884" y="1269"/>
                </a:lnTo>
                <a:lnTo>
                  <a:pt x="889" y="1266"/>
                </a:lnTo>
                <a:lnTo>
                  <a:pt x="889" y="1269"/>
                </a:lnTo>
                <a:lnTo>
                  <a:pt x="889" y="1269"/>
                </a:lnTo>
                <a:lnTo>
                  <a:pt x="891" y="1261"/>
                </a:lnTo>
                <a:lnTo>
                  <a:pt x="893" y="1254"/>
                </a:lnTo>
                <a:lnTo>
                  <a:pt x="897" y="1248"/>
                </a:lnTo>
                <a:lnTo>
                  <a:pt x="901" y="1241"/>
                </a:lnTo>
                <a:lnTo>
                  <a:pt x="911" y="1229"/>
                </a:lnTo>
                <a:lnTo>
                  <a:pt x="921" y="1219"/>
                </a:lnTo>
                <a:lnTo>
                  <a:pt x="931" y="1208"/>
                </a:lnTo>
                <a:lnTo>
                  <a:pt x="941" y="1197"/>
                </a:lnTo>
                <a:lnTo>
                  <a:pt x="945" y="1191"/>
                </a:lnTo>
                <a:lnTo>
                  <a:pt x="948" y="1185"/>
                </a:lnTo>
                <a:lnTo>
                  <a:pt x="950" y="1178"/>
                </a:lnTo>
                <a:lnTo>
                  <a:pt x="951" y="1170"/>
                </a:lnTo>
                <a:lnTo>
                  <a:pt x="951" y="1170"/>
                </a:lnTo>
                <a:lnTo>
                  <a:pt x="938" y="1168"/>
                </a:lnTo>
                <a:lnTo>
                  <a:pt x="929" y="1167"/>
                </a:lnTo>
                <a:lnTo>
                  <a:pt x="920" y="1165"/>
                </a:lnTo>
                <a:lnTo>
                  <a:pt x="911" y="1161"/>
                </a:lnTo>
                <a:lnTo>
                  <a:pt x="903" y="1157"/>
                </a:lnTo>
                <a:lnTo>
                  <a:pt x="900" y="1153"/>
                </a:lnTo>
                <a:lnTo>
                  <a:pt x="898" y="1150"/>
                </a:lnTo>
                <a:lnTo>
                  <a:pt x="897" y="1146"/>
                </a:lnTo>
                <a:lnTo>
                  <a:pt x="896" y="1142"/>
                </a:lnTo>
                <a:lnTo>
                  <a:pt x="896" y="1142"/>
                </a:lnTo>
                <a:lnTo>
                  <a:pt x="897" y="1132"/>
                </a:lnTo>
                <a:lnTo>
                  <a:pt x="899" y="1124"/>
                </a:lnTo>
                <a:lnTo>
                  <a:pt x="903" y="1116"/>
                </a:lnTo>
                <a:lnTo>
                  <a:pt x="906" y="1109"/>
                </a:lnTo>
                <a:lnTo>
                  <a:pt x="916" y="1096"/>
                </a:lnTo>
                <a:lnTo>
                  <a:pt x="926" y="1083"/>
                </a:lnTo>
                <a:lnTo>
                  <a:pt x="926" y="1083"/>
                </a:lnTo>
                <a:lnTo>
                  <a:pt x="919" y="1077"/>
                </a:lnTo>
                <a:lnTo>
                  <a:pt x="912" y="1070"/>
                </a:lnTo>
                <a:lnTo>
                  <a:pt x="908" y="1066"/>
                </a:lnTo>
                <a:lnTo>
                  <a:pt x="906" y="1061"/>
                </a:lnTo>
                <a:lnTo>
                  <a:pt x="904" y="1057"/>
                </a:lnTo>
                <a:lnTo>
                  <a:pt x="904" y="1050"/>
                </a:lnTo>
                <a:lnTo>
                  <a:pt x="904" y="1050"/>
                </a:lnTo>
                <a:lnTo>
                  <a:pt x="904" y="1046"/>
                </a:lnTo>
                <a:lnTo>
                  <a:pt x="905" y="1043"/>
                </a:lnTo>
                <a:lnTo>
                  <a:pt x="907" y="1039"/>
                </a:lnTo>
                <a:lnTo>
                  <a:pt x="911" y="1036"/>
                </a:lnTo>
                <a:lnTo>
                  <a:pt x="918" y="1031"/>
                </a:lnTo>
                <a:lnTo>
                  <a:pt x="927" y="1029"/>
                </a:lnTo>
                <a:lnTo>
                  <a:pt x="938" y="1027"/>
                </a:lnTo>
                <a:lnTo>
                  <a:pt x="950" y="1024"/>
                </a:lnTo>
                <a:lnTo>
                  <a:pt x="973" y="1024"/>
                </a:lnTo>
                <a:lnTo>
                  <a:pt x="973" y="1024"/>
                </a:lnTo>
                <a:lnTo>
                  <a:pt x="979" y="1023"/>
                </a:lnTo>
                <a:lnTo>
                  <a:pt x="984" y="1022"/>
                </a:lnTo>
                <a:lnTo>
                  <a:pt x="989" y="1020"/>
                </a:lnTo>
                <a:lnTo>
                  <a:pt x="992" y="1017"/>
                </a:lnTo>
                <a:lnTo>
                  <a:pt x="999" y="1009"/>
                </a:lnTo>
                <a:lnTo>
                  <a:pt x="1005" y="1001"/>
                </a:lnTo>
                <a:lnTo>
                  <a:pt x="1011" y="993"/>
                </a:lnTo>
                <a:lnTo>
                  <a:pt x="1018" y="986"/>
                </a:lnTo>
                <a:lnTo>
                  <a:pt x="1022" y="984"/>
                </a:lnTo>
                <a:lnTo>
                  <a:pt x="1027" y="982"/>
                </a:lnTo>
                <a:lnTo>
                  <a:pt x="1033" y="981"/>
                </a:lnTo>
                <a:lnTo>
                  <a:pt x="1040" y="979"/>
                </a:lnTo>
                <a:lnTo>
                  <a:pt x="1040" y="979"/>
                </a:lnTo>
                <a:lnTo>
                  <a:pt x="1057" y="981"/>
                </a:lnTo>
                <a:lnTo>
                  <a:pt x="1073" y="979"/>
                </a:lnTo>
                <a:lnTo>
                  <a:pt x="1081" y="978"/>
                </a:lnTo>
                <a:lnTo>
                  <a:pt x="1089" y="976"/>
                </a:lnTo>
                <a:lnTo>
                  <a:pt x="1096" y="974"/>
                </a:lnTo>
                <a:lnTo>
                  <a:pt x="1102" y="969"/>
                </a:lnTo>
                <a:lnTo>
                  <a:pt x="1102" y="969"/>
                </a:lnTo>
                <a:lnTo>
                  <a:pt x="1105" y="964"/>
                </a:lnTo>
                <a:lnTo>
                  <a:pt x="1106" y="960"/>
                </a:lnTo>
                <a:lnTo>
                  <a:pt x="1107" y="954"/>
                </a:lnTo>
                <a:lnTo>
                  <a:pt x="1107" y="949"/>
                </a:lnTo>
                <a:lnTo>
                  <a:pt x="1107" y="944"/>
                </a:lnTo>
                <a:lnTo>
                  <a:pt x="1109" y="939"/>
                </a:lnTo>
                <a:lnTo>
                  <a:pt x="1110" y="933"/>
                </a:lnTo>
                <a:lnTo>
                  <a:pt x="1113" y="928"/>
                </a:lnTo>
                <a:lnTo>
                  <a:pt x="1113" y="928"/>
                </a:lnTo>
                <a:lnTo>
                  <a:pt x="1137" y="905"/>
                </a:lnTo>
                <a:lnTo>
                  <a:pt x="1149" y="893"/>
                </a:lnTo>
                <a:lnTo>
                  <a:pt x="1158" y="883"/>
                </a:lnTo>
                <a:lnTo>
                  <a:pt x="1166" y="870"/>
                </a:lnTo>
                <a:lnTo>
                  <a:pt x="1174" y="856"/>
                </a:lnTo>
                <a:lnTo>
                  <a:pt x="1181" y="839"/>
                </a:lnTo>
                <a:lnTo>
                  <a:pt x="1187" y="818"/>
                </a:lnTo>
                <a:lnTo>
                  <a:pt x="1187" y="818"/>
                </a:lnTo>
                <a:lnTo>
                  <a:pt x="1194" y="817"/>
                </a:lnTo>
                <a:lnTo>
                  <a:pt x="1202" y="816"/>
                </a:lnTo>
                <a:lnTo>
                  <a:pt x="1209" y="814"/>
                </a:lnTo>
                <a:lnTo>
                  <a:pt x="1216" y="811"/>
                </a:lnTo>
                <a:lnTo>
                  <a:pt x="1229" y="805"/>
                </a:lnTo>
                <a:lnTo>
                  <a:pt x="1242" y="795"/>
                </a:lnTo>
                <a:lnTo>
                  <a:pt x="1255" y="785"/>
                </a:lnTo>
                <a:lnTo>
                  <a:pt x="1266" y="773"/>
                </a:lnTo>
                <a:lnTo>
                  <a:pt x="1285" y="753"/>
                </a:lnTo>
                <a:lnTo>
                  <a:pt x="1285" y="753"/>
                </a:lnTo>
                <a:lnTo>
                  <a:pt x="1303" y="738"/>
                </a:lnTo>
                <a:lnTo>
                  <a:pt x="1312" y="731"/>
                </a:lnTo>
                <a:lnTo>
                  <a:pt x="1319" y="723"/>
                </a:lnTo>
                <a:lnTo>
                  <a:pt x="1325" y="715"/>
                </a:lnTo>
                <a:lnTo>
                  <a:pt x="1330" y="704"/>
                </a:lnTo>
                <a:lnTo>
                  <a:pt x="1333" y="693"/>
                </a:lnTo>
                <a:lnTo>
                  <a:pt x="1333" y="679"/>
                </a:lnTo>
                <a:lnTo>
                  <a:pt x="1333" y="679"/>
                </a:lnTo>
                <a:lnTo>
                  <a:pt x="1333" y="670"/>
                </a:lnTo>
                <a:lnTo>
                  <a:pt x="1331" y="662"/>
                </a:lnTo>
                <a:lnTo>
                  <a:pt x="1327" y="655"/>
                </a:lnTo>
                <a:lnTo>
                  <a:pt x="1323" y="649"/>
                </a:lnTo>
                <a:lnTo>
                  <a:pt x="1318" y="643"/>
                </a:lnTo>
                <a:lnTo>
                  <a:pt x="1312" y="638"/>
                </a:lnTo>
                <a:lnTo>
                  <a:pt x="1301" y="628"/>
                </a:lnTo>
                <a:lnTo>
                  <a:pt x="1288" y="619"/>
                </a:lnTo>
                <a:lnTo>
                  <a:pt x="1282" y="615"/>
                </a:lnTo>
                <a:lnTo>
                  <a:pt x="1278" y="610"/>
                </a:lnTo>
                <a:lnTo>
                  <a:pt x="1273" y="604"/>
                </a:lnTo>
                <a:lnTo>
                  <a:pt x="1270" y="599"/>
                </a:lnTo>
                <a:lnTo>
                  <a:pt x="1267" y="592"/>
                </a:lnTo>
                <a:lnTo>
                  <a:pt x="1267" y="584"/>
                </a:lnTo>
                <a:lnTo>
                  <a:pt x="1267" y="584"/>
                </a:lnTo>
                <a:lnTo>
                  <a:pt x="1267" y="579"/>
                </a:lnTo>
                <a:lnTo>
                  <a:pt x="1269" y="574"/>
                </a:lnTo>
                <a:lnTo>
                  <a:pt x="1270" y="571"/>
                </a:lnTo>
                <a:lnTo>
                  <a:pt x="1272" y="569"/>
                </a:lnTo>
                <a:lnTo>
                  <a:pt x="1278" y="563"/>
                </a:lnTo>
                <a:lnTo>
                  <a:pt x="1285" y="558"/>
                </a:lnTo>
                <a:lnTo>
                  <a:pt x="1300" y="550"/>
                </a:lnTo>
                <a:lnTo>
                  <a:pt x="1307" y="546"/>
                </a:lnTo>
                <a:lnTo>
                  <a:pt x="1311" y="540"/>
                </a:lnTo>
                <a:lnTo>
                  <a:pt x="1311" y="540"/>
                </a:lnTo>
                <a:lnTo>
                  <a:pt x="1319" y="520"/>
                </a:lnTo>
                <a:lnTo>
                  <a:pt x="1328" y="498"/>
                </a:lnTo>
                <a:lnTo>
                  <a:pt x="1338" y="477"/>
                </a:lnTo>
                <a:lnTo>
                  <a:pt x="1347" y="454"/>
                </a:lnTo>
                <a:lnTo>
                  <a:pt x="1358" y="433"/>
                </a:lnTo>
                <a:lnTo>
                  <a:pt x="1370" y="413"/>
                </a:lnTo>
                <a:lnTo>
                  <a:pt x="1377" y="405"/>
                </a:lnTo>
                <a:lnTo>
                  <a:pt x="1384" y="397"/>
                </a:lnTo>
                <a:lnTo>
                  <a:pt x="1392" y="390"/>
                </a:lnTo>
                <a:lnTo>
                  <a:pt x="1400" y="386"/>
                </a:lnTo>
                <a:lnTo>
                  <a:pt x="1400" y="386"/>
                </a:lnTo>
                <a:lnTo>
                  <a:pt x="1408" y="380"/>
                </a:lnTo>
                <a:lnTo>
                  <a:pt x="1417" y="375"/>
                </a:lnTo>
                <a:lnTo>
                  <a:pt x="1425" y="371"/>
                </a:lnTo>
                <a:lnTo>
                  <a:pt x="1433" y="365"/>
                </a:lnTo>
                <a:lnTo>
                  <a:pt x="1441" y="358"/>
                </a:lnTo>
                <a:lnTo>
                  <a:pt x="1446" y="349"/>
                </a:lnTo>
                <a:lnTo>
                  <a:pt x="1448" y="344"/>
                </a:lnTo>
                <a:lnTo>
                  <a:pt x="1449" y="337"/>
                </a:lnTo>
                <a:lnTo>
                  <a:pt x="1450" y="330"/>
                </a:lnTo>
                <a:lnTo>
                  <a:pt x="1452" y="324"/>
                </a:lnTo>
                <a:lnTo>
                  <a:pt x="1452" y="324"/>
                </a:lnTo>
                <a:lnTo>
                  <a:pt x="1450" y="313"/>
                </a:lnTo>
                <a:lnTo>
                  <a:pt x="1447" y="305"/>
                </a:lnTo>
                <a:lnTo>
                  <a:pt x="1442" y="298"/>
                </a:lnTo>
                <a:lnTo>
                  <a:pt x="1438" y="291"/>
                </a:lnTo>
                <a:lnTo>
                  <a:pt x="1431" y="287"/>
                </a:lnTo>
                <a:lnTo>
                  <a:pt x="1423" y="281"/>
                </a:lnTo>
                <a:lnTo>
                  <a:pt x="1407" y="272"/>
                </a:lnTo>
                <a:lnTo>
                  <a:pt x="1407" y="27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6" name="Freeform 111"/>
          <p:cNvSpPr>
            <a:spLocks/>
          </p:cNvSpPr>
          <p:nvPr/>
        </p:nvSpPr>
        <p:spPr bwMode="auto">
          <a:xfrm>
            <a:off x="5292080" y="1916832"/>
            <a:ext cx="2181225" cy="2884488"/>
          </a:xfrm>
          <a:custGeom>
            <a:avLst/>
            <a:gdLst/>
            <a:ahLst/>
            <a:cxnLst>
              <a:cxn ang="0">
                <a:pos x="2493" y="1466"/>
              </a:cxn>
              <a:cxn ang="0">
                <a:pos x="2473" y="1235"/>
              </a:cxn>
              <a:cxn ang="0">
                <a:pos x="2466" y="1160"/>
              </a:cxn>
              <a:cxn ang="0">
                <a:pos x="2562" y="1080"/>
              </a:cxn>
              <a:cxn ang="0">
                <a:pos x="2636" y="943"/>
              </a:cxn>
              <a:cxn ang="0">
                <a:pos x="2569" y="794"/>
              </a:cxn>
              <a:cxn ang="0">
                <a:pos x="2530" y="702"/>
              </a:cxn>
              <a:cxn ang="0">
                <a:pos x="2600" y="590"/>
              </a:cxn>
              <a:cxn ang="0">
                <a:pos x="2666" y="489"/>
              </a:cxn>
              <a:cxn ang="0">
                <a:pos x="2554" y="396"/>
              </a:cxn>
              <a:cxn ang="0">
                <a:pos x="2434" y="339"/>
              </a:cxn>
              <a:cxn ang="0">
                <a:pos x="2475" y="157"/>
              </a:cxn>
              <a:cxn ang="0">
                <a:pos x="2391" y="7"/>
              </a:cxn>
              <a:cxn ang="0">
                <a:pos x="2428" y="141"/>
              </a:cxn>
              <a:cxn ang="0">
                <a:pos x="2236" y="98"/>
              </a:cxn>
              <a:cxn ang="0">
                <a:pos x="2011" y="72"/>
              </a:cxn>
              <a:cxn ang="0">
                <a:pos x="1886" y="320"/>
              </a:cxn>
              <a:cxn ang="0">
                <a:pos x="1690" y="354"/>
              </a:cxn>
              <a:cxn ang="0">
                <a:pos x="1559" y="350"/>
              </a:cxn>
              <a:cxn ang="0">
                <a:pos x="1537" y="418"/>
              </a:cxn>
              <a:cxn ang="0">
                <a:pos x="1510" y="389"/>
              </a:cxn>
              <a:cxn ang="0">
                <a:pos x="1311" y="532"/>
              </a:cxn>
              <a:cxn ang="0">
                <a:pos x="1324" y="616"/>
              </a:cxn>
              <a:cxn ang="0">
                <a:pos x="1315" y="733"/>
              </a:cxn>
              <a:cxn ang="0">
                <a:pos x="1223" y="808"/>
              </a:cxn>
              <a:cxn ang="0">
                <a:pos x="1073" y="890"/>
              </a:cxn>
              <a:cxn ang="0">
                <a:pos x="1055" y="1063"/>
              </a:cxn>
              <a:cxn ang="0">
                <a:pos x="892" y="900"/>
              </a:cxn>
              <a:cxn ang="0">
                <a:pos x="725" y="798"/>
              </a:cxn>
              <a:cxn ang="0">
                <a:pos x="563" y="853"/>
              </a:cxn>
              <a:cxn ang="0">
                <a:pos x="567" y="1004"/>
              </a:cxn>
              <a:cxn ang="0">
                <a:pos x="372" y="972"/>
              </a:cxn>
              <a:cxn ang="0">
                <a:pos x="137" y="1022"/>
              </a:cxn>
              <a:cxn ang="0">
                <a:pos x="47" y="1150"/>
              </a:cxn>
              <a:cxn ang="0">
                <a:pos x="183" y="1338"/>
              </a:cxn>
              <a:cxn ang="0">
                <a:pos x="228" y="1472"/>
              </a:cxn>
              <a:cxn ang="0">
                <a:pos x="136" y="1703"/>
              </a:cxn>
              <a:cxn ang="0">
                <a:pos x="68" y="1924"/>
              </a:cxn>
              <a:cxn ang="0">
                <a:pos x="52" y="2190"/>
              </a:cxn>
              <a:cxn ang="0">
                <a:pos x="121" y="2315"/>
              </a:cxn>
              <a:cxn ang="0">
                <a:pos x="152" y="2556"/>
              </a:cxn>
              <a:cxn ang="0">
                <a:pos x="350" y="2595"/>
              </a:cxn>
              <a:cxn ang="0">
                <a:pos x="437" y="2755"/>
              </a:cxn>
              <a:cxn ang="0">
                <a:pos x="511" y="2908"/>
              </a:cxn>
              <a:cxn ang="0">
                <a:pos x="583" y="3273"/>
              </a:cxn>
              <a:cxn ang="0">
                <a:pos x="772" y="3188"/>
              </a:cxn>
              <a:cxn ang="0">
                <a:pos x="896" y="3130"/>
              </a:cxn>
              <a:cxn ang="0">
                <a:pos x="1057" y="2945"/>
              </a:cxn>
              <a:cxn ang="0">
                <a:pos x="1220" y="3003"/>
              </a:cxn>
              <a:cxn ang="0">
                <a:pos x="1365" y="3190"/>
              </a:cxn>
              <a:cxn ang="0">
                <a:pos x="1712" y="3260"/>
              </a:cxn>
              <a:cxn ang="0">
                <a:pos x="1885" y="3281"/>
              </a:cxn>
              <a:cxn ang="0">
                <a:pos x="2116" y="3182"/>
              </a:cxn>
              <a:cxn ang="0">
                <a:pos x="2317" y="3039"/>
              </a:cxn>
              <a:cxn ang="0">
                <a:pos x="2241" y="2815"/>
              </a:cxn>
              <a:cxn ang="0">
                <a:pos x="2218" y="2657"/>
              </a:cxn>
              <a:cxn ang="0">
                <a:pos x="2284" y="2428"/>
              </a:cxn>
              <a:cxn ang="0">
                <a:pos x="2389" y="2323"/>
              </a:cxn>
              <a:cxn ang="0">
                <a:pos x="2445" y="2182"/>
              </a:cxn>
              <a:cxn ang="0">
                <a:pos x="2346" y="1950"/>
              </a:cxn>
              <a:cxn ang="0">
                <a:pos x="2345" y="1732"/>
              </a:cxn>
              <a:cxn ang="0">
                <a:pos x="2530" y="1660"/>
              </a:cxn>
              <a:cxn ang="0">
                <a:pos x="2568" y="1592"/>
              </a:cxn>
            </a:cxnLst>
            <a:rect l="0" t="0" r="r" b="b"/>
            <a:pathLst>
              <a:path w="2667" h="3308">
                <a:moveTo>
                  <a:pt x="2568" y="1592"/>
                </a:moveTo>
                <a:lnTo>
                  <a:pt x="2568" y="1592"/>
                </a:lnTo>
                <a:lnTo>
                  <a:pt x="2567" y="1582"/>
                </a:lnTo>
                <a:lnTo>
                  <a:pt x="2565" y="1573"/>
                </a:lnTo>
                <a:lnTo>
                  <a:pt x="2561" y="1567"/>
                </a:lnTo>
                <a:lnTo>
                  <a:pt x="2557" y="1560"/>
                </a:lnTo>
                <a:lnTo>
                  <a:pt x="2550" y="1548"/>
                </a:lnTo>
                <a:lnTo>
                  <a:pt x="2548" y="1542"/>
                </a:lnTo>
                <a:lnTo>
                  <a:pt x="2546" y="1537"/>
                </a:lnTo>
                <a:lnTo>
                  <a:pt x="2546" y="1537"/>
                </a:lnTo>
                <a:lnTo>
                  <a:pt x="2546" y="1511"/>
                </a:lnTo>
                <a:lnTo>
                  <a:pt x="2546" y="1511"/>
                </a:lnTo>
                <a:lnTo>
                  <a:pt x="2546" y="1506"/>
                </a:lnTo>
                <a:lnTo>
                  <a:pt x="2544" y="1502"/>
                </a:lnTo>
                <a:lnTo>
                  <a:pt x="2542" y="1498"/>
                </a:lnTo>
                <a:lnTo>
                  <a:pt x="2539" y="1494"/>
                </a:lnTo>
                <a:lnTo>
                  <a:pt x="2531" y="1489"/>
                </a:lnTo>
                <a:lnTo>
                  <a:pt x="2523" y="1485"/>
                </a:lnTo>
                <a:lnTo>
                  <a:pt x="2513" y="1480"/>
                </a:lnTo>
                <a:lnTo>
                  <a:pt x="2505" y="1476"/>
                </a:lnTo>
                <a:lnTo>
                  <a:pt x="2497" y="1470"/>
                </a:lnTo>
                <a:lnTo>
                  <a:pt x="2493" y="1466"/>
                </a:lnTo>
                <a:lnTo>
                  <a:pt x="2491" y="1463"/>
                </a:lnTo>
                <a:lnTo>
                  <a:pt x="2491" y="1463"/>
                </a:lnTo>
                <a:lnTo>
                  <a:pt x="2481" y="1446"/>
                </a:lnTo>
                <a:lnTo>
                  <a:pt x="2470" y="1432"/>
                </a:lnTo>
                <a:lnTo>
                  <a:pt x="2459" y="1417"/>
                </a:lnTo>
                <a:lnTo>
                  <a:pt x="2449" y="1402"/>
                </a:lnTo>
                <a:lnTo>
                  <a:pt x="2439" y="1387"/>
                </a:lnTo>
                <a:lnTo>
                  <a:pt x="2436" y="1378"/>
                </a:lnTo>
                <a:lnTo>
                  <a:pt x="2432" y="1369"/>
                </a:lnTo>
                <a:lnTo>
                  <a:pt x="2429" y="1358"/>
                </a:lnTo>
                <a:lnTo>
                  <a:pt x="2427" y="1347"/>
                </a:lnTo>
                <a:lnTo>
                  <a:pt x="2426" y="1334"/>
                </a:lnTo>
                <a:lnTo>
                  <a:pt x="2426" y="1320"/>
                </a:lnTo>
                <a:lnTo>
                  <a:pt x="2426" y="1320"/>
                </a:lnTo>
                <a:lnTo>
                  <a:pt x="2427" y="1308"/>
                </a:lnTo>
                <a:lnTo>
                  <a:pt x="2429" y="1294"/>
                </a:lnTo>
                <a:lnTo>
                  <a:pt x="2434" y="1281"/>
                </a:lnTo>
                <a:lnTo>
                  <a:pt x="2439" y="1270"/>
                </a:lnTo>
                <a:lnTo>
                  <a:pt x="2446" y="1258"/>
                </a:lnTo>
                <a:lnTo>
                  <a:pt x="2454" y="1249"/>
                </a:lnTo>
                <a:lnTo>
                  <a:pt x="2464" y="1241"/>
                </a:lnTo>
                <a:lnTo>
                  <a:pt x="2473" y="1235"/>
                </a:lnTo>
                <a:lnTo>
                  <a:pt x="2473" y="1235"/>
                </a:lnTo>
                <a:lnTo>
                  <a:pt x="2481" y="1233"/>
                </a:lnTo>
                <a:lnTo>
                  <a:pt x="2487" y="1233"/>
                </a:lnTo>
                <a:lnTo>
                  <a:pt x="2496" y="1231"/>
                </a:lnTo>
                <a:lnTo>
                  <a:pt x="2499" y="1229"/>
                </a:lnTo>
                <a:lnTo>
                  <a:pt x="2500" y="1226"/>
                </a:lnTo>
                <a:lnTo>
                  <a:pt x="2502" y="1221"/>
                </a:lnTo>
                <a:lnTo>
                  <a:pt x="2503" y="1213"/>
                </a:lnTo>
                <a:lnTo>
                  <a:pt x="2503" y="1213"/>
                </a:lnTo>
                <a:lnTo>
                  <a:pt x="2502" y="1208"/>
                </a:lnTo>
                <a:lnTo>
                  <a:pt x="2500" y="1203"/>
                </a:lnTo>
                <a:lnTo>
                  <a:pt x="2499" y="1199"/>
                </a:lnTo>
                <a:lnTo>
                  <a:pt x="2497" y="1196"/>
                </a:lnTo>
                <a:lnTo>
                  <a:pt x="2490" y="1190"/>
                </a:lnTo>
                <a:lnTo>
                  <a:pt x="2484" y="1185"/>
                </a:lnTo>
                <a:lnTo>
                  <a:pt x="2477" y="1181"/>
                </a:lnTo>
                <a:lnTo>
                  <a:pt x="2470" y="1176"/>
                </a:lnTo>
                <a:lnTo>
                  <a:pt x="2467" y="1172"/>
                </a:lnTo>
                <a:lnTo>
                  <a:pt x="2466" y="1168"/>
                </a:lnTo>
                <a:lnTo>
                  <a:pt x="2465" y="1165"/>
                </a:lnTo>
                <a:lnTo>
                  <a:pt x="2465" y="1165"/>
                </a:lnTo>
                <a:lnTo>
                  <a:pt x="2466" y="1160"/>
                </a:lnTo>
                <a:lnTo>
                  <a:pt x="2467" y="1156"/>
                </a:lnTo>
                <a:lnTo>
                  <a:pt x="2469" y="1151"/>
                </a:lnTo>
                <a:lnTo>
                  <a:pt x="2473" y="1148"/>
                </a:lnTo>
                <a:lnTo>
                  <a:pt x="2480" y="1141"/>
                </a:lnTo>
                <a:lnTo>
                  <a:pt x="2489" y="1134"/>
                </a:lnTo>
                <a:lnTo>
                  <a:pt x="2498" y="1128"/>
                </a:lnTo>
                <a:lnTo>
                  <a:pt x="2507" y="1121"/>
                </a:lnTo>
                <a:lnTo>
                  <a:pt x="2515" y="1113"/>
                </a:lnTo>
                <a:lnTo>
                  <a:pt x="2518" y="1109"/>
                </a:lnTo>
                <a:lnTo>
                  <a:pt x="2521" y="1103"/>
                </a:lnTo>
                <a:lnTo>
                  <a:pt x="2521" y="1103"/>
                </a:lnTo>
                <a:lnTo>
                  <a:pt x="2522" y="1095"/>
                </a:lnTo>
                <a:lnTo>
                  <a:pt x="2525" y="1083"/>
                </a:lnTo>
                <a:lnTo>
                  <a:pt x="2527" y="1079"/>
                </a:lnTo>
                <a:lnTo>
                  <a:pt x="2529" y="1074"/>
                </a:lnTo>
                <a:lnTo>
                  <a:pt x="2531" y="1072"/>
                </a:lnTo>
                <a:lnTo>
                  <a:pt x="2535" y="1071"/>
                </a:lnTo>
                <a:lnTo>
                  <a:pt x="2535" y="1071"/>
                </a:lnTo>
                <a:lnTo>
                  <a:pt x="2542" y="1071"/>
                </a:lnTo>
                <a:lnTo>
                  <a:pt x="2546" y="1072"/>
                </a:lnTo>
                <a:lnTo>
                  <a:pt x="2554" y="1076"/>
                </a:lnTo>
                <a:lnTo>
                  <a:pt x="2562" y="1080"/>
                </a:lnTo>
                <a:lnTo>
                  <a:pt x="2568" y="1081"/>
                </a:lnTo>
                <a:lnTo>
                  <a:pt x="2576" y="1081"/>
                </a:lnTo>
                <a:lnTo>
                  <a:pt x="2576" y="1081"/>
                </a:lnTo>
                <a:lnTo>
                  <a:pt x="2586" y="1080"/>
                </a:lnTo>
                <a:lnTo>
                  <a:pt x="2592" y="1077"/>
                </a:lnTo>
                <a:lnTo>
                  <a:pt x="2598" y="1073"/>
                </a:lnTo>
                <a:lnTo>
                  <a:pt x="2603" y="1066"/>
                </a:lnTo>
                <a:lnTo>
                  <a:pt x="2607" y="1059"/>
                </a:lnTo>
                <a:lnTo>
                  <a:pt x="2610" y="1050"/>
                </a:lnTo>
                <a:lnTo>
                  <a:pt x="2613" y="1030"/>
                </a:lnTo>
                <a:lnTo>
                  <a:pt x="2617" y="1011"/>
                </a:lnTo>
                <a:lnTo>
                  <a:pt x="2619" y="1000"/>
                </a:lnTo>
                <a:lnTo>
                  <a:pt x="2622" y="991"/>
                </a:lnTo>
                <a:lnTo>
                  <a:pt x="2626" y="983"/>
                </a:lnTo>
                <a:lnTo>
                  <a:pt x="2632" y="975"/>
                </a:lnTo>
                <a:lnTo>
                  <a:pt x="2637" y="968"/>
                </a:lnTo>
                <a:lnTo>
                  <a:pt x="2645" y="964"/>
                </a:lnTo>
                <a:lnTo>
                  <a:pt x="2645" y="964"/>
                </a:lnTo>
                <a:lnTo>
                  <a:pt x="2645" y="960"/>
                </a:lnTo>
                <a:lnTo>
                  <a:pt x="2644" y="956"/>
                </a:lnTo>
                <a:lnTo>
                  <a:pt x="2641" y="950"/>
                </a:lnTo>
                <a:lnTo>
                  <a:pt x="2636" y="943"/>
                </a:lnTo>
                <a:lnTo>
                  <a:pt x="2635" y="941"/>
                </a:lnTo>
                <a:lnTo>
                  <a:pt x="2635" y="938"/>
                </a:lnTo>
                <a:lnTo>
                  <a:pt x="2635" y="938"/>
                </a:lnTo>
                <a:lnTo>
                  <a:pt x="2634" y="931"/>
                </a:lnTo>
                <a:lnTo>
                  <a:pt x="2633" y="926"/>
                </a:lnTo>
                <a:lnTo>
                  <a:pt x="2630" y="920"/>
                </a:lnTo>
                <a:lnTo>
                  <a:pt x="2627" y="915"/>
                </a:lnTo>
                <a:lnTo>
                  <a:pt x="2619" y="907"/>
                </a:lnTo>
                <a:lnTo>
                  <a:pt x="2610" y="901"/>
                </a:lnTo>
                <a:lnTo>
                  <a:pt x="2591" y="889"/>
                </a:lnTo>
                <a:lnTo>
                  <a:pt x="2584" y="883"/>
                </a:lnTo>
                <a:lnTo>
                  <a:pt x="2581" y="880"/>
                </a:lnTo>
                <a:lnTo>
                  <a:pt x="2580" y="876"/>
                </a:lnTo>
                <a:lnTo>
                  <a:pt x="2580" y="876"/>
                </a:lnTo>
                <a:lnTo>
                  <a:pt x="2580" y="858"/>
                </a:lnTo>
                <a:lnTo>
                  <a:pt x="2580" y="837"/>
                </a:lnTo>
                <a:lnTo>
                  <a:pt x="2579" y="825"/>
                </a:lnTo>
                <a:lnTo>
                  <a:pt x="2577" y="815"/>
                </a:lnTo>
                <a:lnTo>
                  <a:pt x="2575" y="806"/>
                </a:lnTo>
                <a:lnTo>
                  <a:pt x="2573" y="798"/>
                </a:lnTo>
                <a:lnTo>
                  <a:pt x="2573" y="798"/>
                </a:lnTo>
                <a:lnTo>
                  <a:pt x="2569" y="794"/>
                </a:lnTo>
                <a:lnTo>
                  <a:pt x="2567" y="792"/>
                </a:lnTo>
                <a:lnTo>
                  <a:pt x="2560" y="789"/>
                </a:lnTo>
                <a:lnTo>
                  <a:pt x="2546" y="783"/>
                </a:lnTo>
                <a:lnTo>
                  <a:pt x="2539" y="781"/>
                </a:lnTo>
                <a:lnTo>
                  <a:pt x="2534" y="776"/>
                </a:lnTo>
                <a:lnTo>
                  <a:pt x="2531" y="773"/>
                </a:lnTo>
                <a:lnTo>
                  <a:pt x="2529" y="768"/>
                </a:lnTo>
                <a:lnTo>
                  <a:pt x="2529" y="763"/>
                </a:lnTo>
                <a:lnTo>
                  <a:pt x="2528" y="758"/>
                </a:lnTo>
                <a:lnTo>
                  <a:pt x="2528" y="758"/>
                </a:lnTo>
                <a:lnTo>
                  <a:pt x="2529" y="753"/>
                </a:lnTo>
                <a:lnTo>
                  <a:pt x="2531" y="748"/>
                </a:lnTo>
                <a:lnTo>
                  <a:pt x="2538" y="738"/>
                </a:lnTo>
                <a:lnTo>
                  <a:pt x="2546" y="730"/>
                </a:lnTo>
                <a:lnTo>
                  <a:pt x="2553" y="724"/>
                </a:lnTo>
                <a:lnTo>
                  <a:pt x="2553" y="724"/>
                </a:lnTo>
                <a:lnTo>
                  <a:pt x="2552" y="721"/>
                </a:lnTo>
                <a:lnTo>
                  <a:pt x="2551" y="717"/>
                </a:lnTo>
                <a:lnTo>
                  <a:pt x="2546" y="713"/>
                </a:lnTo>
                <a:lnTo>
                  <a:pt x="2542" y="709"/>
                </a:lnTo>
                <a:lnTo>
                  <a:pt x="2536" y="706"/>
                </a:lnTo>
                <a:lnTo>
                  <a:pt x="2530" y="702"/>
                </a:lnTo>
                <a:lnTo>
                  <a:pt x="2526" y="698"/>
                </a:lnTo>
                <a:lnTo>
                  <a:pt x="2522" y="692"/>
                </a:lnTo>
                <a:lnTo>
                  <a:pt x="2521" y="689"/>
                </a:lnTo>
                <a:lnTo>
                  <a:pt x="2521" y="684"/>
                </a:lnTo>
                <a:lnTo>
                  <a:pt x="2521" y="684"/>
                </a:lnTo>
                <a:lnTo>
                  <a:pt x="2521" y="677"/>
                </a:lnTo>
                <a:lnTo>
                  <a:pt x="2523" y="671"/>
                </a:lnTo>
                <a:lnTo>
                  <a:pt x="2526" y="666"/>
                </a:lnTo>
                <a:lnTo>
                  <a:pt x="2529" y="661"/>
                </a:lnTo>
                <a:lnTo>
                  <a:pt x="2534" y="656"/>
                </a:lnTo>
                <a:lnTo>
                  <a:pt x="2539" y="652"/>
                </a:lnTo>
                <a:lnTo>
                  <a:pt x="2551" y="645"/>
                </a:lnTo>
                <a:lnTo>
                  <a:pt x="2562" y="638"/>
                </a:lnTo>
                <a:lnTo>
                  <a:pt x="2575" y="631"/>
                </a:lnTo>
                <a:lnTo>
                  <a:pt x="2581" y="626"/>
                </a:lnTo>
                <a:lnTo>
                  <a:pt x="2586" y="622"/>
                </a:lnTo>
                <a:lnTo>
                  <a:pt x="2590" y="617"/>
                </a:lnTo>
                <a:lnTo>
                  <a:pt x="2594" y="611"/>
                </a:lnTo>
                <a:lnTo>
                  <a:pt x="2594" y="611"/>
                </a:lnTo>
                <a:lnTo>
                  <a:pt x="2597" y="606"/>
                </a:lnTo>
                <a:lnTo>
                  <a:pt x="2599" y="600"/>
                </a:lnTo>
                <a:lnTo>
                  <a:pt x="2600" y="590"/>
                </a:lnTo>
                <a:lnTo>
                  <a:pt x="2602" y="585"/>
                </a:lnTo>
                <a:lnTo>
                  <a:pt x="2603" y="582"/>
                </a:lnTo>
                <a:lnTo>
                  <a:pt x="2606" y="579"/>
                </a:lnTo>
                <a:lnTo>
                  <a:pt x="2612" y="578"/>
                </a:lnTo>
                <a:lnTo>
                  <a:pt x="2612" y="578"/>
                </a:lnTo>
                <a:lnTo>
                  <a:pt x="2622" y="578"/>
                </a:lnTo>
                <a:lnTo>
                  <a:pt x="2632" y="579"/>
                </a:lnTo>
                <a:lnTo>
                  <a:pt x="2640" y="579"/>
                </a:lnTo>
                <a:lnTo>
                  <a:pt x="2645" y="578"/>
                </a:lnTo>
                <a:lnTo>
                  <a:pt x="2645" y="578"/>
                </a:lnTo>
                <a:lnTo>
                  <a:pt x="2645" y="538"/>
                </a:lnTo>
                <a:lnTo>
                  <a:pt x="2645" y="538"/>
                </a:lnTo>
                <a:lnTo>
                  <a:pt x="2646" y="531"/>
                </a:lnTo>
                <a:lnTo>
                  <a:pt x="2649" y="525"/>
                </a:lnTo>
                <a:lnTo>
                  <a:pt x="2652" y="521"/>
                </a:lnTo>
                <a:lnTo>
                  <a:pt x="2657" y="516"/>
                </a:lnTo>
                <a:lnTo>
                  <a:pt x="2660" y="510"/>
                </a:lnTo>
                <a:lnTo>
                  <a:pt x="2664" y="506"/>
                </a:lnTo>
                <a:lnTo>
                  <a:pt x="2666" y="500"/>
                </a:lnTo>
                <a:lnTo>
                  <a:pt x="2667" y="493"/>
                </a:lnTo>
                <a:lnTo>
                  <a:pt x="2667" y="493"/>
                </a:lnTo>
                <a:lnTo>
                  <a:pt x="2666" y="489"/>
                </a:lnTo>
                <a:lnTo>
                  <a:pt x="2664" y="485"/>
                </a:lnTo>
                <a:lnTo>
                  <a:pt x="2656" y="476"/>
                </a:lnTo>
                <a:lnTo>
                  <a:pt x="2648" y="466"/>
                </a:lnTo>
                <a:lnTo>
                  <a:pt x="2642" y="461"/>
                </a:lnTo>
                <a:lnTo>
                  <a:pt x="2642" y="461"/>
                </a:lnTo>
                <a:lnTo>
                  <a:pt x="2635" y="460"/>
                </a:lnTo>
                <a:lnTo>
                  <a:pt x="2629" y="456"/>
                </a:lnTo>
                <a:lnTo>
                  <a:pt x="2625" y="453"/>
                </a:lnTo>
                <a:lnTo>
                  <a:pt x="2621" y="448"/>
                </a:lnTo>
                <a:lnTo>
                  <a:pt x="2619" y="443"/>
                </a:lnTo>
                <a:lnTo>
                  <a:pt x="2617" y="438"/>
                </a:lnTo>
                <a:lnTo>
                  <a:pt x="2612" y="426"/>
                </a:lnTo>
                <a:lnTo>
                  <a:pt x="2606" y="414"/>
                </a:lnTo>
                <a:lnTo>
                  <a:pt x="2603" y="409"/>
                </a:lnTo>
                <a:lnTo>
                  <a:pt x="2599" y="404"/>
                </a:lnTo>
                <a:lnTo>
                  <a:pt x="2594" y="400"/>
                </a:lnTo>
                <a:lnTo>
                  <a:pt x="2587" y="396"/>
                </a:lnTo>
                <a:lnTo>
                  <a:pt x="2579" y="395"/>
                </a:lnTo>
                <a:lnTo>
                  <a:pt x="2568" y="394"/>
                </a:lnTo>
                <a:lnTo>
                  <a:pt x="2568" y="394"/>
                </a:lnTo>
                <a:lnTo>
                  <a:pt x="2561" y="394"/>
                </a:lnTo>
                <a:lnTo>
                  <a:pt x="2554" y="396"/>
                </a:lnTo>
                <a:lnTo>
                  <a:pt x="2543" y="400"/>
                </a:lnTo>
                <a:lnTo>
                  <a:pt x="2530" y="403"/>
                </a:lnTo>
                <a:lnTo>
                  <a:pt x="2523" y="404"/>
                </a:lnTo>
                <a:lnTo>
                  <a:pt x="2516" y="405"/>
                </a:lnTo>
                <a:lnTo>
                  <a:pt x="2516" y="405"/>
                </a:lnTo>
                <a:lnTo>
                  <a:pt x="2506" y="404"/>
                </a:lnTo>
                <a:lnTo>
                  <a:pt x="2496" y="402"/>
                </a:lnTo>
                <a:lnTo>
                  <a:pt x="2487" y="399"/>
                </a:lnTo>
                <a:lnTo>
                  <a:pt x="2478" y="395"/>
                </a:lnTo>
                <a:lnTo>
                  <a:pt x="2472" y="391"/>
                </a:lnTo>
                <a:lnTo>
                  <a:pt x="2466" y="385"/>
                </a:lnTo>
                <a:lnTo>
                  <a:pt x="2462" y="380"/>
                </a:lnTo>
                <a:lnTo>
                  <a:pt x="2461" y="376"/>
                </a:lnTo>
                <a:lnTo>
                  <a:pt x="2461" y="376"/>
                </a:lnTo>
                <a:lnTo>
                  <a:pt x="2462" y="358"/>
                </a:lnTo>
                <a:lnTo>
                  <a:pt x="2461" y="349"/>
                </a:lnTo>
                <a:lnTo>
                  <a:pt x="2460" y="344"/>
                </a:lnTo>
                <a:lnTo>
                  <a:pt x="2458" y="339"/>
                </a:lnTo>
                <a:lnTo>
                  <a:pt x="2458" y="339"/>
                </a:lnTo>
                <a:lnTo>
                  <a:pt x="2449" y="340"/>
                </a:lnTo>
                <a:lnTo>
                  <a:pt x="2441" y="340"/>
                </a:lnTo>
                <a:lnTo>
                  <a:pt x="2434" y="339"/>
                </a:lnTo>
                <a:lnTo>
                  <a:pt x="2428" y="336"/>
                </a:lnTo>
                <a:lnTo>
                  <a:pt x="2423" y="333"/>
                </a:lnTo>
                <a:lnTo>
                  <a:pt x="2420" y="327"/>
                </a:lnTo>
                <a:lnTo>
                  <a:pt x="2419" y="319"/>
                </a:lnTo>
                <a:lnTo>
                  <a:pt x="2418" y="309"/>
                </a:lnTo>
                <a:lnTo>
                  <a:pt x="2418" y="309"/>
                </a:lnTo>
                <a:lnTo>
                  <a:pt x="2419" y="300"/>
                </a:lnTo>
                <a:lnTo>
                  <a:pt x="2420" y="292"/>
                </a:lnTo>
                <a:lnTo>
                  <a:pt x="2422" y="284"/>
                </a:lnTo>
                <a:lnTo>
                  <a:pt x="2424" y="275"/>
                </a:lnTo>
                <a:lnTo>
                  <a:pt x="2432" y="262"/>
                </a:lnTo>
                <a:lnTo>
                  <a:pt x="2442" y="248"/>
                </a:lnTo>
                <a:lnTo>
                  <a:pt x="2461" y="221"/>
                </a:lnTo>
                <a:lnTo>
                  <a:pt x="2469" y="208"/>
                </a:lnTo>
                <a:lnTo>
                  <a:pt x="2474" y="201"/>
                </a:lnTo>
                <a:lnTo>
                  <a:pt x="2476" y="193"/>
                </a:lnTo>
                <a:lnTo>
                  <a:pt x="2476" y="193"/>
                </a:lnTo>
                <a:lnTo>
                  <a:pt x="2477" y="187"/>
                </a:lnTo>
                <a:lnTo>
                  <a:pt x="2477" y="182"/>
                </a:lnTo>
                <a:lnTo>
                  <a:pt x="2475" y="172"/>
                </a:lnTo>
                <a:lnTo>
                  <a:pt x="2474" y="163"/>
                </a:lnTo>
                <a:lnTo>
                  <a:pt x="2475" y="157"/>
                </a:lnTo>
                <a:lnTo>
                  <a:pt x="2476" y="152"/>
                </a:lnTo>
                <a:lnTo>
                  <a:pt x="2476" y="152"/>
                </a:lnTo>
                <a:lnTo>
                  <a:pt x="2478" y="145"/>
                </a:lnTo>
                <a:lnTo>
                  <a:pt x="2482" y="141"/>
                </a:lnTo>
                <a:lnTo>
                  <a:pt x="2491" y="132"/>
                </a:lnTo>
                <a:lnTo>
                  <a:pt x="2495" y="126"/>
                </a:lnTo>
                <a:lnTo>
                  <a:pt x="2499" y="118"/>
                </a:lnTo>
                <a:lnTo>
                  <a:pt x="2502" y="109"/>
                </a:lnTo>
                <a:lnTo>
                  <a:pt x="2503" y="96"/>
                </a:lnTo>
                <a:lnTo>
                  <a:pt x="2503" y="96"/>
                </a:lnTo>
                <a:lnTo>
                  <a:pt x="2502" y="88"/>
                </a:lnTo>
                <a:lnTo>
                  <a:pt x="2498" y="80"/>
                </a:lnTo>
                <a:lnTo>
                  <a:pt x="2493" y="72"/>
                </a:lnTo>
                <a:lnTo>
                  <a:pt x="2488" y="64"/>
                </a:lnTo>
                <a:lnTo>
                  <a:pt x="2481" y="56"/>
                </a:lnTo>
                <a:lnTo>
                  <a:pt x="2473" y="48"/>
                </a:lnTo>
                <a:lnTo>
                  <a:pt x="2464" y="41"/>
                </a:lnTo>
                <a:lnTo>
                  <a:pt x="2453" y="34"/>
                </a:lnTo>
                <a:lnTo>
                  <a:pt x="2432" y="22"/>
                </a:lnTo>
                <a:lnTo>
                  <a:pt x="2411" y="13"/>
                </a:lnTo>
                <a:lnTo>
                  <a:pt x="2400" y="10"/>
                </a:lnTo>
                <a:lnTo>
                  <a:pt x="2391" y="7"/>
                </a:lnTo>
                <a:lnTo>
                  <a:pt x="2382" y="5"/>
                </a:lnTo>
                <a:lnTo>
                  <a:pt x="2374" y="5"/>
                </a:lnTo>
                <a:lnTo>
                  <a:pt x="2374" y="5"/>
                </a:lnTo>
                <a:lnTo>
                  <a:pt x="2369" y="4"/>
                </a:lnTo>
                <a:lnTo>
                  <a:pt x="2363" y="2"/>
                </a:lnTo>
                <a:lnTo>
                  <a:pt x="2355" y="0"/>
                </a:lnTo>
                <a:lnTo>
                  <a:pt x="2351" y="0"/>
                </a:lnTo>
                <a:lnTo>
                  <a:pt x="2344" y="2"/>
                </a:lnTo>
                <a:lnTo>
                  <a:pt x="2344" y="2"/>
                </a:lnTo>
                <a:lnTo>
                  <a:pt x="2350" y="18"/>
                </a:lnTo>
                <a:lnTo>
                  <a:pt x="2358" y="35"/>
                </a:lnTo>
                <a:lnTo>
                  <a:pt x="2367" y="51"/>
                </a:lnTo>
                <a:lnTo>
                  <a:pt x="2377" y="66"/>
                </a:lnTo>
                <a:lnTo>
                  <a:pt x="2388" y="80"/>
                </a:lnTo>
                <a:lnTo>
                  <a:pt x="2399" y="92"/>
                </a:lnTo>
                <a:lnTo>
                  <a:pt x="2408" y="103"/>
                </a:lnTo>
                <a:lnTo>
                  <a:pt x="2418" y="111"/>
                </a:lnTo>
                <a:lnTo>
                  <a:pt x="2418" y="111"/>
                </a:lnTo>
                <a:lnTo>
                  <a:pt x="2426" y="127"/>
                </a:lnTo>
                <a:lnTo>
                  <a:pt x="2429" y="136"/>
                </a:lnTo>
                <a:lnTo>
                  <a:pt x="2429" y="139"/>
                </a:lnTo>
                <a:lnTo>
                  <a:pt x="2428" y="141"/>
                </a:lnTo>
                <a:lnTo>
                  <a:pt x="2426" y="141"/>
                </a:lnTo>
                <a:lnTo>
                  <a:pt x="2423" y="141"/>
                </a:lnTo>
                <a:lnTo>
                  <a:pt x="2415" y="136"/>
                </a:lnTo>
                <a:lnTo>
                  <a:pt x="2405" y="130"/>
                </a:lnTo>
                <a:lnTo>
                  <a:pt x="2377" y="112"/>
                </a:lnTo>
                <a:lnTo>
                  <a:pt x="2361" y="102"/>
                </a:lnTo>
                <a:lnTo>
                  <a:pt x="2344" y="92"/>
                </a:lnTo>
                <a:lnTo>
                  <a:pt x="2328" y="83"/>
                </a:lnTo>
                <a:lnTo>
                  <a:pt x="2310" y="78"/>
                </a:lnTo>
                <a:lnTo>
                  <a:pt x="2302" y="74"/>
                </a:lnTo>
                <a:lnTo>
                  <a:pt x="2294" y="73"/>
                </a:lnTo>
                <a:lnTo>
                  <a:pt x="2287" y="72"/>
                </a:lnTo>
                <a:lnTo>
                  <a:pt x="2279" y="73"/>
                </a:lnTo>
                <a:lnTo>
                  <a:pt x="2274" y="74"/>
                </a:lnTo>
                <a:lnTo>
                  <a:pt x="2267" y="76"/>
                </a:lnTo>
                <a:lnTo>
                  <a:pt x="2261" y="80"/>
                </a:lnTo>
                <a:lnTo>
                  <a:pt x="2256" y="86"/>
                </a:lnTo>
                <a:lnTo>
                  <a:pt x="2256" y="86"/>
                </a:lnTo>
                <a:lnTo>
                  <a:pt x="2250" y="92"/>
                </a:lnTo>
                <a:lnTo>
                  <a:pt x="2244" y="96"/>
                </a:lnTo>
                <a:lnTo>
                  <a:pt x="2239" y="98"/>
                </a:lnTo>
                <a:lnTo>
                  <a:pt x="2236" y="98"/>
                </a:lnTo>
                <a:lnTo>
                  <a:pt x="2233" y="97"/>
                </a:lnTo>
                <a:lnTo>
                  <a:pt x="2230" y="94"/>
                </a:lnTo>
                <a:lnTo>
                  <a:pt x="2223" y="82"/>
                </a:lnTo>
                <a:lnTo>
                  <a:pt x="2218" y="76"/>
                </a:lnTo>
                <a:lnTo>
                  <a:pt x="2212" y="69"/>
                </a:lnTo>
                <a:lnTo>
                  <a:pt x="2205" y="61"/>
                </a:lnTo>
                <a:lnTo>
                  <a:pt x="2194" y="55"/>
                </a:lnTo>
                <a:lnTo>
                  <a:pt x="2183" y="48"/>
                </a:lnTo>
                <a:lnTo>
                  <a:pt x="2169" y="41"/>
                </a:lnTo>
                <a:lnTo>
                  <a:pt x="2152" y="35"/>
                </a:lnTo>
                <a:lnTo>
                  <a:pt x="2131" y="30"/>
                </a:lnTo>
                <a:lnTo>
                  <a:pt x="2131" y="30"/>
                </a:lnTo>
                <a:lnTo>
                  <a:pt x="2121" y="29"/>
                </a:lnTo>
                <a:lnTo>
                  <a:pt x="2111" y="29"/>
                </a:lnTo>
                <a:lnTo>
                  <a:pt x="2101" y="29"/>
                </a:lnTo>
                <a:lnTo>
                  <a:pt x="2092" y="30"/>
                </a:lnTo>
                <a:lnTo>
                  <a:pt x="2083" y="32"/>
                </a:lnTo>
                <a:lnTo>
                  <a:pt x="2073" y="34"/>
                </a:lnTo>
                <a:lnTo>
                  <a:pt x="2056" y="41"/>
                </a:lnTo>
                <a:lnTo>
                  <a:pt x="2040" y="50"/>
                </a:lnTo>
                <a:lnTo>
                  <a:pt x="2025" y="60"/>
                </a:lnTo>
                <a:lnTo>
                  <a:pt x="2011" y="72"/>
                </a:lnTo>
                <a:lnTo>
                  <a:pt x="1999" y="86"/>
                </a:lnTo>
                <a:lnTo>
                  <a:pt x="1987" y="99"/>
                </a:lnTo>
                <a:lnTo>
                  <a:pt x="1977" y="113"/>
                </a:lnTo>
                <a:lnTo>
                  <a:pt x="1968" y="128"/>
                </a:lnTo>
                <a:lnTo>
                  <a:pt x="1961" y="143"/>
                </a:lnTo>
                <a:lnTo>
                  <a:pt x="1955" y="157"/>
                </a:lnTo>
                <a:lnTo>
                  <a:pt x="1951" y="170"/>
                </a:lnTo>
                <a:lnTo>
                  <a:pt x="1949" y="182"/>
                </a:lnTo>
                <a:lnTo>
                  <a:pt x="1948" y="193"/>
                </a:lnTo>
                <a:lnTo>
                  <a:pt x="1948" y="193"/>
                </a:lnTo>
                <a:lnTo>
                  <a:pt x="1947" y="208"/>
                </a:lnTo>
                <a:lnTo>
                  <a:pt x="1943" y="231"/>
                </a:lnTo>
                <a:lnTo>
                  <a:pt x="1941" y="244"/>
                </a:lnTo>
                <a:lnTo>
                  <a:pt x="1937" y="257"/>
                </a:lnTo>
                <a:lnTo>
                  <a:pt x="1932" y="271"/>
                </a:lnTo>
                <a:lnTo>
                  <a:pt x="1926" y="284"/>
                </a:lnTo>
                <a:lnTo>
                  <a:pt x="1918" y="295"/>
                </a:lnTo>
                <a:lnTo>
                  <a:pt x="1909" y="305"/>
                </a:lnTo>
                <a:lnTo>
                  <a:pt x="1904" y="310"/>
                </a:lnTo>
                <a:lnTo>
                  <a:pt x="1899" y="315"/>
                </a:lnTo>
                <a:lnTo>
                  <a:pt x="1893" y="317"/>
                </a:lnTo>
                <a:lnTo>
                  <a:pt x="1886" y="320"/>
                </a:lnTo>
                <a:lnTo>
                  <a:pt x="1879" y="321"/>
                </a:lnTo>
                <a:lnTo>
                  <a:pt x="1871" y="323"/>
                </a:lnTo>
                <a:lnTo>
                  <a:pt x="1864" y="323"/>
                </a:lnTo>
                <a:lnTo>
                  <a:pt x="1855" y="323"/>
                </a:lnTo>
                <a:lnTo>
                  <a:pt x="1846" y="320"/>
                </a:lnTo>
                <a:lnTo>
                  <a:pt x="1836" y="318"/>
                </a:lnTo>
                <a:lnTo>
                  <a:pt x="1826" y="315"/>
                </a:lnTo>
                <a:lnTo>
                  <a:pt x="1816" y="309"/>
                </a:lnTo>
                <a:lnTo>
                  <a:pt x="1816" y="309"/>
                </a:lnTo>
                <a:lnTo>
                  <a:pt x="1798" y="313"/>
                </a:lnTo>
                <a:lnTo>
                  <a:pt x="1783" y="318"/>
                </a:lnTo>
                <a:lnTo>
                  <a:pt x="1770" y="323"/>
                </a:lnTo>
                <a:lnTo>
                  <a:pt x="1757" y="328"/>
                </a:lnTo>
                <a:lnTo>
                  <a:pt x="1735" y="339"/>
                </a:lnTo>
                <a:lnTo>
                  <a:pt x="1718" y="349"/>
                </a:lnTo>
                <a:lnTo>
                  <a:pt x="1705" y="357"/>
                </a:lnTo>
                <a:lnTo>
                  <a:pt x="1697" y="362"/>
                </a:lnTo>
                <a:lnTo>
                  <a:pt x="1694" y="362"/>
                </a:lnTo>
                <a:lnTo>
                  <a:pt x="1691" y="361"/>
                </a:lnTo>
                <a:lnTo>
                  <a:pt x="1690" y="358"/>
                </a:lnTo>
                <a:lnTo>
                  <a:pt x="1690" y="354"/>
                </a:lnTo>
                <a:lnTo>
                  <a:pt x="1690" y="354"/>
                </a:lnTo>
                <a:lnTo>
                  <a:pt x="1691" y="341"/>
                </a:lnTo>
                <a:lnTo>
                  <a:pt x="1694" y="326"/>
                </a:lnTo>
                <a:lnTo>
                  <a:pt x="1695" y="312"/>
                </a:lnTo>
                <a:lnTo>
                  <a:pt x="1695" y="305"/>
                </a:lnTo>
                <a:lnTo>
                  <a:pt x="1694" y="300"/>
                </a:lnTo>
                <a:lnTo>
                  <a:pt x="1690" y="295"/>
                </a:lnTo>
                <a:lnTo>
                  <a:pt x="1685" y="292"/>
                </a:lnTo>
                <a:lnTo>
                  <a:pt x="1678" y="289"/>
                </a:lnTo>
                <a:lnTo>
                  <a:pt x="1668" y="289"/>
                </a:lnTo>
                <a:lnTo>
                  <a:pt x="1657" y="290"/>
                </a:lnTo>
                <a:lnTo>
                  <a:pt x="1642" y="294"/>
                </a:lnTo>
                <a:lnTo>
                  <a:pt x="1624" y="301"/>
                </a:lnTo>
                <a:lnTo>
                  <a:pt x="1602" y="309"/>
                </a:lnTo>
                <a:lnTo>
                  <a:pt x="1602" y="309"/>
                </a:lnTo>
                <a:lnTo>
                  <a:pt x="1594" y="312"/>
                </a:lnTo>
                <a:lnTo>
                  <a:pt x="1586" y="317"/>
                </a:lnTo>
                <a:lnTo>
                  <a:pt x="1579" y="321"/>
                </a:lnTo>
                <a:lnTo>
                  <a:pt x="1573" y="326"/>
                </a:lnTo>
                <a:lnTo>
                  <a:pt x="1568" y="332"/>
                </a:lnTo>
                <a:lnTo>
                  <a:pt x="1564" y="338"/>
                </a:lnTo>
                <a:lnTo>
                  <a:pt x="1561" y="344"/>
                </a:lnTo>
                <a:lnTo>
                  <a:pt x="1559" y="350"/>
                </a:lnTo>
                <a:lnTo>
                  <a:pt x="1557" y="365"/>
                </a:lnTo>
                <a:lnTo>
                  <a:pt x="1557" y="380"/>
                </a:lnTo>
                <a:lnTo>
                  <a:pt x="1558" y="395"/>
                </a:lnTo>
                <a:lnTo>
                  <a:pt x="1561" y="410"/>
                </a:lnTo>
                <a:lnTo>
                  <a:pt x="1567" y="441"/>
                </a:lnTo>
                <a:lnTo>
                  <a:pt x="1571" y="455"/>
                </a:lnTo>
                <a:lnTo>
                  <a:pt x="1572" y="468"/>
                </a:lnTo>
                <a:lnTo>
                  <a:pt x="1573" y="479"/>
                </a:lnTo>
                <a:lnTo>
                  <a:pt x="1572" y="484"/>
                </a:lnTo>
                <a:lnTo>
                  <a:pt x="1571" y="488"/>
                </a:lnTo>
                <a:lnTo>
                  <a:pt x="1568" y="492"/>
                </a:lnTo>
                <a:lnTo>
                  <a:pt x="1566" y="495"/>
                </a:lnTo>
                <a:lnTo>
                  <a:pt x="1563" y="499"/>
                </a:lnTo>
                <a:lnTo>
                  <a:pt x="1558" y="500"/>
                </a:lnTo>
                <a:lnTo>
                  <a:pt x="1558" y="500"/>
                </a:lnTo>
                <a:lnTo>
                  <a:pt x="1557" y="502"/>
                </a:lnTo>
                <a:lnTo>
                  <a:pt x="1556" y="500"/>
                </a:lnTo>
                <a:lnTo>
                  <a:pt x="1553" y="491"/>
                </a:lnTo>
                <a:lnTo>
                  <a:pt x="1548" y="457"/>
                </a:lnTo>
                <a:lnTo>
                  <a:pt x="1544" y="439"/>
                </a:lnTo>
                <a:lnTo>
                  <a:pt x="1540" y="424"/>
                </a:lnTo>
                <a:lnTo>
                  <a:pt x="1537" y="418"/>
                </a:lnTo>
                <a:lnTo>
                  <a:pt x="1535" y="415"/>
                </a:lnTo>
                <a:lnTo>
                  <a:pt x="1531" y="415"/>
                </a:lnTo>
                <a:lnTo>
                  <a:pt x="1528" y="416"/>
                </a:lnTo>
                <a:lnTo>
                  <a:pt x="1528" y="416"/>
                </a:lnTo>
                <a:lnTo>
                  <a:pt x="1517" y="426"/>
                </a:lnTo>
                <a:lnTo>
                  <a:pt x="1504" y="437"/>
                </a:lnTo>
                <a:lnTo>
                  <a:pt x="1491" y="446"/>
                </a:lnTo>
                <a:lnTo>
                  <a:pt x="1477" y="456"/>
                </a:lnTo>
                <a:lnTo>
                  <a:pt x="1477" y="456"/>
                </a:lnTo>
                <a:lnTo>
                  <a:pt x="1473" y="453"/>
                </a:lnTo>
                <a:lnTo>
                  <a:pt x="1470" y="449"/>
                </a:lnTo>
                <a:lnTo>
                  <a:pt x="1470" y="446"/>
                </a:lnTo>
                <a:lnTo>
                  <a:pt x="1473" y="442"/>
                </a:lnTo>
                <a:lnTo>
                  <a:pt x="1475" y="438"/>
                </a:lnTo>
                <a:lnTo>
                  <a:pt x="1479" y="434"/>
                </a:lnTo>
                <a:lnTo>
                  <a:pt x="1488" y="425"/>
                </a:lnTo>
                <a:lnTo>
                  <a:pt x="1498" y="416"/>
                </a:lnTo>
                <a:lnTo>
                  <a:pt x="1503" y="411"/>
                </a:lnTo>
                <a:lnTo>
                  <a:pt x="1506" y="405"/>
                </a:lnTo>
                <a:lnTo>
                  <a:pt x="1508" y="401"/>
                </a:lnTo>
                <a:lnTo>
                  <a:pt x="1510" y="395"/>
                </a:lnTo>
                <a:lnTo>
                  <a:pt x="1510" y="389"/>
                </a:lnTo>
                <a:lnTo>
                  <a:pt x="1507" y="382"/>
                </a:lnTo>
                <a:lnTo>
                  <a:pt x="1507" y="382"/>
                </a:lnTo>
                <a:lnTo>
                  <a:pt x="1493" y="387"/>
                </a:lnTo>
                <a:lnTo>
                  <a:pt x="1481" y="393"/>
                </a:lnTo>
                <a:lnTo>
                  <a:pt x="1467" y="400"/>
                </a:lnTo>
                <a:lnTo>
                  <a:pt x="1453" y="408"/>
                </a:lnTo>
                <a:lnTo>
                  <a:pt x="1426" y="428"/>
                </a:lnTo>
                <a:lnTo>
                  <a:pt x="1397" y="449"/>
                </a:lnTo>
                <a:lnTo>
                  <a:pt x="1382" y="460"/>
                </a:lnTo>
                <a:lnTo>
                  <a:pt x="1367" y="469"/>
                </a:lnTo>
                <a:lnTo>
                  <a:pt x="1352" y="477"/>
                </a:lnTo>
                <a:lnTo>
                  <a:pt x="1337" y="485"/>
                </a:lnTo>
                <a:lnTo>
                  <a:pt x="1322" y="489"/>
                </a:lnTo>
                <a:lnTo>
                  <a:pt x="1307" y="493"/>
                </a:lnTo>
                <a:lnTo>
                  <a:pt x="1291" y="495"/>
                </a:lnTo>
                <a:lnTo>
                  <a:pt x="1283" y="494"/>
                </a:lnTo>
                <a:lnTo>
                  <a:pt x="1275" y="493"/>
                </a:lnTo>
                <a:lnTo>
                  <a:pt x="1275" y="493"/>
                </a:lnTo>
                <a:lnTo>
                  <a:pt x="1289" y="506"/>
                </a:lnTo>
                <a:lnTo>
                  <a:pt x="1299" y="516"/>
                </a:lnTo>
                <a:lnTo>
                  <a:pt x="1306" y="525"/>
                </a:lnTo>
                <a:lnTo>
                  <a:pt x="1311" y="532"/>
                </a:lnTo>
                <a:lnTo>
                  <a:pt x="1312" y="539"/>
                </a:lnTo>
                <a:lnTo>
                  <a:pt x="1311" y="546"/>
                </a:lnTo>
                <a:lnTo>
                  <a:pt x="1308" y="552"/>
                </a:lnTo>
                <a:lnTo>
                  <a:pt x="1305" y="557"/>
                </a:lnTo>
                <a:lnTo>
                  <a:pt x="1293" y="571"/>
                </a:lnTo>
                <a:lnTo>
                  <a:pt x="1288" y="579"/>
                </a:lnTo>
                <a:lnTo>
                  <a:pt x="1281" y="588"/>
                </a:lnTo>
                <a:lnTo>
                  <a:pt x="1275" y="599"/>
                </a:lnTo>
                <a:lnTo>
                  <a:pt x="1270" y="611"/>
                </a:lnTo>
                <a:lnTo>
                  <a:pt x="1267" y="626"/>
                </a:lnTo>
                <a:lnTo>
                  <a:pt x="1265" y="644"/>
                </a:lnTo>
                <a:lnTo>
                  <a:pt x="1265" y="644"/>
                </a:lnTo>
                <a:lnTo>
                  <a:pt x="1276" y="644"/>
                </a:lnTo>
                <a:lnTo>
                  <a:pt x="1286" y="641"/>
                </a:lnTo>
                <a:lnTo>
                  <a:pt x="1294" y="637"/>
                </a:lnTo>
                <a:lnTo>
                  <a:pt x="1301" y="632"/>
                </a:lnTo>
                <a:lnTo>
                  <a:pt x="1306" y="628"/>
                </a:lnTo>
                <a:lnTo>
                  <a:pt x="1311" y="623"/>
                </a:lnTo>
                <a:lnTo>
                  <a:pt x="1317" y="615"/>
                </a:lnTo>
                <a:lnTo>
                  <a:pt x="1320" y="613"/>
                </a:lnTo>
                <a:lnTo>
                  <a:pt x="1322" y="613"/>
                </a:lnTo>
                <a:lnTo>
                  <a:pt x="1324" y="616"/>
                </a:lnTo>
                <a:lnTo>
                  <a:pt x="1327" y="622"/>
                </a:lnTo>
                <a:lnTo>
                  <a:pt x="1334" y="644"/>
                </a:lnTo>
                <a:lnTo>
                  <a:pt x="1345" y="684"/>
                </a:lnTo>
                <a:lnTo>
                  <a:pt x="1345" y="684"/>
                </a:lnTo>
                <a:lnTo>
                  <a:pt x="1360" y="690"/>
                </a:lnTo>
                <a:lnTo>
                  <a:pt x="1373" y="695"/>
                </a:lnTo>
                <a:lnTo>
                  <a:pt x="1382" y="701"/>
                </a:lnTo>
                <a:lnTo>
                  <a:pt x="1388" y="707"/>
                </a:lnTo>
                <a:lnTo>
                  <a:pt x="1392" y="712"/>
                </a:lnTo>
                <a:lnTo>
                  <a:pt x="1395" y="717"/>
                </a:lnTo>
                <a:lnTo>
                  <a:pt x="1393" y="722"/>
                </a:lnTo>
                <a:lnTo>
                  <a:pt x="1391" y="725"/>
                </a:lnTo>
                <a:lnTo>
                  <a:pt x="1388" y="729"/>
                </a:lnTo>
                <a:lnTo>
                  <a:pt x="1382" y="732"/>
                </a:lnTo>
                <a:lnTo>
                  <a:pt x="1374" y="733"/>
                </a:lnTo>
                <a:lnTo>
                  <a:pt x="1366" y="735"/>
                </a:lnTo>
                <a:lnTo>
                  <a:pt x="1355" y="735"/>
                </a:lnTo>
                <a:lnTo>
                  <a:pt x="1344" y="735"/>
                </a:lnTo>
                <a:lnTo>
                  <a:pt x="1332" y="732"/>
                </a:lnTo>
                <a:lnTo>
                  <a:pt x="1320" y="729"/>
                </a:lnTo>
                <a:lnTo>
                  <a:pt x="1320" y="729"/>
                </a:lnTo>
                <a:lnTo>
                  <a:pt x="1315" y="733"/>
                </a:lnTo>
                <a:lnTo>
                  <a:pt x="1312" y="738"/>
                </a:lnTo>
                <a:lnTo>
                  <a:pt x="1308" y="743"/>
                </a:lnTo>
                <a:lnTo>
                  <a:pt x="1307" y="747"/>
                </a:lnTo>
                <a:lnTo>
                  <a:pt x="1306" y="752"/>
                </a:lnTo>
                <a:lnTo>
                  <a:pt x="1306" y="756"/>
                </a:lnTo>
                <a:lnTo>
                  <a:pt x="1308" y="766"/>
                </a:lnTo>
                <a:lnTo>
                  <a:pt x="1313" y="775"/>
                </a:lnTo>
                <a:lnTo>
                  <a:pt x="1317" y="784"/>
                </a:lnTo>
                <a:lnTo>
                  <a:pt x="1330" y="799"/>
                </a:lnTo>
                <a:lnTo>
                  <a:pt x="1338" y="811"/>
                </a:lnTo>
                <a:lnTo>
                  <a:pt x="1340" y="815"/>
                </a:lnTo>
                <a:lnTo>
                  <a:pt x="1340" y="816"/>
                </a:lnTo>
                <a:lnTo>
                  <a:pt x="1339" y="817"/>
                </a:lnTo>
                <a:lnTo>
                  <a:pt x="1335" y="817"/>
                </a:lnTo>
                <a:lnTo>
                  <a:pt x="1325" y="817"/>
                </a:lnTo>
                <a:lnTo>
                  <a:pt x="1313" y="814"/>
                </a:lnTo>
                <a:lnTo>
                  <a:pt x="1293" y="809"/>
                </a:lnTo>
                <a:lnTo>
                  <a:pt x="1293" y="809"/>
                </a:lnTo>
                <a:lnTo>
                  <a:pt x="1260" y="808"/>
                </a:lnTo>
                <a:lnTo>
                  <a:pt x="1238" y="808"/>
                </a:lnTo>
                <a:lnTo>
                  <a:pt x="1230" y="808"/>
                </a:lnTo>
                <a:lnTo>
                  <a:pt x="1223" y="808"/>
                </a:lnTo>
                <a:lnTo>
                  <a:pt x="1218" y="811"/>
                </a:lnTo>
                <a:lnTo>
                  <a:pt x="1215" y="813"/>
                </a:lnTo>
                <a:lnTo>
                  <a:pt x="1210" y="816"/>
                </a:lnTo>
                <a:lnTo>
                  <a:pt x="1207" y="821"/>
                </a:lnTo>
                <a:lnTo>
                  <a:pt x="1200" y="836"/>
                </a:lnTo>
                <a:lnTo>
                  <a:pt x="1187" y="858"/>
                </a:lnTo>
                <a:lnTo>
                  <a:pt x="1169" y="890"/>
                </a:lnTo>
                <a:lnTo>
                  <a:pt x="1169" y="890"/>
                </a:lnTo>
                <a:lnTo>
                  <a:pt x="1157" y="898"/>
                </a:lnTo>
                <a:lnTo>
                  <a:pt x="1148" y="904"/>
                </a:lnTo>
                <a:lnTo>
                  <a:pt x="1138" y="906"/>
                </a:lnTo>
                <a:lnTo>
                  <a:pt x="1129" y="906"/>
                </a:lnTo>
                <a:lnTo>
                  <a:pt x="1121" y="904"/>
                </a:lnTo>
                <a:lnTo>
                  <a:pt x="1113" y="901"/>
                </a:lnTo>
                <a:lnTo>
                  <a:pt x="1106" y="898"/>
                </a:lnTo>
                <a:lnTo>
                  <a:pt x="1099" y="893"/>
                </a:lnTo>
                <a:lnTo>
                  <a:pt x="1088" y="886"/>
                </a:lnTo>
                <a:lnTo>
                  <a:pt x="1084" y="883"/>
                </a:lnTo>
                <a:lnTo>
                  <a:pt x="1080" y="882"/>
                </a:lnTo>
                <a:lnTo>
                  <a:pt x="1077" y="882"/>
                </a:lnTo>
                <a:lnTo>
                  <a:pt x="1076" y="884"/>
                </a:lnTo>
                <a:lnTo>
                  <a:pt x="1073" y="890"/>
                </a:lnTo>
                <a:lnTo>
                  <a:pt x="1073" y="897"/>
                </a:lnTo>
                <a:lnTo>
                  <a:pt x="1073" y="897"/>
                </a:lnTo>
                <a:lnTo>
                  <a:pt x="1075" y="907"/>
                </a:lnTo>
                <a:lnTo>
                  <a:pt x="1077" y="919"/>
                </a:lnTo>
                <a:lnTo>
                  <a:pt x="1086" y="946"/>
                </a:lnTo>
                <a:lnTo>
                  <a:pt x="1097" y="976"/>
                </a:lnTo>
                <a:lnTo>
                  <a:pt x="1101" y="992"/>
                </a:lnTo>
                <a:lnTo>
                  <a:pt x="1106" y="1007"/>
                </a:lnTo>
                <a:lnTo>
                  <a:pt x="1108" y="1022"/>
                </a:lnTo>
                <a:lnTo>
                  <a:pt x="1109" y="1035"/>
                </a:lnTo>
                <a:lnTo>
                  <a:pt x="1108" y="1046"/>
                </a:lnTo>
                <a:lnTo>
                  <a:pt x="1107" y="1051"/>
                </a:lnTo>
                <a:lnTo>
                  <a:pt x="1105" y="1056"/>
                </a:lnTo>
                <a:lnTo>
                  <a:pt x="1101" y="1059"/>
                </a:lnTo>
                <a:lnTo>
                  <a:pt x="1098" y="1063"/>
                </a:lnTo>
                <a:lnTo>
                  <a:pt x="1093" y="1064"/>
                </a:lnTo>
                <a:lnTo>
                  <a:pt x="1087" y="1066"/>
                </a:lnTo>
                <a:lnTo>
                  <a:pt x="1080" y="1066"/>
                </a:lnTo>
                <a:lnTo>
                  <a:pt x="1073" y="1066"/>
                </a:lnTo>
                <a:lnTo>
                  <a:pt x="1064" y="1065"/>
                </a:lnTo>
                <a:lnTo>
                  <a:pt x="1055" y="1063"/>
                </a:lnTo>
                <a:lnTo>
                  <a:pt x="1055" y="1063"/>
                </a:lnTo>
                <a:lnTo>
                  <a:pt x="1029" y="1054"/>
                </a:lnTo>
                <a:lnTo>
                  <a:pt x="1016" y="1050"/>
                </a:lnTo>
                <a:lnTo>
                  <a:pt x="1004" y="1045"/>
                </a:lnTo>
                <a:lnTo>
                  <a:pt x="993" y="1040"/>
                </a:lnTo>
                <a:lnTo>
                  <a:pt x="983" y="1033"/>
                </a:lnTo>
                <a:lnTo>
                  <a:pt x="973" y="1026"/>
                </a:lnTo>
                <a:lnTo>
                  <a:pt x="965" y="1018"/>
                </a:lnTo>
                <a:lnTo>
                  <a:pt x="957" y="1008"/>
                </a:lnTo>
                <a:lnTo>
                  <a:pt x="950" y="999"/>
                </a:lnTo>
                <a:lnTo>
                  <a:pt x="945" y="988"/>
                </a:lnTo>
                <a:lnTo>
                  <a:pt x="939" y="976"/>
                </a:lnTo>
                <a:lnTo>
                  <a:pt x="935" y="964"/>
                </a:lnTo>
                <a:lnTo>
                  <a:pt x="932" y="951"/>
                </a:lnTo>
                <a:lnTo>
                  <a:pt x="931" y="936"/>
                </a:lnTo>
                <a:lnTo>
                  <a:pt x="930" y="920"/>
                </a:lnTo>
                <a:lnTo>
                  <a:pt x="930" y="920"/>
                </a:lnTo>
                <a:lnTo>
                  <a:pt x="929" y="915"/>
                </a:lnTo>
                <a:lnTo>
                  <a:pt x="925" y="911"/>
                </a:lnTo>
                <a:lnTo>
                  <a:pt x="920" y="908"/>
                </a:lnTo>
                <a:lnTo>
                  <a:pt x="916" y="906"/>
                </a:lnTo>
                <a:lnTo>
                  <a:pt x="904" y="903"/>
                </a:lnTo>
                <a:lnTo>
                  <a:pt x="892" y="900"/>
                </a:lnTo>
                <a:lnTo>
                  <a:pt x="879" y="897"/>
                </a:lnTo>
                <a:lnTo>
                  <a:pt x="874" y="893"/>
                </a:lnTo>
                <a:lnTo>
                  <a:pt x="870" y="890"/>
                </a:lnTo>
                <a:lnTo>
                  <a:pt x="866" y="886"/>
                </a:lnTo>
                <a:lnTo>
                  <a:pt x="864" y="881"/>
                </a:lnTo>
                <a:lnTo>
                  <a:pt x="863" y="873"/>
                </a:lnTo>
                <a:lnTo>
                  <a:pt x="864" y="865"/>
                </a:lnTo>
                <a:lnTo>
                  <a:pt x="864" y="865"/>
                </a:lnTo>
                <a:lnTo>
                  <a:pt x="858" y="858"/>
                </a:lnTo>
                <a:lnTo>
                  <a:pt x="854" y="852"/>
                </a:lnTo>
                <a:lnTo>
                  <a:pt x="849" y="838"/>
                </a:lnTo>
                <a:lnTo>
                  <a:pt x="843" y="825"/>
                </a:lnTo>
                <a:lnTo>
                  <a:pt x="841" y="819"/>
                </a:lnTo>
                <a:lnTo>
                  <a:pt x="836" y="813"/>
                </a:lnTo>
                <a:lnTo>
                  <a:pt x="832" y="808"/>
                </a:lnTo>
                <a:lnTo>
                  <a:pt x="824" y="804"/>
                </a:lnTo>
                <a:lnTo>
                  <a:pt x="815" y="800"/>
                </a:lnTo>
                <a:lnTo>
                  <a:pt x="803" y="798"/>
                </a:lnTo>
                <a:lnTo>
                  <a:pt x="789" y="796"/>
                </a:lnTo>
                <a:lnTo>
                  <a:pt x="771" y="796"/>
                </a:lnTo>
                <a:lnTo>
                  <a:pt x="750" y="796"/>
                </a:lnTo>
                <a:lnTo>
                  <a:pt x="725" y="798"/>
                </a:lnTo>
                <a:lnTo>
                  <a:pt x="725" y="798"/>
                </a:lnTo>
                <a:lnTo>
                  <a:pt x="724" y="805"/>
                </a:lnTo>
                <a:lnTo>
                  <a:pt x="721" y="812"/>
                </a:lnTo>
                <a:lnTo>
                  <a:pt x="719" y="816"/>
                </a:lnTo>
                <a:lnTo>
                  <a:pt x="717" y="822"/>
                </a:lnTo>
                <a:lnTo>
                  <a:pt x="713" y="825"/>
                </a:lnTo>
                <a:lnTo>
                  <a:pt x="710" y="829"/>
                </a:lnTo>
                <a:lnTo>
                  <a:pt x="705" y="831"/>
                </a:lnTo>
                <a:lnTo>
                  <a:pt x="701" y="834"/>
                </a:lnTo>
                <a:lnTo>
                  <a:pt x="690" y="837"/>
                </a:lnTo>
                <a:lnTo>
                  <a:pt x="679" y="838"/>
                </a:lnTo>
                <a:lnTo>
                  <a:pt x="666" y="838"/>
                </a:lnTo>
                <a:lnTo>
                  <a:pt x="652" y="837"/>
                </a:lnTo>
                <a:lnTo>
                  <a:pt x="626" y="835"/>
                </a:lnTo>
                <a:lnTo>
                  <a:pt x="613" y="834"/>
                </a:lnTo>
                <a:lnTo>
                  <a:pt x="601" y="835"/>
                </a:lnTo>
                <a:lnTo>
                  <a:pt x="589" y="836"/>
                </a:lnTo>
                <a:lnTo>
                  <a:pt x="579" y="839"/>
                </a:lnTo>
                <a:lnTo>
                  <a:pt x="574" y="842"/>
                </a:lnTo>
                <a:lnTo>
                  <a:pt x="569" y="845"/>
                </a:lnTo>
                <a:lnTo>
                  <a:pt x="566" y="849"/>
                </a:lnTo>
                <a:lnTo>
                  <a:pt x="563" y="853"/>
                </a:lnTo>
                <a:lnTo>
                  <a:pt x="563" y="853"/>
                </a:lnTo>
                <a:lnTo>
                  <a:pt x="559" y="857"/>
                </a:lnTo>
                <a:lnTo>
                  <a:pt x="557" y="860"/>
                </a:lnTo>
                <a:lnTo>
                  <a:pt x="556" y="866"/>
                </a:lnTo>
                <a:lnTo>
                  <a:pt x="557" y="870"/>
                </a:lnTo>
                <a:lnTo>
                  <a:pt x="558" y="876"/>
                </a:lnTo>
                <a:lnTo>
                  <a:pt x="561" y="883"/>
                </a:lnTo>
                <a:lnTo>
                  <a:pt x="568" y="896"/>
                </a:lnTo>
                <a:lnTo>
                  <a:pt x="578" y="909"/>
                </a:lnTo>
                <a:lnTo>
                  <a:pt x="587" y="922"/>
                </a:lnTo>
                <a:lnTo>
                  <a:pt x="595" y="933"/>
                </a:lnTo>
                <a:lnTo>
                  <a:pt x="599" y="942"/>
                </a:lnTo>
                <a:lnTo>
                  <a:pt x="599" y="942"/>
                </a:lnTo>
                <a:lnTo>
                  <a:pt x="604" y="954"/>
                </a:lnTo>
                <a:lnTo>
                  <a:pt x="606" y="965"/>
                </a:lnTo>
                <a:lnTo>
                  <a:pt x="605" y="970"/>
                </a:lnTo>
                <a:lnTo>
                  <a:pt x="605" y="975"/>
                </a:lnTo>
                <a:lnTo>
                  <a:pt x="601" y="982"/>
                </a:lnTo>
                <a:lnTo>
                  <a:pt x="595" y="989"/>
                </a:lnTo>
                <a:lnTo>
                  <a:pt x="588" y="995"/>
                </a:lnTo>
                <a:lnTo>
                  <a:pt x="579" y="999"/>
                </a:lnTo>
                <a:lnTo>
                  <a:pt x="567" y="1004"/>
                </a:lnTo>
                <a:lnTo>
                  <a:pt x="543" y="1010"/>
                </a:lnTo>
                <a:lnTo>
                  <a:pt x="515" y="1015"/>
                </a:lnTo>
                <a:lnTo>
                  <a:pt x="489" y="1021"/>
                </a:lnTo>
                <a:lnTo>
                  <a:pt x="475" y="1026"/>
                </a:lnTo>
                <a:lnTo>
                  <a:pt x="464" y="1029"/>
                </a:lnTo>
                <a:lnTo>
                  <a:pt x="464" y="1029"/>
                </a:lnTo>
                <a:lnTo>
                  <a:pt x="444" y="1036"/>
                </a:lnTo>
                <a:lnTo>
                  <a:pt x="429" y="1040"/>
                </a:lnTo>
                <a:lnTo>
                  <a:pt x="422" y="1041"/>
                </a:lnTo>
                <a:lnTo>
                  <a:pt x="416" y="1041"/>
                </a:lnTo>
                <a:lnTo>
                  <a:pt x="411" y="1040"/>
                </a:lnTo>
                <a:lnTo>
                  <a:pt x="406" y="1038"/>
                </a:lnTo>
                <a:lnTo>
                  <a:pt x="401" y="1036"/>
                </a:lnTo>
                <a:lnTo>
                  <a:pt x="398" y="1034"/>
                </a:lnTo>
                <a:lnTo>
                  <a:pt x="392" y="1027"/>
                </a:lnTo>
                <a:lnTo>
                  <a:pt x="388" y="1020"/>
                </a:lnTo>
                <a:lnTo>
                  <a:pt x="385" y="1012"/>
                </a:lnTo>
                <a:lnTo>
                  <a:pt x="381" y="995"/>
                </a:lnTo>
                <a:lnTo>
                  <a:pt x="378" y="981"/>
                </a:lnTo>
                <a:lnTo>
                  <a:pt x="376" y="975"/>
                </a:lnTo>
                <a:lnTo>
                  <a:pt x="374" y="973"/>
                </a:lnTo>
                <a:lnTo>
                  <a:pt x="372" y="972"/>
                </a:lnTo>
                <a:lnTo>
                  <a:pt x="369" y="972"/>
                </a:lnTo>
                <a:lnTo>
                  <a:pt x="365" y="974"/>
                </a:lnTo>
                <a:lnTo>
                  <a:pt x="365" y="974"/>
                </a:lnTo>
                <a:lnTo>
                  <a:pt x="247" y="1000"/>
                </a:lnTo>
                <a:lnTo>
                  <a:pt x="247" y="1000"/>
                </a:lnTo>
                <a:lnTo>
                  <a:pt x="247" y="1000"/>
                </a:lnTo>
                <a:lnTo>
                  <a:pt x="225" y="1018"/>
                </a:lnTo>
                <a:lnTo>
                  <a:pt x="212" y="1027"/>
                </a:lnTo>
                <a:lnTo>
                  <a:pt x="198" y="1035"/>
                </a:lnTo>
                <a:lnTo>
                  <a:pt x="185" y="1042"/>
                </a:lnTo>
                <a:lnTo>
                  <a:pt x="178" y="1043"/>
                </a:lnTo>
                <a:lnTo>
                  <a:pt x="172" y="1045"/>
                </a:lnTo>
                <a:lnTo>
                  <a:pt x="167" y="1045"/>
                </a:lnTo>
                <a:lnTo>
                  <a:pt x="162" y="1044"/>
                </a:lnTo>
                <a:lnTo>
                  <a:pt x="159" y="1042"/>
                </a:lnTo>
                <a:lnTo>
                  <a:pt x="155" y="1037"/>
                </a:lnTo>
                <a:lnTo>
                  <a:pt x="155" y="1037"/>
                </a:lnTo>
                <a:lnTo>
                  <a:pt x="151" y="1029"/>
                </a:lnTo>
                <a:lnTo>
                  <a:pt x="147" y="1025"/>
                </a:lnTo>
                <a:lnTo>
                  <a:pt x="144" y="1022"/>
                </a:lnTo>
                <a:lnTo>
                  <a:pt x="140" y="1021"/>
                </a:lnTo>
                <a:lnTo>
                  <a:pt x="137" y="1022"/>
                </a:lnTo>
                <a:lnTo>
                  <a:pt x="133" y="1025"/>
                </a:lnTo>
                <a:lnTo>
                  <a:pt x="126" y="1031"/>
                </a:lnTo>
                <a:lnTo>
                  <a:pt x="116" y="1040"/>
                </a:lnTo>
                <a:lnTo>
                  <a:pt x="110" y="1044"/>
                </a:lnTo>
                <a:lnTo>
                  <a:pt x="103" y="1048"/>
                </a:lnTo>
                <a:lnTo>
                  <a:pt x="94" y="1050"/>
                </a:lnTo>
                <a:lnTo>
                  <a:pt x="84" y="1051"/>
                </a:lnTo>
                <a:lnTo>
                  <a:pt x="72" y="1050"/>
                </a:lnTo>
                <a:lnTo>
                  <a:pt x="60" y="1048"/>
                </a:lnTo>
                <a:lnTo>
                  <a:pt x="60" y="1048"/>
                </a:lnTo>
                <a:lnTo>
                  <a:pt x="59" y="1066"/>
                </a:lnTo>
                <a:lnTo>
                  <a:pt x="56" y="1077"/>
                </a:lnTo>
                <a:lnTo>
                  <a:pt x="53" y="1084"/>
                </a:lnTo>
                <a:lnTo>
                  <a:pt x="52" y="1092"/>
                </a:lnTo>
                <a:lnTo>
                  <a:pt x="52" y="1092"/>
                </a:lnTo>
                <a:lnTo>
                  <a:pt x="52" y="1097"/>
                </a:lnTo>
                <a:lnTo>
                  <a:pt x="51" y="1103"/>
                </a:lnTo>
                <a:lnTo>
                  <a:pt x="46" y="1113"/>
                </a:lnTo>
                <a:lnTo>
                  <a:pt x="39" y="1127"/>
                </a:lnTo>
                <a:lnTo>
                  <a:pt x="33" y="1144"/>
                </a:lnTo>
                <a:lnTo>
                  <a:pt x="33" y="1144"/>
                </a:lnTo>
                <a:lnTo>
                  <a:pt x="47" y="1150"/>
                </a:lnTo>
                <a:lnTo>
                  <a:pt x="53" y="1152"/>
                </a:lnTo>
                <a:lnTo>
                  <a:pt x="56" y="1156"/>
                </a:lnTo>
                <a:lnTo>
                  <a:pt x="60" y="1160"/>
                </a:lnTo>
                <a:lnTo>
                  <a:pt x="62" y="1164"/>
                </a:lnTo>
                <a:lnTo>
                  <a:pt x="65" y="1172"/>
                </a:lnTo>
                <a:lnTo>
                  <a:pt x="71" y="1193"/>
                </a:lnTo>
                <a:lnTo>
                  <a:pt x="75" y="1204"/>
                </a:lnTo>
                <a:lnTo>
                  <a:pt x="82" y="1217"/>
                </a:lnTo>
                <a:lnTo>
                  <a:pt x="82" y="1217"/>
                </a:lnTo>
                <a:lnTo>
                  <a:pt x="86" y="1225"/>
                </a:lnTo>
                <a:lnTo>
                  <a:pt x="91" y="1232"/>
                </a:lnTo>
                <a:lnTo>
                  <a:pt x="100" y="1244"/>
                </a:lnTo>
                <a:lnTo>
                  <a:pt x="112" y="1255"/>
                </a:lnTo>
                <a:lnTo>
                  <a:pt x="123" y="1264"/>
                </a:lnTo>
                <a:lnTo>
                  <a:pt x="147" y="1282"/>
                </a:lnTo>
                <a:lnTo>
                  <a:pt x="159" y="1293"/>
                </a:lnTo>
                <a:lnTo>
                  <a:pt x="170" y="1305"/>
                </a:lnTo>
                <a:lnTo>
                  <a:pt x="170" y="1305"/>
                </a:lnTo>
                <a:lnTo>
                  <a:pt x="174" y="1310"/>
                </a:lnTo>
                <a:lnTo>
                  <a:pt x="176" y="1316"/>
                </a:lnTo>
                <a:lnTo>
                  <a:pt x="181" y="1326"/>
                </a:lnTo>
                <a:lnTo>
                  <a:pt x="183" y="1338"/>
                </a:lnTo>
                <a:lnTo>
                  <a:pt x="184" y="1350"/>
                </a:lnTo>
                <a:lnTo>
                  <a:pt x="185" y="1362"/>
                </a:lnTo>
                <a:lnTo>
                  <a:pt x="186" y="1374"/>
                </a:lnTo>
                <a:lnTo>
                  <a:pt x="190" y="1386"/>
                </a:lnTo>
                <a:lnTo>
                  <a:pt x="192" y="1392"/>
                </a:lnTo>
                <a:lnTo>
                  <a:pt x="196" y="1397"/>
                </a:lnTo>
                <a:lnTo>
                  <a:pt x="196" y="1397"/>
                </a:lnTo>
                <a:lnTo>
                  <a:pt x="200" y="1402"/>
                </a:lnTo>
                <a:lnTo>
                  <a:pt x="207" y="1407"/>
                </a:lnTo>
                <a:lnTo>
                  <a:pt x="221" y="1416"/>
                </a:lnTo>
                <a:lnTo>
                  <a:pt x="228" y="1420"/>
                </a:lnTo>
                <a:lnTo>
                  <a:pt x="233" y="1427"/>
                </a:lnTo>
                <a:lnTo>
                  <a:pt x="236" y="1431"/>
                </a:lnTo>
                <a:lnTo>
                  <a:pt x="238" y="1435"/>
                </a:lnTo>
                <a:lnTo>
                  <a:pt x="239" y="1440"/>
                </a:lnTo>
                <a:lnTo>
                  <a:pt x="239" y="1445"/>
                </a:lnTo>
                <a:lnTo>
                  <a:pt x="239" y="1445"/>
                </a:lnTo>
                <a:lnTo>
                  <a:pt x="238" y="1451"/>
                </a:lnTo>
                <a:lnTo>
                  <a:pt x="237" y="1457"/>
                </a:lnTo>
                <a:lnTo>
                  <a:pt x="235" y="1463"/>
                </a:lnTo>
                <a:lnTo>
                  <a:pt x="231" y="1468"/>
                </a:lnTo>
                <a:lnTo>
                  <a:pt x="228" y="1472"/>
                </a:lnTo>
                <a:lnTo>
                  <a:pt x="223" y="1476"/>
                </a:lnTo>
                <a:lnTo>
                  <a:pt x="214" y="1483"/>
                </a:lnTo>
                <a:lnTo>
                  <a:pt x="204" y="1488"/>
                </a:lnTo>
                <a:lnTo>
                  <a:pt x="193" y="1493"/>
                </a:lnTo>
                <a:lnTo>
                  <a:pt x="184" y="1499"/>
                </a:lnTo>
                <a:lnTo>
                  <a:pt x="177" y="1503"/>
                </a:lnTo>
                <a:lnTo>
                  <a:pt x="177" y="1503"/>
                </a:lnTo>
                <a:lnTo>
                  <a:pt x="125" y="1636"/>
                </a:lnTo>
                <a:lnTo>
                  <a:pt x="125" y="1636"/>
                </a:lnTo>
                <a:lnTo>
                  <a:pt x="125" y="1636"/>
                </a:lnTo>
                <a:lnTo>
                  <a:pt x="126" y="1642"/>
                </a:lnTo>
                <a:lnTo>
                  <a:pt x="129" y="1648"/>
                </a:lnTo>
                <a:lnTo>
                  <a:pt x="135" y="1660"/>
                </a:lnTo>
                <a:lnTo>
                  <a:pt x="141" y="1671"/>
                </a:lnTo>
                <a:lnTo>
                  <a:pt x="144" y="1677"/>
                </a:lnTo>
                <a:lnTo>
                  <a:pt x="144" y="1684"/>
                </a:lnTo>
                <a:lnTo>
                  <a:pt x="144" y="1684"/>
                </a:lnTo>
                <a:lnTo>
                  <a:pt x="144" y="1690"/>
                </a:lnTo>
                <a:lnTo>
                  <a:pt x="143" y="1694"/>
                </a:lnTo>
                <a:lnTo>
                  <a:pt x="140" y="1699"/>
                </a:lnTo>
                <a:lnTo>
                  <a:pt x="138" y="1701"/>
                </a:lnTo>
                <a:lnTo>
                  <a:pt x="136" y="1703"/>
                </a:lnTo>
                <a:lnTo>
                  <a:pt x="132" y="1705"/>
                </a:lnTo>
                <a:lnTo>
                  <a:pt x="124" y="1706"/>
                </a:lnTo>
                <a:lnTo>
                  <a:pt x="106" y="1706"/>
                </a:lnTo>
                <a:lnTo>
                  <a:pt x="95" y="1707"/>
                </a:lnTo>
                <a:lnTo>
                  <a:pt x="90" y="1708"/>
                </a:lnTo>
                <a:lnTo>
                  <a:pt x="85" y="1709"/>
                </a:lnTo>
                <a:lnTo>
                  <a:pt x="85" y="1709"/>
                </a:lnTo>
                <a:lnTo>
                  <a:pt x="80" y="1712"/>
                </a:lnTo>
                <a:lnTo>
                  <a:pt x="77" y="1714"/>
                </a:lnTo>
                <a:lnTo>
                  <a:pt x="67" y="1723"/>
                </a:lnTo>
                <a:lnTo>
                  <a:pt x="57" y="1735"/>
                </a:lnTo>
                <a:lnTo>
                  <a:pt x="47" y="1747"/>
                </a:lnTo>
                <a:lnTo>
                  <a:pt x="36" y="1760"/>
                </a:lnTo>
                <a:lnTo>
                  <a:pt x="24" y="1773"/>
                </a:lnTo>
                <a:lnTo>
                  <a:pt x="13" y="1783"/>
                </a:lnTo>
                <a:lnTo>
                  <a:pt x="7" y="1786"/>
                </a:lnTo>
                <a:lnTo>
                  <a:pt x="0" y="1790"/>
                </a:lnTo>
                <a:lnTo>
                  <a:pt x="0" y="1790"/>
                </a:lnTo>
                <a:lnTo>
                  <a:pt x="22" y="1827"/>
                </a:lnTo>
                <a:lnTo>
                  <a:pt x="41" y="1865"/>
                </a:lnTo>
                <a:lnTo>
                  <a:pt x="60" y="1904"/>
                </a:lnTo>
                <a:lnTo>
                  <a:pt x="68" y="1924"/>
                </a:lnTo>
                <a:lnTo>
                  <a:pt x="76" y="1944"/>
                </a:lnTo>
                <a:lnTo>
                  <a:pt x="83" y="1965"/>
                </a:lnTo>
                <a:lnTo>
                  <a:pt x="88" y="1987"/>
                </a:lnTo>
                <a:lnTo>
                  <a:pt x="94" y="2008"/>
                </a:lnTo>
                <a:lnTo>
                  <a:pt x="99" y="2030"/>
                </a:lnTo>
                <a:lnTo>
                  <a:pt x="102" y="2052"/>
                </a:lnTo>
                <a:lnTo>
                  <a:pt x="105" y="2075"/>
                </a:lnTo>
                <a:lnTo>
                  <a:pt x="106" y="2098"/>
                </a:lnTo>
                <a:lnTo>
                  <a:pt x="107" y="2121"/>
                </a:lnTo>
                <a:lnTo>
                  <a:pt x="107" y="2121"/>
                </a:lnTo>
                <a:lnTo>
                  <a:pt x="106" y="2127"/>
                </a:lnTo>
                <a:lnTo>
                  <a:pt x="105" y="2133"/>
                </a:lnTo>
                <a:lnTo>
                  <a:pt x="102" y="2137"/>
                </a:lnTo>
                <a:lnTo>
                  <a:pt x="99" y="2142"/>
                </a:lnTo>
                <a:lnTo>
                  <a:pt x="92" y="2149"/>
                </a:lnTo>
                <a:lnTo>
                  <a:pt x="83" y="2156"/>
                </a:lnTo>
                <a:lnTo>
                  <a:pt x="72" y="2161"/>
                </a:lnTo>
                <a:lnTo>
                  <a:pt x="63" y="2170"/>
                </a:lnTo>
                <a:lnTo>
                  <a:pt x="60" y="2173"/>
                </a:lnTo>
                <a:lnTo>
                  <a:pt x="56" y="2179"/>
                </a:lnTo>
                <a:lnTo>
                  <a:pt x="54" y="2183"/>
                </a:lnTo>
                <a:lnTo>
                  <a:pt x="52" y="2190"/>
                </a:lnTo>
                <a:lnTo>
                  <a:pt x="52" y="2190"/>
                </a:lnTo>
                <a:lnTo>
                  <a:pt x="70" y="2194"/>
                </a:lnTo>
                <a:lnTo>
                  <a:pt x="88" y="2198"/>
                </a:lnTo>
                <a:lnTo>
                  <a:pt x="97" y="2201"/>
                </a:lnTo>
                <a:lnTo>
                  <a:pt x="103" y="2205"/>
                </a:lnTo>
                <a:lnTo>
                  <a:pt x="108" y="2210"/>
                </a:lnTo>
                <a:lnTo>
                  <a:pt x="110" y="2213"/>
                </a:lnTo>
                <a:lnTo>
                  <a:pt x="112" y="2217"/>
                </a:lnTo>
                <a:lnTo>
                  <a:pt x="112" y="2217"/>
                </a:lnTo>
                <a:lnTo>
                  <a:pt x="113" y="2225"/>
                </a:lnTo>
                <a:lnTo>
                  <a:pt x="113" y="2233"/>
                </a:lnTo>
                <a:lnTo>
                  <a:pt x="112" y="2240"/>
                </a:lnTo>
                <a:lnTo>
                  <a:pt x="109" y="2248"/>
                </a:lnTo>
                <a:lnTo>
                  <a:pt x="107" y="2256"/>
                </a:lnTo>
                <a:lnTo>
                  <a:pt x="106" y="2265"/>
                </a:lnTo>
                <a:lnTo>
                  <a:pt x="106" y="2273"/>
                </a:lnTo>
                <a:lnTo>
                  <a:pt x="107" y="2282"/>
                </a:lnTo>
                <a:lnTo>
                  <a:pt x="107" y="2282"/>
                </a:lnTo>
                <a:lnTo>
                  <a:pt x="109" y="2291"/>
                </a:lnTo>
                <a:lnTo>
                  <a:pt x="112" y="2300"/>
                </a:lnTo>
                <a:lnTo>
                  <a:pt x="116" y="2308"/>
                </a:lnTo>
                <a:lnTo>
                  <a:pt x="121" y="2315"/>
                </a:lnTo>
                <a:lnTo>
                  <a:pt x="132" y="2329"/>
                </a:lnTo>
                <a:lnTo>
                  <a:pt x="145" y="2343"/>
                </a:lnTo>
                <a:lnTo>
                  <a:pt x="156" y="2357"/>
                </a:lnTo>
                <a:lnTo>
                  <a:pt x="167" y="2371"/>
                </a:lnTo>
                <a:lnTo>
                  <a:pt x="171" y="2379"/>
                </a:lnTo>
                <a:lnTo>
                  <a:pt x="174" y="2387"/>
                </a:lnTo>
                <a:lnTo>
                  <a:pt x="176" y="2395"/>
                </a:lnTo>
                <a:lnTo>
                  <a:pt x="177" y="2404"/>
                </a:lnTo>
                <a:lnTo>
                  <a:pt x="177" y="2404"/>
                </a:lnTo>
                <a:lnTo>
                  <a:pt x="176" y="2407"/>
                </a:lnTo>
                <a:lnTo>
                  <a:pt x="176" y="2410"/>
                </a:lnTo>
                <a:lnTo>
                  <a:pt x="171" y="2417"/>
                </a:lnTo>
                <a:lnTo>
                  <a:pt x="160" y="2431"/>
                </a:lnTo>
                <a:lnTo>
                  <a:pt x="154" y="2439"/>
                </a:lnTo>
                <a:lnTo>
                  <a:pt x="149" y="2448"/>
                </a:lnTo>
                <a:lnTo>
                  <a:pt x="145" y="2458"/>
                </a:lnTo>
                <a:lnTo>
                  <a:pt x="145" y="2464"/>
                </a:lnTo>
                <a:lnTo>
                  <a:pt x="144" y="2470"/>
                </a:lnTo>
                <a:lnTo>
                  <a:pt x="144" y="2470"/>
                </a:lnTo>
                <a:lnTo>
                  <a:pt x="144" y="2554"/>
                </a:lnTo>
                <a:lnTo>
                  <a:pt x="144" y="2554"/>
                </a:lnTo>
                <a:lnTo>
                  <a:pt x="152" y="2556"/>
                </a:lnTo>
                <a:lnTo>
                  <a:pt x="160" y="2557"/>
                </a:lnTo>
                <a:lnTo>
                  <a:pt x="177" y="2557"/>
                </a:lnTo>
                <a:lnTo>
                  <a:pt x="193" y="2555"/>
                </a:lnTo>
                <a:lnTo>
                  <a:pt x="209" y="2554"/>
                </a:lnTo>
                <a:lnTo>
                  <a:pt x="209" y="2554"/>
                </a:lnTo>
                <a:lnTo>
                  <a:pt x="220" y="2555"/>
                </a:lnTo>
                <a:lnTo>
                  <a:pt x="229" y="2558"/>
                </a:lnTo>
                <a:lnTo>
                  <a:pt x="240" y="2563"/>
                </a:lnTo>
                <a:lnTo>
                  <a:pt x="254" y="2569"/>
                </a:lnTo>
                <a:lnTo>
                  <a:pt x="254" y="2569"/>
                </a:lnTo>
                <a:lnTo>
                  <a:pt x="261" y="2571"/>
                </a:lnTo>
                <a:lnTo>
                  <a:pt x="269" y="2571"/>
                </a:lnTo>
                <a:lnTo>
                  <a:pt x="284" y="2572"/>
                </a:lnTo>
                <a:lnTo>
                  <a:pt x="315" y="2571"/>
                </a:lnTo>
                <a:lnTo>
                  <a:pt x="329" y="2572"/>
                </a:lnTo>
                <a:lnTo>
                  <a:pt x="335" y="2573"/>
                </a:lnTo>
                <a:lnTo>
                  <a:pt x="341" y="2576"/>
                </a:lnTo>
                <a:lnTo>
                  <a:pt x="344" y="2578"/>
                </a:lnTo>
                <a:lnTo>
                  <a:pt x="347" y="2583"/>
                </a:lnTo>
                <a:lnTo>
                  <a:pt x="349" y="2588"/>
                </a:lnTo>
                <a:lnTo>
                  <a:pt x="350" y="2595"/>
                </a:lnTo>
                <a:lnTo>
                  <a:pt x="350" y="2595"/>
                </a:lnTo>
                <a:lnTo>
                  <a:pt x="349" y="2602"/>
                </a:lnTo>
                <a:lnTo>
                  <a:pt x="347" y="2608"/>
                </a:lnTo>
                <a:lnTo>
                  <a:pt x="345" y="2614"/>
                </a:lnTo>
                <a:lnTo>
                  <a:pt x="342" y="2618"/>
                </a:lnTo>
                <a:lnTo>
                  <a:pt x="336" y="2627"/>
                </a:lnTo>
                <a:lnTo>
                  <a:pt x="332" y="2632"/>
                </a:lnTo>
                <a:lnTo>
                  <a:pt x="331" y="2639"/>
                </a:lnTo>
                <a:lnTo>
                  <a:pt x="331" y="2639"/>
                </a:lnTo>
                <a:lnTo>
                  <a:pt x="349" y="2642"/>
                </a:lnTo>
                <a:lnTo>
                  <a:pt x="365" y="2646"/>
                </a:lnTo>
                <a:lnTo>
                  <a:pt x="378" y="2651"/>
                </a:lnTo>
                <a:lnTo>
                  <a:pt x="391" y="2657"/>
                </a:lnTo>
                <a:lnTo>
                  <a:pt x="401" y="2665"/>
                </a:lnTo>
                <a:lnTo>
                  <a:pt x="410" y="2676"/>
                </a:lnTo>
                <a:lnTo>
                  <a:pt x="418" y="2687"/>
                </a:lnTo>
                <a:lnTo>
                  <a:pt x="423" y="2701"/>
                </a:lnTo>
                <a:lnTo>
                  <a:pt x="423" y="2701"/>
                </a:lnTo>
                <a:lnTo>
                  <a:pt x="429" y="2713"/>
                </a:lnTo>
                <a:lnTo>
                  <a:pt x="433" y="2723"/>
                </a:lnTo>
                <a:lnTo>
                  <a:pt x="435" y="2733"/>
                </a:lnTo>
                <a:lnTo>
                  <a:pt x="436" y="2744"/>
                </a:lnTo>
                <a:lnTo>
                  <a:pt x="437" y="2755"/>
                </a:lnTo>
                <a:lnTo>
                  <a:pt x="439" y="2766"/>
                </a:lnTo>
                <a:lnTo>
                  <a:pt x="443" y="2777"/>
                </a:lnTo>
                <a:lnTo>
                  <a:pt x="449" y="2790"/>
                </a:lnTo>
                <a:lnTo>
                  <a:pt x="449" y="2790"/>
                </a:lnTo>
                <a:lnTo>
                  <a:pt x="451" y="2792"/>
                </a:lnTo>
                <a:lnTo>
                  <a:pt x="454" y="2795"/>
                </a:lnTo>
                <a:lnTo>
                  <a:pt x="461" y="2799"/>
                </a:lnTo>
                <a:lnTo>
                  <a:pt x="481" y="2806"/>
                </a:lnTo>
                <a:lnTo>
                  <a:pt x="489" y="2810"/>
                </a:lnTo>
                <a:lnTo>
                  <a:pt x="494" y="2813"/>
                </a:lnTo>
                <a:lnTo>
                  <a:pt x="497" y="2815"/>
                </a:lnTo>
                <a:lnTo>
                  <a:pt x="499" y="2819"/>
                </a:lnTo>
                <a:lnTo>
                  <a:pt x="502" y="2823"/>
                </a:lnTo>
                <a:lnTo>
                  <a:pt x="503" y="2828"/>
                </a:lnTo>
                <a:lnTo>
                  <a:pt x="504" y="2833"/>
                </a:lnTo>
                <a:lnTo>
                  <a:pt x="504" y="2833"/>
                </a:lnTo>
                <a:lnTo>
                  <a:pt x="504" y="2874"/>
                </a:lnTo>
                <a:lnTo>
                  <a:pt x="504" y="2874"/>
                </a:lnTo>
                <a:lnTo>
                  <a:pt x="504" y="2883"/>
                </a:lnTo>
                <a:lnTo>
                  <a:pt x="505" y="2892"/>
                </a:lnTo>
                <a:lnTo>
                  <a:pt x="507" y="2900"/>
                </a:lnTo>
                <a:lnTo>
                  <a:pt x="511" y="2908"/>
                </a:lnTo>
                <a:lnTo>
                  <a:pt x="514" y="2916"/>
                </a:lnTo>
                <a:lnTo>
                  <a:pt x="519" y="2923"/>
                </a:lnTo>
                <a:lnTo>
                  <a:pt x="523" y="2930"/>
                </a:lnTo>
                <a:lnTo>
                  <a:pt x="529" y="2937"/>
                </a:lnTo>
                <a:lnTo>
                  <a:pt x="543" y="2949"/>
                </a:lnTo>
                <a:lnTo>
                  <a:pt x="558" y="2960"/>
                </a:lnTo>
                <a:lnTo>
                  <a:pt x="576" y="2970"/>
                </a:lnTo>
                <a:lnTo>
                  <a:pt x="596" y="2981"/>
                </a:lnTo>
                <a:lnTo>
                  <a:pt x="596" y="2981"/>
                </a:lnTo>
                <a:lnTo>
                  <a:pt x="594" y="2991"/>
                </a:lnTo>
                <a:lnTo>
                  <a:pt x="591" y="3001"/>
                </a:lnTo>
                <a:lnTo>
                  <a:pt x="586" y="3020"/>
                </a:lnTo>
                <a:lnTo>
                  <a:pt x="582" y="3029"/>
                </a:lnTo>
                <a:lnTo>
                  <a:pt x="580" y="3038"/>
                </a:lnTo>
                <a:lnTo>
                  <a:pt x="578" y="3050"/>
                </a:lnTo>
                <a:lnTo>
                  <a:pt x="578" y="3061"/>
                </a:lnTo>
                <a:lnTo>
                  <a:pt x="578" y="3061"/>
                </a:lnTo>
                <a:lnTo>
                  <a:pt x="578" y="3234"/>
                </a:lnTo>
                <a:lnTo>
                  <a:pt x="578" y="3234"/>
                </a:lnTo>
                <a:lnTo>
                  <a:pt x="578" y="3255"/>
                </a:lnTo>
                <a:lnTo>
                  <a:pt x="580" y="3264"/>
                </a:lnTo>
                <a:lnTo>
                  <a:pt x="583" y="3273"/>
                </a:lnTo>
                <a:lnTo>
                  <a:pt x="586" y="3278"/>
                </a:lnTo>
                <a:lnTo>
                  <a:pt x="588" y="3281"/>
                </a:lnTo>
                <a:lnTo>
                  <a:pt x="591" y="3285"/>
                </a:lnTo>
                <a:lnTo>
                  <a:pt x="596" y="3287"/>
                </a:lnTo>
                <a:lnTo>
                  <a:pt x="601" y="3289"/>
                </a:lnTo>
                <a:lnTo>
                  <a:pt x="606" y="3291"/>
                </a:lnTo>
                <a:lnTo>
                  <a:pt x="613" y="3293"/>
                </a:lnTo>
                <a:lnTo>
                  <a:pt x="621" y="3293"/>
                </a:lnTo>
                <a:lnTo>
                  <a:pt x="621" y="3293"/>
                </a:lnTo>
                <a:lnTo>
                  <a:pt x="635" y="3291"/>
                </a:lnTo>
                <a:lnTo>
                  <a:pt x="648" y="3288"/>
                </a:lnTo>
                <a:lnTo>
                  <a:pt x="659" y="3283"/>
                </a:lnTo>
                <a:lnTo>
                  <a:pt x="671" y="3276"/>
                </a:lnTo>
                <a:lnTo>
                  <a:pt x="680" y="3268"/>
                </a:lnTo>
                <a:lnTo>
                  <a:pt x="690" y="3259"/>
                </a:lnTo>
                <a:lnTo>
                  <a:pt x="708" y="3240"/>
                </a:lnTo>
                <a:lnTo>
                  <a:pt x="725" y="3220"/>
                </a:lnTo>
                <a:lnTo>
                  <a:pt x="734" y="3211"/>
                </a:lnTo>
                <a:lnTo>
                  <a:pt x="742" y="3203"/>
                </a:lnTo>
                <a:lnTo>
                  <a:pt x="751" y="3196"/>
                </a:lnTo>
                <a:lnTo>
                  <a:pt x="762" y="3191"/>
                </a:lnTo>
                <a:lnTo>
                  <a:pt x="772" y="3188"/>
                </a:lnTo>
                <a:lnTo>
                  <a:pt x="784" y="3187"/>
                </a:lnTo>
                <a:lnTo>
                  <a:pt x="784" y="3187"/>
                </a:lnTo>
                <a:lnTo>
                  <a:pt x="786" y="3187"/>
                </a:lnTo>
                <a:lnTo>
                  <a:pt x="789" y="3188"/>
                </a:lnTo>
                <a:lnTo>
                  <a:pt x="795" y="3192"/>
                </a:lnTo>
                <a:lnTo>
                  <a:pt x="801" y="3199"/>
                </a:lnTo>
                <a:lnTo>
                  <a:pt x="807" y="3206"/>
                </a:lnTo>
                <a:lnTo>
                  <a:pt x="813" y="3213"/>
                </a:lnTo>
                <a:lnTo>
                  <a:pt x="821" y="3220"/>
                </a:lnTo>
                <a:lnTo>
                  <a:pt x="826" y="3222"/>
                </a:lnTo>
                <a:lnTo>
                  <a:pt x="831" y="3225"/>
                </a:lnTo>
                <a:lnTo>
                  <a:pt x="836" y="3226"/>
                </a:lnTo>
                <a:lnTo>
                  <a:pt x="842" y="3226"/>
                </a:lnTo>
                <a:lnTo>
                  <a:pt x="842" y="3226"/>
                </a:lnTo>
                <a:lnTo>
                  <a:pt x="843" y="3217"/>
                </a:lnTo>
                <a:lnTo>
                  <a:pt x="847" y="3209"/>
                </a:lnTo>
                <a:lnTo>
                  <a:pt x="849" y="3199"/>
                </a:lnTo>
                <a:lnTo>
                  <a:pt x="854" y="3191"/>
                </a:lnTo>
                <a:lnTo>
                  <a:pt x="863" y="3176"/>
                </a:lnTo>
                <a:lnTo>
                  <a:pt x="874" y="3161"/>
                </a:lnTo>
                <a:lnTo>
                  <a:pt x="885" y="3146"/>
                </a:lnTo>
                <a:lnTo>
                  <a:pt x="896" y="3130"/>
                </a:lnTo>
                <a:lnTo>
                  <a:pt x="905" y="3113"/>
                </a:lnTo>
                <a:lnTo>
                  <a:pt x="909" y="3104"/>
                </a:lnTo>
                <a:lnTo>
                  <a:pt x="912" y="3094"/>
                </a:lnTo>
                <a:lnTo>
                  <a:pt x="912" y="3094"/>
                </a:lnTo>
                <a:lnTo>
                  <a:pt x="916" y="3076"/>
                </a:lnTo>
                <a:lnTo>
                  <a:pt x="919" y="3059"/>
                </a:lnTo>
                <a:lnTo>
                  <a:pt x="923" y="3028"/>
                </a:lnTo>
                <a:lnTo>
                  <a:pt x="926" y="3000"/>
                </a:lnTo>
                <a:lnTo>
                  <a:pt x="929" y="2989"/>
                </a:lnTo>
                <a:lnTo>
                  <a:pt x="932" y="2978"/>
                </a:lnTo>
                <a:lnTo>
                  <a:pt x="937" y="2968"/>
                </a:lnTo>
                <a:lnTo>
                  <a:pt x="942" y="2960"/>
                </a:lnTo>
                <a:lnTo>
                  <a:pt x="949" y="2953"/>
                </a:lnTo>
                <a:lnTo>
                  <a:pt x="958" y="2947"/>
                </a:lnTo>
                <a:lnTo>
                  <a:pt x="970" y="2943"/>
                </a:lnTo>
                <a:lnTo>
                  <a:pt x="984" y="2939"/>
                </a:lnTo>
                <a:lnTo>
                  <a:pt x="1001" y="2937"/>
                </a:lnTo>
                <a:lnTo>
                  <a:pt x="1022" y="2937"/>
                </a:lnTo>
                <a:lnTo>
                  <a:pt x="1022" y="2937"/>
                </a:lnTo>
                <a:lnTo>
                  <a:pt x="1036" y="2937"/>
                </a:lnTo>
                <a:lnTo>
                  <a:pt x="1048" y="2940"/>
                </a:lnTo>
                <a:lnTo>
                  <a:pt x="1057" y="2945"/>
                </a:lnTo>
                <a:lnTo>
                  <a:pt x="1067" y="2952"/>
                </a:lnTo>
                <a:lnTo>
                  <a:pt x="1073" y="2959"/>
                </a:lnTo>
                <a:lnTo>
                  <a:pt x="1079" y="2968"/>
                </a:lnTo>
                <a:lnTo>
                  <a:pt x="1091" y="2985"/>
                </a:lnTo>
                <a:lnTo>
                  <a:pt x="1100" y="3004"/>
                </a:lnTo>
                <a:lnTo>
                  <a:pt x="1106" y="3012"/>
                </a:lnTo>
                <a:lnTo>
                  <a:pt x="1113" y="3020"/>
                </a:lnTo>
                <a:lnTo>
                  <a:pt x="1120" y="3026"/>
                </a:lnTo>
                <a:lnTo>
                  <a:pt x="1129" y="3031"/>
                </a:lnTo>
                <a:lnTo>
                  <a:pt x="1138" y="3034"/>
                </a:lnTo>
                <a:lnTo>
                  <a:pt x="1151" y="3035"/>
                </a:lnTo>
                <a:lnTo>
                  <a:pt x="1151" y="3035"/>
                </a:lnTo>
                <a:lnTo>
                  <a:pt x="1159" y="3035"/>
                </a:lnTo>
                <a:lnTo>
                  <a:pt x="1166" y="3034"/>
                </a:lnTo>
                <a:lnTo>
                  <a:pt x="1171" y="3030"/>
                </a:lnTo>
                <a:lnTo>
                  <a:pt x="1175" y="3027"/>
                </a:lnTo>
                <a:lnTo>
                  <a:pt x="1178" y="3022"/>
                </a:lnTo>
                <a:lnTo>
                  <a:pt x="1181" y="3016"/>
                </a:lnTo>
                <a:lnTo>
                  <a:pt x="1184" y="3003"/>
                </a:lnTo>
                <a:lnTo>
                  <a:pt x="1184" y="3003"/>
                </a:lnTo>
                <a:lnTo>
                  <a:pt x="1220" y="3003"/>
                </a:lnTo>
                <a:lnTo>
                  <a:pt x="1220" y="3003"/>
                </a:lnTo>
                <a:lnTo>
                  <a:pt x="1220" y="3003"/>
                </a:lnTo>
                <a:lnTo>
                  <a:pt x="1229" y="3010"/>
                </a:lnTo>
                <a:lnTo>
                  <a:pt x="1235" y="3016"/>
                </a:lnTo>
                <a:lnTo>
                  <a:pt x="1239" y="3024"/>
                </a:lnTo>
                <a:lnTo>
                  <a:pt x="1243" y="3034"/>
                </a:lnTo>
                <a:lnTo>
                  <a:pt x="1247" y="3053"/>
                </a:lnTo>
                <a:lnTo>
                  <a:pt x="1250" y="3064"/>
                </a:lnTo>
                <a:lnTo>
                  <a:pt x="1253" y="3076"/>
                </a:lnTo>
                <a:lnTo>
                  <a:pt x="1253" y="3076"/>
                </a:lnTo>
                <a:lnTo>
                  <a:pt x="1255" y="3081"/>
                </a:lnTo>
                <a:lnTo>
                  <a:pt x="1259" y="3085"/>
                </a:lnTo>
                <a:lnTo>
                  <a:pt x="1267" y="3095"/>
                </a:lnTo>
                <a:lnTo>
                  <a:pt x="1277" y="3103"/>
                </a:lnTo>
                <a:lnTo>
                  <a:pt x="1289" y="3112"/>
                </a:lnTo>
                <a:lnTo>
                  <a:pt x="1312" y="3128"/>
                </a:lnTo>
                <a:lnTo>
                  <a:pt x="1322" y="3135"/>
                </a:lnTo>
                <a:lnTo>
                  <a:pt x="1330" y="3142"/>
                </a:lnTo>
                <a:lnTo>
                  <a:pt x="1330" y="3142"/>
                </a:lnTo>
                <a:lnTo>
                  <a:pt x="1340" y="3152"/>
                </a:lnTo>
                <a:lnTo>
                  <a:pt x="1350" y="3164"/>
                </a:lnTo>
                <a:lnTo>
                  <a:pt x="1358" y="3176"/>
                </a:lnTo>
                <a:lnTo>
                  <a:pt x="1365" y="3190"/>
                </a:lnTo>
                <a:lnTo>
                  <a:pt x="1378" y="3217"/>
                </a:lnTo>
                <a:lnTo>
                  <a:pt x="1392" y="3244"/>
                </a:lnTo>
                <a:lnTo>
                  <a:pt x="1399" y="3257"/>
                </a:lnTo>
                <a:lnTo>
                  <a:pt x="1408" y="3268"/>
                </a:lnTo>
                <a:lnTo>
                  <a:pt x="1418" y="3280"/>
                </a:lnTo>
                <a:lnTo>
                  <a:pt x="1429" y="3289"/>
                </a:lnTo>
                <a:lnTo>
                  <a:pt x="1442" y="3296"/>
                </a:lnTo>
                <a:lnTo>
                  <a:pt x="1456" y="3303"/>
                </a:lnTo>
                <a:lnTo>
                  <a:pt x="1464" y="3304"/>
                </a:lnTo>
                <a:lnTo>
                  <a:pt x="1473" y="3306"/>
                </a:lnTo>
                <a:lnTo>
                  <a:pt x="1492" y="3308"/>
                </a:lnTo>
                <a:lnTo>
                  <a:pt x="1492" y="3308"/>
                </a:lnTo>
                <a:lnTo>
                  <a:pt x="1498" y="3300"/>
                </a:lnTo>
                <a:lnTo>
                  <a:pt x="1505" y="3290"/>
                </a:lnTo>
                <a:lnTo>
                  <a:pt x="1512" y="3282"/>
                </a:lnTo>
                <a:lnTo>
                  <a:pt x="1521" y="3275"/>
                </a:lnTo>
                <a:lnTo>
                  <a:pt x="1530" y="3270"/>
                </a:lnTo>
                <a:lnTo>
                  <a:pt x="1542" y="3264"/>
                </a:lnTo>
                <a:lnTo>
                  <a:pt x="1554" y="3262"/>
                </a:lnTo>
                <a:lnTo>
                  <a:pt x="1569" y="3260"/>
                </a:lnTo>
                <a:lnTo>
                  <a:pt x="1569" y="3260"/>
                </a:lnTo>
                <a:lnTo>
                  <a:pt x="1712" y="3260"/>
                </a:lnTo>
                <a:lnTo>
                  <a:pt x="1712" y="3260"/>
                </a:lnTo>
                <a:lnTo>
                  <a:pt x="1722" y="3259"/>
                </a:lnTo>
                <a:lnTo>
                  <a:pt x="1732" y="3257"/>
                </a:lnTo>
                <a:lnTo>
                  <a:pt x="1750" y="3250"/>
                </a:lnTo>
                <a:lnTo>
                  <a:pt x="1760" y="3247"/>
                </a:lnTo>
                <a:lnTo>
                  <a:pt x="1771" y="3244"/>
                </a:lnTo>
                <a:lnTo>
                  <a:pt x="1781" y="3242"/>
                </a:lnTo>
                <a:lnTo>
                  <a:pt x="1793" y="3241"/>
                </a:lnTo>
                <a:lnTo>
                  <a:pt x="1793" y="3241"/>
                </a:lnTo>
                <a:lnTo>
                  <a:pt x="1800" y="3242"/>
                </a:lnTo>
                <a:lnTo>
                  <a:pt x="1806" y="3243"/>
                </a:lnTo>
                <a:lnTo>
                  <a:pt x="1811" y="3244"/>
                </a:lnTo>
                <a:lnTo>
                  <a:pt x="1817" y="3248"/>
                </a:lnTo>
                <a:lnTo>
                  <a:pt x="1827" y="3253"/>
                </a:lnTo>
                <a:lnTo>
                  <a:pt x="1836" y="3262"/>
                </a:lnTo>
                <a:lnTo>
                  <a:pt x="1847" y="3268"/>
                </a:lnTo>
                <a:lnTo>
                  <a:pt x="1857" y="3275"/>
                </a:lnTo>
                <a:lnTo>
                  <a:pt x="1863" y="3278"/>
                </a:lnTo>
                <a:lnTo>
                  <a:pt x="1870" y="3280"/>
                </a:lnTo>
                <a:lnTo>
                  <a:pt x="1877" y="3281"/>
                </a:lnTo>
                <a:lnTo>
                  <a:pt x="1885" y="3281"/>
                </a:lnTo>
                <a:lnTo>
                  <a:pt x="1885" y="3281"/>
                </a:lnTo>
                <a:lnTo>
                  <a:pt x="1894" y="3281"/>
                </a:lnTo>
                <a:lnTo>
                  <a:pt x="1902" y="3280"/>
                </a:lnTo>
                <a:lnTo>
                  <a:pt x="1918" y="3276"/>
                </a:lnTo>
                <a:lnTo>
                  <a:pt x="1932" y="3271"/>
                </a:lnTo>
                <a:lnTo>
                  <a:pt x="1947" y="3265"/>
                </a:lnTo>
                <a:lnTo>
                  <a:pt x="1962" y="3259"/>
                </a:lnTo>
                <a:lnTo>
                  <a:pt x="1977" y="3253"/>
                </a:lnTo>
                <a:lnTo>
                  <a:pt x="1994" y="3250"/>
                </a:lnTo>
                <a:lnTo>
                  <a:pt x="2003" y="3249"/>
                </a:lnTo>
                <a:lnTo>
                  <a:pt x="2014" y="3249"/>
                </a:lnTo>
                <a:lnTo>
                  <a:pt x="2014" y="3249"/>
                </a:lnTo>
                <a:lnTo>
                  <a:pt x="2023" y="3248"/>
                </a:lnTo>
                <a:lnTo>
                  <a:pt x="2032" y="3247"/>
                </a:lnTo>
                <a:lnTo>
                  <a:pt x="2040" y="3244"/>
                </a:lnTo>
                <a:lnTo>
                  <a:pt x="2048" y="3242"/>
                </a:lnTo>
                <a:lnTo>
                  <a:pt x="2055" y="3239"/>
                </a:lnTo>
                <a:lnTo>
                  <a:pt x="2062" y="3234"/>
                </a:lnTo>
                <a:lnTo>
                  <a:pt x="2075" y="3225"/>
                </a:lnTo>
                <a:lnTo>
                  <a:pt x="2086" y="3214"/>
                </a:lnTo>
                <a:lnTo>
                  <a:pt x="2096" y="3204"/>
                </a:lnTo>
                <a:lnTo>
                  <a:pt x="2116" y="3182"/>
                </a:lnTo>
                <a:lnTo>
                  <a:pt x="2116" y="3182"/>
                </a:lnTo>
                <a:lnTo>
                  <a:pt x="2121" y="3179"/>
                </a:lnTo>
                <a:lnTo>
                  <a:pt x="2124" y="3176"/>
                </a:lnTo>
                <a:lnTo>
                  <a:pt x="2134" y="3173"/>
                </a:lnTo>
                <a:lnTo>
                  <a:pt x="2146" y="3169"/>
                </a:lnTo>
                <a:lnTo>
                  <a:pt x="2157" y="3167"/>
                </a:lnTo>
                <a:lnTo>
                  <a:pt x="2169" y="3166"/>
                </a:lnTo>
                <a:lnTo>
                  <a:pt x="2182" y="3163"/>
                </a:lnTo>
                <a:lnTo>
                  <a:pt x="2192" y="3159"/>
                </a:lnTo>
                <a:lnTo>
                  <a:pt x="2197" y="3156"/>
                </a:lnTo>
                <a:lnTo>
                  <a:pt x="2201" y="3152"/>
                </a:lnTo>
                <a:lnTo>
                  <a:pt x="2201" y="3152"/>
                </a:lnTo>
                <a:lnTo>
                  <a:pt x="2213" y="3145"/>
                </a:lnTo>
                <a:lnTo>
                  <a:pt x="2222" y="3137"/>
                </a:lnTo>
                <a:lnTo>
                  <a:pt x="2231" y="3129"/>
                </a:lnTo>
                <a:lnTo>
                  <a:pt x="2239" y="3120"/>
                </a:lnTo>
                <a:lnTo>
                  <a:pt x="2254" y="3103"/>
                </a:lnTo>
                <a:lnTo>
                  <a:pt x="2268" y="3085"/>
                </a:lnTo>
                <a:lnTo>
                  <a:pt x="2282" y="3068"/>
                </a:lnTo>
                <a:lnTo>
                  <a:pt x="2290" y="3060"/>
                </a:lnTo>
                <a:lnTo>
                  <a:pt x="2298" y="3053"/>
                </a:lnTo>
                <a:lnTo>
                  <a:pt x="2307" y="3046"/>
                </a:lnTo>
                <a:lnTo>
                  <a:pt x="2317" y="3039"/>
                </a:lnTo>
                <a:lnTo>
                  <a:pt x="2328" y="3034"/>
                </a:lnTo>
                <a:lnTo>
                  <a:pt x="2340" y="3028"/>
                </a:lnTo>
                <a:lnTo>
                  <a:pt x="2340" y="3028"/>
                </a:lnTo>
                <a:lnTo>
                  <a:pt x="2336" y="2988"/>
                </a:lnTo>
                <a:lnTo>
                  <a:pt x="2332" y="2950"/>
                </a:lnTo>
                <a:lnTo>
                  <a:pt x="2330" y="2914"/>
                </a:lnTo>
                <a:lnTo>
                  <a:pt x="2329" y="2881"/>
                </a:lnTo>
                <a:lnTo>
                  <a:pt x="2329" y="2881"/>
                </a:lnTo>
                <a:lnTo>
                  <a:pt x="2329" y="2873"/>
                </a:lnTo>
                <a:lnTo>
                  <a:pt x="2325" y="2865"/>
                </a:lnTo>
                <a:lnTo>
                  <a:pt x="2321" y="2859"/>
                </a:lnTo>
                <a:lnTo>
                  <a:pt x="2315" y="2854"/>
                </a:lnTo>
                <a:lnTo>
                  <a:pt x="2309" y="2850"/>
                </a:lnTo>
                <a:lnTo>
                  <a:pt x="2301" y="2846"/>
                </a:lnTo>
                <a:lnTo>
                  <a:pt x="2285" y="2842"/>
                </a:lnTo>
                <a:lnTo>
                  <a:pt x="2269" y="2837"/>
                </a:lnTo>
                <a:lnTo>
                  <a:pt x="2255" y="2832"/>
                </a:lnTo>
                <a:lnTo>
                  <a:pt x="2250" y="2829"/>
                </a:lnTo>
                <a:lnTo>
                  <a:pt x="2245" y="2825"/>
                </a:lnTo>
                <a:lnTo>
                  <a:pt x="2243" y="2821"/>
                </a:lnTo>
                <a:lnTo>
                  <a:pt x="2241" y="2815"/>
                </a:lnTo>
                <a:lnTo>
                  <a:pt x="2241" y="2815"/>
                </a:lnTo>
                <a:lnTo>
                  <a:pt x="2241" y="2810"/>
                </a:lnTo>
                <a:lnTo>
                  <a:pt x="2243" y="2806"/>
                </a:lnTo>
                <a:lnTo>
                  <a:pt x="2247" y="2798"/>
                </a:lnTo>
                <a:lnTo>
                  <a:pt x="2254" y="2790"/>
                </a:lnTo>
                <a:lnTo>
                  <a:pt x="2260" y="2782"/>
                </a:lnTo>
                <a:lnTo>
                  <a:pt x="2260" y="2782"/>
                </a:lnTo>
                <a:lnTo>
                  <a:pt x="2260" y="2728"/>
                </a:lnTo>
                <a:lnTo>
                  <a:pt x="2260" y="2728"/>
                </a:lnTo>
                <a:lnTo>
                  <a:pt x="2260" y="2728"/>
                </a:lnTo>
                <a:lnTo>
                  <a:pt x="2232" y="2723"/>
                </a:lnTo>
                <a:lnTo>
                  <a:pt x="2222" y="2721"/>
                </a:lnTo>
                <a:lnTo>
                  <a:pt x="2213" y="2718"/>
                </a:lnTo>
                <a:lnTo>
                  <a:pt x="2205" y="2715"/>
                </a:lnTo>
                <a:lnTo>
                  <a:pt x="2198" y="2710"/>
                </a:lnTo>
                <a:lnTo>
                  <a:pt x="2191" y="2703"/>
                </a:lnTo>
                <a:lnTo>
                  <a:pt x="2183" y="2693"/>
                </a:lnTo>
                <a:lnTo>
                  <a:pt x="2183" y="2693"/>
                </a:lnTo>
                <a:lnTo>
                  <a:pt x="2193" y="2685"/>
                </a:lnTo>
                <a:lnTo>
                  <a:pt x="2205" y="2676"/>
                </a:lnTo>
                <a:lnTo>
                  <a:pt x="2210" y="2670"/>
                </a:lnTo>
                <a:lnTo>
                  <a:pt x="2215" y="2664"/>
                </a:lnTo>
                <a:lnTo>
                  <a:pt x="2218" y="2657"/>
                </a:lnTo>
                <a:lnTo>
                  <a:pt x="2220" y="2649"/>
                </a:lnTo>
                <a:lnTo>
                  <a:pt x="2220" y="2649"/>
                </a:lnTo>
                <a:lnTo>
                  <a:pt x="2218" y="2636"/>
                </a:lnTo>
                <a:lnTo>
                  <a:pt x="2216" y="2623"/>
                </a:lnTo>
                <a:lnTo>
                  <a:pt x="2210" y="2598"/>
                </a:lnTo>
                <a:lnTo>
                  <a:pt x="2205" y="2572"/>
                </a:lnTo>
                <a:lnTo>
                  <a:pt x="2202" y="2557"/>
                </a:lnTo>
                <a:lnTo>
                  <a:pt x="2201" y="2543"/>
                </a:lnTo>
                <a:lnTo>
                  <a:pt x="2201" y="2543"/>
                </a:lnTo>
                <a:lnTo>
                  <a:pt x="2201" y="2531"/>
                </a:lnTo>
                <a:lnTo>
                  <a:pt x="2202" y="2520"/>
                </a:lnTo>
                <a:lnTo>
                  <a:pt x="2205" y="2510"/>
                </a:lnTo>
                <a:lnTo>
                  <a:pt x="2207" y="2502"/>
                </a:lnTo>
                <a:lnTo>
                  <a:pt x="2209" y="2493"/>
                </a:lnTo>
                <a:lnTo>
                  <a:pt x="2213" y="2486"/>
                </a:lnTo>
                <a:lnTo>
                  <a:pt x="2216" y="2479"/>
                </a:lnTo>
                <a:lnTo>
                  <a:pt x="2221" y="2473"/>
                </a:lnTo>
                <a:lnTo>
                  <a:pt x="2230" y="2463"/>
                </a:lnTo>
                <a:lnTo>
                  <a:pt x="2239" y="2455"/>
                </a:lnTo>
                <a:lnTo>
                  <a:pt x="2251" y="2448"/>
                </a:lnTo>
                <a:lnTo>
                  <a:pt x="2262" y="2441"/>
                </a:lnTo>
                <a:lnTo>
                  <a:pt x="2284" y="2428"/>
                </a:lnTo>
                <a:lnTo>
                  <a:pt x="2294" y="2422"/>
                </a:lnTo>
                <a:lnTo>
                  <a:pt x="2304" y="2413"/>
                </a:lnTo>
                <a:lnTo>
                  <a:pt x="2312" y="2403"/>
                </a:lnTo>
                <a:lnTo>
                  <a:pt x="2314" y="2397"/>
                </a:lnTo>
                <a:lnTo>
                  <a:pt x="2317" y="2390"/>
                </a:lnTo>
                <a:lnTo>
                  <a:pt x="2320" y="2384"/>
                </a:lnTo>
                <a:lnTo>
                  <a:pt x="2321" y="2374"/>
                </a:lnTo>
                <a:lnTo>
                  <a:pt x="2322" y="2366"/>
                </a:lnTo>
                <a:lnTo>
                  <a:pt x="2322" y="2356"/>
                </a:lnTo>
                <a:lnTo>
                  <a:pt x="2322" y="2356"/>
                </a:lnTo>
                <a:lnTo>
                  <a:pt x="2323" y="2349"/>
                </a:lnTo>
                <a:lnTo>
                  <a:pt x="2324" y="2343"/>
                </a:lnTo>
                <a:lnTo>
                  <a:pt x="2327" y="2339"/>
                </a:lnTo>
                <a:lnTo>
                  <a:pt x="2329" y="2335"/>
                </a:lnTo>
                <a:lnTo>
                  <a:pt x="2332" y="2333"/>
                </a:lnTo>
                <a:lnTo>
                  <a:pt x="2337" y="2331"/>
                </a:lnTo>
                <a:lnTo>
                  <a:pt x="2346" y="2328"/>
                </a:lnTo>
                <a:lnTo>
                  <a:pt x="2357" y="2327"/>
                </a:lnTo>
                <a:lnTo>
                  <a:pt x="2367" y="2327"/>
                </a:lnTo>
                <a:lnTo>
                  <a:pt x="2378" y="2326"/>
                </a:lnTo>
                <a:lnTo>
                  <a:pt x="2389" y="2323"/>
                </a:lnTo>
                <a:lnTo>
                  <a:pt x="2389" y="2323"/>
                </a:lnTo>
                <a:lnTo>
                  <a:pt x="2396" y="2319"/>
                </a:lnTo>
                <a:lnTo>
                  <a:pt x="2401" y="2316"/>
                </a:lnTo>
                <a:lnTo>
                  <a:pt x="2406" y="2312"/>
                </a:lnTo>
                <a:lnTo>
                  <a:pt x="2411" y="2308"/>
                </a:lnTo>
                <a:lnTo>
                  <a:pt x="2414" y="2302"/>
                </a:lnTo>
                <a:lnTo>
                  <a:pt x="2416" y="2297"/>
                </a:lnTo>
                <a:lnTo>
                  <a:pt x="2420" y="2285"/>
                </a:lnTo>
                <a:lnTo>
                  <a:pt x="2422" y="2272"/>
                </a:lnTo>
                <a:lnTo>
                  <a:pt x="2422" y="2259"/>
                </a:lnTo>
                <a:lnTo>
                  <a:pt x="2422" y="2231"/>
                </a:lnTo>
                <a:lnTo>
                  <a:pt x="2422" y="2231"/>
                </a:lnTo>
                <a:lnTo>
                  <a:pt x="2423" y="2225"/>
                </a:lnTo>
                <a:lnTo>
                  <a:pt x="2426" y="2220"/>
                </a:lnTo>
                <a:lnTo>
                  <a:pt x="2430" y="2217"/>
                </a:lnTo>
                <a:lnTo>
                  <a:pt x="2435" y="2213"/>
                </a:lnTo>
                <a:lnTo>
                  <a:pt x="2439" y="2210"/>
                </a:lnTo>
                <a:lnTo>
                  <a:pt x="2443" y="2206"/>
                </a:lnTo>
                <a:lnTo>
                  <a:pt x="2446" y="2203"/>
                </a:lnTo>
                <a:lnTo>
                  <a:pt x="2447" y="2198"/>
                </a:lnTo>
                <a:lnTo>
                  <a:pt x="2447" y="2198"/>
                </a:lnTo>
                <a:lnTo>
                  <a:pt x="2446" y="2190"/>
                </a:lnTo>
                <a:lnTo>
                  <a:pt x="2445" y="2182"/>
                </a:lnTo>
                <a:lnTo>
                  <a:pt x="2442" y="2168"/>
                </a:lnTo>
                <a:lnTo>
                  <a:pt x="2436" y="2156"/>
                </a:lnTo>
                <a:lnTo>
                  <a:pt x="2429" y="2144"/>
                </a:lnTo>
                <a:lnTo>
                  <a:pt x="2420" y="2133"/>
                </a:lnTo>
                <a:lnTo>
                  <a:pt x="2409" y="2123"/>
                </a:lnTo>
                <a:lnTo>
                  <a:pt x="2389" y="2105"/>
                </a:lnTo>
                <a:lnTo>
                  <a:pt x="2367" y="2086"/>
                </a:lnTo>
                <a:lnTo>
                  <a:pt x="2357" y="2076"/>
                </a:lnTo>
                <a:lnTo>
                  <a:pt x="2347" y="2066"/>
                </a:lnTo>
                <a:lnTo>
                  <a:pt x="2340" y="2054"/>
                </a:lnTo>
                <a:lnTo>
                  <a:pt x="2335" y="2043"/>
                </a:lnTo>
                <a:lnTo>
                  <a:pt x="2331" y="2029"/>
                </a:lnTo>
                <a:lnTo>
                  <a:pt x="2330" y="2021"/>
                </a:lnTo>
                <a:lnTo>
                  <a:pt x="2329" y="2014"/>
                </a:lnTo>
                <a:lnTo>
                  <a:pt x="2329" y="2014"/>
                </a:lnTo>
                <a:lnTo>
                  <a:pt x="2330" y="2006"/>
                </a:lnTo>
                <a:lnTo>
                  <a:pt x="2331" y="2000"/>
                </a:lnTo>
                <a:lnTo>
                  <a:pt x="2331" y="1995"/>
                </a:lnTo>
                <a:lnTo>
                  <a:pt x="2329" y="1989"/>
                </a:lnTo>
                <a:lnTo>
                  <a:pt x="2329" y="1989"/>
                </a:lnTo>
                <a:lnTo>
                  <a:pt x="2338" y="1968"/>
                </a:lnTo>
                <a:lnTo>
                  <a:pt x="2346" y="1950"/>
                </a:lnTo>
                <a:lnTo>
                  <a:pt x="2350" y="1941"/>
                </a:lnTo>
                <a:lnTo>
                  <a:pt x="2353" y="1930"/>
                </a:lnTo>
                <a:lnTo>
                  <a:pt x="2354" y="1920"/>
                </a:lnTo>
                <a:lnTo>
                  <a:pt x="2355" y="1907"/>
                </a:lnTo>
                <a:lnTo>
                  <a:pt x="2355" y="1907"/>
                </a:lnTo>
                <a:lnTo>
                  <a:pt x="2355" y="1899"/>
                </a:lnTo>
                <a:lnTo>
                  <a:pt x="2353" y="1890"/>
                </a:lnTo>
                <a:lnTo>
                  <a:pt x="2348" y="1870"/>
                </a:lnTo>
                <a:lnTo>
                  <a:pt x="2342" y="1851"/>
                </a:lnTo>
                <a:lnTo>
                  <a:pt x="2334" y="1830"/>
                </a:lnTo>
                <a:lnTo>
                  <a:pt x="2319" y="1793"/>
                </a:lnTo>
                <a:lnTo>
                  <a:pt x="2313" y="1777"/>
                </a:lnTo>
                <a:lnTo>
                  <a:pt x="2312" y="1770"/>
                </a:lnTo>
                <a:lnTo>
                  <a:pt x="2312" y="1764"/>
                </a:lnTo>
                <a:lnTo>
                  <a:pt x="2312" y="1764"/>
                </a:lnTo>
                <a:lnTo>
                  <a:pt x="2312" y="1760"/>
                </a:lnTo>
                <a:lnTo>
                  <a:pt x="2313" y="1755"/>
                </a:lnTo>
                <a:lnTo>
                  <a:pt x="2316" y="1748"/>
                </a:lnTo>
                <a:lnTo>
                  <a:pt x="2322" y="1743"/>
                </a:lnTo>
                <a:lnTo>
                  <a:pt x="2329" y="1738"/>
                </a:lnTo>
                <a:lnTo>
                  <a:pt x="2337" y="1735"/>
                </a:lnTo>
                <a:lnTo>
                  <a:pt x="2345" y="1732"/>
                </a:lnTo>
                <a:lnTo>
                  <a:pt x="2354" y="1731"/>
                </a:lnTo>
                <a:lnTo>
                  <a:pt x="2363" y="1731"/>
                </a:lnTo>
                <a:lnTo>
                  <a:pt x="2363" y="1731"/>
                </a:lnTo>
                <a:lnTo>
                  <a:pt x="2414" y="1731"/>
                </a:lnTo>
                <a:lnTo>
                  <a:pt x="2414" y="1731"/>
                </a:lnTo>
                <a:lnTo>
                  <a:pt x="2421" y="1733"/>
                </a:lnTo>
                <a:lnTo>
                  <a:pt x="2432" y="1737"/>
                </a:lnTo>
                <a:lnTo>
                  <a:pt x="2441" y="1738"/>
                </a:lnTo>
                <a:lnTo>
                  <a:pt x="2449" y="1739"/>
                </a:lnTo>
                <a:lnTo>
                  <a:pt x="2457" y="1738"/>
                </a:lnTo>
                <a:lnTo>
                  <a:pt x="2465" y="1736"/>
                </a:lnTo>
                <a:lnTo>
                  <a:pt x="2465" y="1736"/>
                </a:lnTo>
                <a:lnTo>
                  <a:pt x="2470" y="1732"/>
                </a:lnTo>
                <a:lnTo>
                  <a:pt x="2475" y="1728"/>
                </a:lnTo>
                <a:lnTo>
                  <a:pt x="2478" y="1723"/>
                </a:lnTo>
                <a:lnTo>
                  <a:pt x="2483" y="1717"/>
                </a:lnTo>
                <a:lnTo>
                  <a:pt x="2497" y="1691"/>
                </a:lnTo>
                <a:lnTo>
                  <a:pt x="2505" y="1678"/>
                </a:lnTo>
                <a:lnTo>
                  <a:pt x="2510" y="1672"/>
                </a:lnTo>
                <a:lnTo>
                  <a:pt x="2516" y="1668"/>
                </a:lnTo>
                <a:lnTo>
                  <a:pt x="2522" y="1663"/>
                </a:lnTo>
                <a:lnTo>
                  <a:pt x="2530" y="1660"/>
                </a:lnTo>
                <a:lnTo>
                  <a:pt x="2539" y="1659"/>
                </a:lnTo>
                <a:lnTo>
                  <a:pt x="2550" y="1657"/>
                </a:lnTo>
                <a:lnTo>
                  <a:pt x="2550" y="1657"/>
                </a:lnTo>
                <a:lnTo>
                  <a:pt x="2559" y="1657"/>
                </a:lnTo>
                <a:lnTo>
                  <a:pt x="2565" y="1659"/>
                </a:lnTo>
                <a:lnTo>
                  <a:pt x="2571" y="1662"/>
                </a:lnTo>
                <a:lnTo>
                  <a:pt x="2573" y="1662"/>
                </a:lnTo>
                <a:lnTo>
                  <a:pt x="2576" y="1662"/>
                </a:lnTo>
                <a:lnTo>
                  <a:pt x="2587" y="1657"/>
                </a:lnTo>
                <a:lnTo>
                  <a:pt x="2587" y="1657"/>
                </a:lnTo>
                <a:lnTo>
                  <a:pt x="2590" y="1655"/>
                </a:lnTo>
                <a:lnTo>
                  <a:pt x="2592" y="1653"/>
                </a:lnTo>
                <a:lnTo>
                  <a:pt x="2594" y="1649"/>
                </a:lnTo>
                <a:lnTo>
                  <a:pt x="2595" y="1645"/>
                </a:lnTo>
                <a:lnTo>
                  <a:pt x="2596" y="1633"/>
                </a:lnTo>
                <a:lnTo>
                  <a:pt x="2596" y="1622"/>
                </a:lnTo>
                <a:lnTo>
                  <a:pt x="2594" y="1601"/>
                </a:lnTo>
                <a:lnTo>
                  <a:pt x="2594" y="1594"/>
                </a:lnTo>
                <a:lnTo>
                  <a:pt x="2594" y="1592"/>
                </a:lnTo>
                <a:lnTo>
                  <a:pt x="2594" y="1592"/>
                </a:lnTo>
                <a:lnTo>
                  <a:pt x="2568" y="1592"/>
                </a:lnTo>
                <a:lnTo>
                  <a:pt x="2568" y="159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7" name="Freeform 112"/>
          <p:cNvSpPr>
            <a:spLocks/>
          </p:cNvSpPr>
          <p:nvPr/>
        </p:nvSpPr>
        <p:spPr bwMode="auto">
          <a:xfrm>
            <a:off x="5926138" y="1970088"/>
            <a:ext cx="242887" cy="263525"/>
          </a:xfrm>
          <a:custGeom>
            <a:avLst/>
            <a:gdLst/>
            <a:ahLst/>
            <a:cxnLst>
              <a:cxn ang="0">
                <a:pos x="298" y="77"/>
              </a:cxn>
              <a:cxn ang="0">
                <a:pos x="290" y="40"/>
              </a:cxn>
              <a:cxn ang="0">
                <a:pos x="276" y="27"/>
              </a:cxn>
              <a:cxn ang="0">
                <a:pos x="263" y="2"/>
              </a:cxn>
              <a:cxn ang="0">
                <a:pos x="226" y="1"/>
              </a:cxn>
              <a:cxn ang="0">
                <a:pos x="192" y="8"/>
              </a:cxn>
              <a:cxn ang="0">
                <a:pos x="162" y="33"/>
              </a:cxn>
              <a:cxn ang="0">
                <a:pos x="138" y="36"/>
              </a:cxn>
              <a:cxn ang="0">
                <a:pos x="118" y="30"/>
              </a:cxn>
              <a:cxn ang="0">
                <a:pos x="108" y="33"/>
              </a:cxn>
              <a:cxn ang="0">
                <a:pos x="103" y="48"/>
              </a:cxn>
              <a:cxn ang="0">
                <a:pos x="112" y="84"/>
              </a:cxn>
              <a:cxn ang="0">
                <a:pos x="132" y="103"/>
              </a:cxn>
              <a:cxn ang="0">
                <a:pos x="127" y="115"/>
              </a:cxn>
              <a:cxn ang="0">
                <a:pos x="103" y="108"/>
              </a:cxn>
              <a:cxn ang="0">
                <a:pos x="88" y="107"/>
              </a:cxn>
              <a:cxn ang="0">
                <a:pos x="39" y="94"/>
              </a:cxn>
              <a:cxn ang="0">
                <a:pos x="19" y="93"/>
              </a:cxn>
              <a:cxn ang="0">
                <a:pos x="6" y="116"/>
              </a:cxn>
              <a:cxn ang="0">
                <a:pos x="1" y="152"/>
              </a:cxn>
              <a:cxn ang="0">
                <a:pos x="15" y="175"/>
              </a:cxn>
              <a:cxn ang="0">
                <a:pos x="11" y="190"/>
              </a:cxn>
              <a:cxn ang="0">
                <a:pos x="8" y="207"/>
              </a:cxn>
              <a:cxn ang="0">
                <a:pos x="32" y="222"/>
              </a:cxn>
              <a:cxn ang="0">
                <a:pos x="47" y="231"/>
              </a:cxn>
              <a:cxn ang="0">
                <a:pos x="51" y="257"/>
              </a:cxn>
              <a:cxn ang="0">
                <a:pos x="78" y="280"/>
              </a:cxn>
              <a:cxn ang="0">
                <a:pos x="135" y="291"/>
              </a:cxn>
              <a:cxn ang="0">
                <a:pos x="143" y="299"/>
              </a:cxn>
              <a:cxn ang="0">
                <a:pos x="165" y="301"/>
              </a:cxn>
              <a:cxn ang="0">
                <a:pos x="181" y="294"/>
              </a:cxn>
              <a:cxn ang="0">
                <a:pos x="184" y="276"/>
              </a:cxn>
              <a:cxn ang="0">
                <a:pos x="180" y="246"/>
              </a:cxn>
              <a:cxn ang="0">
                <a:pos x="180" y="236"/>
              </a:cxn>
              <a:cxn ang="0">
                <a:pos x="199" y="230"/>
              </a:cxn>
              <a:cxn ang="0">
                <a:pos x="218" y="200"/>
              </a:cxn>
              <a:cxn ang="0">
                <a:pos x="231" y="175"/>
              </a:cxn>
              <a:cxn ang="0">
                <a:pos x="261" y="164"/>
              </a:cxn>
              <a:cxn ang="0">
                <a:pos x="284" y="153"/>
              </a:cxn>
              <a:cxn ang="0">
                <a:pos x="286" y="137"/>
              </a:cxn>
              <a:cxn ang="0">
                <a:pos x="286" y="122"/>
              </a:cxn>
              <a:cxn ang="0">
                <a:pos x="258" y="125"/>
              </a:cxn>
              <a:cxn ang="0">
                <a:pos x="240" y="129"/>
              </a:cxn>
              <a:cxn ang="0">
                <a:pos x="202" y="109"/>
              </a:cxn>
              <a:cxn ang="0">
                <a:pos x="180" y="78"/>
              </a:cxn>
              <a:cxn ang="0">
                <a:pos x="180" y="48"/>
              </a:cxn>
              <a:cxn ang="0">
                <a:pos x="203" y="70"/>
              </a:cxn>
              <a:cxn ang="0">
                <a:pos x="226" y="104"/>
              </a:cxn>
              <a:cxn ang="0">
                <a:pos x="246" y="110"/>
              </a:cxn>
              <a:cxn ang="0">
                <a:pos x="272" y="107"/>
              </a:cxn>
              <a:cxn ang="0">
                <a:pos x="298" y="85"/>
              </a:cxn>
            </a:cxnLst>
            <a:rect l="0" t="0" r="r" b="b"/>
            <a:pathLst>
              <a:path w="299" h="301">
                <a:moveTo>
                  <a:pt x="298" y="85"/>
                </a:moveTo>
                <a:lnTo>
                  <a:pt x="298" y="85"/>
                </a:lnTo>
                <a:lnTo>
                  <a:pt x="299" y="83"/>
                </a:lnTo>
                <a:lnTo>
                  <a:pt x="298" y="77"/>
                </a:lnTo>
                <a:lnTo>
                  <a:pt x="295" y="64"/>
                </a:lnTo>
                <a:lnTo>
                  <a:pt x="292" y="50"/>
                </a:lnTo>
                <a:lnTo>
                  <a:pt x="290" y="40"/>
                </a:lnTo>
                <a:lnTo>
                  <a:pt x="290" y="40"/>
                </a:lnTo>
                <a:lnTo>
                  <a:pt x="287" y="40"/>
                </a:lnTo>
                <a:lnTo>
                  <a:pt x="284" y="39"/>
                </a:lnTo>
                <a:lnTo>
                  <a:pt x="279" y="34"/>
                </a:lnTo>
                <a:lnTo>
                  <a:pt x="276" y="27"/>
                </a:lnTo>
                <a:lnTo>
                  <a:pt x="273" y="20"/>
                </a:lnTo>
                <a:lnTo>
                  <a:pt x="271" y="12"/>
                </a:lnTo>
                <a:lnTo>
                  <a:pt x="268" y="7"/>
                </a:lnTo>
                <a:lnTo>
                  <a:pt x="263" y="2"/>
                </a:lnTo>
                <a:lnTo>
                  <a:pt x="260" y="1"/>
                </a:lnTo>
                <a:lnTo>
                  <a:pt x="257" y="0"/>
                </a:lnTo>
                <a:lnTo>
                  <a:pt x="257" y="0"/>
                </a:lnTo>
                <a:lnTo>
                  <a:pt x="226" y="1"/>
                </a:lnTo>
                <a:lnTo>
                  <a:pt x="212" y="2"/>
                </a:lnTo>
                <a:lnTo>
                  <a:pt x="199" y="4"/>
                </a:lnTo>
                <a:lnTo>
                  <a:pt x="199" y="4"/>
                </a:lnTo>
                <a:lnTo>
                  <a:pt x="192" y="8"/>
                </a:lnTo>
                <a:lnTo>
                  <a:pt x="186" y="12"/>
                </a:lnTo>
                <a:lnTo>
                  <a:pt x="174" y="23"/>
                </a:lnTo>
                <a:lnTo>
                  <a:pt x="169" y="28"/>
                </a:lnTo>
                <a:lnTo>
                  <a:pt x="162" y="33"/>
                </a:lnTo>
                <a:lnTo>
                  <a:pt x="153" y="35"/>
                </a:lnTo>
                <a:lnTo>
                  <a:pt x="143" y="36"/>
                </a:lnTo>
                <a:lnTo>
                  <a:pt x="143" y="36"/>
                </a:lnTo>
                <a:lnTo>
                  <a:pt x="138" y="36"/>
                </a:lnTo>
                <a:lnTo>
                  <a:pt x="134" y="35"/>
                </a:lnTo>
                <a:lnTo>
                  <a:pt x="127" y="33"/>
                </a:lnTo>
                <a:lnTo>
                  <a:pt x="123" y="31"/>
                </a:lnTo>
                <a:lnTo>
                  <a:pt x="118" y="30"/>
                </a:lnTo>
                <a:lnTo>
                  <a:pt x="118" y="30"/>
                </a:lnTo>
                <a:lnTo>
                  <a:pt x="113" y="30"/>
                </a:lnTo>
                <a:lnTo>
                  <a:pt x="111" y="31"/>
                </a:lnTo>
                <a:lnTo>
                  <a:pt x="108" y="33"/>
                </a:lnTo>
                <a:lnTo>
                  <a:pt x="107" y="35"/>
                </a:lnTo>
                <a:lnTo>
                  <a:pt x="103" y="42"/>
                </a:lnTo>
                <a:lnTo>
                  <a:pt x="103" y="48"/>
                </a:lnTo>
                <a:lnTo>
                  <a:pt x="103" y="48"/>
                </a:lnTo>
                <a:lnTo>
                  <a:pt x="103" y="60"/>
                </a:lnTo>
                <a:lnTo>
                  <a:pt x="105" y="69"/>
                </a:lnTo>
                <a:lnTo>
                  <a:pt x="109" y="77"/>
                </a:lnTo>
                <a:lnTo>
                  <a:pt x="112" y="84"/>
                </a:lnTo>
                <a:lnTo>
                  <a:pt x="117" y="89"/>
                </a:lnTo>
                <a:lnTo>
                  <a:pt x="122" y="94"/>
                </a:lnTo>
                <a:lnTo>
                  <a:pt x="132" y="103"/>
                </a:lnTo>
                <a:lnTo>
                  <a:pt x="132" y="103"/>
                </a:lnTo>
                <a:lnTo>
                  <a:pt x="132" y="114"/>
                </a:lnTo>
                <a:lnTo>
                  <a:pt x="132" y="114"/>
                </a:lnTo>
                <a:lnTo>
                  <a:pt x="132" y="114"/>
                </a:lnTo>
                <a:lnTo>
                  <a:pt x="127" y="115"/>
                </a:lnTo>
                <a:lnTo>
                  <a:pt x="123" y="115"/>
                </a:lnTo>
                <a:lnTo>
                  <a:pt x="115" y="111"/>
                </a:lnTo>
                <a:lnTo>
                  <a:pt x="107" y="109"/>
                </a:lnTo>
                <a:lnTo>
                  <a:pt x="103" y="108"/>
                </a:lnTo>
                <a:lnTo>
                  <a:pt x="99" y="107"/>
                </a:lnTo>
                <a:lnTo>
                  <a:pt x="99" y="107"/>
                </a:lnTo>
                <a:lnTo>
                  <a:pt x="88" y="107"/>
                </a:lnTo>
                <a:lnTo>
                  <a:pt x="88" y="107"/>
                </a:lnTo>
                <a:lnTo>
                  <a:pt x="80" y="107"/>
                </a:lnTo>
                <a:lnTo>
                  <a:pt x="72" y="104"/>
                </a:lnTo>
                <a:lnTo>
                  <a:pt x="55" y="100"/>
                </a:lnTo>
                <a:lnTo>
                  <a:pt x="39" y="94"/>
                </a:lnTo>
                <a:lnTo>
                  <a:pt x="31" y="93"/>
                </a:lnTo>
                <a:lnTo>
                  <a:pt x="21" y="92"/>
                </a:lnTo>
                <a:lnTo>
                  <a:pt x="21" y="92"/>
                </a:lnTo>
                <a:lnTo>
                  <a:pt x="19" y="93"/>
                </a:lnTo>
                <a:lnTo>
                  <a:pt x="18" y="94"/>
                </a:lnTo>
                <a:lnTo>
                  <a:pt x="13" y="100"/>
                </a:lnTo>
                <a:lnTo>
                  <a:pt x="10" y="107"/>
                </a:lnTo>
                <a:lnTo>
                  <a:pt x="6" y="116"/>
                </a:lnTo>
                <a:lnTo>
                  <a:pt x="2" y="134"/>
                </a:lnTo>
                <a:lnTo>
                  <a:pt x="0" y="147"/>
                </a:lnTo>
                <a:lnTo>
                  <a:pt x="0" y="147"/>
                </a:lnTo>
                <a:lnTo>
                  <a:pt x="1" y="152"/>
                </a:lnTo>
                <a:lnTo>
                  <a:pt x="2" y="156"/>
                </a:lnTo>
                <a:lnTo>
                  <a:pt x="8" y="163"/>
                </a:lnTo>
                <a:lnTo>
                  <a:pt x="12" y="170"/>
                </a:lnTo>
                <a:lnTo>
                  <a:pt x="15" y="175"/>
                </a:lnTo>
                <a:lnTo>
                  <a:pt x="15" y="180"/>
                </a:lnTo>
                <a:lnTo>
                  <a:pt x="15" y="180"/>
                </a:lnTo>
                <a:lnTo>
                  <a:pt x="13" y="185"/>
                </a:lnTo>
                <a:lnTo>
                  <a:pt x="11" y="190"/>
                </a:lnTo>
                <a:lnTo>
                  <a:pt x="9" y="194"/>
                </a:lnTo>
                <a:lnTo>
                  <a:pt x="8" y="199"/>
                </a:lnTo>
                <a:lnTo>
                  <a:pt x="8" y="199"/>
                </a:lnTo>
                <a:lnTo>
                  <a:pt x="8" y="207"/>
                </a:lnTo>
                <a:lnTo>
                  <a:pt x="11" y="213"/>
                </a:lnTo>
                <a:lnTo>
                  <a:pt x="15" y="216"/>
                </a:lnTo>
                <a:lnTo>
                  <a:pt x="20" y="218"/>
                </a:lnTo>
                <a:lnTo>
                  <a:pt x="32" y="222"/>
                </a:lnTo>
                <a:lnTo>
                  <a:pt x="39" y="225"/>
                </a:lnTo>
                <a:lnTo>
                  <a:pt x="44" y="229"/>
                </a:lnTo>
                <a:lnTo>
                  <a:pt x="44" y="229"/>
                </a:lnTo>
                <a:lnTo>
                  <a:pt x="47" y="231"/>
                </a:lnTo>
                <a:lnTo>
                  <a:pt x="48" y="234"/>
                </a:lnTo>
                <a:lnTo>
                  <a:pt x="49" y="242"/>
                </a:lnTo>
                <a:lnTo>
                  <a:pt x="49" y="251"/>
                </a:lnTo>
                <a:lnTo>
                  <a:pt x="51" y="257"/>
                </a:lnTo>
                <a:lnTo>
                  <a:pt x="51" y="257"/>
                </a:lnTo>
                <a:lnTo>
                  <a:pt x="58" y="268"/>
                </a:lnTo>
                <a:lnTo>
                  <a:pt x="67" y="275"/>
                </a:lnTo>
                <a:lnTo>
                  <a:pt x="78" y="280"/>
                </a:lnTo>
                <a:lnTo>
                  <a:pt x="88" y="285"/>
                </a:lnTo>
                <a:lnTo>
                  <a:pt x="100" y="287"/>
                </a:lnTo>
                <a:lnTo>
                  <a:pt x="111" y="290"/>
                </a:lnTo>
                <a:lnTo>
                  <a:pt x="135" y="291"/>
                </a:lnTo>
                <a:lnTo>
                  <a:pt x="135" y="291"/>
                </a:lnTo>
                <a:lnTo>
                  <a:pt x="138" y="294"/>
                </a:lnTo>
                <a:lnTo>
                  <a:pt x="140" y="297"/>
                </a:lnTo>
                <a:lnTo>
                  <a:pt x="143" y="299"/>
                </a:lnTo>
                <a:lnTo>
                  <a:pt x="148" y="300"/>
                </a:lnTo>
                <a:lnTo>
                  <a:pt x="156" y="301"/>
                </a:lnTo>
                <a:lnTo>
                  <a:pt x="165" y="301"/>
                </a:lnTo>
                <a:lnTo>
                  <a:pt x="165" y="301"/>
                </a:lnTo>
                <a:lnTo>
                  <a:pt x="171" y="301"/>
                </a:lnTo>
                <a:lnTo>
                  <a:pt x="176" y="300"/>
                </a:lnTo>
                <a:lnTo>
                  <a:pt x="179" y="298"/>
                </a:lnTo>
                <a:lnTo>
                  <a:pt x="181" y="294"/>
                </a:lnTo>
                <a:lnTo>
                  <a:pt x="183" y="291"/>
                </a:lnTo>
                <a:lnTo>
                  <a:pt x="184" y="286"/>
                </a:lnTo>
                <a:lnTo>
                  <a:pt x="184" y="276"/>
                </a:lnTo>
                <a:lnTo>
                  <a:pt x="184" y="276"/>
                </a:lnTo>
                <a:lnTo>
                  <a:pt x="183" y="265"/>
                </a:lnTo>
                <a:lnTo>
                  <a:pt x="181" y="259"/>
                </a:lnTo>
                <a:lnTo>
                  <a:pt x="180" y="252"/>
                </a:lnTo>
                <a:lnTo>
                  <a:pt x="180" y="246"/>
                </a:lnTo>
                <a:lnTo>
                  <a:pt x="180" y="246"/>
                </a:lnTo>
                <a:lnTo>
                  <a:pt x="180" y="236"/>
                </a:lnTo>
                <a:lnTo>
                  <a:pt x="180" y="236"/>
                </a:lnTo>
                <a:lnTo>
                  <a:pt x="180" y="236"/>
                </a:lnTo>
                <a:lnTo>
                  <a:pt x="185" y="234"/>
                </a:lnTo>
                <a:lnTo>
                  <a:pt x="189" y="233"/>
                </a:lnTo>
                <a:lnTo>
                  <a:pt x="194" y="232"/>
                </a:lnTo>
                <a:lnTo>
                  <a:pt x="199" y="230"/>
                </a:lnTo>
                <a:lnTo>
                  <a:pt x="204" y="224"/>
                </a:lnTo>
                <a:lnTo>
                  <a:pt x="210" y="216"/>
                </a:lnTo>
                <a:lnTo>
                  <a:pt x="215" y="208"/>
                </a:lnTo>
                <a:lnTo>
                  <a:pt x="218" y="200"/>
                </a:lnTo>
                <a:lnTo>
                  <a:pt x="224" y="184"/>
                </a:lnTo>
                <a:lnTo>
                  <a:pt x="224" y="184"/>
                </a:lnTo>
                <a:lnTo>
                  <a:pt x="227" y="179"/>
                </a:lnTo>
                <a:lnTo>
                  <a:pt x="231" y="175"/>
                </a:lnTo>
                <a:lnTo>
                  <a:pt x="235" y="172"/>
                </a:lnTo>
                <a:lnTo>
                  <a:pt x="240" y="169"/>
                </a:lnTo>
                <a:lnTo>
                  <a:pt x="250" y="167"/>
                </a:lnTo>
                <a:lnTo>
                  <a:pt x="261" y="164"/>
                </a:lnTo>
                <a:lnTo>
                  <a:pt x="270" y="162"/>
                </a:lnTo>
                <a:lnTo>
                  <a:pt x="279" y="158"/>
                </a:lnTo>
                <a:lnTo>
                  <a:pt x="281" y="155"/>
                </a:lnTo>
                <a:lnTo>
                  <a:pt x="284" y="153"/>
                </a:lnTo>
                <a:lnTo>
                  <a:pt x="286" y="148"/>
                </a:lnTo>
                <a:lnTo>
                  <a:pt x="286" y="144"/>
                </a:lnTo>
                <a:lnTo>
                  <a:pt x="286" y="144"/>
                </a:lnTo>
                <a:lnTo>
                  <a:pt x="286" y="137"/>
                </a:lnTo>
                <a:lnTo>
                  <a:pt x="285" y="131"/>
                </a:lnTo>
                <a:lnTo>
                  <a:pt x="285" y="126"/>
                </a:lnTo>
                <a:lnTo>
                  <a:pt x="286" y="122"/>
                </a:lnTo>
                <a:lnTo>
                  <a:pt x="286" y="122"/>
                </a:lnTo>
                <a:lnTo>
                  <a:pt x="268" y="122"/>
                </a:lnTo>
                <a:lnTo>
                  <a:pt x="268" y="122"/>
                </a:lnTo>
                <a:lnTo>
                  <a:pt x="263" y="123"/>
                </a:lnTo>
                <a:lnTo>
                  <a:pt x="258" y="125"/>
                </a:lnTo>
                <a:lnTo>
                  <a:pt x="253" y="127"/>
                </a:lnTo>
                <a:lnTo>
                  <a:pt x="246" y="129"/>
                </a:lnTo>
                <a:lnTo>
                  <a:pt x="246" y="129"/>
                </a:lnTo>
                <a:lnTo>
                  <a:pt x="240" y="129"/>
                </a:lnTo>
                <a:lnTo>
                  <a:pt x="234" y="127"/>
                </a:lnTo>
                <a:lnTo>
                  <a:pt x="223" y="123"/>
                </a:lnTo>
                <a:lnTo>
                  <a:pt x="212" y="117"/>
                </a:lnTo>
                <a:lnTo>
                  <a:pt x="202" y="109"/>
                </a:lnTo>
                <a:lnTo>
                  <a:pt x="193" y="101"/>
                </a:lnTo>
                <a:lnTo>
                  <a:pt x="186" y="92"/>
                </a:lnTo>
                <a:lnTo>
                  <a:pt x="181" y="83"/>
                </a:lnTo>
                <a:lnTo>
                  <a:pt x="180" y="78"/>
                </a:lnTo>
                <a:lnTo>
                  <a:pt x="180" y="73"/>
                </a:lnTo>
                <a:lnTo>
                  <a:pt x="180" y="73"/>
                </a:lnTo>
                <a:lnTo>
                  <a:pt x="180" y="48"/>
                </a:lnTo>
                <a:lnTo>
                  <a:pt x="180" y="48"/>
                </a:lnTo>
                <a:lnTo>
                  <a:pt x="199" y="48"/>
                </a:lnTo>
                <a:lnTo>
                  <a:pt x="199" y="48"/>
                </a:lnTo>
                <a:lnTo>
                  <a:pt x="200" y="60"/>
                </a:lnTo>
                <a:lnTo>
                  <a:pt x="203" y="70"/>
                </a:lnTo>
                <a:lnTo>
                  <a:pt x="207" y="81"/>
                </a:lnTo>
                <a:lnTo>
                  <a:pt x="212" y="91"/>
                </a:lnTo>
                <a:lnTo>
                  <a:pt x="218" y="99"/>
                </a:lnTo>
                <a:lnTo>
                  <a:pt x="226" y="104"/>
                </a:lnTo>
                <a:lnTo>
                  <a:pt x="231" y="107"/>
                </a:lnTo>
                <a:lnTo>
                  <a:pt x="235" y="109"/>
                </a:lnTo>
                <a:lnTo>
                  <a:pt x="240" y="110"/>
                </a:lnTo>
                <a:lnTo>
                  <a:pt x="246" y="110"/>
                </a:lnTo>
                <a:lnTo>
                  <a:pt x="246" y="110"/>
                </a:lnTo>
                <a:lnTo>
                  <a:pt x="256" y="110"/>
                </a:lnTo>
                <a:lnTo>
                  <a:pt x="264" y="109"/>
                </a:lnTo>
                <a:lnTo>
                  <a:pt x="272" y="107"/>
                </a:lnTo>
                <a:lnTo>
                  <a:pt x="278" y="103"/>
                </a:lnTo>
                <a:lnTo>
                  <a:pt x="284" y="100"/>
                </a:lnTo>
                <a:lnTo>
                  <a:pt x="288" y="95"/>
                </a:lnTo>
                <a:lnTo>
                  <a:pt x="298" y="85"/>
                </a:lnTo>
                <a:lnTo>
                  <a:pt x="298" y="85"/>
                </a:lnTo>
                <a:lnTo>
                  <a:pt x="298" y="8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8" name="Freeform 113"/>
          <p:cNvSpPr>
            <a:spLocks/>
          </p:cNvSpPr>
          <p:nvPr/>
        </p:nvSpPr>
        <p:spPr bwMode="auto">
          <a:xfrm>
            <a:off x="6176963" y="1866900"/>
            <a:ext cx="160337" cy="120650"/>
          </a:xfrm>
          <a:custGeom>
            <a:avLst/>
            <a:gdLst/>
            <a:ahLst/>
            <a:cxnLst>
              <a:cxn ang="0">
                <a:pos x="144" y="103"/>
              </a:cxn>
              <a:cxn ang="0">
                <a:pos x="153" y="100"/>
              </a:cxn>
              <a:cxn ang="0">
                <a:pos x="162" y="94"/>
              </a:cxn>
              <a:cxn ang="0">
                <a:pos x="179" y="72"/>
              </a:cxn>
              <a:cxn ang="0">
                <a:pos x="191" y="44"/>
              </a:cxn>
              <a:cxn ang="0">
                <a:pos x="196" y="22"/>
              </a:cxn>
              <a:cxn ang="0">
                <a:pos x="196" y="8"/>
              </a:cxn>
              <a:cxn ang="0">
                <a:pos x="190" y="7"/>
              </a:cxn>
              <a:cxn ang="0">
                <a:pos x="178" y="1"/>
              </a:cxn>
              <a:cxn ang="0">
                <a:pos x="173" y="0"/>
              </a:cxn>
              <a:cxn ang="0">
                <a:pos x="141" y="7"/>
              </a:cxn>
              <a:cxn ang="0">
                <a:pos x="122" y="14"/>
              </a:cxn>
              <a:cxn ang="0">
                <a:pos x="110" y="22"/>
              </a:cxn>
              <a:cxn ang="0">
                <a:pos x="106" y="31"/>
              </a:cxn>
              <a:cxn ang="0">
                <a:pos x="98" y="47"/>
              </a:cxn>
              <a:cxn ang="0">
                <a:pos x="92" y="52"/>
              </a:cxn>
              <a:cxn ang="0">
                <a:pos x="82" y="52"/>
              </a:cxn>
              <a:cxn ang="0">
                <a:pos x="82" y="52"/>
              </a:cxn>
              <a:cxn ang="0">
                <a:pos x="79" y="45"/>
              </a:cxn>
              <a:cxn ang="0">
                <a:pos x="75" y="41"/>
              </a:cxn>
              <a:cxn ang="0">
                <a:pos x="63" y="37"/>
              </a:cxn>
              <a:cxn ang="0">
                <a:pos x="59" y="38"/>
              </a:cxn>
              <a:cxn ang="0">
                <a:pos x="53" y="42"/>
              </a:cxn>
              <a:cxn ang="0">
                <a:pos x="46" y="52"/>
              </a:cxn>
              <a:cxn ang="0">
                <a:pos x="38" y="80"/>
              </a:cxn>
              <a:cxn ang="0">
                <a:pos x="33" y="92"/>
              </a:cxn>
              <a:cxn ang="0">
                <a:pos x="24" y="89"/>
              </a:cxn>
              <a:cxn ang="0">
                <a:pos x="13" y="77"/>
              </a:cxn>
              <a:cxn ang="0">
                <a:pos x="8" y="70"/>
              </a:cxn>
              <a:cxn ang="0">
                <a:pos x="0" y="70"/>
              </a:cxn>
              <a:cxn ang="0">
                <a:pos x="0" y="89"/>
              </a:cxn>
              <a:cxn ang="0">
                <a:pos x="1" y="98"/>
              </a:cxn>
              <a:cxn ang="0">
                <a:pos x="6" y="115"/>
              </a:cxn>
              <a:cxn ang="0">
                <a:pos x="16" y="128"/>
              </a:cxn>
              <a:cxn ang="0">
                <a:pos x="31" y="136"/>
              </a:cxn>
              <a:cxn ang="0">
                <a:pos x="40" y="137"/>
              </a:cxn>
              <a:cxn ang="0">
                <a:pos x="59" y="135"/>
              </a:cxn>
              <a:cxn ang="0">
                <a:pos x="84" y="127"/>
              </a:cxn>
              <a:cxn ang="0">
                <a:pos x="99" y="126"/>
              </a:cxn>
              <a:cxn ang="0">
                <a:pos x="114" y="126"/>
              </a:cxn>
              <a:cxn ang="0">
                <a:pos x="115" y="122"/>
              </a:cxn>
              <a:cxn ang="0">
                <a:pos x="124" y="112"/>
              </a:cxn>
              <a:cxn ang="0">
                <a:pos x="139" y="104"/>
              </a:cxn>
              <a:cxn ang="0">
                <a:pos x="144" y="103"/>
              </a:cxn>
            </a:cxnLst>
            <a:rect l="0" t="0" r="r" b="b"/>
            <a:pathLst>
              <a:path w="196" h="137">
                <a:moveTo>
                  <a:pt x="144" y="103"/>
                </a:moveTo>
                <a:lnTo>
                  <a:pt x="144" y="103"/>
                </a:lnTo>
                <a:lnTo>
                  <a:pt x="148" y="103"/>
                </a:lnTo>
                <a:lnTo>
                  <a:pt x="153" y="100"/>
                </a:lnTo>
                <a:lnTo>
                  <a:pt x="158" y="98"/>
                </a:lnTo>
                <a:lnTo>
                  <a:pt x="162" y="94"/>
                </a:lnTo>
                <a:lnTo>
                  <a:pt x="171" y="83"/>
                </a:lnTo>
                <a:lnTo>
                  <a:pt x="179" y="72"/>
                </a:lnTo>
                <a:lnTo>
                  <a:pt x="186" y="58"/>
                </a:lnTo>
                <a:lnTo>
                  <a:pt x="191" y="44"/>
                </a:lnTo>
                <a:lnTo>
                  <a:pt x="194" y="33"/>
                </a:lnTo>
                <a:lnTo>
                  <a:pt x="196" y="22"/>
                </a:lnTo>
                <a:lnTo>
                  <a:pt x="196" y="22"/>
                </a:lnTo>
                <a:lnTo>
                  <a:pt x="196" y="8"/>
                </a:lnTo>
                <a:lnTo>
                  <a:pt x="196" y="8"/>
                </a:lnTo>
                <a:lnTo>
                  <a:pt x="190" y="7"/>
                </a:lnTo>
                <a:lnTo>
                  <a:pt x="184" y="4"/>
                </a:lnTo>
                <a:lnTo>
                  <a:pt x="178" y="1"/>
                </a:lnTo>
                <a:lnTo>
                  <a:pt x="173" y="0"/>
                </a:lnTo>
                <a:lnTo>
                  <a:pt x="173" y="0"/>
                </a:lnTo>
                <a:lnTo>
                  <a:pt x="161" y="3"/>
                </a:lnTo>
                <a:lnTo>
                  <a:pt x="141" y="7"/>
                </a:lnTo>
                <a:lnTo>
                  <a:pt x="131" y="11"/>
                </a:lnTo>
                <a:lnTo>
                  <a:pt x="122" y="14"/>
                </a:lnTo>
                <a:lnTo>
                  <a:pt x="115" y="19"/>
                </a:lnTo>
                <a:lnTo>
                  <a:pt x="110" y="22"/>
                </a:lnTo>
                <a:lnTo>
                  <a:pt x="110" y="22"/>
                </a:lnTo>
                <a:lnTo>
                  <a:pt x="106" y="31"/>
                </a:lnTo>
                <a:lnTo>
                  <a:pt x="101" y="41"/>
                </a:lnTo>
                <a:lnTo>
                  <a:pt x="98" y="47"/>
                </a:lnTo>
                <a:lnTo>
                  <a:pt x="95" y="50"/>
                </a:lnTo>
                <a:lnTo>
                  <a:pt x="92" y="52"/>
                </a:lnTo>
                <a:lnTo>
                  <a:pt x="92" y="52"/>
                </a:lnTo>
                <a:lnTo>
                  <a:pt x="82" y="52"/>
                </a:lnTo>
                <a:lnTo>
                  <a:pt x="82" y="52"/>
                </a:lnTo>
                <a:lnTo>
                  <a:pt x="82" y="52"/>
                </a:lnTo>
                <a:lnTo>
                  <a:pt x="80" y="49"/>
                </a:lnTo>
                <a:lnTo>
                  <a:pt x="79" y="45"/>
                </a:lnTo>
                <a:lnTo>
                  <a:pt x="77" y="43"/>
                </a:lnTo>
                <a:lnTo>
                  <a:pt x="75" y="41"/>
                </a:lnTo>
                <a:lnTo>
                  <a:pt x="69" y="38"/>
                </a:lnTo>
                <a:lnTo>
                  <a:pt x="63" y="37"/>
                </a:lnTo>
                <a:lnTo>
                  <a:pt x="63" y="37"/>
                </a:lnTo>
                <a:lnTo>
                  <a:pt x="59" y="38"/>
                </a:lnTo>
                <a:lnTo>
                  <a:pt x="55" y="39"/>
                </a:lnTo>
                <a:lnTo>
                  <a:pt x="53" y="42"/>
                </a:lnTo>
                <a:lnTo>
                  <a:pt x="51" y="44"/>
                </a:lnTo>
                <a:lnTo>
                  <a:pt x="46" y="52"/>
                </a:lnTo>
                <a:lnTo>
                  <a:pt x="43" y="61"/>
                </a:lnTo>
                <a:lnTo>
                  <a:pt x="38" y="80"/>
                </a:lnTo>
                <a:lnTo>
                  <a:pt x="36" y="87"/>
                </a:lnTo>
                <a:lnTo>
                  <a:pt x="33" y="92"/>
                </a:lnTo>
                <a:lnTo>
                  <a:pt x="33" y="92"/>
                </a:lnTo>
                <a:lnTo>
                  <a:pt x="24" y="89"/>
                </a:lnTo>
                <a:lnTo>
                  <a:pt x="18" y="84"/>
                </a:lnTo>
                <a:lnTo>
                  <a:pt x="13" y="77"/>
                </a:lnTo>
                <a:lnTo>
                  <a:pt x="8" y="70"/>
                </a:lnTo>
                <a:lnTo>
                  <a:pt x="8" y="70"/>
                </a:lnTo>
                <a:lnTo>
                  <a:pt x="0" y="70"/>
                </a:lnTo>
                <a:lnTo>
                  <a:pt x="0" y="70"/>
                </a:lnTo>
                <a:lnTo>
                  <a:pt x="0" y="70"/>
                </a:lnTo>
                <a:lnTo>
                  <a:pt x="0" y="89"/>
                </a:lnTo>
                <a:lnTo>
                  <a:pt x="0" y="89"/>
                </a:lnTo>
                <a:lnTo>
                  <a:pt x="1" y="98"/>
                </a:lnTo>
                <a:lnTo>
                  <a:pt x="2" y="107"/>
                </a:lnTo>
                <a:lnTo>
                  <a:pt x="6" y="115"/>
                </a:lnTo>
                <a:lnTo>
                  <a:pt x="10" y="122"/>
                </a:lnTo>
                <a:lnTo>
                  <a:pt x="16" y="128"/>
                </a:lnTo>
                <a:lnTo>
                  <a:pt x="23" y="133"/>
                </a:lnTo>
                <a:lnTo>
                  <a:pt x="31" y="136"/>
                </a:lnTo>
                <a:lnTo>
                  <a:pt x="40" y="137"/>
                </a:lnTo>
                <a:lnTo>
                  <a:pt x="40" y="137"/>
                </a:lnTo>
                <a:lnTo>
                  <a:pt x="51" y="136"/>
                </a:lnTo>
                <a:lnTo>
                  <a:pt x="59" y="135"/>
                </a:lnTo>
                <a:lnTo>
                  <a:pt x="71" y="131"/>
                </a:lnTo>
                <a:lnTo>
                  <a:pt x="84" y="127"/>
                </a:lnTo>
                <a:lnTo>
                  <a:pt x="91" y="126"/>
                </a:lnTo>
                <a:lnTo>
                  <a:pt x="99" y="126"/>
                </a:lnTo>
                <a:lnTo>
                  <a:pt x="99" y="126"/>
                </a:lnTo>
                <a:lnTo>
                  <a:pt x="114" y="126"/>
                </a:lnTo>
                <a:lnTo>
                  <a:pt x="114" y="126"/>
                </a:lnTo>
                <a:lnTo>
                  <a:pt x="115" y="122"/>
                </a:lnTo>
                <a:lnTo>
                  <a:pt x="117" y="119"/>
                </a:lnTo>
                <a:lnTo>
                  <a:pt x="124" y="112"/>
                </a:lnTo>
                <a:lnTo>
                  <a:pt x="135" y="106"/>
                </a:lnTo>
                <a:lnTo>
                  <a:pt x="139" y="104"/>
                </a:lnTo>
                <a:lnTo>
                  <a:pt x="144" y="103"/>
                </a:lnTo>
                <a:lnTo>
                  <a:pt x="144" y="103"/>
                </a:lnTo>
                <a:lnTo>
                  <a:pt x="144" y="10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19" name="Freeform 114"/>
          <p:cNvSpPr>
            <a:spLocks/>
          </p:cNvSpPr>
          <p:nvPr/>
        </p:nvSpPr>
        <p:spPr bwMode="auto">
          <a:xfrm>
            <a:off x="6196013" y="2222500"/>
            <a:ext cx="111125" cy="114300"/>
          </a:xfrm>
          <a:custGeom>
            <a:avLst/>
            <a:gdLst/>
            <a:ahLst/>
            <a:cxnLst>
              <a:cxn ang="0">
                <a:pos x="29" y="1"/>
              </a:cxn>
              <a:cxn ang="0">
                <a:pos x="29" y="1"/>
              </a:cxn>
              <a:cxn ang="0">
                <a:pos x="25" y="2"/>
              </a:cxn>
              <a:cxn ang="0">
                <a:pos x="21" y="7"/>
              </a:cxn>
              <a:cxn ang="0">
                <a:pos x="16" y="13"/>
              </a:cxn>
              <a:cxn ang="0">
                <a:pos x="11" y="22"/>
              </a:cxn>
              <a:cxn ang="0">
                <a:pos x="3" y="39"/>
              </a:cxn>
              <a:cxn ang="0">
                <a:pos x="0" y="47"/>
              </a:cxn>
              <a:cxn ang="0">
                <a:pos x="0" y="51"/>
              </a:cxn>
              <a:cxn ang="0">
                <a:pos x="0" y="51"/>
              </a:cxn>
              <a:cxn ang="0">
                <a:pos x="0" y="58"/>
              </a:cxn>
              <a:cxn ang="0">
                <a:pos x="2" y="64"/>
              </a:cxn>
              <a:cxn ang="0">
                <a:pos x="6" y="69"/>
              </a:cxn>
              <a:cxn ang="0">
                <a:pos x="8" y="73"/>
              </a:cxn>
              <a:cxn ang="0">
                <a:pos x="15" y="84"/>
              </a:cxn>
              <a:cxn ang="0">
                <a:pos x="17" y="89"/>
              </a:cxn>
              <a:cxn ang="0">
                <a:pos x="17" y="95"/>
              </a:cxn>
              <a:cxn ang="0">
                <a:pos x="17" y="95"/>
              </a:cxn>
              <a:cxn ang="0">
                <a:pos x="17" y="102"/>
              </a:cxn>
              <a:cxn ang="0">
                <a:pos x="15" y="107"/>
              </a:cxn>
              <a:cxn ang="0">
                <a:pos x="13" y="109"/>
              </a:cxn>
              <a:cxn ang="0">
                <a:pos x="10" y="112"/>
              </a:cxn>
              <a:cxn ang="0">
                <a:pos x="6" y="117"/>
              </a:cxn>
              <a:cxn ang="0">
                <a:pos x="3" y="120"/>
              </a:cxn>
              <a:cxn ang="0">
                <a:pos x="3" y="125"/>
              </a:cxn>
              <a:cxn ang="0">
                <a:pos x="10" y="130"/>
              </a:cxn>
              <a:cxn ang="0">
                <a:pos x="10" y="130"/>
              </a:cxn>
              <a:cxn ang="0">
                <a:pos x="13" y="129"/>
              </a:cxn>
              <a:cxn ang="0">
                <a:pos x="15" y="126"/>
              </a:cxn>
              <a:cxn ang="0">
                <a:pos x="20" y="118"/>
              </a:cxn>
              <a:cxn ang="0">
                <a:pos x="25" y="107"/>
              </a:cxn>
              <a:cxn ang="0">
                <a:pos x="25" y="107"/>
              </a:cxn>
              <a:cxn ang="0">
                <a:pos x="26" y="104"/>
              </a:cxn>
              <a:cxn ang="0">
                <a:pos x="28" y="102"/>
              </a:cxn>
              <a:cxn ang="0">
                <a:pos x="33" y="99"/>
              </a:cxn>
              <a:cxn ang="0">
                <a:pos x="40" y="95"/>
              </a:cxn>
              <a:cxn ang="0">
                <a:pos x="47" y="94"/>
              </a:cxn>
              <a:cxn ang="0">
                <a:pos x="63" y="91"/>
              </a:cxn>
              <a:cxn ang="0">
                <a:pos x="72" y="88"/>
              </a:cxn>
              <a:cxn ang="0">
                <a:pos x="72" y="88"/>
              </a:cxn>
              <a:cxn ang="0">
                <a:pos x="95" y="80"/>
              </a:cxn>
              <a:cxn ang="0">
                <a:pos x="106" y="76"/>
              </a:cxn>
              <a:cxn ang="0">
                <a:pos x="115" y="71"/>
              </a:cxn>
              <a:cxn ang="0">
                <a:pos x="123" y="65"/>
              </a:cxn>
              <a:cxn ang="0">
                <a:pos x="130" y="57"/>
              </a:cxn>
              <a:cxn ang="0">
                <a:pos x="132" y="53"/>
              </a:cxn>
              <a:cxn ang="0">
                <a:pos x="133" y="48"/>
              </a:cxn>
              <a:cxn ang="0">
                <a:pos x="135" y="42"/>
              </a:cxn>
              <a:cxn ang="0">
                <a:pos x="136" y="36"/>
              </a:cxn>
              <a:cxn ang="0">
                <a:pos x="136" y="36"/>
              </a:cxn>
              <a:cxn ang="0">
                <a:pos x="135" y="30"/>
              </a:cxn>
              <a:cxn ang="0">
                <a:pos x="132" y="23"/>
              </a:cxn>
              <a:cxn ang="0">
                <a:pos x="129" y="17"/>
              </a:cxn>
              <a:cxn ang="0">
                <a:pos x="124" y="12"/>
              </a:cxn>
              <a:cxn ang="0">
                <a:pos x="118" y="9"/>
              </a:cxn>
              <a:cxn ang="0">
                <a:pos x="112" y="5"/>
              </a:cxn>
              <a:cxn ang="0">
                <a:pos x="104" y="3"/>
              </a:cxn>
              <a:cxn ang="0">
                <a:pos x="95" y="2"/>
              </a:cxn>
              <a:cxn ang="0">
                <a:pos x="78" y="1"/>
              </a:cxn>
              <a:cxn ang="0">
                <a:pos x="61" y="0"/>
              </a:cxn>
              <a:cxn ang="0">
                <a:pos x="29" y="1"/>
              </a:cxn>
              <a:cxn ang="0">
                <a:pos x="29" y="1"/>
              </a:cxn>
              <a:cxn ang="0">
                <a:pos x="29" y="1"/>
              </a:cxn>
            </a:cxnLst>
            <a:rect l="0" t="0" r="r" b="b"/>
            <a:pathLst>
              <a:path w="136" h="130">
                <a:moveTo>
                  <a:pt x="29" y="1"/>
                </a:moveTo>
                <a:lnTo>
                  <a:pt x="29" y="1"/>
                </a:lnTo>
                <a:lnTo>
                  <a:pt x="25" y="2"/>
                </a:lnTo>
                <a:lnTo>
                  <a:pt x="21" y="7"/>
                </a:lnTo>
                <a:lnTo>
                  <a:pt x="16" y="13"/>
                </a:lnTo>
                <a:lnTo>
                  <a:pt x="11" y="22"/>
                </a:lnTo>
                <a:lnTo>
                  <a:pt x="3" y="39"/>
                </a:lnTo>
                <a:lnTo>
                  <a:pt x="0" y="47"/>
                </a:lnTo>
                <a:lnTo>
                  <a:pt x="0" y="51"/>
                </a:lnTo>
                <a:lnTo>
                  <a:pt x="0" y="51"/>
                </a:lnTo>
                <a:lnTo>
                  <a:pt x="0" y="58"/>
                </a:lnTo>
                <a:lnTo>
                  <a:pt x="2" y="64"/>
                </a:lnTo>
                <a:lnTo>
                  <a:pt x="6" y="69"/>
                </a:lnTo>
                <a:lnTo>
                  <a:pt x="8" y="73"/>
                </a:lnTo>
                <a:lnTo>
                  <a:pt x="15" y="84"/>
                </a:lnTo>
                <a:lnTo>
                  <a:pt x="17" y="89"/>
                </a:lnTo>
                <a:lnTo>
                  <a:pt x="17" y="95"/>
                </a:lnTo>
                <a:lnTo>
                  <a:pt x="17" y="95"/>
                </a:lnTo>
                <a:lnTo>
                  <a:pt x="17" y="102"/>
                </a:lnTo>
                <a:lnTo>
                  <a:pt x="15" y="107"/>
                </a:lnTo>
                <a:lnTo>
                  <a:pt x="13" y="109"/>
                </a:lnTo>
                <a:lnTo>
                  <a:pt x="10" y="112"/>
                </a:lnTo>
                <a:lnTo>
                  <a:pt x="6" y="117"/>
                </a:lnTo>
                <a:lnTo>
                  <a:pt x="3" y="120"/>
                </a:lnTo>
                <a:lnTo>
                  <a:pt x="3" y="125"/>
                </a:lnTo>
                <a:lnTo>
                  <a:pt x="10" y="130"/>
                </a:lnTo>
                <a:lnTo>
                  <a:pt x="10" y="130"/>
                </a:lnTo>
                <a:lnTo>
                  <a:pt x="13" y="129"/>
                </a:lnTo>
                <a:lnTo>
                  <a:pt x="15" y="126"/>
                </a:lnTo>
                <a:lnTo>
                  <a:pt x="20" y="118"/>
                </a:lnTo>
                <a:lnTo>
                  <a:pt x="25" y="107"/>
                </a:lnTo>
                <a:lnTo>
                  <a:pt x="25" y="107"/>
                </a:lnTo>
                <a:lnTo>
                  <a:pt x="26" y="104"/>
                </a:lnTo>
                <a:lnTo>
                  <a:pt x="28" y="102"/>
                </a:lnTo>
                <a:lnTo>
                  <a:pt x="33" y="99"/>
                </a:lnTo>
                <a:lnTo>
                  <a:pt x="40" y="95"/>
                </a:lnTo>
                <a:lnTo>
                  <a:pt x="47" y="94"/>
                </a:lnTo>
                <a:lnTo>
                  <a:pt x="63" y="91"/>
                </a:lnTo>
                <a:lnTo>
                  <a:pt x="72" y="88"/>
                </a:lnTo>
                <a:lnTo>
                  <a:pt x="72" y="88"/>
                </a:lnTo>
                <a:lnTo>
                  <a:pt x="95" y="80"/>
                </a:lnTo>
                <a:lnTo>
                  <a:pt x="106" y="76"/>
                </a:lnTo>
                <a:lnTo>
                  <a:pt x="115" y="71"/>
                </a:lnTo>
                <a:lnTo>
                  <a:pt x="123" y="65"/>
                </a:lnTo>
                <a:lnTo>
                  <a:pt x="130" y="57"/>
                </a:lnTo>
                <a:lnTo>
                  <a:pt x="132" y="53"/>
                </a:lnTo>
                <a:lnTo>
                  <a:pt x="133" y="48"/>
                </a:lnTo>
                <a:lnTo>
                  <a:pt x="135" y="42"/>
                </a:lnTo>
                <a:lnTo>
                  <a:pt x="136" y="36"/>
                </a:lnTo>
                <a:lnTo>
                  <a:pt x="136" y="36"/>
                </a:lnTo>
                <a:lnTo>
                  <a:pt x="135" y="30"/>
                </a:lnTo>
                <a:lnTo>
                  <a:pt x="132" y="23"/>
                </a:lnTo>
                <a:lnTo>
                  <a:pt x="129" y="17"/>
                </a:lnTo>
                <a:lnTo>
                  <a:pt x="124" y="12"/>
                </a:lnTo>
                <a:lnTo>
                  <a:pt x="118" y="9"/>
                </a:lnTo>
                <a:lnTo>
                  <a:pt x="112" y="5"/>
                </a:lnTo>
                <a:lnTo>
                  <a:pt x="104" y="3"/>
                </a:lnTo>
                <a:lnTo>
                  <a:pt x="95" y="2"/>
                </a:lnTo>
                <a:lnTo>
                  <a:pt x="78" y="1"/>
                </a:lnTo>
                <a:lnTo>
                  <a:pt x="61" y="0"/>
                </a:lnTo>
                <a:lnTo>
                  <a:pt x="29" y="1"/>
                </a:lnTo>
                <a:lnTo>
                  <a:pt x="29" y="1"/>
                </a:lnTo>
                <a:lnTo>
                  <a:pt x="29" y="1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0" name="Freeform 115"/>
          <p:cNvSpPr>
            <a:spLocks/>
          </p:cNvSpPr>
          <p:nvPr/>
        </p:nvSpPr>
        <p:spPr bwMode="auto">
          <a:xfrm>
            <a:off x="2143125" y="3367088"/>
            <a:ext cx="1284288" cy="842962"/>
          </a:xfrm>
          <a:custGeom>
            <a:avLst/>
            <a:gdLst/>
            <a:ahLst/>
            <a:cxnLst>
              <a:cxn ang="0">
                <a:pos x="882" y="865"/>
              </a:cxn>
              <a:cxn ang="0">
                <a:pos x="928" y="721"/>
              </a:cxn>
              <a:cxn ang="0">
                <a:pos x="993" y="645"/>
              </a:cxn>
              <a:cxn ang="0">
                <a:pos x="1023" y="552"/>
              </a:cxn>
              <a:cxn ang="0">
                <a:pos x="1076" y="521"/>
              </a:cxn>
              <a:cxn ang="0">
                <a:pos x="1101" y="539"/>
              </a:cxn>
              <a:cxn ang="0">
                <a:pos x="1180" y="498"/>
              </a:cxn>
              <a:cxn ang="0">
                <a:pos x="1275" y="447"/>
              </a:cxn>
              <a:cxn ang="0">
                <a:pos x="1452" y="362"/>
              </a:cxn>
              <a:cxn ang="0">
                <a:pos x="1556" y="283"/>
              </a:cxn>
              <a:cxn ang="0">
                <a:pos x="1539" y="223"/>
              </a:cxn>
              <a:cxn ang="0">
                <a:pos x="1559" y="171"/>
              </a:cxn>
              <a:cxn ang="0">
                <a:pos x="1549" y="151"/>
              </a:cxn>
              <a:cxn ang="0">
                <a:pos x="1409" y="232"/>
              </a:cxn>
              <a:cxn ang="0">
                <a:pos x="1303" y="279"/>
              </a:cxn>
              <a:cxn ang="0">
                <a:pos x="998" y="142"/>
              </a:cxn>
              <a:cxn ang="0">
                <a:pos x="835" y="21"/>
              </a:cxn>
              <a:cxn ang="0">
                <a:pos x="778" y="3"/>
              </a:cxn>
              <a:cxn ang="0">
                <a:pos x="598" y="25"/>
              </a:cxn>
              <a:cxn ang="0">
                <a:pos x="522" y="62"/>
              </a:cxn>
              <a:cxn ang="0">
                <a:pos x="481" y="131"/>
              </a:cxn>
              <a:cxn ang="0">
                <a:pos x="504" y="158"/>
              </a:cxn>
              <a:cxn ang="0">
                <a:pos x="513" y="253"/>
              </a:cxn>
              <a:cxn ang="0">
                <a:pos x="499" y="278"/>
              </a:cxn>
              <a:cxn ang="0">
                <a:pos x="456" y="244"/>
              </a:cxn>
              <a:cxn ang="0">
                <a:pos x="430" y="252"/>
              </a:cxn>
              <a:cxn ang="0">
                <a:pos x="369" y="233"/>
              </a:cxn>
              <a:cxn ang="0">
                <a:pos x="318" y="187"/>
              </a:cxn>
              <a:cxn ang="0">
                <a:pos x="203" y="148"/>
              </a:cxn>
              <a:cxn ang="0">
                <a:pos x="227" y="218"/>
              </a:cxn>
              <a:cxn ang="0">
                <a:pos x="219" y="291"/>
              </a:cxn>
              <a:cxn ang="0">
                <a:pos x="222" y="340"/>
              </a:cxn>
              <a:cxn ang="0">
                <a:pos x="205" y="364"/>
              </a:cxn>
              <a:cxn ang="0">
                <a:pos x="146" y="416"/>
              </a:cxn>
              <a:cxn ang="0">
                <a:pos x="151" y="468"/>
              </a:cxn>
              <a:cxn ang="0">
                <a:pos x="207" y="482"/>
              </a:cxn>
              <a:cxn ang="0">
                <a:pos x="245" y="443"/>
              </a:cxn>
              <a:cxn ang="0">
                <a:pos x="296" y="477"/>
              </a:cxn>
              <a:cxn ang="0">
                <a:pos x="238" y="540"/>
              </a:cxn>
              <a:cxn ang="0">
                <a:pos x="190" y="577"/>
              </a:cxn>
              <a:cxn ang="0">
                <a:pos x="199" y="622"/>
              </a:cxn>
              <a:cxn ang="0">
                <a:pos x="149" y="651"/>
              </a:cxn>
              <a:cxn ang="0">
                <a:pos x="65" y="679"/>
              </a:cxn>
              <a:cxn ang="0">
                <a:pos x="25" y="781"/>
              </a:cxn>
              <a:cxn ang="0">
                <a:pos x="0" y="818"/>
              </a:cxn>
              <a:cxn ang="0">
                <a:pos x="25" y="840"/>
              </a:cxn>
              <a:cxn ang="0">
                <a:pos x="22" y="914"/>
              </a:cxn>
              <a:cxn ang="0">
                <a:pos x="47" y="935"/>
              </a:cxn>
              <a:cxn ang="0">
                <a:pos x="97" y="894"/>
              </a:cxn>
              <a:cxn ang="0">
                <a:pos x="154" y="898"/>
              </a:cxn>
              <a:cxn ang="0">
                <a:pos x="192" y="905"/>
              </a:cxn>
              <a:cxn ang="0">
                <a:pos x="221" y="918"/>
              </a:cxn>
              <a:cxn ang="0">
                <a:pos x="268" y="898"/>
              </a:cxn>
              <a:cxn ang="0">
                <a:pos x="290" y="881"/>
              </a:cxn>
              <a:cxn ang="0">
                <a:pos x="292" y="822"/>
              </a:cxn>
              <a:cxn ang="0">
                <a:pos x="363" y="824"/>
              </a:cxn>
              <a:cxn ang="0">
                <a:pos x="399" y="847"/>
              </a:cxn>
              <a:cxn ang="0">
                <a:pos x="407" y="881"/>
              </a:cxn>
              <a:cxn ang="0">
                <a:pos x="451" y="901"/>
              </a:cxn>
              <a:cxn ang="0">
                <a:pos x="587" y="921"/>
              </a:cxn>
              <a:cxn ang="0">
                <a:pos x="631" y="906"/>
              </a:cxn>
              <a:cxn ang="0">
                <a:pos x="732" y="950"/>
              </a:cxn>
              <a:cxn ang="0">
                <a:pos x="833" y="962"/>
              </a:cxn>
            </a:cxnLst>
            <a:rect l="0" t="0" r="r" b="b"/>
            <a:pathLst>
              <a:path w="1571" h="966">
                <a:moveTo>
                  <a:pt x="852" y="917"/>
                </a:moveTo>
                <a:lnTo>
                  <a:pt x="852" y="917"/>
                </a:lnTo>
                <a:lnTo>
                  <a:pt x="853" y="909"/>
                </a:lnTo>
                <a:lnTo>
                  <a:pt x="856" y="902"/>
                </a:lnTo>
                <a:lnTo>
                  <a:pt x="861" y="894"/>
                </a:lnTo>
                <a:lnTo>
                  <a:pt x="865" y="887"/>
                </a:lnTo>
                <a:lnTo>
                  <a:pt x="877" y="872"/>
                </a:lnTo>
                <a:lnTo>
                  <a:pt x="882" y="865"/>
                </a:lnTo>
                <a:lnTo>
                  <a:pt x="885" y="858"/>
                </a:lnTo>
                <a:lnTo>
                  <a:pt x="885" y="858"/>
                </a:lnTo>
                <a:lnTo>
                  <a:pt x="892" y="836"/>
                </a:lnTo>
                <a:lnTo>
                  <a:pt x="898" y="815"/>
                </a:lnTo>
                <a:lnTo>
                  <a:pt x="907" y="775"/>
                </a:lnTo>
                <a:lnTo>
                  <a:pt x="913" y="757"/>
                </a:lnTo>
                <a:lnTo>
                  <a:pt x="919" y="738"/>
                </a:lnTo>
                <a:lnTo>
                  <a:pt x="928" y="721"/>
                </a:lnTo>
                <a:lnTo>
                  <a:pt x="933" y="713"/>
                </a:lnTo>
                <a:lnTo>
                  <a:pt x="940" y="704"/>
                </a:lnTo>
                <a:lnTo>
                  <a:pt x="940" y="704"/>
                </a:lnTo>
                <a:lnTo>
                  <a:pt x="953" y="690"/>
                </a:lnTo>
                <a:lnTo>
                  <a:pt x="971" y="672"/>
                </a:lnTo>
                <a:lnTo>
                  <a:pt x="980" y="661"/>
                </a:lnTo>
                <a:lnTo>
                  <a:pt x="989" y="653"/>
                </a:lnTo>
                <a:lnTo>
                  <a:pt x="993" y="645"/>
                </a:lnTo>
                <a:lnTo>
                  <a:pt x="994" y="642"/>
                </a:lnTo>
                <a:lnTo>
                  <a:pt x="995" y="638"/>
                </a:lnTo>
                <a:lnTo>
                  <a:pt x="995" y="638"/>
                </a:lnTo>
                <a:lnTo>
                  <a:pt x="999" y="619"/>
                </a:lnTo>
                <a:lnTo>
                  <a:pt x="1005" y="598"/>
                </a:lnTo>
                <a:lnTo>
                  <a:pt x="1010" y="578"/>
                </a:lnTo>
                <a:lnTo>
                  <a:pt x="1018" y="560"/>
                </a:lnTo>
                <a:lnTo>
                  <a:pt x="1023" y="552"/>
                </a:lnTo>
                <a:lnTo>
                  <a:pt x="1029" y="544"/>
                </a:lnTo>
                <a:lnTo>
                  <a:pt x="1035" y="538"/>
                </a:lnTo>
                <a:lnTo>
                  <a:pt x="1041" y="532"/>
                </a:lnTo>
                <a:lnTo>
                  <a:pt x="1048" y="527"/>
                </a:lnTo>
                <a:lnTo>
                  <a:pt x="1056" y="523"/>
                </a:lnTo>
                <a:lnTo>
                  <a:pt x="1066" y="522"/>
                </a:lnTo>
                <a:lnTo>
                  <a:pt x="1076" y="521"/>
                </a:lnTo>
                <a:lnTo>
                  <a:pt x="1076" y="521"/>
                </a:lnTo>
                <a:lnTo>
                  <a:pt x="1094" y="521"/>
                </a:lnTo>
                <a:lnTo>
                  <a:pt x="1094" y="521"/>
                </a:lnTo>
                <a:lnTo>
                  <a:pt x="1094" y="525"/>
                </a:lnTo>
                <a:lnTo>
                  <a:pt x="1097" y="531"/>
                </a:lnTo>
                <a:lnTo>
                  <a:pt x="1099" y="537"/>
                </a:lnTo>
                <a:lnTo>
                  <a:pt x="1100" y="538"/>
                </a:lnTo>
                <a:lnTo>
                  <a:pt x="1101" y="539"/>
                </a:lnTo>
                <a:lnTo>
                  <a:pt x="1101" y="539"/>
                </a:lnTo>
                <a:lnTo>
                  <a:pt x="1112" y="538"/>
                </a:lnTo>
                <a:lnTo>
                  <a:pt x="1121" y="537"/>
                </a:lnTo>
                <a:lnTo>
                  <a:pt x="1129" y="534"/>
                </a:lnTo>
                <a:lnTo>
                  <a:pt x="1137" y="530"/>
                </a:lnTo>
                <a:lnTo>
                  <a:pt x="1145" y="525"/>
                </a:lnTo>
                <a:lnTo>
                  <a:pt x="1152" y="521"/>
                </a:lnTo>
                <a:lnTo>
                  <a:pt x="1166" y="509"/>
                </a:lnTo>
                <a:lnTo>
                  <a:pt x="1180" y="498"/>
                </a:lnTo>
                <a:lnTo>
                  <a:pt x="1194" y="486"/>
                </a:lnTo>
                <a:lnTo>
                  <a:pt x="1203" y="481"/>
                </a:lnTo>
                <a:lnTo>
                  <a:pt x="1212" y="476"/>
                </a:lnTo>
                <a:lnTo>
                  <a:pt x="1221" y="473"/>
                </a:lnTo>
                <a:lnTo>
                  <a:pt x="1230" y="469"/>
                </a:lnTo>
                <a:lnTo>
                  <a:pt x="1230" y="469"/>
                </a:lnTo>
                <a:lnTo>
                  <a:pt x="1254" y="459"/>
                </a:lnTo>
                <a:lnTo>
                  <a:pt x="1275" y="447"/>
                </a:lnTo>
                <a:lnTo>
                  <a:pt x="1316" y="423"/>
                </a:lnTo>
                <a:lnTo>
                  <a:pt x="1337" y="410"/>
                </a:lnTo>
                <a:lnTo>
                  <a:pt x="1359" y="399"/>
                </a:lnTo>
                <a:lnTo>
                  <a:pt x="1383" y="387"/>
                </a:lnTo>
                <a:lnTo>
                  <a:pt x="1410" y="377"/>
                </a:lnTo>
                <a:lnTo>
                  <a:pt x="1410" y="377"/>
                </a:lnTo>
                <a:lnTo>
                  <a:pt x="1429" y="370"/>
                </a:lnTo>
                <a:lnTo>
                  <a:pt x="1452" y="362"/>
                </a:lnTo>
                <a:lnTo>
                  <a:pt x="1476" y="351"/>
                </a:lnTo>
                <a:lnTo>
                  <a:pt x="1502" y="338"/>
                </a:lnTo>
                <a:lnTo>
                  <a:pt x="1513" y="330"/>
                </a:lnTo>
                <a:lnTo>
                  <a:pt x="1524" y="322"/>
                </a:lnTo>
                <a:lnTo>
                  <a:pt x="1534" y="313"/>
                </a:lnTo>
                <a:lnTo>
                  <a:pt x="1543" y="303"/>
                </a:lnTo>
                <a:lnTo>
                  <a:pt x="1550" y="294"/>
                </a:lnTo>
                <a:lnTo>
                  <a:pt x="1556" y="283"/>
                </a:lnTo>
                <a:lnTo>
                  <a:pt x="1559" y="271"/>
                </a:lnTo>
                <a:lnTo>
                  <a:pt x="1560" y="260"/>
                </a:lnTo>
                <a:lnTo>
                  <a:pt x="1560" y="260"/>
                </a:lnTo>
                <a:lnTo>
                  <a:pt x="1559" y="252"/>
                </a:lnTo>
                <a:lnTo>
                  <a:pt x="1556" y="245"/>
                </a:lnTo>
                <a:lnTo>
                  <a:pt x="1552" y="239"/>
                </a:lnTo>
                <a:lnTo>
                  <a:pt x="1547" y="233"/>
                </a:lnTo>
                <a:lnTo>
                  <a:pt x="1539" y="223"/>
                </a:lnTo>
                <a:lnTo>
                  <a:pt x="1535" y="217"/>
                </a:lnTo>
                <a:lnTo>
                  <a:pt x="1534" y="212"/>
                </a:lnTo>
                <a:lnTo>
                  <a:pt x="1534" y="212"/>
                </a:lnTo>
                <a:lnTo>
                  <a:pt x="1535" y="202"/>
                </a:lnTo>
                <a:lnTo>
                  <a:pt x="1539" y="194"/>
                </a:lnTo>
                <a:lnTo>
                  <a:pt x="1543" y="187"/>
                </a:lnTo>
                <a:lnTo>
                  <a:pt x="1548" y="181"/>
                </a:lnTo>
                <a:lnTo>
                  <a:pt x="1559" y="171"/>
                </a:lnTo>
                <a:lnTo>
                  <a:pt x="1564" y="164"/>
                </a:lnTo>
                <a:lnTo>
                  <a:pt x="1567" y="157"/>
                </a:lnTo>
                <a:lnTo>
                  <a:pt x="1567" y="157"/>
                </a:lnTo>
                <a:lnTo>
                  <a:pt x="1571" y="149"/>
                </a:lnTo>
                <a:lnTo>
                  <a:pt x="1571" y="149"/>
                </a:lnTo>
                <a:lnTo>
                  <a:pt x="1571" y="149"/>
                </a:lnTo>
                <a:lnTo>
                  <a:pt x="1559" y="150"/>
                </a:lnTo>
                <a:lnTo>
                  <a:pt x="1549" y="151"/>
                </a:lnTo>
                <a:lnTo>
                  <a:pt x="1539" y="154"/>
                </a:lnTo>
                <a:lnTo>
                  <a:pt x="1528" y="156"/>
                </a:lnTo>
                <a:lnTo>
                  <a:pt x="1509" y="163"/>
                </a:lnTo>
                <a:lnTo>
                  <a:pt x="1490" y="172"/>
                </a:lnTo>
                <a:lnTo>
                  <a:pt x="1473" y="183"/>
                </a:lnTo>
                <a:lnTo>
                  <a:pt x="1457" y="194"/>
                </a:lnTo>
                <a:lnTo>
                  <a:pt x="1425" y="219"/>
                </a:lnTo>
                <a:lnTo>
                  <a:pt x="1409" y="232"/>
                </a:lnTo>
                <a:lnTo>
                  <a:pt x="1394" y="244"/>
                </a:lnTo>
                <a:lnTo>
                  <a:pt x="1376" y="255"/>
                </a:lnTo>
                <a:lnTo>
                  <a:pt x="1360" y="264"/>
                </a:lnTo>
                <a:lnTo>
                  <a:pt x="1342" y="271"/>
                </a:lnTo>
                <a:lnTo>
                  <a:pt x="1333" y="275"/>
                </a:lnTo>
                <a:lnTo>
                  <a:pt x="1323" y="277"/>
                </a:lnTo>
                <a:lnTo>
                  <a:pt x="1313" y="278"/>
                </a:lnTo>
                <a:lnTo>
                  <a:pt x="1303" y="279"/>
                </a:lnTo>
                <a:lnTo>
                  <a:pt x="1292" y="279"/>
                </a:lnTo>
                <a:lnTo>
                  <a:pt x="1282" y="278"/>
                </a:lnTo>
                <a:lnTo>
                  <a:pt x="1282" y="278"/>
                </a:lnTo>
                <a:lnTo>
                  <a:pt x="1262" y="270"/>
                </a:lnTo>
                <a:lnTo>
                  <a:pt x="1227" y="254"/>
                </a:lnTo>
                <a:lnTo>
                  <a:pt x="1119" y="202"/>
                </a:lnTo>
                <a:lnTo>
                  <a:pt x="1058" y="172"/>
                </a:lnTo>
                <a:lnTo>
                  <a:pt x="998" y="142"/>
                </a:lnTo>
                <a:lnTo>
                  <a:pt x="945" y="115"/>
                </a:lnTo>
                <a:lnTo>
                  <a:pt x="903" y="91"/>
                </a:lnTo>
                <a:lnTo>
                  <a:pt x="903" y="91"/>
                </a:lnTo>
                <a:lnTo>
                  <a:pt x="894" y="85"/>
                </a:lnTo>
                <a:lnTo>
                  <a:pt x="886" y="78"/>
                </a:lnTo>
                <a:lnTo>
                  <a:pt x="871" y="62"/>
                </a:lnTo>
                <a:lnTo>
                  <a:pt x="842" y="28"/>
                </a:lnTo>
                <a:lnTo>
                  <a:pt x="835" y="21"/>
                </a:lnTo>
                <a:lnTo>
                  <a:pt x="827" y="15"/>
                </a:lnTo>
                <a:lnTo>
                  <a:pt x="821" y="9"/>
                </a:lnTo>
                <a:lnTo>
                  <a:pt x="812" y="4"/>
                </a:lnTo>
                <a:lnTo>
                  <a:pt x="804" y="2"/>
                </a:lnTo>
                <a:lnTo>
                  <a:pt x="796" y="0"/>
                </a:lnTo>
                <a:lnTo>
                  <a:pt x="787" y="1"/>
                </a:lnTo>
                <a:lnTo>
                  <a:pt x="778" y="3"/>
                </a:lnTo>
                <a:lnTo>
                  <a:pt x="778" y="3"/>
                </a:lnTo>
                <a:lnTo>
                  <a:pt x="757" y="10"/>
                </a:lnTo>
                <a:lnTo>
                  <a:pt x="737" y="16"/>
                </a:lnTo>
                <a:lnTo>
                  <a:pt x="716" y="19"/>
                </a:lnTo>
                <a:lnTo>
                  <a:pt x="694" y="21"/>
                </a:lnTo>
                <a:lnTo>
                  <a:pt x="671" y="24"/>
                </a:lnTo>
                <a:lnTo>
                  <a:pt x="648" y="24"/>
                </a:lnTo>
                <a:lnTo>
                  <a:pt x="598" y="25"/>
                </a:lnTo>
                <a:lnTo>
                  <a:pt x="598" y="25"/>
                </a:lnTo>
                <a:lnTo>
                  <a:pt x="586" y="24"/>
                </a:lnTo>
                <a:lnTo>
                  <a:pt x="575" y="23"/>
                </a:lnTo>
                <a:lnTo>
                  <a:pt x="555" y="17"/>
                </a:lnTo>
                <a:lnTo>
                  <a:pt x="555" y="17"/>
                </a:lnTo>
                <a:lnTo>
                  <a:pt x="550" y="26"/>
                </a:lnTo>
                <a:lnTo>
                  <a:pt x="546" y="34"/>
                </a:lnTo>
                <a:lnTo>
                  <a:pt x="535" y="49"/>
                </a:lnTo>
                <a:lnTo>
                  <a:pt x="522" y="62"/>
                </a:lnTo>
                <a:lnTo>
                  <a:pt x="511" y="74"/>
                </a:lnTo>
                <a:lnTo>
                  <a:pt x="499" y="87"/>
                </a:lnTo>
                <a:lnTo>
                  <a:pt x="494" y="93"/>
                </a:lnTo>
                <a:lnTo>
                  <a:pt x="489" y="100"/>
                </a:lnTo>
                <a:lnTo>
                  <a:pt x="486" y="107"/>
                </a:lnTo>
                <a:lnTo>
                  <a:pt x="483" y="115"/>
                </a:lnTo>
                <a:lnTo>
                  <a:pt x="481" y="123"/>
                </a:lnTo>
                <a:lnTo>
                  <a:pt x="481" y="131"/>
                </a:lnTo>
                <a:lnTo>
                  <a:pt x="481" y="131"/>
                </a:lnTo>
                <a:lnTo>
                  <a:pt x="481" y="140"/>
                </a:lnTo>
                <a:lnTo>
                  <a:pt x="485" y="146"/>
                </a:lnTo>
                <a:lnTo>
                  <a:pt x="488" y="149"/>
                </a:lnTo>
                <a:lnTo>
                  <a:pt x="493" y="151"/>
                </a:lnTo>
                <a:lnTo>
                  <a:pt x="496" y="154"/>
                </a:lnTo>
                <a:lnTo>
                  <a:pt x="501" y="155"/>
                </a:lnTo>
                <a:lnTo>
                  <a:pt x="504" y="158"/>
                </a:lnTo>
                <a:lnTo>
                  <a:pt x="506" y="164"/>
                </a:lnTo>
                <a:lnTo>
                  <a:pt x="506" y="164"/>
                </a:lnTo>
                <a:lnTo>
                  <a:pt x="510" y="177"/>
                </a:lnTo>
                <a:lnTo>
                  <a:pt x="512" y="188"/>
                </a:lnTo>
                <a:lnTo>
                  <a:pt x="513" y="200"/>
                </a:lnTo>
                <a:lnTo>
                  <a:pt x="514" y="211"/>
                </a:lnTo>
                <a:lnTo>
                  <a:pt x="514" y="232"/>
                </a:lnTo>
                <a:lnTo>
                  <a:pt x="513" y="253"/>
                </a:lnTo>
                <a:lnTo>
                  <a:pt x="513" y="253"/>
                </a:lnTo>
                <a:lnTo>
                  <a:pt x="513" y="259"/>
                </a:lnTo>
                <a:lnTo>
                  <a:pt x="512" y="264"/>
                </a:lnTo>
                <a:lnTo>
                  <a:pt x="511" y="269"/>
                </a:lnTo>
                <a:lnTo>
                  <a:pt x="509" y="272"/>
                </a:lnTo>
                <a:lnTo>
                  <a:pt x="506" y="275"/>
                </a:lnTo>
                <a:lnTo>
                  <a:pt x="503" y="277"/>
                </a:lnTo>
                <a:lnTo>
                  <a:pt x="499" y="278"/>
                </a:lnTo>
                <a:lnTo>
                  <a:pt x="495" y="278"/>
                </a:lnTo>
                <a:lnTo>
                  <a:pt x="495" y="278"/>
                </a:lnTo>
                <a:lnTo>
                  <a:pt x="486" y="277"/>
                </a:lnTo>
                <a:lnTo>
                  <a:pt x="478" y="273"/>
                </a:lnTo>
                <a:lnTo>
                  <a:pt x="472" y="269"/>
                </a:lnTo>
                <a:lnTo>
                  <a:pt x="467" y="263"/>
                </a:lnTo>
                <a:lnTo>
                  <a:pt x="460" y="250"/>
                </a:lnTo>
                <a:lnTo>
                  <a:pt x="456" y="244"/>
                </a:lnTo>
                <a:lnTo>
                  <a:pt x="451" y="238"/>
                </a:lnTo>
                <a:lnTo>
                  <a:pt x="451" y="238"/>
                </a:lnTo>
                <a:lnTo>
                  <a:pt x="448" y="244"/>
                </a:lnTo>
                <a:lnTo>
                  <a:pt x="443" y="248"/>
                </a:lnTo>
                <a:lnTo>
                  <a:pt x="438" y="252"/>
                </a:lnTo>
                <a:lnTo>
                  <a:pt x="433" y="253"/>
                </a:lnTo>
                <a:lnTo>
                  <a:pt x="433" y="253"/>
                </a:lnTo>
                <a:lnTo>
                  <a:pt x="430" y="252"/>
                </a:lnTo>
                <a:lnTo>
                  <a:pt x="427" y="250"/>
                </a:lnTo>
                <a:lnTo>
                  <a:pt x="422" y="246"/>
                </a:lnTo>
                <a:lnTo>
                  <a:pt x="420" y="240"/>
                </a:lnTo>
                <a:lnTo>
                  <a:pt x="419" y="233"/>
                </a:lnTo>
                <a:lnTo>
                  <a:pt x="419" y="233"/>
                </a:lnTo>
                <a:lnTo>
                  <a:pt x="381" y="233"/>
                </a:lnTo>
                <a:lnTo>
                  <a:pt x="381" y="233"/>
                </a:lnTo>
                <a:lnTo>
                  <a:pt x="369" y="233"/>
                </a:lnTo>
                <a:lnTo>
                  <a:pt x="361" y="231"/>
                </a:lnTo>
                <a:lnTo>
                  <a:pt x="354" y="227"/>
                </a:lnTo>
                <a:lnTo>
                  <a:pt x="351" y="223"/>
                </a:lnTo>
                <a:lnTo>
                  <a:pt x="344" y="210"/>
                </a:lnTo>
                <a:lnTo>
                  <a:pt x="340" y="204"/>
                </a:lnTo>
                <a:lnTo>
                  <a:pt x="334" y="198"/>
                </a:lnTo>
                <a:lnTo>
                  <a:pt x="334" y="198"/>
                </a:lnTo>
                <a:lnTo>
                  <a:pt x="318" y="187"/>
                </a:lnTo>
                <a:lnTo>
                  <a:pt x="302" y="178"/>
                </a:lnTo>
                <a:lnTo>
                  <a:pt x="287" y="171"/>
                </a:lnTo>
                <a:lnTo>
                  <a:pt x="270" y="164"/>
                </a:lnTo>
                <a:lnTo>
                  <a:pt x="239" y="151"/>
                </a:lnTo>
                <a:lnTo>
                  <a:pt x="205" y="139"/>
                </a:lnTo>
                <a:lnTo>
                  <a:pt x="205" y="139"/>
                </a:lnTo>
                <a:lnTo>
                  <a:pt x="201" y="145"/>
                </a:lnTo>
                <a:lnTo>
                  <a:pt x="203" y="148"/>
                </a:lnTo>
                <a:lnTo>
                  <a:pt x="204" y="153"/>
                </a:lnTo>
                <a:lnTo>
                  <a:pt x="205" y="161"/>
                </a:lnTo>
                <a:lnTo>
                  <a:pt x="205" y="161"/>
                </a:lnTo>
                <a:lnTo>
                  <a:pt x="206" y="170"/>
                </a:lnTo>
                <a:lnTo>
                  <a:pt x="209" y="179"/>
                </a:lnTo>
                <a:lnTo>
                  <a:pt x="218" y="198"/>
                </a:lnTo>
                <a:lnTo>
                  <a:pt x="222" y="207"/>
                </a:lnTo>
                <a:lnTo>
                  <a:pt x="227" y="218"/>
                </a:lnTo>
                <a:lnTo>
                  <a:pt x="230" y="231"/>
                </a:lnTo>
                <a:lnTo>
                  <a:pt x="230" y="245"/>
                </a:lnTo>
                <a:lnTo>
                  <a:pt x="230" y="245"/>
                </a:lnTo>
                <a:lnTo>
                  <a:pt x="230" y="256"/>
                </a:lnTo>
                <a:lnTo>
                  <a:pt x="228" y="267"/>
                </a:lnTo>
                <a:lnTo>
                  <a:pt x="224" y="275"/>
                </a:lnTo>
                <a:lnTo>
                  <a:pt x="222" y="283"/>
                </a:lnTo>
                <a:lnTo>
                  <a:pt x="219" y="291"/>
                </a:lnTo>
                <a:lnTo>
                  <a:pt x="215" y="299"/>
                </a:lnTo>
                <a:lnTo>
                  <a:pt x="213" y="308"/>
                </a:lnTo>
                <a:lnTo>
                  <a:pt x="213" y="318"/>
                </a:lnTo>
                <a:lnTo>
                  <a:pt x="213" y="318"/>
                </a:lnTo>
                <a:lnTo>
                  <a:pt x="213" y="323"/>
                </a:lnTo>
                <a:lnTo>
                  <a:pt x="214" y="328"/>
                </a:lnTo>
                <a:lnTo>
                  <a:pt x="219" y="334"/>
                </a:lnTo>
                <a:lnTo>
                  <a:pt x="222" y="340"/>
                </a:lnTo>
                <a:lnTo>
                  <a:pt x="223" y="344"/>
                </a:lnTo>
                <a:lnTo>
                  <a:pt x="223" y="348"/>
                </a:lnTo>
                <a:lnTo>
                  <a:pt x="223" y="348"/>
                </a:lnTo>
                <a:lnTo>
                  <a:pt x="223" y="351"/>
                </a:lnTo>
                <a:lnTo>
                  <a:pt x="222" y="354"/>
                </a:lnTo>
                <a:lnTo>
                  <a:pt x="218" y="359"/>
                </a:lnTo>
                <a:lnTo>
                  <a:pt x="212" y="362"/>
                </a:lnTo>
                <a:lnTo>
                  <a:pt x="205" y="364"/>
                </a:lnTo>
                <a:lnTo>
                  <a:pt x="190" y="367"/>
                </a:lnTo>
                <a:lnTo>
                  <a:pt x="180" y="369"/>
                </a:lnTo>
                <a:lnTo>
                  <a:pt x="180" y="369"/>
                </a:lnTo>
                <a:lnTo>
                  <a:pt x="174" y="375"/>
                </a:lnTo>
                <a:lnTo>
                  <a:pt x="167" y="382"/>
                </a:lnTo>
                <a:lnTo>
                  <a:pt x="159" y="392"/>
                </a:lnTo>
                <a:lnTo>
                  <a:pt x="152" y="403"/>
                </a:lnTo>
                <a:lnTo>
                  <a:pt x="146" y="416"/>
                </a:lnTo>
                <a:lnTo>
                  <a:pt x="140" y="428"/>
                </a:lnTo>
                <a:lnTo>
                  <a:pt x="137" y="440"/>
                </a:lnTo>
                <a:lnTo>
                  <a:pt x="136" y="451"/>
                </a:lnTo>
                <a:lnTo>
                  <a:pt x="136" y="451"/>
                </a:lnTo>
                <a:lnTo>
                  <a:pt x="136" y="453"/>
                </a:lnTo>
                <a:lnTo>
                  <a:pt x="137" y="456"/>
                </a:lnTo>
                <a:lnTo>
                  <a:pt x="143" y="462"/>
                </a:lnTo>
                <a:lnTo>
                  <a:pt x="151" y="468"/>
                </a:lnTo>
                <a:lnTo>
                  <a:pt x="160" y="473"/>
                </a:lnTo>
                <a:lnTo>
                  <a:pt x="172" y="477"/>
                </a:lnTo>
                <a:lnTo>
                  <a:pt x="182" y="481"/>
                </a:lnTo>
                <a:lnTo>
                  <a:pt x="192" y="483"/>
                </a:lnTo>
                <a:lnTo>
                  <a:pt x="201" y="484"/>
                </a:lnTo>
                <a:lnTo>
                  <a:pt x="201" y="484"/>
                </a:lnTo>
                <a:lnTo>
                  <a:pt x="205" y="483"/>
                </a:lnTo>
                <a:lnTo>
                  <a:pt x="207" y="482"/>
                </a:lnTo>
                <a:lnTo>
                  <a:pt x="213" y="477"/>
                </a:lnTo>
                <a:lnTo>
                  <a:pt x="218" y="470"/>
                </a:lnTo>
                <a:lnTo>
                  <a:pt x="222" y="463"/>
                </a:lnTo>
                <a:lnTo>
                  <a:pt x="227" y="456"/>
                </a:lnTo>
                <a:lnTo>
                  <a:pt x="233" y="450"/>
                </a:lnTo>
                <a:lnTo>
                  <a:pt x="238" y="445"/>
                </a:lnTo>
                <a:lnTo>
                  <a:pt x="242" y="444"/>
                </a:lnTo>
                <a:lnTo>
                  <a:pt x="245" y="443"/>
                </a:lnTo>
                <a:lnTo>
                  <a:pt x="245" y="443"/>
                </a:lnTo>
                <a:lnTo>
                  <a:pt x="254" y="444"/>
                </a:lnTo>
                <a:lnTo>
                  <a:pt x="264" y="447"/>
                </a:lnTo>
                <a:lnTo>
                  <a:pt x="272" y="452"/>
                </a:lnTo>
                <a:lnTo>
                  <a:pt x="280" y="458"/>
                </a:lnTo>
                <a:lnTo>
                  <a:pt x="287" y="464"/>
                </a:lnTo>
                <a:lnTo>
                  <a:pt x="292" y="471"/>
                </a:lnTo>
                <a:lnTo>
                  <a:pt x="296" y="477"/>
                </a:lnTo>
                <a:lnTo>
                  <a:pt x="297" y="484"/>
                </a:lnTo>
                <a:lnTo>
                  <a:pt x="297" y="484"/>
                </a:lnTo>
                <a:lnTo>
                  <a:pt x="297" y="486"/>
                </a:lnTo>
                <a:lnTo>
                  <a:pt x="295" y="490"/>
                </a:lnTo>
                <a:lnTo>
                  <a:pt x="288" y="499"/>
                </a:lnTo>
                <a:lnTo>
                  <a:pt x="276" y="508"/>
                </a:lnTo>
                <a:lnTo>
                  <a:pt x="264" y="519"/>
                </a:lnTo>
                <a:lnTo>
                  <a:pt x="238" y="540"/>
                </a:lnTo>
                <a:lnTo>
                  <a:pt x="227" y="550"/>
                </a:lnTo>
                <a:lnTo>
                  <a:pt x="220" y="558"/>
                </a:lnTo>
                <a:lnTo>
                  <a:pt x="220" y="558"/>
                </a:lnTo>
                <a:lnTo>
                  <a:pt x="216" y="561"/>
                </a:lnTo>
                <a:lnTo>
                  <a:pt x="213" y="565"/>
                </a:lnTo>
                <a:lnTo>
                  <a:pt x="204" y="569"/>
                </a:lnTo>
                <a:lnTo>
                  <a:pt x="195" y="574"/>
                </a:lnTo>
                <a:lnTo>
                  <a:pt x="190" y="577"/>
                </a:lnTo>
                <a:lnTo>
                  <a:pt x="186" y="580"/>
                </a:lnTo>
                <a:lnTo>
                  <a:pt x="186" y="580"/>
                </a:lnTo>
                <a:lnTo>
                  <a:pt x="185" y="582"/>
                </a:lnTo>
                <a:lnTo>
                  <a:pt x="185" y="584"/>
                </a:lnTo>
                <a:lnTo>
                  <a:pt x="186" y="591"/>
                </a:lnTo>
                <a:lnTo>
                  <a:pt x="195" y="608"/>
                </a:lnTo>
                <a:lnTo>
                  <a:pt x="198" y="618"/>
                </a:lnTo>
                <a:lnTo>
                  <a:pt x="199" y="622"/>
                </a:lnTo>
                <a:lnTo>
                  <a:pt x="199" y="626"/>
                </a:lnTo>
                <a:lnTo>
                  <a:pt x="198" y="630"/>
                </a:lnTo>
                <a:lnTo>
                  <a:pt x="196" y="632"/>
                </a:lnTo>
                <a:lnTo>
                  <a:pt x="192" y="636"/>
                </a:lnTo>
                <a:lnTo>
                  <a:pt x="186" y="638"/>
                </a:lnTo>
                <a:lnTo>
                  <a:pt x="186" y="638"/>
                </a:lnTo>
                <a:lnTo>
                  <a:pt x="168" y="645"/>
                </a:lnTo>
                <a:lnTo>
                  <a:pt x="149" y="651"/>
                </a:lnTo>
                <a:lnTo>
                  <a:pt x="128" y="656"/>
                </a:lnTo>
                <a:lnTo>
                  <a:pt x="109" y="657"/>
                </a:lnTo>
                <a:lnTo>
                  <a:pt x="109" y="657"/>
                </a:lnTo>
                <a:lnTo>
                  <a:pt x="98" y="658"/>
                </a:lnTo>
                <a:lnTo>
                  <a:pt x="88" y="660"/>
                </a:lnTo>
                <a:lnTo>
                  <a:pt x="79" y="665"/>
                </a:lnTo>
                <a:lnTo>
                  <a:pt x="71" y="670"/>
                </a:lnTo>
                <a:lnTo>
                  <a:pt x="65" y="679"/>
                </a:lnTo>
                <a:lnTo>
                  <a:pt x="60" y="687"/>
                </a:lnTo>
                <a:lnTo>
                  <a:pt x="55" y="696"/>
                </a:lnTo>
                <a:lnTo>
                  <a:pt x="51" y="705"/>
                </a:lnTo>
                <a:lnTo>
                  <a:pt x="44" y="726"/>
                </a:lnTo>
                <a:lnTo>
                  <a:pt x="38" y="746"/>
                </a:lnTo>
                <a:lnTo>
                  <a:pt x="32" y="765"/>
                </a:lnTo>
                <a:lnTo>
                  <a:pt x="29" y="774"/>
                </a:lnTo>
                <a:lnTo>
                  <a:pt x="25" y="781"/>
                </a:lnTo>
                <a:lnTo>
                  <a:pt x="25" y="781"/>
                </a:lnTo>
                <a:lnTo>
                  <a:pt x="22" y="786"/>
                </a:lnTo>
                <a:lnTo>
                  <a:pt x="18" y="790"/>
                </a:lnTo>
                <a:lnTo>
                  <a:pt x="9" y="797"/>
                </a:lnTo>
                <a:lnTo>
                  <a:pt x="6" y="800"/>
                </a:lnTo>
                <a:lnTo>
                  <a:pt x="2" y="805"/>
                </a:lnTo>
                <a:lnTo>
                  <a:pt x="0" y="811"/>
                </a:lnTo>
                <a:lnTo>
                  <a:pt x="0" y="818"/>
                </a:lnTo>
                <a:lnTo>
                  <a:pt x="0" y="818"/>
                </a:lnTo>
                <a:lnTo>
                  <a:pt x="0" y="824"/>
                </a:lnTo>
                <a:lnTo>
                  <a:pt x="2" y="827"/>
                </a:lnTo>
                <a:lnTo>
                  <a:pt x="6" y="830"/>
                </a:lnTo>
                <a:lnTo>
                  <a:pt x="9" y="834"/>
                </a:lnTo>
                <a:lnTo>
                  <a:pt x="18" y="837"/>
                </a:lnTo>
                <a:lnTo>
                  <a:pt x="25" y="840"/>
                </a:lnTo>
                <a:lnTo>
                  <a:pt x="25" y="840"/>
                </a:lnTo>
                <a:lnTo>
                  <a:pt x="7" y="884"/>
                </a:lnTo>
                <a:lnTo>
                  <a:pt x="7" y="884"/>
                </a:lnTo>
                <a:lnTo>
                  <a:pt x="7" y="884"/>
                </a:lnTo>
                <a:lnTo>
                  <a:pt x="10" y="887"/>
                </a:lnTo>
                <a:lnTo>
                  <a:pt x="13" y="889"/>
                </a:lnTo>
                <a:lnTo>
                  <a:pt x="16" y="897"/>
                </a:lnTo>
                <a:lnTo>
                  <a:pt x="20" y="905"/>
                </a:lnTo>
                <a:lnTo>
                  <a:pt x="22" y="914"/>
                </a:lnTo>
                <a:lnTo>
                  <a:pt x="25" y="922"/>
                </a:lnTo>
                <a:lnTo>
                  <a:pt x="30" y="929"/>
                </a:lnTo>
                <a:lnTo>
                  <a:pt x="32" y="932"/>
                </a:lnTo>
                <a:lnTo>
                  <a:pt x="35" y="934"/>
                </a:lnTo>
                <a:lnTo>
                  <a:pt x="39" y="935"/>
                </a:lnTo>
                <a:lnTo>
                  <a:pt x="43" y="936"/>
                </a:lnTo>
                <a:lnTo>
                  <a:pt x="43" y="936"/>
                </a:lnTo>
                <a:lnTo>
                  <a:pt x="47" y="935"/>
                </a:lnTo>
                <a:lnTo>
                  <a:pt x="51" y="934"/>
                </a:lnTo>
                <a:lnTo>
                  <a:pt x="58" y="929"/>
                </a:lnTo>
                <a:lnTo>
                  <a:pt x="65" y="922"/>
                </a:lnTo>
                <a:lnTo>
                  <a:pt x="71" y="913"/>
                </a:lnTo>
                <a:lnTo>
                  <a:pt x="78" y="905"/>
                </a:lnTo>
                <a:lnTo>
                  <a:pt x="86" y="898"/>
                </a:lnTo>
                <a:lnTo>
                  <a:pt x="92" y="896"/>
                </a:lnTo>
                <a:lnTo>
                  <a:pt x="97" y="894"/>
                </a:lnTo>
                <a:lnTo>
                  <a:pt x="104" y="893"/>
                </a:lnTo>
                <a:lnTo>
                  <a:pt x="109" y="891"/>
                </a:lnTo>
                <a:lnTo>
                  <a:pt x="109" y="891"/>
                </a:lnTo>
                <a:lnTo>
                  <a:pt x="120" y="893"/>
                </a:lnTo>
                <a:lnTo>
                  <a:pt x="130" y="895"/>
                </a:lnTo>
                <a:lnTo>
                  <a:pt x="142" y="897"/>
                </a:lnTo>
                <a:lnTo>
                  <a:pt x="154" y="898"/>
                </a:lnTo>
                <a:lnTo>
                  <a:pt x="154" y="898"/>
                </a:lnTo>
                <a:lnTo>
                  <a:pt x="160" y="898"/>
                </a:lnTo>
                <a:lnTo>
                  <a:pt x="165" y="897"/>
                </a:lnTo>
                <a:lnTo>
                  <a:pt x="174" y="895"/>
                </a:lnTo>
                <a:lnTo>
                  <a:pt x="181" y="891"/>
                </a:lnTo>
                <a:lnTo>
                  <a:pt x="190" y="888"/>
                </a:lnTo>
                <a:lnTo>
                  <a:pt x="190" y="888"/>
                </a:lnTo>
                <a:lnTo>
                  <a:pt x="191" y="899"/>
                </a:lnTo>
                <a:lnTo>
                  <a:pt x="192" y="905"/>
                </a:lnTo>
                <a:lnTo>
                  <a:pt x="195" y="910"/>
                </a:lnTo>
                <a:lnTo>
                  <a:pt x="197" y="914"/>
                </a:lnTo>
                <a:lnTo>
                  <a:pt x="200" y="918"/>
                </a:lnTo>
                <a:lnTo>
                  <a:pt x="204" y="920"/>
                </a:lnTo>
                <a:lnTo>
                  <a:pt x="209" y="921"/>
                </a:lnTo>
                <a:lnTo>
                  <a:pt x="209" y="921"/>
                </a:lnTo>
                <a:lnTo>
                  <a:pt x="215" y="920"/>
                </a:lnTo>
                <a:lnTo>
                  <a:pt x="221" y="918"/>
                </a:lnTo>
                <a:lnTo>
                  <a:pt x="227" y="914"/>
                </a:lnTo>
                <a:lnTo>
                  <a:pt x="231" y="910"/>
                </a:lnTo>
                <a:lnTo>
                  <a:pt x="237" y="906"/>
                </a:lnTo>
                <a:lnTo>
                  <a:pt x="243" y="902"/>
                </a:lnTo>
                <a:lnTo>
                  <a:pt x="249" y="899"/>
                </a:lnTo>
                <a:lnTo>
                  <a:pt x="257" y="898"/>
                </a:lnTo>
                <a:lnTo>
                  <a:pt x="257" y="898"/>
                </a:lnTo>
                <a:lnTo>
                  <a:pt x="268" y="898"/>
                </a:lnTo>
                <a:lnTo>
                  <a:pt x="268" y="898"/>
                </a:lnTo>
                <a:lnTo>
                  <a:pt x="274" y="898"/>
                </a:lnTo>
                <a:lnTo>
                  <a:pt x="281" y="895"/>
                </a:lnTo>
                <a:lnTo>
                  <a:pt x="284" y="893"/>
                </a:lnTo>
                <a:lnTo>
                  <a:pt x="288" y="889"/>
                </a:lnTo>
                <a:lnTo>
                  <a:pt x="289" y="886"/>
                </a:lnTo>
                <a:lnTo>
                  <a:pt x="290" y="881"/>
                </a:lnTo>
                <a:lnTo>
                  <a:pt x="290" y="881"/>
                </a:lnTo>
                <a:lnTo>
                  <a:pt x="289" y="864"/>
                </a:lnTo>
                <a:lnTo>
                  <a:pt x="287" y="851"/>
                </a:lnTo>
                <a:lnTo>
                  <a:pt x="283" y="840"/>
                </a:lnTo>
                <a:lnTo>
                  <a:pt x="283" y="826"/>
                </a:lnTo>
                <a:lnTo>
                  <a:pt x="283" y="826"/>
                </a:lnTo>
                <a:lnTo>
                  <a:pt x="283" y="824"/>
                </a:lnTo>
                <a:lnTo>
                  <a:pt x="285" y="822"/>
                </a:lnTo>
                <a:lnTo>
                  <a:pt x="292" y="822"/>
                </a:lnTo>
                <a:lnTo>
                  <a:pt x="300" y="825"/>
                </a:lnTo>
                <a:lnTo>
                  <a:pt x="307" y="826"/>
                </a:lnTo>
                <a:lnTo>
                  <a:pt x="307" y="826"/>
                </a:lnTo>
                <a:lnTo>
                  <a:pt x="327" y="826"/>
                </a:lnTo>
                <a:lnTo>
                  <a:pt x="327" y="826"/>
                </a:lnTo>
                <a:lnTo>
                  <a:pt x="338" y="825"/>
                </a:lnTo>
                <a:lnTo>
                  <a:pt x="351" y="824"/>
                </a:lnTo>
                <a:lnTo>
                  <a:pt x="363" y="824"/>
                </a:lnTo>
                <a:lnTo>
                  <a:pt x="374" y="824"/>
                </a:lnTo>
                <a:lnTo>
                  <a:pt x="380" y="825"/>
                </a:lnTo>
                <a:lnTo>
                  <a:pt x="384" y="826"/>
                </a:lnTo>
                <a:lnTo>
                  <a:pt x="389" y="828"/>
                </a:lnTo>
                <a:lnTo>
                  <a:pt x="392" y="832"/>
                </a:lnTo>
                <a:lnTo>
                  <a:pt x="396" y="835"/>
                </a:lnTo>
                <a:lnTo>
                  <a:pt x="398" y="841"/>
                </a:lnTo>
                <a:lnTo>
                  <a:pt x="399" y="847"/>
                </a:lnTo>
                <a:lnTo>
                  <a:pt x="401" y="855"/>
                </a:lnTo>
                <a:lnTo>
                  <a:pt x="401" y="855"/>
                </a:lnTo>
                <a:lnTo>
                  <a:pt x="401" y="861"/>
                </a:lnTo>
                <a:lnTo>
                  <a:pt x="401" y="871"/>
                </a:lnTo>
                <a:lnTo>
                  <a:pt x="403" y="878"/>
                </a:lnTo>
                <a:lnTo>
                  <a:pt x="405" y="880"/>
                </a:lnTo>
                <a:lnTo>
                  <a:pt x="407" y="881"/>
                </a:lnTo>
                <a:lnTo>
                  <a:pt x="407" y="881"/>
                </a:lnTo>
                <a:lnTo>
                  <a:pt x="422" y="881"/>
                </a:lnTo>
                <a:lnTo>
                  <a:pt x="422" y="881"/>
                </a:lnTo>
                <a:lnTo>
                  <a:pt x="427" y="881"/>
                </a:lnTo>
                <a:lnTo>
                  <a:pt x="430" y="882"/>
                </a:lnTo>
                <a:lnTo>
                  <a:pt x="434" y="884"/>
                </a:lnTo>
                <a:lnTo>
                  <a:pt x="438" y="887"/>
                </a:lnTo>
                <a:lnTo>
                  <a:pt x="444" y="894"/>
                </a:lnTo>
                <a:lnTo>
                  <a:pt x="451" y="901"/>
                </a:lnTo>
                <a:lnTo>
                  <a:pt x="458" y="909"/>
                </a:lnTo>
                <a:lnTo>
                  <a:pt x="466" y="914"/>
                </a:lnTo>
                <a:lnTo>
                  <a:pt x="471" y="918"/>
                </a:lnTo>
                <a:lnTo>
                  <a:pt x="475" y="919"/>
                </a:lnTo>
                <a:lnTo>
                  <a:pt x="481" y="920"/>
                </a:lnTo>
                <a:lnTo>
                  <a:pt x="488" y="921"/>
                </a:lnTo>
                <a:lnTo>
                  <a:pt x="488" y="921"/>
                </a:lnTo>
                <a:lnTo>
                  <a:pt x="587" y="921"/>
                </a:lnTo>
                <a:lnTo>
                  <a:pt x="587" y="921"/>
                </a:lnTo>
                <a:lnTo>
                  <a:pt x="595" y="920"/>
                </a:lnTo>
                <a:lnTo>
                  <a:pt x="601" y="919"/>
                </a:lnTo>
                <a:lnTo>
                  <a:pt x="606" y="917"/>
                </a:lnTo>
                <a:lnTo>
                  <a:pt x="611" y="913"/>
                </a:lnTo>
                <a:lnTo>
                  <a:pt x="620" y="909"/>
                </a:lnTo>
                <a:lnTo>
                  <a:pt x="625" y="908"/>
                </a:lnTo>
                <a:lnTo>
                  <a:pt x="631" y="906"/>
                </a:lnTo>
                <a:lnTo>
                  <a:pt x="631" y="906"/>
                </a:lnTo>
                <a:lnTo>
                  <a:pt x="644" y="908"/>
                </a:lnTo>
                <a:lnTo>
                  <a:pt x="657" y="910"/>
                </a:lnTo>
                <a:lnTo>
                  <a:pt x="669" y="913"/>
                </a:lnTo>
                <a:lnTo>
                  <a:pt x="679" y="919"/>
                </a:lnTo>
                <a:lnTo>
                  <a:pt x="701" y="931"/>
                </a:lnTo>
                <a:lnTo>
                  <a:pt x="722" y="943"/>
                </a:lnTo>
                <a:lnTo>
                  <a:pt x="732" y="950"/>
                </a:lnTo>
                <a:lnTo>
                  <a:pt x="743" y="955"/>
                </a:lnTo>
                <a:lnTo>
                  <a:pt x="756" y="960"/>
                </a:lnTo>
                <a:lnTo>
                  <a:pt x="769" y="964"/>
                </a:lnTo>
                <a:lnTo>
                  <a:pt x="783" y="966"/>
                </a:lnTo>
                <a:lnTo>
                  <a:pt x="799" y="966"/>
                </a:lnTo>
                <a:lnTo>
                  <a:pt x="815" y="965"/>
                </a:lnTo>
                <a:lnTo>
                  <a:pt x="833" y="962"/>
                </a:lnTo>
                <a:lnTo>
                  <a:pt x="833" y="962"/>
                </a:lnTo>
                <a:lnTo>
                  <a:pt x="852" y="917"/>
                </a:lnTo>
                <a:lnTo>
                  <a:pt x="852" y="91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1" name="Freeform 116"/>
          <p:cNvSpPr>
            <a:spLocks/>
          </p:cNvSpPr>
          <p:nvPr/>
        </p:nvSpPr>
        <p:spPr bwMode="auto">
          <a:xfrm>
            <a:off x="1760538" y="4295775"/>
            <a:ext cx="271462" cy="207963"/>
          </a:xfrm>
          <a:custGeom>
            <a:avLst/>
            <a:gdLst/>
            <a:ahLst/>
            <a:cxnLst>
              <a:cxn ang="0">
                <a:pos x="107" y="16"/>
              </a:cxn>
              <a:cxn ang="0">
                <a:pos x="86" y="2"/>
              </a:cxn>
              <a:cxn ang="0">
                <a:pos x="74" y="0"/>
              </a:cxn>
              <a:cxn ang="0">
                <a:pos x="34" y="9"/>
              </a:cxn>
              <a:cxn ang="0">
                <a:pos x="9" y="30"/>
              </a:cxn>
              <a:cxn ang="0">
                <a:pos x="1" y="48"/>
              </a:cxn>
              <a:cxn ang="0">
                <a:pos x="0" y="63"/>
              </a:cxn>
              <a:cxn ang="0">
                <a:pos x="13" y="102"/>
              </a:cxn>
              <a:cxn ang="0">
                <a:pos x="37" y="110"/>
              </a:cxn>
              <a:cxn ang="0">
                <a:pos x="75" y="115"/>
              </a:cxn>
              <a:cxn ang="0">
                <a:pos x="98" y="125"/>
              </a:cxn>
              <a:cxn ang="0">
                <a:pos x="103" y="137"/>
              </a:cxn>
              <a:cxn ang="0">
                <a:pos x="107" y="166"/>
              </a:cxn>
              <a:cxn ang="0">
                <a:pos x="116" y="174"/>
              </a:cxn>
              <a:cxn ang="0">
                <a:pos x="124" y="192"/>
              </a:cxn>
              <a:cxn ang="0">
                <a:pos x="129" y="215"/>
              </a:cxn>
              <a:cxn ang="0">
                <a:pos x="136" y="224"/>
              </a:cxn>
              <a:cxn ang="0">
                <a:pos x="156" y="231"/>
              </a:cxn>
              <a:cxn ang="0">
                <a:pos x="175" y="230"/>
              </a:cxn>
              <a:cxn ang="0">
                <a:pos x="193" y="221"/>
              </a:cxn>
              <a:cxn ang="0">
                <a:pos x="210" y="211"/>
              </a:cxn>
              <a:cxn ang="0">
                <a:pos x="222" y="209"/>
              </a:cxn>
              <a:cxn ang="0">
                <a:pos x="245" y="222"/>
              </a:cxn>
              <a:cxn ang="0">
                <a:pos x="253" y="224"/>
              </a:cxn>
              <a:cxn ang="0">
                <a:pos x="265" y="219"/>
              </a:cxn>
              <a:cxn ang="0">
                <a:pos x="276" y="214"/>
              </a:cxn>
              <a:cxn ang="0">
                <a:pos x="281" y="216"/>
              </a:cxn>
              <a:cxn ang="0">
                <a:pos x="298" y="231"/>
              </a:cxn>
              <a:cxn ang="0">
                <a:pos x="312" y="238"/>
              </a:cxn>
              <a:cxn ang="0">
                <a:pos x="312" y="238"/>
              </a:cxn>
              <a:cxn ang="0">
                <a:pos x="317" y="222"/>
              </a:cxn>
              <a:cxn ang="0">
                <a:pos x="329" y="206"/>
              </a:cxn>
              <a:cxn ang="0">
                <a:pos x="330" y="198"/>
              </a:cxn>
              <a:cxn ang="0">
                <a:pos x="317" y="176"/>
              </a:cxn>
              <a:cxn ang="0">
                <a:pos x="315" y="169"/>
              </a:cxn>
              <a:cxn ang="0">
                <a:pos x="312" y="143"/>
              </a:cxn>
              <a:cxn ang="0">
                <a:pos x="304" y="139"/>
              </a:cxn>
              <a:cxn ang="0">
                <a:pos x="298" y="116"/>
              </a:cxn>
              <a:cxn ang="0">
                <a:pos x="293" y="107"/>
              </a:cxn>
              <a:cxn ang="0">
                <a:pos x="280" y="107"/>
              </a:cxn>
              <a:cxn ang="0">
                <a:pos x="270" y="102"/>
              </a:cxn>
              <a:cxn ang="0">
                <a:pos x="260" y="87"/>
              </a:cxn>
              <a:cxn ang="0">
                <a:pos x="251" y="81"/>
              </a:cxn>
              <a:cxn ang="0">
                <a:pos x="228" y="76"/>
              </a:cxn>
              <a:cxn ang="0">
                <a:pos x="191" y="70"/>
              </a:cxn>
              <a:cxn ang="0">
                <a:pos x="177" y="66"/>
              </a:cxn>
              <a:cxn ang="0">
                <a:pos x="159" y="52"/>
              </a:cxn>
              <a:cxn ang="0">
                <a:pos x="144" y="44"/>
              </a:cxn>
              <a:cxn ang="0">
                <a:pos x="128" y="35"/>
              </a:cxn>
              <a:cxn ang="0">
                <a:pos x="117" y="18"/>
              </a:cxn>
              <a:cxn ang="0">
                <a:pos x="117" y="22"/>
              </a:cxn>
            </a:cxnLst>
            <a:rect l="0" t="0" r="r" b="b"/>
            <a:pathLst>
              <a:path w="330" h="238">
                <a:moveTo>
                  <a:pt x="117" y="22"/>
                </a:moveTo>
                <a:lnTo>
                  <a:pt x="117" y="22"/>
                </a:lnTo>
                <a:lnTo>
                  <a:pt x="107" y="16"/>
                </a:lnTo>
                <a:lnTo>
                  <a:pt x="97" y="8"/>
                </a:lnTo>
                <a:lnTo>
                  <a:pt x="92" y="5"/>
                </a:lnTo>
                <a:lnTo>
                  <a:pt x="86" y="2"/>
                </a:lnTo>
                <a:lnTo>
                  <a:pt x="80" y="1"/>
                </a:lnTo>
                <a:lnTo>
                  <a:pt x="74" y="0"/>
                </a:lnTo>
                <a:lnTo>
                  <a:pt x="74" y="0"/>
                </a:lnTo>
                <a:lnTo>
                  <a:pt x="60" y="1"/>
                </a:lnTo>
                <a:lnTo>
                  <a:pt x="47" y="5"/>
                </a:lnTo>
                <a:lnTo>
                  <a:pt x="34" y="9"/>
                </a:lnTo>
                <a:lnTo>
                  <a:pt x="23" y="16"/>
                </a:lnTo>
                <a:lnTo>
                  <a:pt x="14" y="25"/>
                </a:lnTo>
                <a:lnTo>
                  <a:pt x="9" y="30"/>
                </a:lnTo>
                <a:lnTo>
                  <a:pt x="7" y="36"/>
                </a:lnTo>
                <a:lnTo>
                  <a:pt x="3" y="43"/>
                </a:lnTo>
                <a:lnTo>
                  <a:pt x="1" y="48"/>
                </a:lnTo>
                <a:lnTo>
                  <a:pt x="0" y="55"/>
                </a:lnTo>
                <a:lnTo>
                  <a:pt x="0" y="63"/>
                </a:lnTo>
                <a:lnTo>
                  <a:pt x="0" y="63"/>
                </a:lnTo>
                <a:lnTo>
                  <a:pt x="2" y="71"/>
                </a:lnTo>
                <a:lnTo>
                  <a:pt x="7" y="86"/>
                </a:lnTo>
                <a:lnTo>
                  <a:pt x="13" y="102"/>
                </a:lnTo>
                <a:lnTo>
                  <a:pt x="15" y="110"/>
                </a:lnTo>
                <a:lnTo>
                  <a:pt x="15" y="110"/>
                </a:lnTo>
                <a:lnTo>
                  <a:pt x="37" y="110"/>
                </a:lnTo>
                <a:lnTo>
                  <a:pt x="49" y="112"/>
                </a:lnTo>
                <a:lnTo>
                  <a:pt x="62" y="113"/>
                </a:lnTo>
                <a:lnTo>
                  <a:pt x="75" y="115"/>
                </a:lnTo>
                <a:lnTo>
                  <a:pt x="86" y="119"/>
                </a:lnTo>
                <a:lnTo>
                  <a:pt x="94" y="123"/>
                </a:lnTo>
                <a:lnTo>
                  <a:pt x="98" y="125"/>
                </a:lnTo>
                <a:lnTo>
                  <a:pt x="99" y="129"/>
                </a:lnTo>
                <a:lnTo>
                  <a:pt x="99" y="129"/>
                </a:lnTo>
                <a:lnTo>
                  <a:pt x="103" y="137"/>
                </a:lnTo>
                <a:lnTo>
                  <a:pt x="106" y="145"/>
                </a:lnTo>
                <a:lnTo>
                  <a:pt x="107" y="160"/>
                </a:lnTo>
                <a:lnTo>
                  <a:pt x="107" y="166"/>
                </a:lnTo>
                <a:lnTo>
                  <a:pt x="110" y="170"/>
                </a:lnTo>
                <a:lnTo>
                  <a:pt x="113" y="173"/>
                </a:lnTo>
                <a:lnTo>
                  <a:pt x="116" y="174"/>
                </a:lnTo>
                <a:lnTo>
                  <a:pt x="124" y="176"/>
                </a:lnTo>
                <a:lnTo>
                  <a:pt x="124" y="176"/>
                </a:lnTo>
                <a:lnTo>
                  <a:pt x="124" y="192"/>
                </a:lnTo>
                <a:lnTo>
                  <a:pt x="125" y="205"/>
                </a:lnTo>
                <a:lnTo>
                  <a:pt x="128" y="211"/>
                </a:lnTo>
                <a:lnTo>
                  <a:pt x="129" y="215"/>
                </a:lnTo>
                <a:lnTo>
                  <a:pt x="132" y="220"/>
                </a:lnTo>
                <a:lnTo>
                  <a:pt x="136" y="224"/>
                </a:lnTo>
                <a:lnTo>
                  <a:pt x="136" y="224"/>
                </a:lnTo>
                <a:lnTo>
                  <a:pt x="141" y="227"/>
                </a:lnTo>
                <a:lnTo>
                  <a:pt x="148" y="229"/>
                </a:lnTo>
                <a:lnTo>
                  <a:pt x="156" y="231"/>
                </a:lnTo>
                <a:lnTo>
                  <a:pt x="169" y="231"/>
                </a:lnTo>
                <a:lnTo>
                  <a:pt x="169" y="231"/>
                </a:lnTo>
                <a:lnTo>
                  <a:pt x="175" y="230"/>
                </a:lnTo>
                <a:lnTo>
                  <a:pt x="182" y="228"/>
                </a:lnTo>
                <a:lnTo>
                  <a:pt x="187" y="224"/>
                </a:lnTo>
                <a:lnTo>
                  <a:pt x="193" y="221"/>
                </a:lnTo>
                <a:lnTo>
                  <a:pt x="198" y="216"/>
                </a:lnTo>
                <a:lnTo>
                  <a:pt x="204" y="213"/>
                </a:lnTo>
                <a:lnTo>
                  <a:pt x="210" y="211"/>
                </a:lnTo>
                <a:lnTo>
                  <a:pt x="217" y="209"/>
                </a:lnTo>
                <a:lnTo>
                  <a:pt x="217" y="209"/>
                </a:lnTo>
                <a:lnTo>
                  <a:pt x="222" y="209"/>
                </a:lnTo>
                <a:lnTo>
                  <a:pt x="228" y="212"/>
                </a:lnTo>
                <a:lnTo>
                  <a:pt x="237" y="216"/>
                </a:lnTo>
                <a:lnTo>
                  <a:pt x="245" y="222"/>
                </a:lnTo>
                <a:lnTo>
                  <a:pt x="250" y="223"/>
                </a:lnTo>
                <a:lnTo>
                  <a:pt x="253" y="224"/>
                </a:lnTo>
                <a:lnTo>
                  <a:pt x="253" y="224"/>
                </a:lnTo>
                <a:lnTo>
                  <a:pt x="256" y="223"/>
                </a:lnTo>
                <a:lnTo>
                  <a:pt x="260" y="222"/>
                </a:lnTo>
                <a:lnTo>
                  <a:pt x="265" y="219"/>
                </a:lnTo>
                <a:lnTo>
                  <a:pt x="269" y="215"/>
                </a:lnTo>
                <a:lnTo>
                  <a:pt x="271" y="214"/>
                </a:lnTo>
                <a:lnTo>
                  <a:pt x="276" y="214"/>
                </a:lnTo>
                <a:lnTo>
                  <a:pt x="276" y="214"/>
                </a:lnTo>
                <a:lnTo>
                  <a:pt x="278" y="214"/>
                </a:lnTo>
                <a:lnTo>
                  <a:pt x="281" y="216"/>
                </a:lnTo>
                <a:lnTo>
                  <a:pt x="286" y="221"/>
                </a:lnTo>
                <a:lnTo>
                  <a:pt x="292" y="228"/>
                </a:lnTo>
                <a:lnTo>
                  <a:pt x="298" y="231"/>
                </a:lnTo>
                <a:lnTo>
                  <a:pt x="298" y="231"/>
                </a:lnTo>
                <a:lnTo>
                  <a:pt x="312" y="231"/>
                </a:lnTo>
                <a:lnTo>
                  <a:pt x="312" y="238"/>
                </a:lnTo>
                <a:lnTo>
                  <a:pt x="312" y="238"/>
                </a:lnTo>
                <a:lnTo>
                  <a:pt x="312" y="238"/>
                </a:lnTo>
                <a:lnTo>
                  <a:pt x="312" y="238"/>
                </a:lnTo>
                <a:lnTo>
                  <a:pt x="313" y="232"/>
                </a:lnTo>
                <a:lnTo>
                  <a:pt x="315" y="227"/>
                </a:lnTo>
                <a:lnTo>
                  <a:pt x="317" y="222"/>
                </a:lnTo>
                <a:lnTo>
                  <a:pt x="321" y="217"/>
                </a:lnTo>
                <a:lnTo>
                  <a:pt x="328" y="211"/>
                </a:lnTo>
                <a:lnTo>
                  <a:pt x="329" y="206"/>
                </a:lnTo>
                <a:lnTo>
                  <a:pt x="330" y="203"/>
                </a:lnTo>
                <a:lnTo>
                  <a:pt x="330" y="203"/>
                </a:lnTo>
                <a:lnTo>
                  <a:pt x="330" y="198"/>
                </a:lnTo>
                <a:lnTo>
                  <a:pt x="328" y="193"/>
                </a:lnTo>
                <a:lnTo>
                  <a:pt x="323" y="184"/>
                </a:lnTo>
                <a:lnTo>
                  <a:pt x="317" y="176"/>
                </a:lnTo>
                <a:lnTo>
                  <a:pt x="316" y="173"/>
                </a:lnTo>
                <a:lnTo>
                  <a:pt x="315" y="169"/>
                </a:lnTo>
                <a:lnTo>
                  <a:pt x="315" y="169"/>
                </a:lnTo>
                <a:lnTo>
                  <a:pt x="315" y="144"/>
                </a:lnTo>
                <a:lnTo>
                  <a:pt x="315" y="144"/>
                </a:lnTo>
                <a:lnTo>
                  <a:pt x="312" y="143"/>
                </a:lnTo>
                <a:lnTo>
                  <a:pt x="308" y="143"/>
                </a:lnTo>
                <a:lnTo>
                  <a:pt x="305" y="140"/>
                </a:lnTo>
                <a:lnTo>
                  <a:pt x="304" y="139"/>
                </a:lnTo>
                <a:lnTo>
                  <a:pt x="300" y="133"/>
                </a:lnTo>
                <a:lnTo>
                  <a:pt x="299" y="128"/>
                </a:lnTo>
                <a:lnTo>
                  <a:pt x="298" y="116"/>
                </a:lnTo>
                <a:lnTo>
                  <a:pt x="297" y="110"/>
                </a:lnTo>
                <a:lnTo>
                  <a:pt x="296" y="108"/>
                </a:lnTo>
                <a:lnTo>
                  <a:pt x="293" y="107"/>
                </a:lnTo>
                <a:lnTo>
                  <a:pt x="293" y="107"/>
                </a:lnTo>
                <a:lnTo>
                  <a:pt x="280" y="107"/>
                </a:lnTo>
                <a:lnTo>
                  <a:pt x="280" y="107"/>
                </a:lnTo>
                <a:lnTo>
                  <a:pt x="275" y="106"/>
                </a:lnTo>
                <a:lnTo>
                  <a:pt x="273" y="105"/>
                </a:lnTo>
                <a:lnTo>
                  <a:pt x="270" y="102"/>
                </a:lnTo>
                <a:lnTo>
                  <a:pt x="268" y="99"/>
                </a:lnTo>
                <a:lnTo>
                  <a:pt x="263" y="91"/>
                </a:lnTo>
                <a:lnTo>
                  <a:pt x="260" y="87"/>
                </a:lnTo>
                <a:lnTo>
                  <a:pt x="256" y="85"/>
                </a:lnTo>
                <a:lnTo>
                  <a:pt x="256" y="85"/>
                </a:lnTo>
                <a:lnTo>
                  <a:pt x="251" y="81"/>
                </a:lnTo>
                <a:lnTo>
                  <a:pt x="244" y="78"/>
                </a:lnTo>
                <a:lnTo>
                  <a:pt x="236" y="76"/>
                </a:lnTo>
                <a:lnTo>
                  <a:pt x="228" y="76"/>
                </a:lnTo>
                <a:lnTo>
                  <a:pt x="210" y="75"/>
                </a:lnTo>
                <a:lnTo>
                  <a:pt x="200" y="74"/>
                </a:lnTo>
                <a:lnTo>
                  <a:pt x="191" y="70"/>
                </a:lnTo>
                <a:lnTo>
                  <a:pt x="191" y="70"/>
                </a:lnTo>
                <a:lnTo>
                  <a:pt x="184" y="68"/>
                </a:lnTo>
                <a:lnTo>
                  <a:pt x="177" y="66"/>
                </a:lnTo>
                <a:lnTo>
                  <a:pt x="172" y="63"/>
                </a:lnTo>
                <a:lnTo>
                  <a:pt x="168" y="60"/>
                </a:lnTo>
                <a:lnTo>
                  <a:pt x="159" y="52"/>
                </a:lnTo>
                <a:lnTo>
                  <a:pt x="152" y="48"/>
                </a:lnTo>
                <a:lnTo>
                  <a:pt x="144" y="44"/>
                </a:lnTo>
                <a:lnTo>
                  <a:pt x="144" y="44"/>
                </a:lnTo>
                <a:lnTo>
                  <a:pt x="140" y="44"/>
                </a:lnTo>
                <a:lnTo>
                  <a:pt x="136" y="41"/>
                </a:lnTo>
                <a:lnTo>
                  <a:pt x="128" y="35"/>
                </a:lnTo>
                <a:lnTo>
                  <a:pt x="121" y="25"/>
                </a:lnTo>
                <a:lnTo>
                  <a:pt x="118" y="22"/>
                </a:lnTo>
                <a:lnTo>
                  <a:pt x="117" y="18"/>
                </a:lnTo>
                <a:lnTo>
                  <a:pt x="117" y="18"/>
                </a:lnTo>
                <a:lnTo>
                  <a:pt x="117" y="22"/>
                </a:lnTo>
                <a:lnTo>
                  <a:pt x="117" y="2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2" name="Freeform 117"/>
          <p:cNvSpPr>
            <a:spLocks/>
          </p:cNvSpPr>
          <p:nvPr/>
        </p:nvSpPr>
        <p:spPr bwMode="auto">
          <a:xfrm>
            <a:off x="1716088" y="4476750"/>
            <a:ext cx="485775" cy="442913"/>
          </a:xfrm>
          <a:custGeom>
            <a:avLst/>
            <a:gdLst/>
            <a:ahLst/>
            <a:cxnLst>
              <a:cxn ang="0">
                <a:pos x="347" y="19"/>
              </a:cxn>
              <a:cxn ang="0">
                <a:pos x="331" y="5"/>
              </a:cxn>
              <a:cxn ang="0">
                <a:pos x="311" y="14"/>
              </a:cxn>
              <a:cxn ang="0">
                <a:pos x="292" y="7"/>
              </a:cxn>
              <a:cxn ang="0">
                <a:pos x="265" y="2"/>
              </a:cxn>
              <a:cxn ang="0">
                <a:pos x="237" y="19"/>
              </a:cxn>
              <a:cxn ang="0">
                <a:pos x="203" y="20"/>
              </a:cxn>
              <a:cxn ang="0">
                <a:pos x="169" y="27"/>
              </a:cxn>
              <a:cxn ang="0">
                <a:pos x="109" y="67"/>
              </a:cxn>
              <a:cxn ang="0">
                <a:pos x="107" y="103"/>
              </a:cxn>
              <a:cxn ang="0">
                <a:pos x="94" y="120"/>
              </a:cxn>
              <a:cxn ang="0">
                <a:pos x="68" y="125"/>
              </a:cxn>
              <a:cxn ang="0">
                <a:pos x="40" y="103"/>
              </a:cxn>
              <a:cxn ang="0">
                <a:pos x="9" y="120"/>
              </a:cxn>
              <a:cxn ang="0">
                <a:pos x="18" y="147"/>
              </a:cxn>
              <a:cxn ang="0">
                <a:pos x="48" y="152"/>
              </a:cxn>
              <a:cxn ang="0">
                <a:pos x="85" y="155"/>
              </a:cxn>
              <a:cxn ang="0">
                <a:pos x="104" y="195"/>
              </a:cxn>
              <a:cxn ang="0">
                <a:pos x="120" y="203"/>
              </a:cxn>
              <a:cxn ang="0">
                <a:pos x="172" y="200"/>
              </a:cxn>
              <a:cxn ang="0">
                <a:pos x="179" y="228"/>
              </a:cxn>
              <a:cxn ang="0">
                <a:pos x="198" y="282"/>
              </a:cxn>
              <a:cxn ang="0">
                <a:pos x="237" y="326"/>
              </a:cxn>
              <a:cxn ang="0">
                <a:pos x="271" y="333"/>
              </a:cxn>
              <a:cxn ang="0">
                <a:pos x="290" y="318"/>
              </a:cxn>
              <a:cxn ang="0">
                <a:pos x="332" y="365"/>
              </a:cxn>
              <a:cxn ang="0">
                <a:pos x="367" y="412"/>
              </a:cxn>
              <a:cxn ang="0">
                <a:pos x="398" y="432"/>
              </a:cxn>
              <a:cxn ang="0">
                <a:pos x="393" y="450"/>
              </a:cxn>
              <a:cxn ang="0">
                <a:pos x="386" y="473"/>
              </a:cxn>
              <a:cxn ang="0">
                <a:pos x="407" y="501"/>
              </a:cxn>
              <a:cxn ang="0">
                <a:pos x="422" y="476"/>
              </a:cxn>
              <a:cxn ang="0">
                <a:pos x="442" y="449"/>
              </a:cxn>
              <a:cxn ang="0">
                <a:pos x="488" y="407"/>
              </a:cxn>
              <a:cxn ang="0">
                <a:pos x="492" y="380"/>
              </a:cxn>
              <a:cxn ang="0">
                <a:pos x="477" y="346"/>
              </a:cxn>
              <a:cxn ang="0">
                <a:pos x="549" y="339"/>
              </a:cxn>
              <a:cxn ang="0">
                <a:pos x="591" y="319"/>
              </a:cxn>
              <a:cxn ang="0">
                <a:pos x="591" y="295"/>
              </a:cxn>
              <a:cxn ang="0">
                <a:pos x="573" y="264"/>
              </a:cxn>
              <a:cxn ang="0">
                <a:pos x="555" y="258"/>
              </a:cxn>
              <a:cxn ang="0">
                <a:pos x="547" y="240"/>
              </a:cxn>
              <a:cxn ang="0">
                <a:pos x="577" y="223"/>
              </a:cxn>
              <a:cxn ang="0">
                <a:pos x="547" y="210"/>
              </a:cxn>
              <a:cxn ang="0">
                <a:pos x="558" y="185"/>
              </a:cxn>
              <a:cxn ang="0">
                <a:pos x="544" y="155"/>
              </a:cxn>
              <a:cxn ang="0">
                <a:pos x="522" y="170"/>
              </a:cxn>
              <a:cxn ang="0">
                <a:pos x="529" y="191"/>
              </a:cxn>
              <a:cxn ang="0">
                <a:pos x="499" y="196"/>
              </a:cxn>
              <a:cxn ang="0">
                <a:pos x="462" y="191"/>
              </a:cxn>
              <a:cxn ang="0">
                <a:pos x="428" y="174"/>
              </a:cxn>
              <a:cxn ang="0">
                <a:pos x="423" y="156"/>
              </a:cxn>
              <a:cxn ang="0">
                <a:pos x="424" y="145"/>
              </a:cxn>
              <a:cxn ang="0">
                <a:pos x="389" y="95"/>
              </a:cxn>
              <a:cxn ang="0">
                <a:pos x="367" y="29"/>
              </a:cxn>
            </a:cxnLst>
            <a:rect l="0" t="0" r="r" b="b"/>
            <a:pathLst>
              <a:path w="595" h="508">
                <a:moveTo>
                  <a:pt x="367" y="22"/>
                </a:moveTo>
                <a:lnTo>
                  <a:pt x="353" y="22"/>
                </a:lnTo>
                <a:lnTo>
                  <a:pt x="353" y="22"/>
                </a:lnTo>
                <a:lnTo>
                  <a:pt x="353" y="22"/>
                </a:lnTo>
                <a:lnTo>
                  <a:pt x="347" y="19"/>
                </a:lnTo>
                <a:lnTo>
                  <a:pt x="341" y="12"/>
                </a:lnTo>
                <a:lnTo>
                  <a:pt x="336" y="7"/>
                </a:lnTo>
                <a:lnTo>
                  <a:pt x="333" y="5"/>
                </a:lnTo>
                <a:lnTo>
                  <a:pt x="331" y="5"/>
                </a:lnTo>
                <a:lnTo>
                  <a:pt x="331" y="5"/>
                </a:lnTo>
                <a:lnTo>
                  <a:pt x="326" y="5"/>
                </a:lnTo>
                <a:lnTo>
                  <a:pt x="324" y="6"/>
                </a:lnTo>
                <a:lnTo>
                  <a:pt x="320" y="10"/>
                </a:lnTo>
                <a:lnTo>
                  <a:pt x="315" y="13"/>
                </a:lnTo>
                <a:lnTo>
                  <a:pt x="311" y="14"/>
                </a:lnTo>
                <a:lnTo>
                  <a:pt x="308" y="15"/>
                </a:lnTo>
                <a:lnTo>
                  <a:pt x="308" y="15"/>
                </a:lnTo>
                <a:lnTo>
                  <a:pt x="305" y="14"/>
                </a:lnTo>
                <a:lnTo>
                  <a:pt x="300" y="13"/>
                </a:lnTo>
                <a:lnTo>
                  <a:pt x="292" y="7"/>
                </a:lnTo>
                <a:lnTo>
                  <a:pt x="283" y="3"/>
                </a:lnTo>
                <a:lnTo>
                  <a:pt x="277" y="0"/>
                </a:lnTo>
                <a:lnTo>
                  <a:pt x="272" y="0"/>
                </a:lnTo>
                <a:lnTo>
                  <a:pt x="272" y="0"/>
                </a:lnTo>
                <a:lnTo>
                  <a:pt x="265" y="2"/>
                </a:lnTo>
                <a:lnTo>
                  <a:pt x="259" y="4"/>
                </a:lnTo>
                <a:lnTo>
                  <a:pt x="253" y="7"/>
                </a:lnTo>
                <a:lnTo>
                  <a:pt x="248" y="12"/>
                </a:lnTo>
                <a:lnTo>
                  <a:pt x="242" y="15"/>
                </a:lnTo>
                <a:lnTo>
                  <a:pt x="237" y="19"/>
                </a:lnTo>
                <a:lnTo>
                  <a:pt x="230" y="21"/>
                </a:lnTo>
                <a:lnTo>
                  <a:pt x="224" y="22"/>
                </a:lnTo>
                <a:lnTo>
                  <a:pt x="224" y="22"/>
                </a:lnTo>
                <a:lnTo>
                  <a:pt x="211" y="22"/>
                </a:lnTo>
                <a:lnTo>
                  <a:pt x="203" y="20"/>
                </a:lnTo>
                <a:lnTo>
                  <a:pt x="196" y="18"/>
                </a:lnTo>
                <a:lnTo>
                  <a:pt x="191" y="15"/>
                </a:lnTo>
                <a:lnTo>
                  <a:pt x="191" y="15"/>
                </a:lnTo>
                <a:lnTo>
                  <a:pt x="180" y="21"/>
                </a:lnTo>
                <a:lnTo>
                  <a:pt x="169" y="27"/>
                </a:lnTo>
                <a:lnTo>
                  <a:pt x="140" y="41"/>
                </a:lnTo>
                <a:lnTo>
                  <a:pt x="127" y="49"/>
                </a:lnTo>
                <a:lnTo>
                  <a:pt x="117" y="58"/>
                </a:lnTo>
                <a:lnTo>
                  <a:pt x="112" y="63"/>
                </a:lnTo>
                <a:lnTo>
                  <a:pt x="109" y="67"/>
                </a:lnTo>
                <a:lnTo>
                  <a:pt x="108" y="73"/>
                </a:lnTo>
                <a:lnTo>
                  <a:pt x="107" y="78"/>
                </a:lnTo>
                <a:lnTo>
                  <a:pt x="107" y="78"/>
                </a:lnTo>
                <a:lnTo>
                  <a:pt x="107" y="103"/>
                </a:lnTo>
                <a:lnTo>
                  <a:pt x="107" y="103"/>
                </a:lnTo>
                <a:lnTo>
                  <a:pt x="107" y="106"/>
                </a:lnTo>
                <a:lnTo>
                  <a:pt x="104" y="110"/>
                </a:lnTo>
                <a:lnTo>
                  <a:pt x="102" y="113"/>
                </a:lnTo>
                <a:lnTo>
                  <a:pt x="99" y="118"/>
                </a:lnTo>
                <a:lnTo>
                  <a:pt x="94" y="120"/>
                </a:lnTo>
                <a:lnTo>
                  <a:pt x="88" y="124"/>
                </a:lnTo>
                <a:lnTo>
                  <a:pt x="81" y="125"/>
                </a:lnTo>
                <a:lnTo>
                  <a:pt x="73" y="126"/>
                </a:lnTo>
                <a:lnTo>
                  <a:pt x="73" y="126"/>
                </a:lnTo>
                <a:lnTo>
                  <a:pt x="68" y="125"/>
                </a:lnTo>
                <a:lnTo>
                  <a:pt x="63" y="122"/>
                </a:lnTo>
                <a:lnTo>
                  <a:pt x="58" y="120"/>
                </a:lnTo>
                <a:lnTo>
                  <a:pt x="54" y="116"/>
                </a:lnTo>
                <a:lnTo>
                  <a:pt x="47" y="109"/>
                </a:lnTo>
                <a:lnTo>
                  <a:pt x="40" y="103"/>
                </a:lnTo>
                <a:lnTo>
                  <a:pt x="40" y="103"/>
                </a:lnTo>
                <a:lnTo>
                  <a:pt x="34" y="107"/>
                </a:lnTo>
                <a:lnTo>
                  <a:pt x="30" y="110"/>
                </a:lnTo>
                <a:lnTo>
                  <a:pt x="18" y="114"/>
                </a:lnTo>
                <a:lnTo>
                  <a:pt x="9" y="120"/>
                </a:lnTo>
                <a:lnTo>
                  <a:pt x="4" y="125"/>
                </a:lnTo>
                <a:lnTo>
                  <a:pt x="0" y="129"/>
                </a:lnTo>
                <a:lnTo>
                  <a:pt x="0" y="129"/>
                </a:lnTo>
                <a:lnTo>
                  <a:pt x="13" y="142"/>
                </a:lnTo>
                <a:lnTo>
                  <a:pt x="18" y="147"/>
                </a:lnTo>
                <a:lnTo>
                  <a:pt x="22" y="148"/>
                </a:lnTo>
                <a:lnTo>
                  <a:pt x="22" y="148"/>
                </a:lnTo>
                <a:lnTo>
                  <a:pt x="32" y="150"/>
                </a:lnTo>
                <a:lnTo>
                  <a:pt x="40" y="152"/>
                </a:lnTo>
                <a:lnTo>
                  <a:pt x="48" y="152"/>
                </a:lnTo>
                <a:lnTo>
                  <a:pt x="56" y="152"/>
                </a:lnTo>
                <a:lnTo>
                  <a:pt x="71" y="152"/>
                </a:lnTo>
                <a:lnTo>
                  <a:pt x="78" y="152"/>
                </a:lnTo>
                <a:lnTo>
                  <a:pt x="85" y="155"/>
                </a:lnTo>
                <a:lnTo>
                  <a:pt x="85" y="155"/>
                </a:lnTo>
                <a:lnTo>
                  <a:pt x="89" y="160"/>
                </a:lnTo>
                <a:lnTo>
                  <a:pt x="92" y="166"/>
                </a:lnTo>
                <a:lnTo>
                  <a:pt x="97" y="181"/>
                </a:lnTo>
                <a:lnTo>
                  <a:pt x="101" y="189"/>
                </a:lnTo>
                <a:lnTo>
                  <a:pt x="104" y="195"/>
                </a:lnTo>
                <a:lnTo>
                  <a:pt x="108" y="198"/>
                </a:lnTo>
                <a:lnTo>
                  <a:pt x="111" y="200"/>
                </a:lnTo>
                <a:lnTo>
                  <a:pt x="116" y="202"/>
                </a:lnTo>
                <a:lnTo>
                  <a:pt x="120" y="203"/>
                </a:lnTo>
                <a:lnTo>
                  <a:pt x="120" y="203"/>
                </a:lnTo>
                <a:lnTo>
                  <a:pt x="133" y="202"/>
                </a:lnTo>
                <a:lnTo>
                  <a:pt x="146" y="201"/>
                </a:lnTo>
                <a:lnTo>
                  <a:pt x="164" y="200"/>
                </a:lnTo>
                <a:lnTo>
                  <a:pt x="164" y="200"/>
                </a:lnTo>
                <a:lnTo>
                  <a:pt x="172" y="200"/>
                </a:lnTo>
                <a:lnTo>
                  <a:pt x="176" y="202"/>
                </a:lnTo>
                <a:lnTo>
                  <a:pt x="178" y="205"/>
                </a:lnTo>
                <a:lnTo>
                  <a:pt x="179" y="211"/>
                </a:lnTo>
                <a:lnTo>
                  <a:pt x="179" y="223"/>
                </a:lnTo>
                <a:lnTo>
                  <a:pt x="179" y="228"/>
                </a:lnTo>
                <a:lnTo>
                  <a:pt x="179" y="235"/>
                </a:lnTo>
                <a:lnTo>
                  <a:pt x="179" y="235"/>
                </a:lnTo>
                <a:lnTo>
                  <a:pt x="184" y="250"/>
                </a:lnTo>
                <a:lnTo>
                  <a:pt x="190" y="266"/>
                </a:lnTo>
                <a:lnTo>
                  <a:pt x="198" y="282"/>
                </a:lnTo>
                <a:lnTo>
                  <a:pt x="207" y="297"/>
                </a:lnTo>
                <a:lnTo>
                  <a:pt x="218" y="311"/>
                </a:lnTo>
                <a:lnTo>
                  <a:pt x="224" y="317"/>
                </a:lnTo>
                <a:lnTo>
                  <a:pt x="231" y="321"/>
                </a:lnTo>
                <a:lnTo>
                  <a:pt x="237" y="326"/>
                </a:lnTo>
                <a:lnTo>
                  <a:pt x="244" y="328"/>
                </a:lnTo>
                <a:lnTo>
                  <a:pt x="251" y="331"/>
                </a:lnTo>
                <a:lnTo>
                  <a:pt x="257" y="332"/>
                </a:lnTo>
                <a:lnTo>
                  <a:pt x="257" y="332"/>
                </a:lnTo>
                <a:lnTo>
                  <a:pt x="271" y="333"/>
                </a:lnTo>
                <a:lnTo>
                  <a:pt x="286" y="335"/>
                </a:lnTo>
                <a:lnTo>
                  <a:pt x="286" y="335"/>
                </a:lnTo>
                <a:lnTo>
                  <a:pt x="287" y="325"/>
                </a:lnTo>
                <a:lnTo>
                  <a:pt x="288" y="321"/>
                </a:lnTo>
                <a:lnTo>
                  <a:pt x="290" y="318"/>
                </a:lnTo>
                <a:lnTo>
                  <a:pt x="293" y="315"/>
                </a:lnTo>
                <a:lnTo>
                  <a:pt x="295" y="312"/>
                </a:lnTo>
                <a:lnTo>
                  <a:pt x="305" y="309"/>
                </a:lnTo>
                <a:lnTo>
                  <a:pt x="305" y="309"/>
                </a:lnTo>
                <a:lnTo>
                  <a:pt x="332" y="365"/>
                </a:lnTo>
                <a:lnTo>
                  <a:pt x="346" y="391"/>
                </a:lnTo>
                <a:lnTo>
                  <a:pt x="353" y="402"/>
                </a:lnTo>
                <a:lnTo>
                  <a:pt x="360" y="412"/>
                </a:lnTo>
                <a:lnTo>
                  <a:pt x="360" y="412"/>
                </a:lnTo>
                <a:lnTo>
                  <a:pt x="367" y="412"/>
                </a:lnTo>
                <a:lnTo>
                  <a:pt x="372" y="415"/>
                </a:lnTo>
                <a:lnTo>
                  <a:pt x="377" y="418"/>
                </a:lnTo>
                <a:lnTo>
                  <a:pt x="382" y="422"/>
                </a:lnTo>
                <a:lnTo>
                  <a:pt x="392" y="428"/>
                </a:lnTo>
                <a:lnTo>
                  <a:pt x="398" y="432"/>
                </a:lnTo>
                <a:lnTo>
                  <a:pt x="405" y="434"/>
                </a:lnTo>
                <a:lnTo>
                  <a:pt x="405" y="434"/>
                </a:lnTo>
                <a:lnTo>
                  <a:pt x="402" y="439"/>
                </a:lnTo>
                <a:lnTo>
                  <a:pt x="399" y="443"/>
                </a:lnTo>
                <a:lnTo>
                  <a:pt x="393" y="450"/>
                </a:lnTo>
                <a:lnTo>
                  <a:pt x="387" y="458"/>
                </a:lnTo>
                <a:lnTo>
                  <a:pt x="386" y="462"/>
                </a:lnTo>
                <a:lnTo>
                  <a:pt x="385" y="468"/>
                </a:lnTo>
                <a:lnTo>
                  <a:pt x="385" y="468"/>
                </a:lnTo>
                <a:lnTo>
                  <a:pt x="386" y="473"/>
                </a:lnTo>
                <a:lnTo>
                  <a:pt x="389" y="480"/>
                </a:lnTo>
                <a:lnTo>
                  <a:pt x="392" y="486"/>
                </a:lnTo>
                <a:lnTo>
                  <a:pt x="397" y="492"/>
                </a:lnTo>
                <a:lnTo>
                  <a:pt x="401" y="496"/>
                </a:lnTo>
                <a:lnTo>
                  <a:pt x="407" y="501"/>
                </a:lnTo>
                <a:lnTo>
                  <a:pt x="419" y="508"/>
                </a:lnTo>
                <a:lnTo>
                  <a:pt x="419" y="508"/>
                </a:lnTo>
                <a:lnTo>
                  <a:pt x="419" y="496"/>
                </a:lnTo>
                <a:lnTo>
                  <a:pt x="420" y="486"/>
                </a:lnTo>
                <a:lnTo>
                  <a:pt x="422" y="476"/>
                </a:lnTo>
                <a:lnTo>
                  <a:pt x="425" y="468"/>
                </a:lnTo>
                <a:lnTo>
                  <a:pt x="425" y="468"/>
                </a:lnTo>
                <a:lnTo>
                  <a:pt x="429" y="463"/>
                </a:lnTo>
                <a:lnTo>
                  <a:pt x="432" y="458"/>
                </a:lnTo>
                <a:lnTo>
                  <a:pt x="442" y="449"/>
                </a:lnTo>
                <a:lnTo>
                  <a:pt x="463" y="432"/>
                </a:lnTo>
                <a:lnTo>
                  <a:pt x="474" y="423"/>
                </a:lnTo>
                <a:lnTo>
                  <a:pt x="479" y="418"/>
                </a:lnTo>
                <a:lnTo>
                  <a:pt x="484" y="412"/>
                </a:lnTo>
                <a:lnTo>
                  <a:pt x="488" y="407"/>
                </a:lnTo>
                <a:lnTo>
                  <a:pt x="490" y="400"/>
                </a:lnTo>
                <a:lnTo>
                  <a:pt x="492" y="393"/>
                </a:lnTo>
                <a:lnTo>
                  <a:pt x="492" y="386"/>
                </a:lnTo>
                <a:lnTo>
                  <a:pt x="492" y="386"/>
                </a:lnTo>
                <a:lnTo>
                  <a:pt x="492" y="380"/>
                </a:lnTo>
                <a:lnTo>
                  <a:pt x="490" y="374"/>
                </a:lnTo>
                <a:lnTo>
                  <a:pt x="485" y="365"/>
                </a:lnTo>
                <a:lnTo>
                  <a:pt x="479" y="356"/>
                </a:lnTo>
                <a:lnTo>
                  <a:pt x="478" y="351"/>
                </a:lnTo>
                <a:lnTo>
                  <a:pt x="477" y="346"/>
                </a:lnTo>
                <a:lnTo>
                  <a:pt x="477" y="346"/>
                </a:lnTo>
                <a:lnTo>
                  <a:pt x="492" y="346"/>
                </a:lnTo>
                <a:lnTo>
                  <a:pt x="509" y="344"/>
                </a:lnTo>
                <a:lnTo>
                  <a:pt x="529" y="342"/>
                </a:lnTo>
                <a:lnTo>
                  <a:pt x="549" y="339"/>
                </a:lnTo>
                <a:lnTo>
                  <a:pt x="566" y="334"/>
                </a:lnTo>
                <a:lnTo>
                  <a:pt x="574" y="331"/>
                </a:lnTo>
                <a:lnTo>
                  <a:pt x="581" y="327"/>
                </a:lnTo>
                <a:lnTo>
                  <a:pt x="587" y="324"/>
                </a:lnTo>
                <a:lnTo>
                  <a:pt x="591" y="319"/>
                </a:lnTo>
                <a:lnTo>
                  <a:pt x="593" y="315"/>
                </a:lnTo>
                <a:lnTo>
                  <a:pt x="595" y="309"/>
                </a:lnTo>
                <a:lnTo>
                  <a:pt x="595" y="309"/>
                </a:lnTo>
                <a:lnTo>
                  <a:pt x="593" y="302"/>
                </a:lnTo>
                <a:lnTo>
                  <a:pt x="591" y="295"/>
                </a:lnTo>
                <a:lnTo>
                  <a:pt x="587" y="290"/>
                </a:lnTo>
                <a:lnTo>
                  <a:pt x="582" y="285"/>
                </a:lnTo>
                <a:lnTo>
                  <a:pt x="578" y="279"/>
                </a:lnTo>
                <a:lnTo>
                  <a:pt x="575" y="272"/>
                </a:lnTo>
                <a:lnTo>
                  <a:pt x="573" y="264"/>
                </a:lnTo>
                <a:lnTo>
                  <a:pt x="573" y="255"/>
                </a:lnTo>
                <a:lnTo>
                  <a:pt x="573" y="255"/>
                </a:lnTo>
                <a:lnTo>
                  <a:pt x="566" y="257"/>
                </a:lnTo>
                <a:lnTo>
                  <a:pt x="561" y="258"/>
                </a:lnTo>
                <a:lnTo>
                  <a:pt x="555" y="258"/>
                </a:lnTo>
                <a:lnTo>
                  <a:pt x="547" y="255"/>
                </a:lnTo>
                <a:lnTo>
                  <a:pt x="547" y="255"/>
                </a:lnTo>
                <a:lnTo>
                  <a:pt x="547" y="240"/>
                </a:lnTo>
                <a:lnTo>
                  <a:pt x="547" y="240"/>
                </a:lnTo>
                <a:lnTo>
                  <a:pt x="547" y="240"/>
                </a:lnTo>
                <a:lnTo>
                  <a:pt x="559" y="236"/>
                </a:lnTo>
                <a:lnTo>
                  <a:pt x="563" y="233"/>
                </a:lnTo>
                <a:lnTo>
                  <a:pt x="569" y="231"/>
                </a:lnTo>
                <a:lnTo>
                  <a:pt x="574" y="226"/>
                </a:lnTo>
                <a:lnTo>
                  <a:pt x="577" y="223"/>
                </a:lnTo>
                <a:lnTo>
                  <a:pt x="580" y="217"/>
                </a:lnTo>
                <a:lnTo>
                  <a:pt x="580" y="210"/>
                </a:lnTo>
                <a:lnTo>
                  <a:pt x="580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05"/>
                </a:lnTo>
                <a:lnTo>
                  <a:pt x="549" y="201"/>
                </a:lnTo>
                <a:lnTo>
                  <a:pt x="552" y="193"/>
                </a:lnTo>
                <a:lnTo>
                  <a:pt x="558" y="185"/>
                </a:lnTo>
                <a:lnTo>
                  <a:pt x="565" y="176"/>
                </a:lnTo>
                <a:lnTo>
                  <a:pt x="565" y="176"/>
                </a:lnTo>
                <a:lnTo>
                  <a:pt x="565" y="155"/>
                </a:lnTo>
                <a:lnTo>
                  <a:pt x="544" y="155"/>
                </a:lnTo>
                <a:lnTo>
                  <a:pt x="544" y="155"/>
                </a:lnTo>
                <a:lnTo>
                  <a:pt x="544" y="155"/>
                </a:lnTo>
                <a:lnTo>
                  <a:pt x="530" y="160"/>
                </a:lnTo>
                <a:lnTo>
                  <a:pt x="524" y="165"/>
                </a:lnTo>
                <a:lnTo>
                  <a:pt x="522" y="167"/>
                </a:lnTo>
                <a:lnTo>
                  <a:pt x="522" y="170"/>
                </a:lnTo>
                <a:lnTo>
                  <a:pt x="522" y="170"/>
                </a:lnTo>
                <a:lnTo>
                  <a:pt x="522" y="176"/>
                </a:lnTo>
                <a:lnTo>
                  <a:pt x="524" y="181"/>
                </a:lnTo>
                <a:lnTo>
                  <a:pt x="527" y="186"/>
                </a:lnTo>
                <a:lnTo>
                  <a:pt x="529" y="191"/>
                </a:lnTo>
                <a:lnTo>
                  <a:pt x="529" y="191"/>
                </a:lnTo>
                <a:lnTo>
                  <a:pt x="522" y="195"/>
                </a:lnTo>
                <a:lnTo>
                  <a:pt x="514" y="196"/>
                </a:lnTo>
                <a:lnTo>
                  <a:pt x="507" y="196"/>
                </a:lnTo>
                <a:lnTo>
                  <a:pt x="499" y="196"/>
                </a:lnTo>
                <a:lnTo>
                  <a:pt x="484" y="193"/>
                </a:lnTo>
                <a:lnTo>
                  <a:pt x="477" y="191"/>
                </a:lnTo>
                <a:lnTo>
                  <a:pt x="470" y="191"/>
                </a:lnTo>
                <a:lnTo>
                  <a:pt x="470" y="191"/>
                </a:lnTo>
                <a:lnTo>
                  <a:pt x="462" y="191"/>
                </a:lnTo>
                <a:lnTo>
                  <a:pt x="455" y="190"/>
                </a:lnTo>
                <a:lnTo>
                  <a:pt x="447" y="188"/>
                </a:lnTo>
                <a:lnTo>
                  <a:pt x="439" y="185"/>
                </a:lnTo>
                <a:lnTo>
                  <a:pt x="432" y="180"/>
                </a:lnTo>
                <a:lnTo>
                  <a:pt x="428" y="174"/>
                </a:lnTo>
                <a:lnTo>
                  <a:pt x="423" y="167"/>
                </a:lnTo>
                <a:lnTo>
                  <a:pt x="423" y="163"/>
                </a:lnTo>
                <a:lnTo>
                  <a:pt x="422" y="158"/>
                </a:lnTo>
                <a:lnTo>
                  <a:pt x="422" y="158"/>
                </a:lnTo>
                <a:lnTo>
                  <a:pt x="423" y="156"/>
                </a:lnTo>
                <a:lnTo>
                  <a:pt x="425" y="153"/>
                </a:lnTo>
                <a:lnTo>
                  <a:pt x="428" y="150"/>
                </a:lnTo>
                <a:lnTo>
                  <a:pt x="429" y="148"/>
                </a:lnTo>
                <a:lnTo>
                  <a:pt x="429" y="148"/>
                </a:lnTo>
                <a:lnTo>
                  <a:pt x="424" y="145"/>
                </a:lnTo>
                <a:lnTo>
                  <a:pt x="420" y="141"/>
                </a:lnTo>
                <a:lnTo>
                  <a:pt x="414" y="136"/>
                </a:lnTo>
                <a:lnTo>
                  <a:pt x="409" y="129"/>
                </a:lnTo>
                <a:lnTo>
                  <a:pt x="399" y="113"/>
                </a:lnTo>
                <a:lnTo>
                  <a:pt x="389" y="95"/>
                </a:lnTo>
                <a:lnTo>
                  <a:pt x="381" y="75"/>
                </a:lnTo>
                <a:lnTo>
                  <a:pt x="374" y="57"/>
                </a:lnTo>
                <a:lnTo>
                  <a:pt x="369" y="41"/>
                </a:lnTo>
                <a:lnTo>
                  <a:pt x="367" y="29"/>
                </a:lnTo>
                <a:lnTo>
                  <a:pt x="367" y="29"/>
                </a:lnTo>
                <a:lnTo>
                  <a:pt x="367" y="22"/>
                </a:lnTo>
                <a:lnTo>
                  <a:pt x="367" y="2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3" name="Freeform 118"/>
          <p:cNvSpPr>
            <a:spLocks/>
          </p:cNvSpPr>
          <p:nvPr/>
        </p:nvSpPr>
        <p:spPr bwMode="auto">
          <a:xfrm>
            <a:off x="1684338" y="4392613"/>
            <a:ext cx="190500" cy="198437"/>
          </a:xfrm>
          <a:custGeom>
            <a:avLst/>
            <a:gdLst/>
            <a:ahLst/>
            <a:cxnLst>
              <a:cxn ang="0">
                <a:pos x="235" y="114"/>
              </a:cxn>
              <a:cxn ang="0">
                <a:pos x="212" y="126"/>
              </a:cxn>
              <a:cxn ang="0">
                <a:pos x="170" y="148"/>
              </a:cxn>
              <a:cxn ang="0">
                <a:pos x="153" y="162"/>
              </a:cxn>
              <a:cxn ang="0">
                <a:pos x="149" y="172"/>
              </a:cxn>
              <a:cxn ang="0">
                <a:pos x="148" y="177"/>
              </a:cxn>
              <a:cxn ang="0">
                <a:pos x="148" y="202"/>
              </a:cxn>
              <a:cxn ang="0">
                <a:pos x="145" y="209"/>
              </a:cxn>
              <a:cxn ang="0">
                <a:pos x="140" y="217"/>
              </a:cxn>
              <a:cxn ang="0">
                <a:pos x="129" y="223"/>
              </a:cxn>
              <a:cxn ang="0">
                <a:pos x="114" y="225"/>
              </a:cxn>
              <a:cxn ang="0">
                <a:pos x="109" y="224"/>
              </a:cxn>
              <a:cxn ang="0">
                <a:pos x="99" y="219"/>
              </a:cxn>
              <a:cxn ang="0">
                <a:pos x="88" y="208"/>
              </a:cxn>
              <a:cxn ang="0">
                <a:pos x="81" y="202"/>
              </a:cxn>
              <a:cxn ang="0">
                <a:pos x="71" y="209"/>
              </a:cxn>
              <a:cxn ang="0">
                <a:pos x="50" y="219"/>
              </a:cxn>
              <a:cxn ang="0">
                <a:pos x="41" y="228"/>
              </a:cxn>
              <a:cxn ang="0">
                <a:pos x="27" y="213"/>
              </a:cxn>
              <a:cxn ang="0">
                <a:pos x="4" y="186"/>
              </a:cxn>
              <a:cxn ang="0">
                <a:pos x="0" y="177"/>
              </a:cxn>
              <a:cxn ang="0">
                <a:pos x="2" y="173"/>
              </a:cxn>
              <a:cxn ang="0">
                <a:pos x="12" y="164"/>
              </a:cxn>
              <a:cxn ang="0">
                <a:pos x="21" y="155"/>
              </a:cxn>
              <a:cxn ang="0">
                <a:pos x="22" y="151"/>
              </a:cxn>
              <a:cxn ang="0">
                <a:pos x="19" y="142"/>
              </a:cxn>
              <a:cxn ang="0">
                <a:pos x="12" y="135"/>
              </a:cxn>
              <a:cxn ang="0">
                <a:pos x="4" y="127"/>
              </a:cxn>
              <a:cxn ang="0">
                <a:pos x="0" y="118"/>
              </a:cxn>
              <a:cxn ang="0">
                <a:pos x="2" y="114"/>
              </a:cxn>
              <a:cxn ang="0">
                <a:pos x="5" y="107"/>
              </a:cxn>
              <a:cxn ang="0">
                <a:pos x="18" y="98"/>
              </a:cxn>
              <a:cxn ang="0">
                <a:pos x="37" y="88"/>
              </a:cxn>
              <a:cxn ang="0">
                <a:pos x="54" y="76"/>
              </a:cxn>
              <a:cxn ang="0">
                <a:pos x="59" y="70"/>
              </a:cxn>
              <a:cxn ang="0">
                <a:pos x="63" y="63"/>
              </a:cxn>
              <a:cxn ang="0">
                <a:pos x="67" y="44"/>
              </a:cxn>
              <a:cxn ang="0">
                <a:pos x="69" y="21"/>
              </a:cxn>
              <a:cxn ang="0">
                <a:pos x="73" y="13"/>
              </a:cxn>
              <a:cxn ang="0">
                <a:pos x="80" y="6"/>
              </a:cxn>
              <a:cxn ang="0">
                <a:pos x="92" y="2"/>
              </a:cxn>
              <a:cxn ang="0">
                <a:pos x="111" y="0"/>
              </a:cxn>
              <a:cxn ang="0">
                <a:pos x="133" y="0"/>
              </a:cxn>
              <a:cxn ang="0">
                <a:pos x="158" y="3"/>
              </a:cxn>
              <a:cxn ang="0">
                <a:pos x="182" y="9"/>
              </a:cxn>
              <a:cxn ang="0">
                <a:pos x="194" y="15"/>
              </a:cxn>
              <a:cxn ang="0">
                <a:pos x="195" y="19"/>
              </a:cxn>
              <a:cxn ang="0">
                <a:pos x="202" y="35"/>
              </a:cxn>
              <a:cxn ang="0">
                <a:pos x="203" y="56"/>
              </a:cxn>
              <a:cxn ang="0">
                <a:pos x="209" y="63"/>
              </a:cxn>
              <a:cxn ang="0">
                <a:pos x="220" y="66"/>
              </a:cxn>
              <a:cxn ang="0">
                <a:pos x="220" y="82"/>
              </a:cxn>
              <a:cxn ang="0">
                <a:pos x="224" y="101"/>
              </a:cxn>
              <a:cxn ang="0">
                <a:pos x="228" y="110"/>
              </a:cxn>
              <a:cxn ang="0">
                <a:pos x="232" y="114"/>
              </a:cxn>
              <a:cxn ang="0">
                <a:pos x="235" y="114"/>
              </a:cxn>
            </a:cxnLst>
            <a:rect l="0" t="0" r="r" b="b"/>
            <a:pathLst>
              <a:path w="235" h="228">
                <a:moveTo>
                  <a:pt x="235" y="114"/>
                </a:moveTo>
                <a:lnTo>
                  <a:pt x="235" y="114"/>
                </a:lnTo>
                <a:lnTo>
                  <a:pt x="225" y="120"/>
                </a:lnTo>
                <a:lnTo>
                  <a:pt x="212" y="126"/>
                </a:lnTo>
                <a:lnTo>
                  <a:pt x="183" y="140"/>
                </a:lnTo>
                <a:lnTo>
                  <a:pt x="170" y="148"/>
                </a:lnTo>
                <a:lnTo>
                  <a:pt x="158" y="157"/>
                </a:lnTo>
                <a:lnTo>
                  <a:pt x="153" y="162"/>
                </a:lnTo>
                <a:lnTo>
                  <a:pt x="150" y="166"/>
                </a:lnTo>
                <a:lnTo>
                  <a:pt x="149" y="172"/>
                </a:lnTo>
                <a:lnTo>
                  <a:pt x="148" y="177"/>
                </a:lnTo>
                <a:lnTo>
                  <a:pt x="148" y="177"/>
                </a:lnTo>
                <a:lnTo>
                  <a:pt x="148" y="202"/>
                </a:lnTo>
                <a:lnTo>
                  <a:pt x="148" y="202"/>
                </a:lnTo>
                <a:lnTo>
                  <a:pt x="148" y="205"/>
                </a:lnTo>
                <a:lnTo>
                  <a:pt x="145" y="209"/>
                </a:lnTo>
                <a:lnTo>
                  <a:pt x="143" y="212"/>
                </a:lnTo>
                <a:lnTo>
                  <a:pt x="140" y="217"/>
                </a:lnTo>
                <a:lnTo>
                  <a:pt x="135" y="219"/>
                </a:lnTo>
                <a:lnTo>
                  <a:pt x="129" y="223"/>
                </a:lnTo>
                <a:lnTo>
                  <a:pt x="122" y="224"/>
                </a:lnTo>
                <a:lnTo>
                  <a:pt x="114" y="225"/>
                </a:lnTo>
                <a:lnTo>
                  <a:pt x="114" y="225"/>
                </a:lnTo>
                <a:lnTo>
                  <a:pt x="109" y="224"/>
                </a:lnTo>
                <a:lnTo>
                  <a:pt x="104" y="221"/>
                </a:lnTo>
                <a:lnTo>
                  <a:pt x="99" y="219"/>
                </a:lnTo>
                <a:lnTo>
                  <a:pt x="95" y="215"/>
                </a:lnTo>
                <a:lnTo>
                  <a:pt x="88" y="208"/>
                </a:lnTo>
                <a:lnTo>
                  <a:pt x="81" y="202"/>
                </a:lnTo>
                <a:lnTo>
                  <a:pt x="81" y="202"/>
                </a:lnTo>
                <a:lnTo>
                  <a:pt x="75" y="206"/>
                </a:lnTo>
                <a:lnTo>
                  <a:pt x="71" y="209"/>
                </a:lnTo>
                <a:lnTo>
                  <a:pt x="59" y="213"/>
                </a:lnTo>
                <a:lnTo>
                  <a:pt x="50" y="219"/>
                </a:lnTo>
                <a:lnTo>
                  <a:pt x="45" y="224"/>
                </a:lnTo>
                <a:lnTo>
                  <a:pt x="41" y="228"/>
                </a:lnTo>
                <a:lnTo>
                  <a:pt x="41" y="228"/>
                </a:lnTo>
                <a:lnTo>
                  <a:pt x="27" y="213"/>
                </a:lnTo>
                <a:lnTo>
                  <a:pt x="14" y="198"/>
                </a:lnTo>
                <a:lnTo>
                  <a:pt x="4" y="186"/>
                </a:lnTo>
                <a:lnTo>
                  <a:pt x="2" y="180"/>
                </a:lnTo>
                <a:lnTo>
                  <a:pt x="0" y="177"/>
                </a:lnTo>
                <a:lnTo>
                  <a:pt x="0" y="177"/>
                </a:lnTo>
                <a:lnTo>
                  <a:pt x="2" y="173"/>
                </a:lnTo>
                <a:lnTo>
                  <a:pt x="4" y="170"/>
                </a:lnTo>
                <a:lnTo>
                  <a:pt x="12" y="164"/>
                </a:lnTo>
                <a:lnTo>
                  <a:pt x="19" y="158"/>
                </a:lnTo>
                <a:lnTo>
                  <a:pt x="21" y="155"/>
                </a:lnTo>
                <a:lnTo>
                  <a:pt x="22" y="151"/>
                </a:lnTo>
                <a:lnTo>
                  <a:pt x="22" y="151"/>
                </a:lnTo>
                <a:lnTo>
                  <a:pt x="21" y="147"/>
                </a:lnTo>
                <a:lnTo>
                  <a:pt x="19" y="142"/>
                </a:lnTo>
                <a:lnTo>
                  <a:pt x="15" y="139"/>
                </a:lnTo>
                <a:lnTo>
                  <a:pt x="12" y="135"/>
                </a:lnTo>
                <a:lnTo>
                  <a:pt x="7" y="132"/>
                </a:lnTo>
                <a:lnTo>
                  <a:pt x="4" y="127"/>
                </a:lnTo>
                <a:lnTo>
                  <a:pt x="2" y="124"/>
                </a:lnTo>
                <a:lnTo>
                  <a:pt x="0" y="118"/>
                </a:lnTo>
                <a:lnTo>
                  <a:pt x="0" y="118"/>
                </a:lnTo>
                <a:lnTo>
                  <a:pt x="2" y="114"/>
                </a:lnTo>
                <a:lnTo>
                  <a:pt x="3" y="111"/>
                </a:lnTo>
                <a:lnTo>
                  <a:pt x="5" y="107"/>
                </a:lnTo>
                <a:lnTo>
                  <a:pt x="8" y="104"/>
                </a:lnTo>
                <a:lnTo>
                  <a:pt x="18" y="98"/>
                </a:lnTo>
                <a:lnTo>
                  <a:pt x="27" y="93"/>
                </a:lnTo>
                <a:lnTo>
                  <a:pt x="37" y="88"/>
                </a:lnTo>
                <a:lnTo>
                  <a:pt x="48" y="82"/>
                </a:lnTo>
                <a:lnTo>
                  <a:pt x="54" y="76"/>
                </a:lnTo>
                <a:lnTo>
                  <a:pt x="58" y="73"/>
                </a:lnTo>
                <a:lnTo>
                  <a:pt x="59" y="70"/>
                </a:lnTo>
                <a:lnTo>
                  <a:pt x="59" y="70"/>
                </a:lnTo>
                <a:lnTo>
                  <a:pt x="63" y="63"/>
                </a:lnTo>
                <a:lnTo>
                  <a:pt x="65" y="57"/>
                </a:lnTo>
                <a:lnTo>
                  <a:pt x="67" y="44"/>
                </a:lnTo>
                <a:lnTo>
                  <a:pt x="68" y="32"/>
                </a:lnTo>
                <a:lnTo>
                  <a:pt x="69" y="21"/>
                </a:lnTo>
                <a:lnTo>
                  <a:pt x="72" y="17"/>
                </a:lnTo>
                <a:lnTo>
                  <a:pt x="73" y="13"/>
                </a:lnTo>
                <a:lnTo>
                  <a:pt x="76" y="10"/>
                </a:lnTo>
                <a:lnTo>
                  <a:pt x="80" y="6"/>
                </a:lnTo>
                <a:lnTo>
                  <a:pt x="86" y="4"/>
                </a:lnTo>
                <a:lnTo>
                  <a:pt x="92" y="2"/>
                </a:lnTo>
                <a:lnTo>
                  <a:pt x="100" y="0"/>
                </a:lnTo>
                <a:lnTo>
                  <a:pt x="111" y="0"/>
                </a:lnTo>
                <a:lnTo>
                  <a:pt x="111" y="0"/>
                </a:lnTo>
                <a:lnTo>
                  <a:pt x="133" y="0"/>
                </a:lnTo>
                <a:lnTo>
                  <a:pt x="145" y="2"/>
                </a:lnTo>
                <a:lnTo>
                  <a:pt x="158" y="3"/>
                </a:lnTo>
                <a:lnTo>
                  <a:pt x="171" y="5"/>
                </a:lnTo>
                <a:lnTo>
                  <a:pt x="182" y="9"/>
                </a:lnTo>
                <a:lnTo>
                  <a:pt x="190" y="13"/>
                </a:lnTo>
                <a:lnTo>
                  <a:pt x="194" y="15"/>
                </a:lnTo>
                <a:lnTo>
                  <a:pt x="195" y="19"/>
                </a:lnTo>
                <a:lnTo>
                  <a:pt x="195" y="19"/>
                </a:lnTo>
                <a:lnTo>
                  <a:pt x="199" y="27"/>
                </a:lnTo>
                <a:lnTo>
                  <a:pt x="202" y="35"/>
                </a:lnTo>
                <a:lnTo>
                  <a:pt x="203" y="50"/>
                </a:lnTo>
                <a:lnTo>
                  <a:pt x="203" y="56"/>
                </a:lnTo>
                <a:lnTo>
                  <a:pt x="206" y="60"/>
                </a:lnTo>
                <a:lnTo>
                  <a:pt x="209" y="63"/>
                </a:lnTo>
                <a:lnTo>
                  <a:pt x="212" y="64"/>
                </a:lnTo>
                <a:lnTo>
                  <a:pt x="220" y="66"/>
                </a:lnTo>
                <a:lnTo>
                  <a:pt x="220" y="66"/>
                </a:lnTo>
                <a:lnTo>
                  <a:pt x="220" y="82"/>
                </a:lnTo>
                <a:lnTo>
                  <a:pt x="221" y="95"/>
                </a:lnTo>
                <a:lnTo>
                  <a:pt x="224" y="101"/>
                </a:lnTo>
                <a:lnTo>
                  <a:pt x="225" y="105"/>
                </a:lnTo>
                <a:lnTo>
                  <a:pt x="228" y="110"/>
                </a:lnTo>
                <a:lnTo>
                  <a:pt x="232" y="114"/>
                </a:lnTo>
                <a:lnTo>
                  <a:pt x="232" y="114"/>
                </a:lnTo>
                <a:lnTo>
                  <a:pt x="235" y="114"/>
                </a:lnTo>
                <a:lnTo>
                  <a:pt x="235" y="11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4" name="Freeform 119"/>
          <p:cNvSpPr>
            <a:spLocks/>
          </p:cNvSpPr>
          <p:nvPr/>
        </p:nvSpPr>
        <p:spPr bwMode="auto">
          <a:xfrm>
            <a:off x="4443413" y="5659438"/>
            <a:ext cx="766762" cy="530225"/>
          </a:xfrm>
          <a:custGeom>
            <a:avLst/>
            <a:gdLst/>
            <a:ahLst/>
            <a:cxnLst>
              <a:cxn ang="0">
                <a:pos x="184" y="532"/>
              </a:cxn>
              <a:cxn ang="0">
                <a:pos x="277" y="481"/>
              </a:cxn>
              <a:cxn ang="0">
                <a:pos x="350" y="469"/>
              </a:cxn>
              <a:cxn ang="0">
                <a:pos x="448" y="480"/>
              </a:cxn>
              <a:cxn ang="0">
                <a:pos x="510" y="507"/>
              </a:cxn>
              <a:cxn ang="0">
                <a:pos x="515" y="521"/>
              </a:cxn>
              <a:cxn ang="0">
                <a:pos x="534" y="565"/>
              </a:cxn>
              <a:cxn ang="0">
                <a:pos x="592" y="581"/>
              </a:cxn>
              <a:cxn ang="0">
                <a:pos x="728" y="583"/>
              </a:cxn>
              <a:cxn ang="0">
                <a:pos x="835" y="567"/>
              </a:cxn>
              <a:cxn ang="0">
                <a:pos x="882" y="524"/>
              </a:cxn>
              <a:cxn ang="0">
                <a:pos x="889" y="473"/>
              </a:cxn>
              <a:cxn ang="0">
                <a:pos x="852" y="433"/>
              </a:cxn>
              <a:cxn ang="0">
                <a:pos x="835" y="392"/>
              </a:cxn>
              <a:cxn ang="0">
                <a:pos x="844" y="343"/>
              </a:cxn>
              <a:cxn ang="0">
                <a:pos x="893" y="261"/>
              </a:cxn>
              <a:cxn ang="0">
                <a:pos x="907" y="219"/>
              </a:cxn>
              <a:cxn ang="0">
                <a:pos x="879" y="176"/>
              </a:cxn>
              <a:cxn ang="0">
                <a:pos x="886" y="146"/>
              </a:cxn>
              <a:cxn ang="0">
                <a:pos x="893" y="135"/>
              </a:cxn>
              <a:cxn ang="0">
                <a:pos x="886" y="106"/>
              </a:cxn>
              <a:cxn ang="0">
                <a:pos x="923" y="99"/>
              </a:cxn>
              <a:cxn ang="0">
                <a:pos x="926" y="79"/>
              </a:cxn>
              <a:cxn ang="0">
                <a:pos x="893" y="66"/>
              </a:cxn>
              <a:cxn ang="0">
                <a:pos x="856" y="77"/>
              </a:cxn>
              <a:cxn ang="0">
                <a:pos x="801" y="61"/>
              </a:cxn>
              <a:cxn ang="0">
                <a:pos x="744" y="23"/>
              </a:cxn>
              <a:cxn ang="0">
                <a:pos x="706" y="0"/>
              </a:cxn>
              <a:cxn ang="0">
                <a:pos x="674" y="7"/>
              </a:cxn>
              <a:cxn ang="0">
                <a:pos x="676" y="26"/>
              </a:cxn>
              <a:cxn ang="0">
                <a:pos x="618" y="37"/>
              </a:cxn>
              <a:cxn ang="0">
                <a:pos x="523" y="66"/>
              </a:cxn>
              <a:cxn ang="0">
                <a:pos x="515" y="84"/>
              </a:cxn>
              <a:cxn ang="0">
                <a:pos x="508" y="124"/>
              </a:cxn>
              <a:cxn ang="0">
                <a:pos x="486" y="135"/>
              </a:cxn>
              <a:cxn ang="0">
                <a:pos x="463" y="176"/>
              </a:cxn>
              <a:cxn ang="0">
                <a:pos x="415" y="262"/>
              </a:cxn>
              <a:cxn ang="0">
                <a:pos x="352" y="309"/>
              </a:cxn>
              <a:cxn ang="0">
                <a:pos x="288" y="319"/>
              </a:cxn>
              <a:cxn ang="0">
                <a:pos x="255" y="300"/>
              </a:cxn>
              <a:cxn ang="0">
                <a:pos x="175" y="281"/>
              </a:cxn>
              <a:cxn ang="0">
                <a:pos x="130" y="266"/>
              </a:cxn>
              <a:cxn ang="0">
                <a:pos x="121" y="283"/>
              </a:cxn>
              <a:cxn ang="0">
                <a:pos x="115" y="320"/>
              </a:cxn>
              <a:cxn ang="0">
                <a:pos x="74" y="349"/>
              </a:cxn>
              <a:cxn ang="0">
                <a:pos x="37" y="349"/>
              </a:cxn>
              <a:cxn ang="0">
                <a:pos x="0" y="362"/>
              </a:cxn>
              <a:cxn ang="0">
                <a:pos x="19" y="421"/>
              </a:cxn>
              <a:cxn ang="0">
                <a:pos x="35" y="450"/>
              </a:cxn>
              <a:cxn ang="0">
                <a:pos x="86" y="496"/>
              </a:cxn>
              <a:cxn ang="0">
                <a:pos x="96" y="525"/>
              </a:cxn>
              <a:cxn ang="0">
                <a:pos x="68" y="529"/>
              </a:cxn>
              <a:cxn ang="0">
                <a:pos x="56" y="552"/>
              </a:cxn>
              <a:cxn ang="0">
                <a:pos x="61" y="580"/>
              </a:cxn>
              <a:cxn ang="0">
                <a:pos x="82" y="609"/>
              </a:cxn>
            </a:cxnLst>
            <a:rect l="0" t="0" r="r" b="b"/>
            <a:pathLst>
              <a:path w="938" h="609">
                <a:moveTo>
                  <a:pt x="82" y="609"/>
                </a:moveTo>
                <a:lnTo>
                  <a:pt x="82" y="609"/>
                </a:lnTo>
                <a:lnTo>
                  <a:pt x="110" y="589"/>
                </a:lnTo>
                <a:lnTo>
                  <a:pt x="136" y="568"/>
                </a:lnTo>
                <a:lnTo>
                  <a:pt x="184" y="532"/>
                </a:lnTo>
                <a:lnTo>
                  <a:pt x="207" y="514"/>
                </a:lnTo>
                <a:lnTo>
                  <a:pt x="231" y="501"/>
                </a:lnTo>
                <a:lnTo>
                  <a:pt x="254" y="489"/>
                </a:lnTo>
                <a:lnTo>
                  <a:pt x="265" y="484"/>
                </a:lnTo>
                <a:lnTo>
                  <a:pt x="277" y="481"/>
                </a:lnTo>
                <a:lnTo>
                  <a:pt x="277" y="481"/>
                </a:lnTo>
                <a:lnTo>
                  <a:pt x="293" y="475"/>
                </a:lnTo>
                <a:lnTo>
                  <a:pt x="311" y="472"/>
                </a:lnTo>
                <a:lnTo>
                  <a:pt x="331" y="471"/>
                </a:lnTo>
                <a:lnTo>
                  <a:pt x="350" y="469"/>
                </a:lnTo>
                <a:lnTo>
                  <a:pt x="371" y="469"/>
                </a:lnTo>
                <a:lnTo>
                  <a:pt x="390" y="471"/>
                </a:lnTo>
                <a:lnTo>
                  <a:pt x="411" y="473"/>
                </a:lnTo>
                <a:lnTo>
                  <a:pt x="431" y="476"/>
                </a:lnTo>
                <a:lnTo>
                  <a:pt x="448" y="480"/>
                </a:lnTo>
                <a:lnTo>
                  <a:pt x="465" y="484"/>
                </a:lnTo>
                <a:lnTo>
                  <a:pt x="480" y="489"/>
                </a:lnTo>
                <a:lnTo>
                  <a:pt x="493" y="495"/>
                </a:lnTo>
                <a:lnTo>
                  <a:pt x="503" y="502"/>
                </a:lnTo>
                <a:lnTo>
                  <a:pt x="510" y="507"/>
                </a:lnTo>
                <a:lnTo>
                  <a:pt x="512" y="511"/>
                </a:lnTo>
                <a:lnTo>
                  <a:pt x="515" y="514"/>
                </a:lnTo>
                <a:lnTo>
                  <a:pt x="515" y="518"/>
                </a:lnTo>
                <a:lnTo>
                  <a:pt x="515" y="521"/>
                </a:lnTo>
                <a:lnTo>
                  <a:pt x="515" y="521"/>
                </a:lnTo>
                <a:lnTo>
                  <a:pt x="515" y="533"/>
                </a:lnTo>
                <a:lnTo>
                  <a:pt x="517" y="543"/>
                </a:lnTo>
                <a:lnTo>
                  <a:pt x="520" y="551"/>
                </a:lnTo>
                <a:lnTo>
                  <a:pt x="527" y="559"/>
                </a:lnTo>
                <a:lnTo>
                  <a:pt x="534" y="565"/>
                </a:lnTo>
                <a:lnTo>
                  <a:pt x="543" y="570"/>
                </a:lnTo>
                <a:lnTo>
                  <a:pt x="554" y="574"/>
                </a:lnTo>
                <a:lnTo>
                  <a:pt x="567" y="578"/>
                </a:lnTo>
                <a:lnTo>
                  <a:pt x="579" y="580"/>
                </a:lnTo>
                <a:lnTo>
                  <a:pt x="592" y="581"/>
                </a:lnTo>
                <a:lnTo>
                  <a:pt x="621" y="583"/>
                </a:lnTo>
                <a:lnTo>
                  <a:pt x="651" y="583"/>
                </a:lnTo>
                <a:lnTo>
                  <a:pt x="680" y="583"/>
                </a:lnTo>
                <a:lnTo>
                  <a:pt x="680" y="583"/>
                </a:lnTo>
                <a:lnTo>
                  <a:pt x="728" y="583"/>
                </a:lnTo>
                <a:lnTo>
                  <a:pt x="769" y="581"/>
                </a:lnTo>
                <a:lnTo>
                  <a:pt x="787" y="579"/>
                </a:lnTo>
                <a:lnTo>
                  <a:pt x="805" y="575"/>
                </a:lnTo>
                <a:lnTo>
                  <a:pt x="820" y="572"/>
                </a:lnTo>
                <a:lnTo>
                  <a:pt x="835" y="567"/>
                </a:lnTo>
                <a:lnTo>
                  <a:pt x="847" y="562"/>
                </a:lnTo>
                <a:lnTo>
                  <a:pt x="858" y="555"/>
                </a:lnTo>
                <a:lnTo>
                  <a:pt x="868" y="545"/>
                </a:lnTo>
                <a:lnTo>
                  <a:pt x="875" y="535"/>
                </a:lnTo>
                <a:lnTo>
                  <a:pt x="882" y="524"/>
                </a:lnTo>
                <a:lnTo>
                  <a:pt x="886" y="510"/>
                </a:lnTo>
                <a:lnTo>
                  <a:pt x="889" y="495"/>
                </a:lnTo>
                <a:lnTo>
                  <a:pt x="890" y="476"/>
                </a:lnTo>
                <a:lnTo>
                  <a:pt x="890" y="476"/>
                </a:lnTo>
                <a:lnTo>
                  <a:pt x="889" y="473"/>
                </a:lnTo>
                <a:lnTo>
                  <a:pt x="888" y="468"/>
                </a:lnTo>
                <a:lnTo>
                  <a:pt x="881" y="460"/>
                </a:lnTo>
                <a:lnTo>
                  <a:pt x="873" y="452"/>
                </a:lnTo>
                <a:lnTo>
                  <a:pt x="862" y="443"/>
                </a:lnTo>
                <a:lnTo>
                  <a:pt x="852" y="433"/>
                </a:lnTo>
                <a:lnTo>
                  <a:pt x="844" y="421"/>
                </a:lnTo>
                <a:lnTo>
                  <a:pt x="840" y="414"/>
                </a:lnTo>
                <a:lnTo>
                  <a:pt x="837" y="407"/>
                </a:lnTo>
                <a:lnTo>
                  <a:pt x="836" y="400"/>
                </a:lnTo>
                <a:lnTo>
                  <a:pt x="835" y="392"/>
                </a:lnTo>
                <a:lnTo>
                  <a:pt x="835" y="392"/>
                </a:lnTo>
                <a:lnTo>
                  <a:pt x="836" y="380"/>
                </a:lnTo>
                <a:lnTo>
                  <a:pt x="837" y="367"/>
                </a:lnTo>
                <a:lnTo>
                  <a:pt x="840" y="356"/>
                </a:lnTo>
                <a:lnTo>
                  <a:pt x="844" y="343"/>
                </a:lnTo>
                <a:lnTo>
                  <a:pt x="850" y="333"/>
                </a:lnTo>
                <a:lnTo>
                  <a:pt x="854" y="321"/>
                </a:lnTo>
                <a:lnTo>
                  <a:pt x="867" y="300"/>
                </a:lnTo>
                <a:lnTo>
                  <a:pt x="881" y="281"/>
                </a:lnTo>
                <a:lnTo>
                  <a:pt x="893" y="261"/>
                </a:lnTo>
                <a:lnTo>
                  <a:pt x="906" y="244"/>
                </a:lnTo>
                <a:lnTo>
                  <a:pt x="915" y="227"/>
                </a:lnTo>
                <a:lnTo>
                  <a:pt x="915" y="227"/>
                </a:lnTo>
                <a:lnTo>
                  <a:pt x="912" y="223"/>
                </a:lnTo>
                <a:lnTo>
                  <a:pt x="907" y="219"/>
                </a:lnTo>
                <a:lnTo>
                  <a:pt x="894" y="207"/>
                </a:lnTo>
                <a:lnTo>
                  <a:pt x="889" y="200"/>
                </a:lnTo>
                <a:lnTo>
                  <a:pt x="884" y="193"/>
                </a:lnTo>
                <a:lnTo>
                  <a:pt x="881" y="185"/>
                </a:lnTo>
                <a:lnTo>
                  <a:pt x="879" y="176"/>
                </a:lnTo>
                <a:lnTo>
                  <a:pt x="879" y="176"/>
                </a:lnTo>
                <a:lnTo>
                  <a:pt x="879" y="166"/>
                </a:lnTo>
                <a:lnTo>
                  <a:pt x="883" y="159"/>
                </a:lnTo>
                <a:lnTo>
                  <a:pt x="885" y="152"/>
                </a:lnTo>
                <a:lnTo>
                  <a:pt x="886" y="146"/>
                </a:lnTo>
                <a:lnTo>
                  <a:pt x="886" y="146"/>
                </a:lnTo>
                <a:lnTo>
                  <a:pt x="891" y="143"/>
                </a:lnTo>
                <a:lnTo>
                  <a:pt x="892" y="141"/>
                </a:lnTo>
                <a:lnTo>
                  <a:pt x="893" y="139"/>
                </a:lnTo>
                <a:lnTo>
                  <a:pt x="893" y="135"/>
                </a:lnTo>
                <a:lnTo>
                  <a:pt x="891" y="129"/>
                </a:lnTo>
                <a:lnTo>
                  <a:pt x="888" y="117"/>
                </a:lnTo>
                <a:lnTo>
                  <a:pt x="885" y="112"/>
                </a:lnTo>
                <a:lnTo>
                  <a:pt x="886" y="106"/>
                </a:lnTo>
                <a:lnTo>
                  <a:pt x="886" y="106"/>
                </a:lnTo>
                <a:lnTo>
                  <a:pt x="896" y="108"/>
                </a:lnTo>
                <a:lnTo>
                  <a:pt x="904" y="108"/>
                </a:lnTo>
                <a:lnTo>
                  <a:pt x="911" y="106"/>
                </a:lnTo>
                <a:lnTo>
                  <a:pt x="917" y="102"/>
                </a:lnTo>
                <a:lnTo>
                  <a:pt x="923" y="99"/>
                </a:lnTo>
                <a:lnTo>
                  <a:pt x="929" y="93"/>
                </a:lnTo>
                <a:lnTo>
                  <a:pt x="934" y="87"/>
                </a:lnTo>
                <a:lnTo>
                  <a:pt x="938" y="81"/>
                </a:lnTo>
                <a:lnTo>
                  <a:pt x="938" y="81"/>
                </a:lnTo>
                <a:lnTo>
                  <a:pt x="926" y="79"/>
                </a:lnTo>
                <a:lnTo>
                  <a:pt x="913" y="78"/>
                </a:lnTo>
                <a:lnTo>
                  <a:pt x="907" y="76"/>
                </a:lnTo>
                <a:lnTo>
                  <a:pt x="901" y="74"/>
                </a:lnTo>
                <a:lnTo>
                  <a:pt x="897" y="70"/>
                </a:lnTo>
                <a:lnTo>
                  <a:pt x="893" y="66"/>
                </a:lnTo>
                <a:lnTo>
                  <a:pt x="893" y="66"/>
                </a:lnTo>
                <a:lnTo>
                  <a:pt x="884" y="69"/>
                </a:lnTo>
                <a:lnTo>
                  <a:pt x="876" y="72"/>
                </a:lnTo>
                <a:lnTo>
                  <a:pt x="868" y="76"/>
                </a:lnTo>
                <a:lnTo>
                  <a:pt x="856" y="77"/>
                </a:lnTo>
                <a:lnTo>
                  <a:pt x="856" y="77"/>
                </a:lnTo>
                <a:lnTo>
                  <a:pt x="840" y="76"/>
                </a:lnTo>
                <a:lnTo>
                  <a:pt x="827" y="72"/>
                </a:lnTo>
                <a:lnTo>
                  <a:pt x="813" y="68"/>
                </a:lnTo>
                <a:lnTo>
                  <a:pt x="801" y="61"/>
                </a:lnTo>
                <a:lnTo>
                  <a:pt x="777" y="47"/>
                </a:lnTo>
                <a:lnTo>
                  <a:pt x="754" y="32"/>
                </a:lnTo>
                <a:lnTo>
                  <a:pt x="754" y="32"/>
                </a:lnTo>
                <a:lnTo>
                  <a:pt x="747" y="28"/>
                </a:lnTo>
                <a:lnTo>
                  <a:pt x="744" y="23"/>
                </a:lnTo>
                <a:lnTo>
                  <a:pt x="736" y="11"/>
                </a:lnTo>
                <a:lnTo>
                  <a:pt x="731" y="7"/>
                </a:lnTo>
                <a:lnTo>
                  <a:pt x="725" y="3"/>
                </a:lnTo>
                <a:lnTo>
                  <a:pt x="717" y="0"/>
                </a:lnTo>
                <a:lnTo>
                  <a:pt x="706" y="0"/>
                </a:lnTo>
                <a:lnTo>
                  <a:pt x="706" y="0"/>
                </a:lnTo>
                <a:lnTo>
                  <a:pt x="698" y="1"/>
                </a:lnTo>
                <a:lnTo>
                  <a:pt x="690" y="3"/>
                </a:lnTo>
                <a:lnTo>
                  <a:pt x="682" y="6"/>
                </a:lnTo>
                <a:lnTo>
                  <a:pt x="674" y="7"/>
                </a:lnTo>
                <a:lnTo>
                  <a:pt x="674" y="7"/>
                </a:lnTo>
                <a:lnTo>
                  <a:pt x="676" y="9"/>
                </a:lnTo>
                <a:lnTo>
                  <a:pt x="677" y="13"/>
                </a:lnTo>
                <a:lnTo>
                  <a:pt x="677" y="20"/>
                </a:lnTo>
                <a:lnTo>
                  <a:pt x="676" y="26"/>
                </a:lnTo>
                <a:lnTo>
                  <a:pt x="674" y="32"/>
                </a:lnTo>
                <a:lnTo>
                  <a:pt x="674" y="32"/>
                </a:lnTo>
                <a:lnTo>
                  <a:pt x="657" y="33"/>
                </a:lnTo>
                <a:lnTo>
                  <a:pt x="639" y="34"/>
                </a:lnTo>
                <a:lnTo>
                  <a:pt x="618" y="37"/>
                </a:lnTo>
                <a:lnTo>
                  <a:pt x="598" y="40"/>
                </a:lnTo>
                <a:lnTo>
                  <a:pt x="577" y="45"/>
                </a:lnTo>
                <a:lnTo>
                  <a:pt x="556" y="51"/>
                </a:lnTo>
                <a:lnTo>
                  <a:pt x="538" y="57"/>
                </a:lnTo>
                <a:lnTo>
                  <a:pt x="523" y="66"/>
                </a:lnTo>
                <a:lnTo>
                  <a:pt x="523" y="66"/>
                </a:lnTo>
                <a:lnTo>
                  <a:pt x="520" y="67"/>
                </a:lnTo>
                <a:lnTo>
                  <a:pt x="518" y="70"/>
                </a:lnTo>
                <a:lnTo>
                  <a:pt x="516" y="76"/>
                </a:lnTo>
                <a:lnTo>
                  <a:pt x="515" y="84"/>
                </a:lnTo>
                <a:lnTo>
                  <a:pt x="514" y="93"/>
                </a:lnTo>
                <a:lnTo>
                  <a:pt x="512" y="112"/>
                </a:lnTo>
                <a:lnTo>
                  <a:pt x="511" y="118"/>
                </a:lnTo>
                <a:lnTo>
                  <a:pt x="510" y="122"/>
                </a:lnTo>
                <a:lnTo>
                  <a:pt x="508" y="124"/>
                </a:lnTo>
                <a:lnTo>
                  <a:pt x="508" y="124"/>
                </a:lnTo>
                <a:lnTo>
                  <a:pt x="504" y="127"/>
                </a:lnTo>
                <a:lnTo>
                  <a:pt x="501" y="129"/>
                </a:lnTo>
                <a:lnTo>
                  <a:pt x="492" y="132"/>
                </a:lnTo>
                <a:lnTo>
                  <a:pt x="486" y="135"/>
                </a:lnTo>
                <a:lnTo>
                  <a:pt x="481" y="138"/>
                </a:lnTo>
                <a:lnTo>
                  <a:pt x="478" y="141"/>
                </a:lnTo>
                <a:lnTo>
                  <a:pt x="474" y="146"/>
                </a:lnTo>
                <a:lnTo>
                  <a:pt x="474" y="146"/>
                </a:lnTo>
                <a:lnTo>
                  <a:pt x="463" y="176"/>
                </a:lnTo>
                <a:lnTo>
                  <a:pt x="449" y="206"/>
                </a:lnTo>
                <a:lnTo>
                  <a:pt x="441" y="221"/>
                </a:lnTo>
                <a:lnTo>
                  <a:pt x="433" y="235"/>
                </a:lnTo>
                <a:lnTo>
                  <a:pt x="424" y="249"/>
                </a:lnTo>
                <a:lnTo>
                  <a:pt x="415" y="262"/>
                </a:lnTo>
                <a:lnTo>
                  <a:pt x="403" y="274"/>
                </a:lnTo>
                <a:lnTo>
                  <a:pt x="393" y="285"/>
                </a:lnTo>
                <a:lnTo>
                  <a:pt x="380" y="295"/>
                </a:lnTo>
                <a:lnTo>
                  <a:pt x="366" y="304"/>
                </a:lnTo>
                <a:lnTo>
                  <a:pt x="352" y="309"/>
                </a:lnTo>
                <a:lnTo>
                  <a:pt x="336" y="315"/>
                </a:lnTo>
                <a:lnTo>
                  <a:pt x="320" y="319"/>
                </a:lnTo>
                <a:lnTo>
                  <a:pt x="302" y="320"/>
                </a:lnTo>
                <a:lnTo>
                  <a:pt x="302" y="320"/>
                </a:lnTo>
                <a:lnTo>
                  <a:pt x="288" y="319"/>
                </a:lnTo>
                <a:lnTo>
                  <a:pt x="275" y="315"/>
                </a:lnTo>
                <a:lnTo>
                  <a:pt x="270" y="313"/>
                </a:lnTo>
                <a:lnTo>
                  <a:pt x="264" y="309"/>
                </a:lnTo>
                <a:lnTo>
                  <a:pt x="259" y="306"/>
                </a:lnTo>
                <a:lnTo>
                  <a:pt x="255" y="300"/>
                </a:lnTo>
                <a:lnTo>
                  <a:pt x="255" y="300"/>
                </a:lnTo>
                <a:lnTo>
                  <a:pt x="191" y="300"/>
                </a:lnTo>
                <a:lnTo>
                  <a:pt x="191" y="300"/>
                </a:lnTo>
                <a:lnTo>
                  <a:pt x="191" y="300"/>
                </a:lnTo>
                <a:lnTo>
                  <a:pt x="175" y="281"/>
                </a:lnTo>
                <a:lnTo>
                  <a:pt x="163" y="265"/>
                </a:lnTo>
                <a:lnTo>
                  <a:pt x="163" y="265"/>
                </a:lnTo>
                <a:lnTo>
                  <a:pt x="143" y="263"/>
                </a:lnTo>
                <a:lnTo>
                  <a:pt x="134" y="265"/>
                </a:lnTo>
                <a:lnTo>
                  <a:pt x="130" y="266"/>
                </a:lnTo>
                <a:lnTo>
                  <a:pt x="126" y="268"/>
                </a:lnTo>
                <a:lnTo>
                  <a:pt x="126" y="268"/>
                </a:lnTo>
                <a:lnTo>
                  <a:pt x="123" y="270"/>
                </a:lnTo>
                <a:lnTo>
                  <a:pt x="122" y="275"/>
                </a:lnTo>
                <a:lnTo>
                  <a:pt x="121" y="283"/>
                </a:lnTo>
                <a:lnTo>
                  <a:pt x="122" y="305"/>
                </a:lnTo>
                <a:lnTo>
                  <a:pt x="122" y="305"/>
                </a:lnTo>
                <a:lnTo>
                  <a:pt x="121" y="309"/>
                </a:lnTo>
                <a:lnTo>
                  <a:pt x="119" y="314"/>
                </a:lnTo>
                <a:lnTo>
                  <a:pt x="115" y="320"/>
                </a:lnTo>
                <a:lnTo>
                  <a:pt x="111" y="324"/>
                </a:lnTo>
                <a:lnTo>
                  <a:pt x="100" y="335"/>
                </a:lnTo>
                <a:lnTo>
                  <a:pt x="88" y="343"/>
                </a:lnTo>
                <a:lnTo>
                  <a:pt x="81" y="346"/>
                </a:lnTo>
                <a:lnTo>
                  <a:pt x="74" y="349"/>
                </a:lnTo>
                <a:lnTo>
                  <a:pt x="67" y="351"/>
                </a:lnTo>
                <a:lnTo>
                  <a:pt x="59" y="351"/>
                </a:lnTo>
                <a:lnTo>
                  <a:pt x="52" y="351"/>
                </a:lnTo>
                <a:lnTo>
                  <a:pt x="44" y="351"/>
                </a:lnTo>
                <a:lnTo>
                  <a:pt x="37" y="349"/>
                </a:lnTo>
                <a:lnTo>
                  <a:pt x="30" y="345"/>
                </a:lnTo>
                <a:lnTo>
                  <a:pt x="30" y="345"/>
                </a:lnTo>
                <a:lnTo>
                  <a:pt x="0" y="345"/>
                </a:lnTo>
                <a:lnTo>
                  <a:pt x="0" y="362"/>
                </a:lnTo>
                <a:lnTo>
                  <a:pt x="0" y="362"/>
                </a:lnTo>
                <a:lnTo>
                  <a:pt x="0" y="362"/>
                </a:lnTo>
                <a:lnTo>
                  <a:pt x="6" y="374"/>
                </a:lnTo>
                <a:lnTo>
                  <a:pt x="11" y="387"/>
                </a:lnTo>
                <a:lnTo>
                  <a:pt x="15" y="402"/>
                </a:lnTo>
                <a:lnTo>
                  <a:pt x="19" y="421"/>
                </a:lnTo>
                <a:lnTo>
                  <a:pt x="19" y="421"/>
                </a:lnTo>
                <a:lnTo>
                  <a:pt x="21" y="429"/>
                </a:lnTo>
                <a:lnTo>
                  <a:pt x="25" y="437"/>
                </a:lnTo>
                <a:lnTo>
                  <a:pt x="29" y="444"/>
                </a:lnTo>
                <a:lnTo>
                  <a:pt x="35" y="450"/>
                </a:lnTo>
                <a:lnTo>
                  <a:pt x="46" y="461"/>
                </a:lnTo>
                <a:lnTo>
                  <a:pt x="60" y="473"/>
                </a:lnTo>
                <a:lnTo>
                  <a:pt x="74" y="484"/>
                </a:lnTo>
                <a:lnTo>
                  <a:pt x="80" y="490"/>
                </a:lnTo>
                <a:lnTo>
                  <a:pt x="86" y="496"/>
                </a:lnTo>
                <a:lnTo>
                  <a:pt x="90" y="503"/>
                </a:lnTo>
                <a:lnTo>
                  <a:pt x="94" y="510"/>
                </a:lnTo>
                <a:lnTo>
                  <a:pt x="96" y="517"/>
                </a:lnTo>
                <a:lnTo>
                  <a:pt x="96" y="525"/>
                </a:lnTo>
                <a:lnTo>
                  <a:pt x="96" y="525"/>
                </a:lnTo>
                <a:lnTo>
                  <a:pt x="79" y="525"/>
                </a:lnTo>
                <a:lnTo>
                  <a:pt x="79" y="525"/>
                </a:lnTo>
                <a:lnTo>
                  <a:pt x="79" y="525"/>
                </a:lnTo>
                <a:lnTo>
                  <a:pt x="73" y="527"/>
                </a:lnTo>
                <a:lnTo>
                  <a:pt x="68" y="529"/>
                </a:lnTo>
                <a:lnTo>
                  <a:pt x="65" y="533"/>
                </a:lnTo>
                <a:lnTo>
                  <a:pt x="61" y="537"/>
                </a:lnTo>
                <a:lnTo>
                  <a:pt x="59" y="542"/>
                </a:lnTo>
                <a:lnTo>
                  <a:pt x="57" y="548"/>
                </a:lnTo>
                <a:lnTo>
                  <a:pt x="56" y="552"/>
                </a:lnTo>
                <a:lnTo>
                  <a:pt x="56" y="558"/>
                </a:lnTo>
                <a:lnTo>
                  <a:pt x="56" y="558"/>
                </a:lnTo>
                <a:lnTo>
                  <a:pt x="57" y="566"/>
                </a:lnTo>
                <a:lnTo>
                  <a:pt x="59" y="573"/>
                </a:lnTo>
                <a:lnTo>
                  <a:pt x="61" y="580"/>
                </a:lnTo>
                <a:lnTo>
                  <a:pt x="66" y="586"/>
                </a:lnTo>
                <a:lnTo>
                  <a:pt x="74" y="597"/>
                </a:lnTo>
                <a:lnTo>
                  <a:pt x="82" y="605"/>
                </a:lnTo>
                <a:lnTo>
                  <a:pt x="82" y="605"/>
                </a:lnTo>
                <a:lnTo>
                  <a:pt x="82" y="609"/>
                </a:lnTo>
                <a:lnTo>
                  <a:pt x="82" y="6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5" name="Freeform 120"/>
          <p:cNvSpPr>
            <a:spLocks/>
          </p:cNvSpPr>
          <p:nvPr/>
        </p:nvSpPr>
        <p:spPr bwMode="auto">
          <a:xfrm>
            <a:off x="4375150" y="5456238"/>
            <a:ext cx="296863" cy="541337"/>
          </a:xfrm>
          <a:custGeom>
            <a:avLst/>
            <a:gdLst/>
            <a:ahLst/>
            <a:cxnLst>
              <a:cxn ang="0">
                <a:pos x="92" y="0"/>
              </a:cxn>
              <a:cxn ang="0">
                <a:pos x="65" y="14"/>
              </a:cxn>
              <a:cxn ang="0">
                <a:pos x="64" y="31"/>
              </a:cxn>
              <a:cxn ang="0">
                <a:pos x="77" y="59"/>
              </a:cxn>
              <a:cxn ang="0">
                <a:pos x="84" y="81"/>
              </a:cxn>
              <a:cxn ang="0">
                <a:pos x="74" y="122"/>
              </a:cxn>
              <a:cxn ang="0">
                <a:pos x="63" y="161"/>
              </a:cxn>
              <a:cxn ang="0">
                <a:pos x="72" y="174"/>
              </a:cxn>
              <a:cxn ang="0">
                <a:pos x="102" y="172"/>
              </a:cxn>
              <a:cxn ang="0">
                <a:pos x="135" y="181"/>
              </a:cxn>
              <a:cxn ang="0">
                <a:pos x="143" y="205"/>
              </a:cxn>
              <a:cxn ang="0">
                <a:pos x="135" y="232"/>
              </a:cxn>
              <a:cxn ang="0">
                <a:pos x="100" y="278"/>
              </a:cxn>
              <a:cxn ang="0">
                <a:pos x="92" y="307"/>
              </a:cxn>
              <a:cxn ang="0">
                <a:pos x="100" y="348"/>
              </a:cxn>
              <a:cxn ang="0">
                <a:pos x="118" y="408"/>
              </a:cxn>
              <a:cxn ang="0">
                <a:pos x="113" y="432"/>
              </a:cxn>
              <a:cxn ang="0">
                <a:pos x="81" y="466"/>
              </a:cxn>
              <a:cxn ang="0">
                <a:pos x="19" y="508"/>
              </a:cxn>
              <a:cxn ang="0">
                <a:pos x="0" y="541"/>
              </a:cxn>
              <a:cxn ang="0">
                <a:pos x="2" y="551"/>
              </a:cxn>
              <a:cxn ang="0">
                <a:pos x="11" y="572"/>
              </a:cxn>
              <a:cxn ang="0">
                <a:pos x="5" y="594"/>
              </a:cxn>
              <a:cxn ang="0">
                <a:pos x="8" y="610"/>
              </a:cxn>
              <a:cxn ang="0">
                <a:pos x="42" y="623"/>
              </a:cxn>
              <a:cxn ang="0">
                <a:pos x="58" y="620"/>
              </a:cxn>
              <a:cxn ang="0">
                <a:pos x="81" y="594"/>
              </a:cxn>
              <a:cxn ang="0">
                <a:pos x="114" y="580"/>
              </a:cxn>
              <a:cxn ang="0">
                <a:pos x="136" y="586"/>
              </a:cxn>
              <a:cxn ang="0">
                <a:pos x="165" y="581"/>
              </a:cxn>
              <a:cxn ang="0">
                <a:pos x="199" y="555"/>
              </a:cxn>
              <a:cxn ang="0">
                <a:pos x="206" y="540"/>
              </a:cxn>
              <a:cxn ang="0">
                <a:pos x="210" y="503"/>
              </a:cxn>
              <a:cxn ang="0">
                <a:pos x="227" y="500"/>
              </a:cxn>
              <a:cxn ang="0">
                <a:pos x="247" y="492"/>
              </a:cxn>
              <a:cxn ang="0">
                <a:pos x="259" y="458"/>
              </a:cxn>
              <a:cxn ang="0">
                <a:pos x="302" y="421"/>
              </a:cxn>
              <a:cxn ang="0">
                <a:pos x="324" y="400"/>
              </a:cxn>
              <a:cxn ang="0">
                <a:pos x="332" y="379"/>
              </a:cxn>
              <a:cxn ang="0">
                <a:pos x="334" y="352"/>
              </a:cxn>
              <a:cxn ang="0">
                <a:pos x="356" y="332"/>
              </a:cxn>
              <a:cxn ang="0">
                <a:pos x="364" y="316"/>
              </a:cxn>
              <a:cxn ang="0">
                <a:pos x="351" y="288"/>
              </a:cxn>
              <a:cxn ang="0">
                <a:pos x="340" y="268"/>
              </a:cxn>
              <a:cxn ang="0">
                <a:pos x="313" y="204"/>
              </a:cxn>
              <a:cxn ang="0">
                <a:pos x="288" y="121"/>
              </a:cxn>
              <a:cxn ang="0">
                <a:pos x="250" y="81"/>
              </a:cxn>
              <a:cxn ang="0">
                <a:pos x="226" y="60"/>
              </a:cxn>
              <a:cxn ang="0">
                <a:pos x="206" y="55"/>
              </a:cxn>
              <a:cxn ang="0">
                <a:pos x="155" y="62"/>
              </a:cxn>
              <a:cxn ang="0">
                <a:pos x="137" y="54"/>
              </a:cxn>
              <a:cxn ang="0">
                <a:pos x="99" y="16"/>
              </a:cxn>
              <a:cxn ang="0">
                <a:pos x="92" y="0"/>
              </a:cxn>
            </a:cxnLst>
            <a:rect l="0" t="0" r="r" b="b"/>
            <a:pathLst>
              <a:path w="364" h="624">
                <a:moveTo>
                  <a:pt x="92" y="0"/>
                </a:moveTo>
                <a:lnTo>
                  <a:pt x="92" y="0"/>
                </a:lnTo>
                <a:lnTo>
                  <a:pt x="92" y="0"/>
                </a:lnTo>
                <a:lnTo>
                  <a:pt x="92" y="0"/>
                </a:lnTo>
                <a:lnTo>
                  <a:pt x="81" y="5"/>
                </a:lnTo>
                <a:lnTo>
                  <a:pt x="72" y="8"/>
                </a:lnTo>
                <a:lnTo>
                  <a:pt x="68" y="11"/>
                </a:lnTo>
                <a:lnTo>
                  <a:pt x="65" y="14"/>
                </a:lnTo>
                <a:lnTo>
                  <a:pt x="64" y="17"/>
                </a:lnTo>
                <a:lnTo>
                  <a:pt x="63" y="22"/>
                </a:lnTo>
                <a:lnTo>
                  <a:pt x="63" y="22"/>
                </a:lnTo>
                <a:lnTo>
                  <a:pt x="64" y="31"/>
                </a:lnTo>
                <a:lnTo>
                  <a:pt x="66" y="39"/>
                </a:lnTo>
                <a:lnTo>
                  <a:pt x="69" y="46"/>
                </a:lnTo>
                <a:lnTo>
                  <a:pt x="74" y="53"/>
                </a:lnTo>
                <a:lnTo>
                  <a:pt x="77" y="59"/>
                </a:lnTo>
                <a:lnTo>
                  <a:pt x="81" y="66"/>
                </a:lnTo>
                <a:lnTo>
                  <a:pt x="83" y="73"/>
                </a:lnTo>
                <a:lnTo>
                  <a:pt x="84" y="81"/>
                </a:lnTo>
                <a:lnTo>
                  <a:pt x="84" y="81"/>
                </a:lnTo>
                <a:lnTo>
                  <a:pt x="83" y="92"/>
                </a:lnTo>
                <a:lnTo>
                  <a:pt x="81" y="103"/>
                </a:lnTo>
                <a:lnTo>
                  <a:pt x="77" y="113"/>
                </a:lnTo>
                <a:lnTo>
                  <a:pt x="74" y="122"/>
                </a:lnTo>
                <a:lnTo>
                  <a:pt x="66" y="142"/>
                </a:lnTo>
                <a:lnTo>
                  <a:pt x="64" y="152"/>
                </a:lnTo>
                <a:lnTo>
                  <a:pt x="63" y="161"/>
                </a:lnTo>
                <a:lnTo>
                  <a:pt x="63" y="161"/>
                </a:lnTo>
                <a:lnTo>
                  <a:pt x="64" y="167"/>
                </a:lnTo>
                <a:lnTo>
                  <a:pt x="65" y="171"/>
                </a:lnTo>
                <a:lnTo>
                  <a:pt x="68" y="173"/>
                </a:lnTo>
                <a:lnTo>
                  <a:pt x="72" y="174"/>
                </a:lnTo>
                <a:lnTo>
                  <a:pt x="80" y="173"/>
                </a:lnTo>
                <a:lnTo>
                  <a:pt x="89" y="172"/>
                </a:lnTo>
                <a:lnTo>
                  <a:pt x="89" y="172"/>
                </a:lnTo>
                <a:lnTo>
                  <a:pt x="102" y="172"/>
                </a:lnTo>
                <a:lnTo>
                  <a:pt x="112" y="172"/>
                </a:lnTo>
                <a:lnTo>
                  <a:pt x="122" y="173"/>
                </a:lnTo>
                <a:lnTo>
                  <a:pt x="129" y="176"/>
                </a:lnTo>
                <a:lnTo>
                  <a:pt x="135" y="181"/>
                </a:lnTo>
                <a:lnTo>
                  <a:pt x="140" y="187"/>
                </a:lnTo>
                <a:lnTo>
                  <a:pt x="142" y="195"/>
                </a:lnTo>
                <a:lnTo>
                  <a:pt x="143" y="205"/>
                </a:lnTo>
                <a:lnTo>
                  <a:pt x="143" y="205"/>
                </a:lnTo>
                <a:lnTo>
                  <a:pt x="143" y="212"/>
                </a:lnTo>
                <a:lnTo>
                  <a:pt x="141" y="219"/>
                </a:lnTo>
                <a:lnTo>
                  <a:pt x="138" y="226"/>
                </a:lnTo>
                <a:lnTo>
                  <a:pt x="135" y="232"/>
                </a:lnTo>
                <a:lnTo>
                  <a:pt x="127" y="243"/>
                </a:lnTo>
                <a:lnTo>
                  <a:pt x="118" y="253"/>
                </a:lnTo>
                <a:lnTo>
                  <a:pt x="109" y="265"/>
                </a:lnTo>
                <a:lnTo>
                  <a:pt x="100" y="278"/>
                </a:lnTo>
                <a:lnTo>
                  <a:pt x="97" y="284"/>
                </a:lnTo>
                <a:lnTo>
                  <a:pt x="95" y="291"/>
                </a:lnTo>
                <a:lnTo>
                  <a:pt x="92" y="299"/>
                </a:lnTo>
                <a:lnTo>
                  <a:pt x="92" y="307"/>
                </a:lnTo>
                <a:lnTo>
                  <a:pt x="92" y="307"/>
                </a:lnTo>
                <a:lnTo>
                  <a:pt x="94" y="321"/>
                </a:lnTo>
                <a:lnTo>
                  <a:pt x="96" y="335"/>
                </a:lnTo>
                <a:lnTo>
                  <a:pt x="100" y="348"/>
                </a:lnTo>
                <a:lnTo>
                  <a:pt x="105" y="360"/>
                </a:lnTo>
                <a:lnTo>
                  <a:pt x="114" y="385"/>
                </a:lnTo>
                <a:lnTo>
                  <a:pt x="117" y="396"/>
                </a:lnTo>
                <a:lnTo>
                  <a:pt x="118" y="408"/>
                </a:lnTo>
                <a:lnTo>
                  <a:pt x="118" y="408"/>
                </a:lnTo>
                <a:lnTo>
                  <a:pt x="118" y="414"/>
                </a:lnTo>
                <a:lnTo>
                  <a:pt x="117" y="420"/>
                </a:lnTo>
                <a:lnTo>
                  <a:pt x="113" y="432"/>
                </a:lnTo>
                <a:lnTo>
                  <a:pt x="107" y="442"/>
                </a:lnTo>
                <a:lnTo>
                  <a:pt x="99" y="451"/>
                </a:lnTo>
                <a:lnTo>
                  <a:pt x="91" y="459"/>
                </a:lnTo>
                <a:lnTo>
                  <a:pt x="81" y="466"/>
                </a:lnTo>
                <a:lnTo>
                  <a:pt x="59" y="480"/>
                </a:lnTo>
                <a:lnTo>
                  <a:pt x="37" y="493"/>
                </a:lnTo>
                <a:lnTo>
                  <a:pt x="28" y="500"/>
                </a:lnTo>
                <a:lnTo>
                  <a:pt x="19" y="508"/>
                </a:lnTo>
                <a:lnTo>
                  <a:pt x="11" y="516"/>
                </a:lnTo>
                <a:lnTo>
                  <a:pt x="5" y="525"/>
                </a:lnTo>
                <a:lnTo>
                  <a:pt x="2" y="535"/>
                </a:lnTo>
                <a:lnTo>
                  <a:pt x="0" y="541"/>
                </a:lnTo>
                <a:lnTo>
                  <a:pt x="0" y="547"/>
                </a:lnTo>
                <a:lnTo>
                  <a:pt x="0" y="547"/>
                </a:lnTo>
                <a:lnTo>
                  <a:pt x="0" y="549"/>
                </a:lnTo>
                <a:lnTo>
                  <a:pt x="2" y="551"/>
                </a:lnTo>
                <a:lnTo>
                  <a:pt x="6" y="555"/>
                </a:lnTo>
                <a:lnTo>
                  <a:pt x="11" y="558"/>
                </a:lnTo>
                <a:lnTo>
                  <a:pt x="11" y="558"/>
                </a:lnTo>
                <a:lnTo>
                  <a:pt x="11" y="572"/>
                </a:lnTo>
                <a:lnTo>
                  <a:pt x="11" y="572"/>
                </a:lnTo>
                <a:lnTo>
                  <a:pt x="11" y="572"/>
                </a:lnTo>
                <a:lnTo>
                  <a:pt x="6" y="587"/>
                </a:lnTo>
                <a:lnTo>
                  <a:pt x="5" y="594"/>
                </a:lnTo>
                <a:lnTo>
                  <a:pt x="4" y="602"/>
                </a:lnTo>
                <a:lnTo>
                  <a:pt x="4" y="602"/>
                </a:lnTo>
                <a:lnTo>
                  <a:pt x="5" y="605"/>
                </a:lnTo>
                <a:lnTo>
                  <a:pt x="8" y="610"/>
                </a:lnTo>
                <a:lnTo>
                  <a:pt x="14" y="614"/>
                </a:lnTo>
                <a:lnTo>
                  <a:pt x="20" y="617"/>
                </a:lnTo>
                <a:lnTo>
                  <a:pt x="35" y="622"/>
                </a:lnTo>
                <a:lnTo>
                  <a:pt x="42" y="623"/>
                </a:lnTo>
                <a:lnTo>
                  <a:pt x="48" y="624"/>
                </a:lnTo>
                <a:lnTo>
                  <a:pt x="48" y="624"/>
                </a:lnTo>
                <a:lnTo>
                  <a:pt x="53" y="623"/>
                </a:lnTo>
                <a:lnTo>
                  <a:pt x="58" y="620"/>
                </a:lnTo>
                <a:lnTo>
                  <a:pt x="63" y="617"/>
                </a:lnTo>
                <a:lnTo>
                  <a:pt x="67" y="612"/>
                </a:lnTo>
                <a:lnTo>
                  <a:pt x="75" y="602"/>
                </a:lnTo>
                <a:lnTo>
                  <a:pt x="81" y="594"/>
                </a:lnTo>
                <a:lnTo>
                  <a:pt x="81" y="594"/>
                </a:lnTo>
                <a:lnTo>
                  <a:pt x="84" y="580"/>
                </a:lnTo>
                <a:lnTo>
                  <a:pt x="114" y="580"/>
                </a:lnTo>
                <a:lnTo>
                  <a:pt x="114" y="580"/>
                </a:lnTo>
                <a:lnTo>
                  <a:pt x="114" y="580"/>
                </a:lnTo>
                <a:lnTo>
                  <a:pt x="121" y="584"/>
                </a:lnTo>
                <a:lnTo>
                  <a:pt x="128" y="586"/>
                </a:lnTo>
                <a:lnTo>
                  <a:pt x="136" y="586"/>
                </a:lnTo>
                <a:lnTo>
                  <a:pt x="143" y="586"/>
                </a:lnTo>
                <a:lnTo>
                  <a:pt x="151" y="586"/>
                </a:lnTo>
                <a:lnTo>
                  <a:pt x="158" y="584"/>
                </a:lnTo>
                <a:lnTo>
                  <a:pt x="165" y="581"/>
                </a:lnTo>
                <a:lnTo>
                  <a:pt x="172" y="578"/>
                </a:lnTo>
                <a:lnTo>
                  <a:pt x="184" y="570"/>
                </a:lnTo>
                <a:lnTo>
                  <a:pt x="195" y="559"/>
                </a:lnTo>
                <a:lnTo>
                  <a:pt x="199" y="555"/>
                </a:lnTo>
                <a:lnTo>
                  <a:pt x="203" y="549"/>
                </a:lnTo>
                <a:lnTo>
                  <a:pt x="205" y="544"/>
                </a:lnTo>
                <a:lnTo>
                  <a:pt x="206" y="540"/>
                </a:lnTo>
                <a:lnTo>
                  <a:pt x="206" y="540"/>
                </a:lnTo>
                <a:lnTo>
                  <a:pt x="205" y="518"/>
                </a:lnTo>
                <a:lnTo>
                  <a:pt x="206" y="510"/>
                </a:lnTo>
                <a:lnTo>
                  <a:pt x="207" y="505"/>
                </a:lnTo>
                <a:lnTo>
                  <a:pt x="210" y="503"/>
                </a:lnTo>
                <a:lnTo>
                  <a:pt x="210" y="503"/>
                </a:lnTo>
                <a:lnTo>
                  <a:pt x="214" y="501"/>
                </a:lnTo>
                <a:lnTo>
                  <a:pt x="218" y="500"/>
                </a:lnTo>
                <a:lnTo>
                  <a:pt x="227" y="500"/>
                </a:lnTo>
                <a:lnTo>
                  <a:pt x="236" y="502"/>
                </a:lnTo>
                <a:lnTo>
                  <a:pt x="247" y="503"/>
                </a:lnTo>
                <a:lnTo>
                  <a:pt x="247" y="503"/>
                </a:lnTo>
                <a:lnTo>
                  <a:pt x="247" y="492"/>
                </a:lnTo>
                <a:lnTo>
                  <a:pt x="249" y="481"/>
                </a:lnTo>
                <a:lnTo>
                  <a:pt x="251" y="473"/>
                </a:lnTo>
                <a:lnTo>
                  <a:pt x="255" y="465"/>
                </a:lnTo>
                <a:lnTo>
                  <a:pt x="259" y="458"/>
                </a:lnTo>
                <a:lnTo>
                  <a:pt x="265" y="451"/>
                </a:lnTo>
                <a:lnTo>
                  <a:pt x="277" y="440"/>
                </a:lnTo>
                <a:lnTo>
                  <a:pt x="289" y="431"/>
                </a:lnTo>
                <a:lnTo>
                  <a:pt x="302" y="421"/>
                </a:lnTo>
                <a:lnTo>
                  <a:pt x="315" y="411"/>
                </a:lnTo>
                <a:lnTo>
                  <a:pt x="319" y="405"/>
                </a:lnTo>
                <a:lnTo>
                  <a:pt x="324" y="400"/>
                </a:lnTo>
                <a:lnTo>
                  <a:pt x="324" y="400"/>
                </a:lnTo>
                <a:lnTo>
                  <a:pt x="328" y="395"/>
                </a:lnTo>
                <a:lnTo>
                  <a:pt x="331" y="389"/>
                </a:lnTo>
                <a:lnTo>
                  <a:pt x="332" y="383"/>
                </a:lnTo>
                <a:lnTo>
                  <a:pt x="332" y="379"/>
                </a:lnTo>
                <a:lnTo>
                  <a:pt x="332" y="366"/>
                </a:lnTo>
                <a:lnTo>
                  <a:pt x="333" y="359"/>
                </a:lnTo>
                <a:lnTo>
                  <a:pt x="334" y="352"/>
                </a:lnTo>
                <a:lnTo>
                  <a:pt x="334" y="352"/>
                </a:lnTo>
                <a:lnTo>
                  <a:pt x="336" y="348"/>
                </a:lnTo>
                <a:lnTo>
                  <a:pt x="341" y="344"/>
                </a:lnTo>
                <a:lnTo>
                  <a:pt x="350" y="336"/>
                </a:lnTo>
                <a:lnTo>
                  <a:pt x="356" y="332"/>
                </a:lnTo>
                <a:lnTo>
                  <a:pt x="359" y="327"/>
                </a:lnTo>
                <a:lnTo>
                  <a:pt x="363" y="321"/>
                </a:lnTo>
                <a:lnTo>
                  <a:pt x="364" y="316"/>
                </a:lnTo>
                <a:lnTo>
                  <a:pt x="364" y="316"/>
                </a:lnTo>
                <a:lnTo>
                  <a:pt x="363" y="310"/>
                </a:lnTo>
                <a:lnTo>
                  <a:pt x="362" y="305"/>
                </a:lnTo>
                <a:lnTo>
                  <a:pt x="356" y="297"/>
                </a:lnTo>
                <a:lnTo>
                  <a:pt x="351" y="288"/>
                </a:lnTo>
                <a:lnTo>
                  <a:pt x="350" y="283"/>
                </a:lnTo>
                <a:lnTo>
                  <a:pt x="349" y="279"/>
                </a:lnTo>
                <a:lnTo>
                  <a:pt x="349" y="279"/>
                </a:lnTo>
                <a:lnTo>
                  <a:pt x="340" y="268"/>
                </a:lnTo>
                <a:lnTo>
                  <a:pt x="333" y="257"/>
                </a:lnTo>
                <a:lnTo>
                  <a:pt x="327" y="244"/>
                </a:lnTo>
                <a:lnTo>
                  <a:pt x="321" y="232"/>
                </a:lnTo>
                <a:lnTo>
                  <a:pt x="313" y="204"/>
                </a:lnTo>
                <a:lnTo>
                  <a:pt x="306" y="175"/>
                </a:lnTo>
                <a:lnTo>
                  <a:pt x="298" y="148"/>
                </a:lnTo>
                <a:lnTo>
                  <a:pt x="294" y="134"/>
                </a:lnTo>
                <a:lnTo>
                  <a:pt x="288" y="121"/>
                </a:lnTo>
                <a:lnTo>
                  <a:pt x="281" y="110"/>
                </a:lnTo>
                <a:lnTo>
                  <a:pt x="272" y="99"/>
                </a:lnTo>
                <a:lnTo>
                  <a:pt x="263" y="90"/>
                </a:lnTo>
                <a:lnTo>
                  <a:pt x="250" y="81"/>
                </a:lnTo>
                <a:lnTo>
                  <a:pt x="250" y="81"/>
                </a:lnTo>
                <a:lnTo>
                  <a:pt x="241" y="73"/>
                </a:lnTo>
                <a:lnTo>
                  <a:pt x="231" y="64"/>
                </a:lnTo>
                <a:lnTo>
                  <a:pt x="226" y="60"/>
                </a:lnTo>
                <a:lnTo>
                  <a:pt x="220" y="58"/>
                </a:lnTo>
                <a:lnTo>
                  <a:pt x="213" y="55"/>
                </a:lnTo>
                <a:lnTo>
                  <a:pt x="206" y="55"/>
                </a:lnTo>
                <a:lnTo>
                  <a:pt x="206" y="55"/>
                </a:lnTo>
                <a:lnTo>
                  <a:pt x="194" y="57"/>
                </a:lnTo>
                <a:lnTo>
                  <a:pt x="182" y="59"/>
                </a:lnTo>
                <a:lnTo>
                  <a:pt x="170" y="61"/>
                </a:lnTo>
                <a:lnTo>
                  <a:pt x="155" y="62"/>
                </a:lnTo>
                <a:lnTo>
                  <a:pt x="155" y="62"/>
                </a:lnTo>
                <a:lnTo>
                  <a:pt x="151" y="61"/>
                </a:lnTo>
                <a:lnTo>
                  <a:pt x="147" y="60"/>
                </a:lnTo>
                <a:lnTo>
                  <a:pt x="137" y="54"/>
                </a:lnTo>
                <a:lnTo>
                  <a:pt x="127" y="46"/>
                </a:lnTo>
                <a:lnTo>
                  <a:pt x="117" y="37"/>
                </a:lnTo>
                <a:lnTo>
                  <a:pt x="107" y="27"/>
                </a:lnTo>
                <a:lnTo>
                  <a:pt x="99" y="16"/>
                </a:lnTo>
                <a:lnTo>
                  <a:pt x="94" y="7"/>
                </a:lnTo>
                <a:lnTo>
                  <a:pt x="92" y="4"/>
                </a:lnTo>
                <a:lnTo>
                  <a:pt x="92" y="0"/>
                </a:lnTo>
                <a:lnTo>
                  <a:pt x="92" y="0"/>
                </a:lnTo>
                <a:lnTo>
                  <a:pt x="92" y="0"/>
                </a:lnTo>
                <a:lnTo>
                  <a:pt x="92" y="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6" name="Freeform 121"/>
          <p:cNvSpPr>
            <a:spLocks/>
          </p:cNvSpPr>
          <p:nvPr/>
        </p:nvSpPr>
        <p:spPr bwMode="auto">
          <a:xfrm>
            <a:off x="460375" y="5138738"/>
            <a:ext cx="138113" cy="217487"/>
          </a:xfrm>
          <a:custGeom>
            <a:avLst/>
            <a:gdLst/>
            <a:ahLst/>
            <a:cxnLst>
              <a:cxn ang="0">
                <a:pos x="166" y="146"/>
              </a:cxn>
              <a:cxn ang="0">
                <a:pos x="165" y="131"/>
              </a:cxn>
              <a:cxn ang="0">
                <a:pos x="164" y="117"/>
              </a:cxn>
              <a:cxn ang="0">
                <a:pos x="157" y="95"/>
              </a:cxn>
              <a:cxn ang="0">
                <a:pos x="129" y="54"/>
              </a:cxn>
              <a:cxn ang="0">
                <a:pos x="103" y="39"/>
              </a:cxn>
              <a:cxn ang="0">
                <a:pos x="92" y="36"/>
              </a:cxn>
              <a:cxn ang="0">
                <a:pos x="63" y="28"/>
              </a:cxn>
              <a:cxn ang="0">
                <a:pos x="43" y="11"/>
              </a:cxn>
              <a:cxn ang="0">
                <a:pos x="18" y="0"/>
              </a:cxn>
              <a:cxn ang="0">
                <a:pos x="18" y="25"/>
              </a:cxn>
              <a:cxn ang="0">
                <a:pos x="33" y="48"/>
              </a:cxn>
              <a:cxn ang="0">
                <a:pos x="57" y="67"/>
              </a:cxn>
              <a:cxn ang="0">
                <a:pos x="77" y="72"/>
              </a:cxn>
              <a:cxn ang="0">
                <a:pos x="93" y="66"/>
              </a:cxn>
              <a:cxn ang="0">
                <a:pos x="102" y="66"/>
              </a:cxn>
              <a:cxn ang="0">
                <a:pos x="110" y="76"/>
              </a:cxn>
              <a:cxn ang="0">
                <a:pos x="112" y="92"/>
              </a:cxn>
              <a:cxn ang="0">
                <a:pos x="105" y="104"/>
              </a:cxn>
              <a:cxn ang="0">
                <a:pos x="79" y="123"/>
              </a:cxn>
              <a:cxn ang="0">
                <a:pos x="54" y="131"/>
              </a:cxn>
              <a:cxn ang="0">
                <a:pos x="55" y="161"/>
              </a:cxn>
              <a:cxn ang="0">
                <a:pos x="51" y="183"/>
              </a:cxn>
              <a:cxn ang="0">
                <a:pos x="43" y="189"/>
              </a:cxn>
              <a:cxn ang="0">
                <a:pos x="36" y="183"/>
              </a:cxn>
              <a:cxn ang="0">
                <a:pos x="27" y="172"/>
              </a:cxn>
              <a:cxn ang="0">
                <a:pos x="18" y="173"/>
              </a:cxn>
              <a:cxn ang="0">
                <a:pos x="2" y="183"/>
              </a:cxn>
              <a:cxn ang="0">
                <a:pos x="0" y="191"/>
              </a:cxn>
              <a:cxn ang="0">
                <a:pos x="5" y="224"/>
              </a:cxn>
              <a:cxn ang="0">
                <a:pos x="23" y="245"/>
              </a:cxn>
              <a:cxn ang="0">
                <a:pos x="40" y="249"/>
              </a:cxn>
              <a:cxn ang="0">
                <a:pos x="58" y="242"/>
              </a:cxn>
              <a:cxn ang="0">
                <a:pos x="76" y="226"/>
              </a:cxn>
              <a:cxn ang="0">
                <a:pos x="104" y="179"/>
              </a:cxn>
              <a:cxn ang="0">
                <a:pos x="117" y="150"/>
              </a:cxn>
              <a:cxn ang="0">
                <a:pos x="135" y="150"/>
              </a:cxn>
              <a:cxn ang="0">
                <a:pos x="138" y="178"/>
              </a:cxn>
              <a:cxn ang="0">
                <a:pos x="143" y="193"/>
              </a:cxn>
              <a:cxn ang="0">
                <a:pos x="149" y="194"/>
              </a:cxn>
              <a:cxn ang="0">
                <a:pos x="155" y="187"/>
              </a:cxn>
              <a:cxn ang="0">
                <a:pos x="157" y="162"/>
              </a:cxn>
              <a:cxn ang="0">
                <a:pos x="161" y="148"/>
              </a:cxn>
              <a:cxn ang="0">
                <a:pos x="164" y="146"/>
              </a:cxn>
            </a:cxnLst>
            <a:rect l="0" t="0" r="r" b="b"/>
            <a:pathLst>
              <a:path w="168" h="249">
                <a:moveTo>
                  <a:pt x="164" y="146"/>
                </a:moveTo>
                <a:lnTo>
                  <a:pt x="164" y="146"/>
                </a:lnTo>
                <a:lnTo>
                  <a:pt x="166" y="146"/>
                </a:lnTo>
                <a:lnTo>
                  <a:pt x="168" y="143"/>
                </a:lnTo>
                <a:lnTo>
                  <a:pt x="168" y="138"/>
                </a:lnTo>
                <a:lnTo>
                  <a:pt x="165" y="131"/>
                </a:lnTo>
                <a:lnTo>
                  <a:pt x="164" y="124"/>
                </a:lnTo>
                <a:lnTo>
                  <a:pt x="164" y="124"/>
                </a:lnTo>
                <a:lnTo>
                  <a:pt x="164" y="117"/>
                </a:lnTo>
                <a:lnTo>
                  <a:pt x="163" y="110"/>
                </a:lnTo>
                <a:lnTo>
                  <a:pt x="161" y="102"/>
                </a:lnTo>
                <a:lnTo>
                  <a:pt x="157" y="95"/>
                </a:lnTo>
                <a:lnTo>
                  <a:pt x="150" y="80"/>
                </a:lnTo>
                <a:lnTo>
                  <a:pt x="140" y="66"/>
                </a:lnTo>
                <a:lnTo>
                  <a:pt x="129" y="54"/>
                </a:lnTo>
                <a:lnTo>
                  <a:pt x="117" y="44"/>
                </a:lnTo>
                <a:lnTo>
                  <a:pt x="110" y="41"/>
                </a:lnTo>
                <a:lnTo>
                  <a:pt x="103" y="39"/>
                </a:lnTo>
                <a:lnTo>
                  <a:pt x="97" y="36"/>
                </a:lnTo>
                <a:lnTo>
                  <a:pt x="92" y="36"/>
                </a:lnTo>
                <a:lnTo>
                  <a:pt x="92" y="36"/>
                </a:lnTo>
                <a:lnTo>
                  <a:pt x="81" y="35"/>
                </a:lnTo>
                <a:lnTo>
                  <a:pt x="72" y="33"/>
                </a:lnTo>
                <a:lnTo>
                  <a:pt x="63" y="28"/>
                </a:lnTo>
                <a:lnTo>
                  <a:pt x="56" y="24"/>
                </a:lnTo>
                <a:lnTo>
                  <a:pt x="49" y="18"/>
                </a:lnTo>
                <a:lnTo>
                  <a:pt x="43" y="11"/>
                </a:lnTo>
                <a:lnTo>
                  <a:pt x="32" y="0"/>
                </a:lnTo>
                <a:lnTo>
                  <a:pt x="32" y="0"/>
                </a:lnTo>
                <a:lnTo>
                  <a:pt x="18" y="0"/>
                </a:lnTo>
                <a:lnTo>
                  <a:pt x="18" y="25"/>
                </a:lnTo>
                <a:lnTo>
                  <a:pt x="18" y="25"/>
                </a:lnTo>
                <a:lnTo>
                  <a:pt x="18" y="25"/>
                </a:lnTo>
                <a:lnTo>
                  <a:pt x="21" y="32"/>
                </a:lnTo>
                <a:lnTo>
                  <a:pt x="26" y="40"/>
                </a:lnTo>
                <a:lnTo>
                  <a:pt x="33" y="48"/>
                </a:lnTo>
                <a:lnTo>
                  <a:pt x="40" y="56"/>
                </a:lnTo>
                <a:lnTo>
                  <a:pt x="48" y="62"/>
                </a:lnTo>
                <a:lnTo>
                  <a:pt x="57" y="67"/>
                </a:lnTo>
                <a:lnTo>
                  <a:pt x="66" y="71"/>
                </a:lnTo>
                <a:lnTo>
                  <a:pt x="77" y="72"/>
                </a:lnTo>
                <a:lnTo>
                  <a:pt x="77" y="72"/>
                </a:lnTo>
                <a:lnTo>
                  <a:pt x="80" y="71"/>
                </a:lnTo>
                <a:lnTo>
                  <a:pt x="86" y="69"/>
                </a:lnTo>
                <a:lnTo>
                  <a:pt x="93" y="66"/>
                </a:lnTo>
                <a:lnTo>
                  <a:pt x="99" y="65"/>
                </a:lnTo>
                <a:lnTo>
                  <a:pt x="99" y="65"/>
                </a:lnTo>
                <a:lnTo>
                  <a:pt x="102" y="66"/>
                </a:lnTo>
                <a:lnTo>
                  <a:pt x="105" y="69"/>
                </a:lnTo>
                <a:lnTo>
                  <a:pt x="108" y="72"/>
                </a:lnTo>
                <a:lnTo>
                  <a:pt x="110" y="76"/>
                </a:lnTo>
                <a:lnTo>
                  <a:pt x="112" y="84"/>
                </a:lnTo>
                <a:lnTo>
                  <a:pt x="112" y="92"/>
                </a:lnTo>
                <a:lnTo>
                  <a:pt x="112" y="92"/>
                </a:lnTo>
                <a:lnTo>
                  <a:pt x="112" y="94"/>
                </a:lnTo>
                <a:lnTo>
                  <a:pt x="111" y="97"/>
                </a:lnTo>
                <a:lnTo>
                  <a:pt x="105" y="104"/>
                </a:lnTo>
                <a:lnTo>
                  <a:pt x="99" y="110"/>
                </a:lnTo>
                <a:lnTo>
                  <a:pt x="89" y="117"/>
                </a:lnTo>
                <a:lnTo>
                  <a:pt x="79" y="123"/>
                </a:lnTo>
                <a:lnTo>
                  <a:pt x="70" y="127"/>
                </a:lnTo>
                <a:lnTo>
                  <a:pt x="61" y="130"/>
                </a:lnTo>
                <a:lnTo>
                  <a:pt x="54" y="131"/>
                </a:lnTo>
                <a:lnTo>
                  <a:pt x="54" y="131"/>
                </a:lnTo>
                <a:lnTo>
                  <a:pt x="55" y="151"/>
                </a:lnTo>
                <a:lnTo>
                  <a:pt x="55" y="161"/>
                </a:lnTo>
                <a:lnTo>
                  <a:pt x="55" y="169"/>
                </a:lnTo>
                <a:lnTo>
                  <a:pt x="54" y="177"/>
                </a:lnTo>
                <a:lnTo>
                  <a:pt x="51" y="183"/>
                </a:lnTo>
                <a:lnTo>
                  <a:pt x="49" y="186"/>
                </a:lnTo>
                <a:lnTo>
                  <a:pt x="47" y="187"/>
                </a:lnTo>
                <a:lnTo>
                  <a:pt x="43" y="189"/>
                </a:lnTo>
                <a:lnTo>
                  <a:pt x="40" y="191"/>
                </a:lnTo>
                <a:lnTo>
                  <a:pt x="40" y="191"/>
                </a:lnTo>
                <a:lnTo>
                  <a:pt x="36" y="183"/>
                </a:lnTo>
                <a:lnTo>
                  <a:pt x="33" y="177"/>
                </a:lnTo>
                <a:lnTo>
                  <a:pt x="30" y="173"/>
                </a:lnTo>
                <a:lnTo>
                  <a:pt x="27" y="172"/>
                </a:lnTo>
                <a:lnTo>
                  <a:pt x="25" y="172"/>
                </a:lnTo>
                <a:lnTo>
                  <a:pt x="25" y="172"/>
                </a:lnTo>
                <a:lnTo>
                  <a:pt x="18" y="173"/>
                </a:lnTo>
                <a:lnTo>
                  <a:pt x="9" y="177"/>
                </a:lnTo>
                <a:lnTo>
                  <a:pt x="5" y="180"/>
                </a:lnTo>
                <a:lnTo>
                  <a:pt x="2" y="183"/>
                </a:lnTo>
                <a:lnTo>
                  <a:pt x="1" y="186"/>
                </a:lnTo>
                <a:lnTo>
                  <a:pt x="0" y="191"/>
                </a:lnTo>
                <a:lnTo>
                  <a:pt x="0" y="191"/>
                </a:lnTo>
                <a:lnTo>
                  <a:pt x="0" y="202"/>
                </a:lnTo>
                <a:lnTo>
                  <a:pt x="2" y="214"/>
                </a:lnTo>
                <a:lnTo>
                  <a:pt x="5" y="224"/>
                </a:lnTo>
                <a:lnTo>
                  <a:pt x="10" y="232"/>
                </a:lnTo>
                <a:lnTo>
                  <a:pt x="16" y="239"/>
                </a:lnTo>
                <a:lnTo>
                  <a:pt x="23" y="245"/>
                </a:lnTo>
                <a:lnTo>
                  <a:pt x="31" y="248"/>
                </a:lnTo>
                <a:lnTo>
                  <a:pt x="40" y="249"/>
                </a:lnTo>
                <a:lnTo>
                  <a:pt x="40" y="249"/>
                </a:lnTo>
                <a:lnTo>
                  <a:pt x="46" y="248"/>
                </a:lnTo>
                <a:lnTo>
                  <a:pt x="51" y="246"/>
                </a:lnTo>
                <a:lnTo>
                  <a:pt x="58" y="242"/>
                </a:lnTo>
                <a:lnTo>
                  <a:pt x="64" y="238"/>
                </a:lnTo>
                <a:lnTo>
                  <a:pt x="70" y="233"/>
                </a:lnTo>
                <a:lnTo>
                  <a:pt x="76" y="226"/>
                </a:lnTo>
                <a:lnTo>
                  <a:pt x="87" y="211"/>
                </a:lnTo>
                <a:lnTo>
                  <a:pt x="96" y="196"/>
                </a:lnTo>
                <a:lnTo>
                  <a:pt x="104" y="179"/>
                </a:lnTo>
                <a:lnTo>
                  <a:pt x="112" y="164"/>
                </a:lnTo>
                <a:lnTo>
                  <a:pt x="117" y="150"/>
                </a:lnTo>
                <a:lnTo>
                  <a:pt x="117" y="150"/>
                </a:lnTo>
                <a:lnTo>
                  <a:pt x="124" y="151"/>
                </a:lnTo>
                <a:lnTo>
                  <a:pt x="129" y="151"/>
                </a:lnTo>
                <a:lnTo>
                  <a:pt x="135" y="150"/>
                </a:lnTo>
                <a:lnTo>
                  <a:pt x="135" y="150"/>
                </a:lnTo>
                <a:lnTo>
                  <a:pt x="135" y="163"/>
                </a:lnTo>
                <a:lnTo>
                  <a:pt x="138" y="178"/>
                </a:lnTo>
                <a:lnTo>
                  <a:pt x="140" y="184"/>
                </a:lnTo>
                <a:lnTo>
                  <a:pt x="141" y="189"/>
                </a:lnTo>
                <a:lnTo>
                  <a:pt x="143" y="193"/>
                </a:lnTo>
                <a:lnTo>
                  <a:pt x="147" y="194"/>
                </a:lnTo>
                <a:lnTo>
                  <a:pt x="147" y="194"/>
                </a:lnTo>
                <a:lnTo>
                  <a:pt x="149" y="194"/>
                </a:lnTo>
                <a:lnTo>
                  <a:pt x="152" y="192"/>
                </a:lnTo>
                <a:lnTo>
                  <a:pt x="154" y="189"/>
                </a:lnTo>
                <a:lnTo>
                  <a:pt x="155" y="187"/>
                </a:lnTo>
                <a:lnTo>
                  <a:pt x="156" y="179"/>
                </a:lnTo>
                <a:lnTo>
                  <a:pt x="157" y="170"/>
                </a:lnTo>
                <a:lnTo>
                  <a:pt x="157" y="162"/>
                </a:lnTo>
                <a:lnTo>
                  <a:pt x="158" y="154"/>
                </a:lnTo>
                <a:lnTo>
                  <a:pt x="160" y="150"/>
                </a:lnTo>
                <a:lnTo>
                  <a:pt x="161" y="148"/>
                </a:lnTo>
                <a:lnTo>
                  <a:pt x="162" y="147"/>
                </a:lnTo>
                <a:lnTo>
                  <a:pt x="164" y="146"/>
                </a:lnTo>
                <a:lnTo>
                  <a:pt x="164" y="146"/>
                </a:lnTo>
                <a:lnTo>
                  <a:pt x="164" y="14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7" name="Freeform 122"/>
          <p:cNvSpPr>
            <a:spLocks/>
          </p:cNvSpPr>
          <p:nvPr/>
        </p:nvSpPr>
        <p:spPr bwMode="auto">
          <a:xfrm>
            <a:off x="755650" y="5130800"/>
            <a:ext cx="434975" cy="517525"/>
          </a:xfrm>
          <a:custGeom>
            <a:avLst/>
            <a:gdLst/>
            <a:ahLst/>
            <a:cxnLst>
              <a:cxn ang="0">
                <a:pos x="297" y="63"/>
              </a:cxn>
              <a:cxn ang="0">
                <a:pos x="305" y="77"/>
              </a:cxn>
              <a:cxn ang="0">
                <a:pos x="327" y="66"/>
              </a:cxn>
              <a:cxn ang="0">
                <a:pos x="344" y="80"/>
              </a:cxn>
              <a:cxn ang="0">
                <a:pos x="325" y="126"/>
              </a:cxn>
              <a:cxn ang="0">
                <a:pos x="246" y="158"/>
              </a:cxn>
              <a:cxn ang="0">
                <a:pos x="235" y="177"/>
              </a:cxn>
              <a:cxn ang="0">
                <a:pos x="226" y="200"/>
              </a:cxn>
              <a:cxn ang="0">
                <a:pos x="208" y="206"/>
              </a:cxn>
              <a:cxn ang="0">
                <a:pos x="179" y="195"/>
              </a:cxn>
              <a:cxn ang="0">
                <a:pos x="155" y="158"/>
              </a:cxn>
              <a:cxn ang="0">
                <a:pos x="122" y="110"/>
              </a:cxn>
              <a:cxn ang="0">
                <a:pos x="99" y="58"/>
              </a:cxn>
              <a:cxn ang="0">
                <a:pos x="79" y="69"/>
              </a:cxn>
              <a:cxn ang="0">
                <a:pos x="62" y="88"/>
              </a:cxn>
              <a:cxn ang="0">
                <a:pos x="25" y="73"/>
              </a:cxn>
              <a:cxn ang="0">
                <a:pos x="2" y="86"/>
              </a:cxn>
              <a:cxn ang="0">
                <a:pos x="4" y="112"/>
              </a:cxn>
              <a:cxn ang="0">
                <a:pos x="29" y="128"/>
              </a:cxn>
              <a:cxn ang="0">
                <a:pos x="58" y="118"/>
              </a:cxn>
              <a:cxn ang="0">
                <a:pos x="81" y="149"/>
              </a:cxn>
              <a:cxn ang="0">
                <a:pos x="115" y="159"/>
              </a:cxn>
              <a:cxn ang="0">
                <a:pos x="128" y="192"/>
              </a:cxn>
              <a:cxn ang="0">
                <a:pos x="175" y="239"/>
              </a:cxn>
              <a:cxn ang="0">
                <a:pos x="177" y="271"/>
              </a:cxn>
              <a:cxn ang="0">
                <a:pos x="169" y="310"/>
              </a:cxn>
              <a:cxn ang="0">
                <a:pos x="207" y="383"/>
              </a:cxn>
              <a:cxn ang="0">
                <a:pos x="245" y="448"/>
              </a:cxn>
              <a:cxn ang="0">
                <a:pos x="247" y="494"/>
              </a:cxn>
              <a:cxn ang="0">
                <a:pos x="299" y="536"/>
              </a:cxn>
              <a:cxn ang="0">
                <a:pos x="319" y="578"/>
              </a:cxn>
              <a:cxn ang="0">
                <a:pos x="323" y="594"/>
              </a:cxn>
              <a:cxn ang="0">
                <a:pos x="393" y="561"/>
              </a:cxn>
              <a:cxn ang="0">
                <a:pos x="426" y="528"/>
              </a:cxn>
              <a:cxn ang="0">
                <a:pos x="422" y="507"/>
              </a:cxn>
              <a:cxn ang="0">
                <a:pos x="399" y="485"/>
              </a:cxn>
              <a:cxn ang="0">
                <a:pos x="426" y="455"/>
              </a:cxn>
              <a:cxn ang="0">
                <a:pos x="451" y="426"/>
              </a:cxn>
              <a:cxn ang="0">
                <a:pos x="437" y="391"/>
              </a:cxn>
              <a:cxn ang="0">
                <a:pos x="444" y="365"/>
              </a:cxn>
              <a:cxn ang="0">
                <a:pos x="462" y="369"/>
              </a:cxn>
              <a:cxn ang="0">
                <a:pos x="483" y="371"/>
              </a:cxn>
              <a:cxn ang="0">
                <a:pos x="521" y="345"/>
              </a:cxn>
              <a:cxn ang="0">
                <a:pos x="510" y="288"/>
              </a:cxn>
              <a:cxn ang="0">
                <a:pos x="523" y="256"/>
              </a:cxn>
              <a:cxn ang="0">
                <a:pos x="521" y="222"/>
              </a:cxn>
              <a:cxn ang="0">
                <a:pos x="495" y="181"/>
              </a:cxn>
              <a:cxn ang="0">
                <a:pos x="483" y="97"/>
              </a:cxn>
              <a:cxn ang="0">
                <a:pos x="446" y="47"/>
              </a:cxn>
              <a:cxn ang="0">
                <a:pos x="424" y="35"/>
              </a:cxn>
              <a:cxn ang="0">
                <a:pos x="408" y="3"/>
              </a:cxn>
              <a:cxn ang="0">
                <a:pos x="388" y="43"/>
              </a:cxn>
              <a:cxn ang="0">
                <a:pos x="357" y="34"/>
              </a:cxn>
              <a:cxn ang="0">
                <a:pos x="322" y="31"/>
              </a:cxn>
              <a:cxn ang="0">
                <a:pos x="293" y="55"/>
              </a:cxn>
            </a:cxnLst>
            <a:rect l="0" t="0" r="r" b="b"/>
            <a:pathLst>
              <a:path w="531" h="594">
                <a:moveTo>
                  <a:pt x="293" y="55"/>
                </a:moveTo>
                <a:lnTo>
                  <a:pt x="293" y="55"/>
                </a:lnTo>
                <a:lnTo>
                  <a:pt x="293" y="61"/>
                </a:lnTo>
                <a:lnTo>
                  <a:pt x="296" y="63"/>
                </a:lnTo>
                <a:lnTo>
                  <a:pt x="297" y="63"/>
                </a:lnTo>
                <a:lnTo>
                  <a:pt x="297" y="63"/>
                </a:lnTo>
                <a:lnTo>
                  <a:pt x="297" y="63"/>
                </a:lnTo>
                <a:lnTo>
                  <a:pt x="297" y="66"/>
                </a:lnTo>
                <a:lnTo>
                  <a:pt x="298" y="71"/>
                </a:lnTo>
                <a:lnTo>
                  <a:pt x="299" y="73"/>
                </a:lnTo>
                <a:lnTo>
                  <a:pt x="301" y="75"/>
                </a:lnTo>
                <a:lnTo>
                  <a:pt x="305" y="77"/>
                </a:lnTo>
                <a:lnTo>
                  <a:pt x="308" y="77"/>
                </a:lnTo>
                <a:lnTo>
                  <a:pt x="308" y="77"/>
                </a:lnTo>
                <a:lnTo>
                  <a:pt x="316" y="77"/>
                </a:lnTo>
                <a:lnTo>
                  <a:pt x="320" y="74"/>
                </a:lnTo>
                <a:lnTo>
                  <a:pt x="322" y="71"/>
                </a:lnTo>
                <a:lnTo>
                  <a:pt x="327" y="66"/>
                </a:lnTo>
                <a:lnTo>
                  <a:pt x="327" y="66"/>
                </a:lnTo>
                <a:lnTo>
                  <a:pt x="344" y="66"/>
                </a:lnTo>
                <a:lnTo>
                  <a:pt x="344" y="66"/>
                </a:lnTo>
                <a:lnTo>
                  <a:pt x="344" y="66"/>
                </a:lnTo>
                <a:lnTo>
                  <a:pt x="344" y="80"/>
                </a:lnTo>
                <a:lnTo>
                  <a:pt x="344" y="80"/>
                </a:lnTo>
                <a:lnTo>
                  <a:pt x="344" y="90"/>
                </a:lnTo>
                <a:lnTo>
                  <a:pt x="342" y="100"/>
                </a:lnTo>
                <a:lnTo>
                  <a:pt x="339" y="108"/>
                </a:lnTo>
                <a:lnTo>
                  <a:pt x="336" y="115"/>
                </a:lnTo>
                <a:lnTo>
                  <a:pt x="331" y="120"/>
                </a:lnTo>
                <a:lnTo>
                  <a:pt x="325" y="126"/>
                </a:lnTo>
                <a:lnTo>
                  <a:pt x="320" y="131"/>
                </a:lnTo>
                <a:lnTo>
                  <a:pt x="313" y="134"/>
                </a:lnTo>
                <a:lnTo>
                  <a:pt x="298" y="141"/>
                </a:lnTo>
                <a:lnTo>
                  <a:pt x="282" y="147"/>
                </a:lnTo>
                <a:lnTo>
                  <a:pt x="263" y="151"/>
                </a:lnTo>
                <a:lnTo>
                  <a:pt x="246" y="158"/>
                </a:lnTo>
                <a:lnTo>
                  <a:pt x="246" y="158"/>
                </a:lnTo>
                <a:lnTo>
                  <a:pt x="241" y="159"/>
                </a:lnTo>
                <a:lnTo>
                  <a:pt x="238" y="163"/>
                </a:lnTo>
                <a:lnTo>
                  <a:pt x="237" y="166"/>
                </a:lnTo>
                <a:lnTo>
                  <a:pt x="236" y="170"/>
                </a:lnTo>
                <a:lnTo>
                  <a:pt x="235" y="177"/>
                </a:lnTo>
                <a:lnTo>
                  <a:pt x="233" y="180"/>
                </a:lnTo>
                <a:lnTo>
                  <a:pt x="231" y="184"/>
                </a:lnTo>
                <a:lnTo>
                  <a:pt x="231" y="184"/>
                </a:lnTo>
                <a:lnTo>
                  <a:pt x="230" y="193"/>
                </a:lnTo>
                <a:lnTo>
                  <a:pt x="229" y="197"/>
                </a:lnTo>
                <a:lnTo>
                  <a:pt x="226" y="200"/>
                </a:lnTo>
                <a:lnTo>
                  <a:pt x="224" y="202"/>
                </a:lnTo>
                <a:lnTo>
                  <a:pt x="221" y="204"/>
                </a:lnTo>
                <a:lnTo>
                  <a:pt x="217" y="206"/>
                </a:lnTo>
                <a:lnTo>
                  <a:pt x="212" y="206"/>
                </a:lnTo>
                <a:lnTo>
                  <a:pt x="212" y="206"/>
                </a:lnTo>
                <a:lnTo>
                  <a:pt x="208" y="206"/>
                </a:lnTo>
                <a:lnTo>
                  <a:pt x="205" y="204"/>
                </a:lnTo>
                <a:lnTo>
                  <a:pt x="198" y="200"/>
                </a:lnTo>
                <a:lnTo>
                  <a:pt x="189" y="196"/>
                </a:lnTo>
                <a:lnTo>
                  <a:pt x="184" y="195"/>
                </a:lnTo>
                <a:lnTo>
                  <a:pt x="179" y="195"/>
                </a:lnTo>
                <a:lnTo>
                  <a:pt x="179" y="195"/>
                </a:lnTo>
                <a:lnTo>
                  <a:pt x="171" y="194"/>
                </a:lnTo>
                <a:lnTo>
                  <a:pt x="165" y="191"/>
                </a:lnTo>
                <a:lnTo>
                  <a:pt x="162" y="187"/>
                </a:lnTo>
                <a:lnTo>
                  <a:pt x="160" y="181"/>
                </a:lnTo>
                <a:lnTo>
                  <a:pt x="157" y="166"/>
                </a:lnTo>
                <a:lnTo>
                  <a:pt x="155" y="158"/>
                </a:lnTo>
                <a:lnTo>
                  <a:pt x="153" y="150"/>
                </a:lnTo>
                <a:lnTo>
                  <a:pt x="153" y="150"/>
                </a:lnTo>
                <a:lnTo>
                  <a:pt x="151" y="146"/>
                </a:lnTo>
                <a:lnTo>
                  <a:pt x="148" y="140"/>
                </a:lnTo>
                <a:lnTo>
                  <a:pt x="140" y="130"/>
                </a:lnTo>
                <a:lnTo>
                  <a:pt x="122" y="110"/>
                </a:lnTo>
                <a:lnTo>
                  <a:pt x="114" y="100"/>
                </a:lnTo>
                <a:lnTo>
                  <a:pt x="106" y="88"/>
                </a:lnTo>
                <a:lnTo>
                  <a:pt x="102" y="81"/>
                </a:lnTo>
                <a:lnTo>
                  <a:pt x="101" y="74"/>
                </a:lnTo>
                <a:lnTo>
                  <a:pt x="99" y="66"/>
                </a:lnTo>
                <a:lnTo>
                  <a:pt x="99" y="58"/>
                </a:lnTo>
                <a:lnTo>
                  <a:pt x="99" y="58"/>
                </a:lnTo>
                <a:lnTo>
                  <a:pt x="84" y="58"/>
                </a:lnTo>
                <a:lnTo>
                  <a:pt x="84" y="58"/>
                </a:lnTo>
                <a:lnTo>
                  <a:pt x="84" y="58"/>
                </a:lnTo>
                <a:lnTo>
                  <a:pt x="81" y="63"/>
                </a:lnTo>
                <a:lnTo>
                  <a:pt x="79" y="69"/>
                </a:lnTo>
                <a:lnTo>
                  <a:pt x="76" y="78"/>
                </a:lnTo>
                <a:lnTo>
                  <a:pt x="73" y="82"/>
                </a:lnTo>
                <a:lnTo>
                  <a:pt x="70" y="85"/>
                </a:lnTo>
                <a:lnTo>
                  <a:pt x="67" y="87"/>
                </a:lnTo>
                <a:lnTo>
                  <a:pt x="62" y="88"/>
                </a:lnTo>
                <a:lnTo>
                  <a:pt x="62" y="88"/>
                </a:lnTo>
                <a:lnTo>
                  <a:pt x="56" y="87"/>
                </a:lnTo>
                <a:lnTo>
                  <a:pt x="52" y="86"/>
                </a:lnTo>
                <a:lnTo>
                  <a:pt x="44" y="81"/>
                </a:lnTo>
                <a:lnTo>
                  <a:pt x="35" y="75"/>
                </a:lnTo>
                <a:lnTo>
                  <a:pt x="31" y="74"/>
                </a:lnTo>
                <a:lnTo>
                  <a:pt x="25" y="73"/>
                </a:lnTo>
                <a:lnTo>
                  <a:pt x="25" y="73"/>
                </a:lnTo>
                <a:lnTo>
                  <a:pt x="16" y="74"/>
                </a:lnTo>
                <a:lnTo>
                  <a:pt x="12" y="77"/>
                </a:lnTo>
                <a:lnTo>
                  <a:pt x="8" y="79"/>
                </a:lnTo>
                <a:lnTo>
                  <a:pt x="4" y="82"/>
                </a:lnTo>
                <a:lnTo>
                  <a:pt x="2" y="86"/>
                </a:lnTo>
                <a:lnTo>
                  <a:pt x="0" y="90"/>
                </a:lnTo>
                <a:lnTo>
                  <a:pt x="0" y="95"/>
                </a:lnTo>
                <a:lnTo>
                  <a:pt x="0" y="95"/>
                </a:lnTo>
                <a:lnTo>
                  <a:pt x="0" y="101"/>
                </a:lnTo>
                <a:lnTo>
                  <a:pt x="2" y="107"/>
                </a:lnTo>
                <a:lnTo>
                  <a:pt x="4" y="112"/>
                </a:lnTo>
                <a:lnTo>
                  <a:pt x="9" y="118"/>
                </a:lnTo>
                <a:lnTo>
                  <a:pt x="12" y="122"/>
                </a:lnTo>
                <a:lnTo>
                  <a:pt x="18" y="126"/>
                </a:lnTo>
                <a:lnTo>
                  <a:pt x="23" y="128"/>
                </a:lnTo>
                <a:lnTo>
                  <a:pt x="29" y="128"/>
                </a:lnTo>
                <a:lnTo>
                  <a:pt x="29" y="128"/>
                </a:lnTo>
                <a:lnTo>
                  <a:pt x="33" y="128"/>
                </a:lnTo>
                <a:lnTo>
                  <a:pt x="38" y="127"/>
                </a:lnTo>
                <a:lnTo>
                  <a:pt x="44" y="125"/>
                </a:lnTo>
                <a:lnTo>
                  <a:pt x="49" y="120"/>
                </a:lnTo>
                <a:lnTo>
                  <a:pt x="58" y="118"/>
                </a:lnTo>
                <a:lnTo>
                  <a:pt x="58" y="118"/>
                </a:lnTo>
                <a:lnTo>
                  <a:pt x="60" y="131"/>
                </a:lnTo>
                <a:lnTo>
                  <a:pt x="63" y="139"/>
                </a:lnTo>
                <a:lnTo>
                  <a:pt x="65" y="142"/>
                </a:lnTo>
                <a:lnTo>
                  <a:pt x="68" y="145"/>
                </a:lnTo>
                <a:lnTo>
                  <a:pt x="73" y="147"/>
                </a:lnTo>
                <a:lnTo>
                  <a:pt x="81" y="149"/>
                </a:lnTo>
                <a:lnTo>
                  <a:pt x="90" y="149"/>
                </a:lnTo>
                <a:lnTo>
                  <a:pt x="99" y="151"/>
                </a:lnTo>
                <a:lnTo>
                  <a:pt x="109" y="154"/>
                </a:lnTo>
                <a:lnTo>
                  <a:pt x="109" y="154"/>
                </a:lnTo>
                <a:lnTo>
                  <a:pt x="113" y="157"/>
                </a:lnTo>
                <a:lnTo>
                  <a:pt x="115" y="159"/>
                </a:lnTo>
                <a:lnTo>
                  <a:pt x="117" y="165"/>
                </a:lnTo>
                <a:lnTo>
                  <a:pt x="118" y="172"/>
                </a:lnTo>
                <a:lnTo>
                  <a:pt x="121" y="180"/>
                </a:lnTo>
                <a:lnTo>
                  <a:pt x="121" y="180"/>
                </a:lnTo>
                <a:lnTo>
                  <a:pt x="123" y="186"/>
                </a:lnTo>
                <a:lnTo>
                  <a:pt x="128" y="192"/>
                </a:lnTo>
                <a:lnTo>
                  <a:pt x="136" y="201"/>
                </a:lnTo>
                <a:lnTo>
                  <a:pt x="146" y="209"/>
                </a:lnTo>
                <a:lnTo>
                  <a:pt x="155" y="217"/>
                </a:lnTo>
                <a:lnTo>
                  <a:pt x="164" y="225"/>
                </a:lnTo>
                <a:lnTo>
                  <a:pt x="172" y="234"/>
                </a:lnTo>
                <a:lnTo>
                  <a:pt x="175" y="239"/>
                </a:lnTo>
                <a:lnTo>
                  <a:pt x="177" y="245"/>
                </a:lnTo>
                <a:lnTo>
                  <a:pt x="178" y="250"/>
                </a:lnTo>
                <a:lnTo>
                  <a:pt x="179" y="257"/>
                </a:lnTo>
                <a:lnTo>
                  <a:pt x="179" y="257"/>
                </a:lnTo>
                <a:lnTo>
                  <a:pt x="178" y="264"/>
                </a:lnTo>
                <a:lnTo>
                  <a:pt x="177" y="271"/>
                </a:lnTo>
                <a:lnTo>
                  <a:pt x="174" y="280"/>
                </a:lnTo>
                <a:lnTo>
                  <a:pt x="170" y="288"/>
                </a:lnTo>
                <a:lnTo>
                  <a:pt x="169" y="293"/>
                </a:lnTo>
                <a:lnTo>
                  <a:pt x="168" y="298"/>
                </a:lnTo>
                <a:lnTo>
                  <a:pt x="168" y="298"/>
                </a:lnTo>
                <a:lnTo>
                  <a:pt x="169" y="310"/>
                </a:lnTo>
                <a:lnTo>
                  <a:pt x="171" y="322"/>
                </a:lnTo>
                <a:lnTo>
                  <a:pt x="175" y="333"/>
                </a:lnTo>
                <a:lnTo>
                  <a:pt x="180" y="344"/>
                </a:lnTo>
                <a:lnTo>
                  <a:pt x="186" y="354"/>
                </a:lnTo>
                <a:lnTo>
                  <a:pt x="192" y="364"/>
                </a:lnTo>
                <a:lnTo>
                  <a:pt x="207" y="383"/>
                </a:lnTo>
                <a:lnTo>
                  <a:pt x="221" y="401"/>
                </a:lnTo>
                <a:lnTo>
                  <a:pt x="228" y="409"/>
                </a:lnTo>
                <a:lnTo>
                  <a:pt x="233" y="420"/>
                </a:lnTo>
                <a:lnTo>
                  <a:pt x="238" y="429"/>
                </a:lnTo>
                <a:lnTo>
                  <a:pt x="243" y="438"/>
                </a:lnTo>
                <a:lnTo>
                  <a:pt x="245" y="448"/>
                </a:lnTo>
                <a:lnTo>
                  <a:pt x="246" y="459"/>
                </a:lnTo>
                <a:lnTo>
                  <a:pt x="246" y="459"/>
                </a:lnTo>
                <a:lnTo>
                  <a:pt x="246" y="485"/>
                </a:lnTo>
                <a:lnTo>
                  <a:pt x="246" y="485"/>
                </a:lnTo>
                <a:lnTo>
                  <a:pt x="246" y="490"/>
                </a:lnTo>
                <a:lnTo>
                  <a:pt x="247" y="494"/>
                </a:lnTo>
                <a:lnTo>
                  <a:pt x="249" y="498"/>
                </a:lnTo>
                <a:lnTo>
                  <a:pt x="252" y="501"/>
                </a:lnTo>
                <a:lnTo>
                  <a:pt x="260" y="509"/>
                </a:lnTo>
                <a:lnTo>
                  <a:pt x="268" y="515"/>
                </a:lnTo>
                <a:lnTo>
                  <a:pt x="289" y="529"/>
                </a:lnTo>
                <a:lnTo>
                  <a:pt x="299" y="536"/>
                </a:lnTo>
                <a:lnTo>
                  <a:pt x="308" y="543"/>
                </a:lnTo>
                <a:lnTo>
                  <a:pt x="308" y="543"/>
                </a:lnTo>
                <a:lnTo>
                  <a:pt x="312" y="547"/>
                </a:lnTo>
                <a:lnTo>
                  <a:pt x="314" y="553"/>
                </a:lnTo>
                <a:lnTo>
                  <a:pt x="316" y="567"/>
                </a:lnTo>
                <a:lnTo>
                  <a:pt x="319" y="578"/>
                </a:lnTo>
                <a:lnTo>
                  <a:pt x="321" y="584"/>
                </a:lnTo>
                <a:lnTo>
                  <a:pt x="323" y="588"/>
                </a:lnTo>
                <a:lnTo>
                  <a:pt x="323" y="588"/>
                </a:lnTo>
                <a:lnTo>
                  <a:pt x="323" y="594"/>
                </a:lnTo>
                <a:lnTo>
                  <a:pt x="323" y="594"/>
                </a:lnTo>
                <a:lnTo>
                  <a:pt x="323" y="594"/>
                </a:lnTo>
                <a:lnTo>
                  <a:pt x="340" y="591"/>
                </a:lnTo>
                <a:lnTo>
                  <a:pt x="351" y="588"/>
                </a:lnTo>
                <a:lnTo>
                  <a:pt x="361" y="583"/>
                </a:lnTo>
                <a:lnTo>
                  <a:pt x="373" y="577"/>
                </a:lnTo>
                <a:lnTo>
                  <a:pt x="383" y="570"/>
                </a:lnTo>
                <a:lnTo>
                  <a:pt x="393" y="561"/>
                </a:lnTo>
                <a:lnTo>
                  <a:pt x="404" y="551"/>
                </a:lnTo>
                <a:lnTo>
                  <a:pt x="404" y="551"/>
                </a:lnTo>
                <a:lnTo>
                  <a:pt x="408" y="543"/>
                </a:lnTo>
                <a:lnTo>
                  <a:pt x="414" y="537"/>
                </a:lnTo>
                <a:lnTo>
                  <a:pt x="420" y="531"/>
                </a:lnTo>
                <a:lnTo>
                  <a:pt x="426" y="528"/>
                </a:lnTo>
                <a:lnTo>
                  <a:pt x="431" y="524"/>
                </a:lnTo>
                <a:lnTo>
                  <a:pt x="438" y="522"/>
                </a:lnTo>
                <a:lnTo>
                  <a:pt x="451" y="519"/>
                </a:lnTo>
                <a:lnTo>
                  <a:pt x="451" y="519"/>
                </a:lnTo>
                <a:lnTo>
                  <a:pt x="439" y="514"/>
                </a:lnTo>
                <a:lnTo>
                  <a:pt x="422" y="507"/>
                </a:lnTo>
                <a:lnTo>
                  <a:pt x="414" y="502"/>
                </a:lnTo>
                <a:lnTo>
                  <a:pt x="407" y="498"/>
                </a:lnTo>
                <a:lnTo>
                  <a:pt x="401" y="492"/>
                </a:lnTo>
                <a:lnTo>
                  <a:pt x="400" y="489"/>
                </a:lnTo>
                <a:lnTo>
                  <a:pt x="399" y="485"/>
                </a:lnTo>
                <a:lnTo>
                  <a:pt x="399" y="485"/>
                </a:lnTo>
                <a:lnTo>
                  <a:pt x="400" y="479"/>
                </a:lnTo>
                <a:lnTo>
                  <a:pt x="401" y="475"/>
                </a:lnTo>
                <a:lnTo>
                  <a:pt x="405" y="470"/>
                </a:lnTo>
                <a:lnTo>
                  <a:pt x="407" y="467"/>
                </a:lnTo>
                <a:lnTo>
                  <a:pt x="416" y="461"/>
                </a:lnTo>
                <a:lnTo>
                  <a:pt x="426" y="455"/>
                </a:lnTo>
                <a:lnTo>
                  <a:pt x="435" y="451"/>
                </a:lnTo>
                <a:lnTo>
                  <a:pt x="443" y="445"/>
                </a:lnTo>
                <a:lnTo>
                  <a:pt x="446" y="441"/>
                </a:lnTo>
                <a:lnTo>
                  <a:pt x="449" y="437"/>
                </a:lnTo>
                <a:lnTo>
                  <a:pt x="450" y="432"/>
                </a:lnTo>
                <a:lnTo>
                  <a:pt x="451" y="426"/>
                </a:lnTo>
                <a:lnTo>
                  <a:pt x="451" y="426"/>
                </a:lnTo>
                <a:lnTo>
                  <a:pt x="450" y="421"/>
                </a:lnTo>
                <a:lnTo>
                  <a:pt x="449" y="416"/>
                </a:lnTo>
                <a:lnTo>
                  <a:pt x="444" y="406"/>
                </a:lnTo>
                <a:lnTo>
                  <a:pt x="438" y="397"/>
                </a:lnTo>
                <a:lnTo>
                  <a:pt x="437" y="391"/>
                </a:lnTo>
                <a:lnTo>
                  <a:pt x="436" y="386"/>
                </a:lnTo>
                <a:lnTo>
                  <a:pt x="436" y="386"/>
                </a:lnTo>
                <a:lnTo>
                  <a:pt x="437" y="378"/>
                </a:lnTo>
                <a:lnTo>
                  <a:pt x="439" y="371"/>
                </a:lnTo>
                <a:lnTo>
                  <a:pt x="442" y="368"/>
                </a:lnTo>
                <a:lnTo>
                  <a:pt x="444" y="365"/>
                </a:lnTo>
                <a:lnTo>
                  <a:pt x="447" y="364"/>
                </a:lnTo>
                <a:lnTo>
                  <a:pt x="451" y="364"/>
                </a:lnTo>
                <a:lnTo>
                  <a:pt x="451" y="364"/>
                </a:lnTo>
                <a:lnTo>
                  <a:pt x="454" y="364"/>
                </a:lnTo>
                <a:lnTo>
                  <a:pt x="458" y="365"/>
                </a:lnTo>
                <a:lnTo>
                  <a:pt x="462" y="369"/>
                </a:lnTo>
                <a:lnTo>
                  <a:pt x="467" y="372"/>
                </a:lnTo>
                <a:lnTo>
                  <a:pt x="469" y="374"/>
                </a:lnTo>
                <a:lnTo>
                  <a:pt x="473" y="375"/>
                </a:lnTo>
                <a:lnTo>
                  <a:pt x="473" y="375"/>
                </a:lnTo>
                <a:lnTo>
                  <a:pt x="477" y="374"/>
                </a:lnTo>
                <a:lnTo>
                  <a:pt x="483" y="371"/>
                </a:lnTo>
                <a:lnTo>
                  <a:pt x="499" y="364"/>
                </a:lnTo>
                <a:lnTo>
                  <a:pt x="507" y="360"/>
                </a:lnTo>
                <a:lnTo>
                  <a:pt x="514" y="354"/>
                </a:lnTo>
                <a:lnTo>
                  <a:pt x="519" y="349"/>
                </a:lnTo>
                <a:lnTo>
                  <a:pt x="520" y="347"/>
                </a:lnTo>
                <a:lnTo>
                  <a:pt x="521" y="345"/>
                </a:lnTo>
                <a:lnTo>
                  <a:pt x="521" y="345"/>
                </a:lnTo>
                <a:lnTo>
                  <a:pt x="520" y="336"/>
                </a:lnTo>
                <a:lnTo>
                  <a:pt x="519" y="327"/>
                </a:lnTo>
                <a:lnTo>
                  <a:pt x="515" y="313"/>
                </a:lnTo>
                <a:lnTo>
                  <a:pt x="512" y="296"/>
                </a:lnTo>
                <a:lnTo>
                  <a:pt x="510" y="288"/>
                </a:lnTo>
                <a:lnTo>
                  <a:pt x="510" y="279"/>
                </a:lnTo>
                <a:lnTo>
                  <a:pt x="510" y="279"/>
                </a:lnTo>
                <a:lnTo>
                  <a:pt x="510" y="276"/>
                </a:lnTo>
                <a:lnTo>
                  <a:pt x="512" y="271"/>
                </a:lnTo>
                <a:lnTo>
                  <a:pt x="516" y="264"/>
                </a:lnTo>
                <a:lnTo>
                  <a:pt x="523" y="256"/>
                </a:lnTo>
                <a:lnTo>
                  <a:pt x="531" y="247"/>
                </a:lnTo>
                <a:lnTo>
                  <a:pt x="531" y="247"/>
                </a:lnTo>
                <a:lnTo>
                  <a:pt x="531" y="224"/>
                </a:lnTo>
                <a:lnTo>
                  <a:pt x="531" y="224"/>
                </a:lnTo>
                <a:lnTo>
                  <a:pt x="531" y="224"/>
                </a:lnTo>
                <a:lnTo>
                  <a:pt x="521" y="222"/>
                </a:lnTo>
                <a:lnTo>
                  <a:pt x="512" y="219"/>
                </a:lnTo>
                <a:lnTo>
                  <a:pt x="506" y="215"/>
                </a:lnTo>
                <a:lnTo>
                  <a:pt x="502" y="209"/>
                </a:lnTo>
                <a:lnTo>
                  <a:pt x="498" y="202"/>
                </a:lnTo>
                <a:lnTo>
                  <a:pt x="496" y="193"/>
                </a:lnTo>
                <a:lnTo>
                  <a:pt x="495" y="181"/>
                </a:lnTo>
                <a:lnTo>
                  <a:pt x="495" y="169"/>
                </a:lnTo>
                <a:lnTo>
                  <a:pt x="495" y="169"/>
                </a:lnTo>
                <a:lnTo>
                  <a:pt x="493" y="146"/>
                </a:lnTo>
                <a:lnTo>
                  <a:pt x="491" y="127"/>
                </a:lnTo>
                <a:lnTo>
                  <a:pt x="488" y="111"/>
                </a:lnTo>
                <a:lnTo>
                  <a:pt x="483" y="97"/>
                </a:lnTo>
                <a:lnTo>
                  <a:pt x="473" y="70"/>
                </a:lnTo>
                <a:lnTo>
                  <a:pt x="469" y="55"/>
                </a:lnTo>
                <a:lnTo>
                  <a:pt x="466" y="38"/>
                </a:lnTo>
                <a:lnTo>
                  <a:pt x="466" y="38"/>
                </a:lnTo>
                <a:lnTo>
                  <a:pt x="453" y="43"/>
                </a:lnTo>
                <a:lnTo>
                  <a:pt x="446" y="47"/>
                </a:lnTo>
                <a:lnTo>
                  <a:pt x="441" y="48"/>
                </a:lnTo>
                <a:lnTo>
                  <a:pt x="441" y="48"/>
                </a:lnTo>
                <a:lnTo>
                  <a:pt x="437" y="47"/>
                </a:lnTo>
                <a:lnTo>
                  <a:pt x="434" y="46"/>
                </a:lnTo>
                <a:lnTo>
                  <a:pt x="429" y="42"/>
                </a:lnTo>
                <a:lnTo>
                  <a:pt x="424" y="35"/>
                </a:lnTo>
                <a:lnTo>
                  <a:pt x="421" y="28"/>
                </a:lnTo>
                <a:lnTo>
                  <a:pt x="415" y="12"/>
                </a:lnTo>
                <a:lnTo>
                  <a:pt x="413" y="5"/>
                </a:lnTo>
                <a:lnTo>
                  <a:pt x="411" y="0"/>
                </a:lnTo>
                <a:lnTo>
                  <a:pt x="411" y="0"/>
                </a:lnTo>
                <a:lnTo>
                  <a:pt x="408" y="3"/>
                </a:lnTo>
                <a:lnTo>
                  <a:pt x="406" y="9"/>
                </a:lnTo>
                <a:lnTo>
                  <a:pt x="400" y="24"/>
                </a:lnTo>
                <a:lnTo>
                  <a:pt x="398" y="31"/>
                </a:lnTo>
                <a:lnTo>
                  <a:pt x="394" y="38"/>
                </a:lnTo>
                <a:lnTo>
                  <a:pt x="390" y="42"/>
                </a:lnTo>
                <a:lnTo>
                  <a:pt x="388" y="43"/>
                </a:lnTo>
                <a:lnTo>
                  <a:pt x="385" y="44"/>
                </a:lnTo>
                <a:lnTo>
                  <a:pt x="385" y="44"/>
                </a:lnTo>
                <a:lnTo>
                  <a:pt x="378" y="43"/>
                </a:lnTo>
                <a:lnTo>
                  <a:pt x="373" y="42"/>
                </a:lnTo>
                <a:lnTo>
                  <a:pt x="362" y="36"/>
                </a:lnTo>
                <a:lnTo>
                  <a:pt x="357" y="34"/>
                </a:lnTo>
                <a:lnTo>
                  <a:pt x="350" y="32"/>
                </a:lnTo>
                <a:lnTo>
                  <a:pt x="343" y="29"/>
                </a:lnTo>
                <a:lnTo>
                  <a:pt x="333" y="29"/>
                </a:lnTo>
                <a:lnTo>
                  <a:pt x="333" y="29"/>
                </a:lnTo>
                <a:lnTo>
                  <a:pt x="328" y="29"/>
                </a:lnTo>
                <a:lnTo>
                  <a:pt x="322" y="31"/>
                </a:lnTo>
                <a:lnTo>
                  <a:pt x="312" y="35"/>
                </a:lnTo>
                <a:lnTo>
                  <a:pt x="301" y="39"/>
                </a:lnTo>
                <a:lnTo>
                  <a:pt x="296" y="40"/>
                </a:lnTo>
                <a:lnTo>
                  <a:pt x="290" y="41"/>
                </a:lnTo>
                <a:lnTo>
                  <a:pt x="290" y="41"/>
                </a:lnTo>
                <a:lnTo>
                  <a:pt x="293" y="55"/>
                </a:lnTo>
                <a:lnTo>
                  <a:pt x="293" y="55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8" name="Freeform 123"/>
          <p:cNvSpPr>
            <a:spLocks/>
          </p:cNvSpPr>
          <p:nvPr/>
        </p:nvSpPr>
        <p:spPr bwMode="auto">
          <a:xfrm>
            <a:off x="747713" y="5554663"/>
            <a:ext cx="273050" cy="546100"/>
          </a:xfrm>
          <a:custGeom>
            <a:avLst/>
            <a:gdLst/>
            <a:ahLst/>
            <a:cxnLst>
              <a:cxn ang="0">
                <a:pos x="312" y="114"/>
              </a:cxn>
              <a:cxn ang="0">
                <a:pos x="301" y="124"/>
              </a:cxn>
              <a:cxn ang="0">
                <a:pos x="287" y="162"/>
              </a:cxn>
              <a:cxn ang="0">
                <a:pos x="300" y="210"/>
              </a:cxn>
              <a:cxn ang="0">
                <a:pos x="315" y="239"/>
              </a:cxn>
              <a:cxn ang="0">
                <a:pos x="306" y="271"/>
              </a:cxn>
              <a:cxn ang="0">
                <a:pos x="269" y="310"/>
              </a:cxn>
              <a:cxn ang="0">
                <a:pos x="254" y="330"/>
              </a:cxn>
              <a:cxn ang="0">
                <a:pos x="225" y="373"/>
              </a:cxn>
              <a:cxn ang="0">
                <a:pos x="224" y="417"/>
              </a:cxn>
              <a:cxn ang="0">
                <a:pos x="233" y="483"/>
              </a:cxn>
              <a:cxn ang="0">
                <a:pos x="236" y="532"/>
              </a:cxn>
              <a:cxn ang="0">
                <a:pos x="239" y="602"/>
              </a:cxn>
              <a:cxn ang="0">
                <a:pos x="222" y="610"/>
              </a:cxn>
              <a:cxn ang="0">
                <a:pos x="154" y="609"/>
              </a:cxn>
              <a:cxn ang="0">
                <a:pos x="133" y="618"/>
              </a:cxn>
              <a:cxn ang="0">
                <a:pos x="110" y="627"/>
              </a:cxn>
              <a:cxn ang="0">
                <a:pos x="91" y="618"/>
              </a:cxn>
              <a:cxn ang="0">
                <a:pos x="71" y="593"/>
              </a:cxn>
              <a:cxn ang="0">
                <a:pos x="70" y="506"/>
              </a:cxn>
              <a:cxn ang="0">
                <a:pos x="55" y="479"/>
              </a:cxn>
              <a:cxn ang="0">
                <a:pos x="40" y="426"/>
              </a:cxn>
              <a:cxn ang="0">
                <a:pos x="32" y="411"/>
              </a:cxn>
              <a:cxn ang="0">
                <a:pos x="5" y="389"/>
              </a:cxn>
              <a:cxn ang="0">
                <a:pos x="0" y="367"/>
              </a:cxn>
              <a:cxn ang="0">
                <a:pos x="4" y="344"/>
              </a:cxn>
              <a:cxn ang="0">
                <a:pos x="22" y="321"/>
              </a:cxn>
              <a:cxn ang="0">
                <a:pos x="57" y="305"/>
              </a:cxn>
              <a:cxn ang="0">
                <a:pos x="96" y="300"/>
              </a:cxn>
              <a:cxn ang="0">
                <a:pos x="121" y="311"/>
              </a:cxn>
              <a:cxn ang="0">
                <a:pos x="136" y="310"/>
              </a:cxn>
              <a:cxn ang="0">
                <a:pos x="149" y="299"/>
              </a:cxn>
              <a:cxn ang="0">
                <a:pos x="162" y="258"/>
              </a:cxn>
              <a:cxn ang="0">
                <a:pos x="202" y="208"/>
              </a:cxn>
              <a:cxn ang="0">
                <a:pos x="232" y="183"/>
              </a:cxn>
              <a:cxn ang="0">
                <a:pos x="228" y="180"/>
              </a:cxn>
              <a:cxn ang="0">
                <a:pos x="187" y="167"/>
              </a:cxn>
              <a:cxn ang="0">
                <a:pos x="155" y="128"/>
              </a:cxn>
              <a:cxn ang="0">
                <a:pos x="142" y="99"/>
              </a:cxn>
              <a:cxn ang="0">
                <a:pos x="146" y="75"/>
              </a:cxn>
              <a:cxn ang="0">
                <a:pos x="148" y="59"/>
              </a:cxn>
              <a:cxn ang="0">
                <a:pos x="169" y="51"/>
              </a:cxn>
              <a:cxn ang="0">
                <a:pos x="150" y="19"/>
              </a:cxn>
              <a:cxn ang="0">
                <a:pos x="222" y="14"/>
              </a:cxn>
              <a:cxn ang="0">
                <a:pos x="254" y="0"/>
              </a:cxn>
              <a:cxn ang="0">
                <a:pos x="260" y="16"/>
              </a:cxn>
              <a:cxn ang="0">
                <a:pos x="307" y="51"/>
              </a:cxn>
              <a:cxn ang="0">
                <a:pos x="322" y="68"/>
              </a:cxn>
              <a:cxn ang="0">
                <a:pos x="331" y="103"/>
              </a:cxn>
            </a:cxnLst>
            <a:rect l="0" t="0" r="r" b="b"/>
            <a:pathLst>
              <a:path w="331" h="627">
                <a:moveTo>
                  <a:pt x="331" y="109"/>
                </a:moveTo>
                <a:lnTo>
                  <a:pt x="331" y="109"/>
                </a:lnTo>
                <a:lnTo>
                  <a:pt x="321" y="112"/>
                </a:lnTo>
                <a:lnTo>
                  <a:pt x="312" y="114"/>
                </a:lnTo>
                <a:lnTo>
                  <a:pt x="308" y="115"/>
                </a:lnTo>
                <a:lnTo>
                  <a:pt x="305" y="118"/>
                </a:lnTo>
                <a:lnTo>
                  <a:pt x="302" y="120"/>
                </a:lnTo>
                <a:lnTo>
                  <a:pt x="301" y="124"/>
                </a:lnTo>
                <a:lnTo>
                  <a:pt x="301" y="124"/>
                </a:lnTo>
                <a:lnTo>
                  <a:pt x="294" y="137"/>
                </a:lnTo>
                <a:lnTo>
                  <a:pt x="290" y="150"/>
                </a:lnTo>
                <a:lnTo>
                  <a:pt x="287" y="162"/>
                </a:lnTo>
                <a:lnTo>
                  <a:pt x="287" y="174"/>
                </a:lnTo>
                <a:lnTo>
                  <a:pt x="289" y="185"/>
                </a:lnTo>
                <a:lnTo>
                  <a:pt x="293" y="197"/>
                </a:lnTo>
                <a:lnTo>
                  <a:pt x="300" y="210"/>
                </a:lnTo>
                <a:lnTo>
                  <a:pt x="308" y="223"/>
                </a:lnTo>
                <a:lnTo>
                  <a:pt x="308" y="223"/>
                </a:lnTo>
                <a:lnTo>
                  <a:pt x="313" y="231"/>
                </a:lnTo>
                <a:lnTo>
                  <a:pt x="315" y="239"/>
                </a:lnTo>
                <a:lnTo>
                  <a:pt x="315" y="248"/>
                </a:lnTo>
                <a:lnTo>
                  <a:pt x="313" y="256"/>
                </a:lnTo>
                <a:lnTo>
                  <a:pt x="310" y="264"/>
                </a:lnTo>
                <a:lnTo>
                  <a:pt x="306" y="271"/>
                </a:lnTo>
                <a:lnTo>
                  <a:pt x="300" y="277"/>
                </a:lnTo>
                <a:lnTo>
                  <a:pt x="294" y="286"/>
                </a:lnTo>
                <a:lnTo>
                  <a:pt x="282" y="298"/>
                </a:lnTo>
                <a:lnTo>
                  <a:pt x="269" y="310"/>
                </a:lnTo>
                <a:lnTo>
                  <a:pt x="259" y="321"/>
                </a:lnTo>
                <a:lnTo>
                  <a:pt x="255" y="326"/>
                </a:lnTo>
                <a:lnTo>
                  <a:pt x="254" y="330"/>
                </a:lnTo>
                <a:lnTo>
                  <a:pt x="254" y="330"/>
                </a:lnTo>
                <a:lnTo>
                  <a:pt x="244" y="341"/>
                </a:lnTo>
                <a:lnTo>
                  <a:pt x="236" y="352"/>
                </a:lnTo>
                <a:lnTo>
                  <a:pt x="230" y="363"/>
                </a:lnTo>
                <a:lnTo>
                  <a:pt x="225" y="373"/>
                </a:lnTo>
                <a:lnTo>
                  <a:pt x="223" y="384"/>
                </a:lnTo>
                <a:lnTo>
                  <a:pt x="223" y="395"/>
                </a:lnTo>
                <a:lnTo>
                  <a:pt x="223" y="406"/>
                </a:lnTo>
                <a:lnTo>
                  <a:pt x="224" y="417"/>
                </a:lnTo>
                <a:lnTo>
                  <a:pt x="229" y="439"/>
                </a:lnTo>
                <a:lnTo>
                  <a:pt x="232" y="460"/>
                </a:lnTo>
                <a:lnTo>
                  <a:pt x="233" y="472"/>
                </a:lnTo>
                <a:lnTo>
                  <a:pt x="233" y="483"/>
                </a:lnTo>
                <a:lnTo>
                  <a:pt x="233" y="495"/>
                </a:lnTo>
                <a:lnTo>
                  <a:pt x="231" y="506"/>
                </a:lnTo>
                <a:lnTo>
                  <a:pt x="231" y="506"/>
                </a:lnTo>
                <a:lnTo>
                  <a:pt x="236" y="532"/>
                </a:lnTo>
                <a:lnTo>
                  <a:pt x="239" y="556"/>
                </a:lnTo>
                <a:lnTo>
                  <a:pt x="240" y="579"/>
                </a:lnTo>
                <a:lnTo>
                  <a:pt x="239" y="602"/>
                </a:lnTo>
                <a:lnTo>
                  <a:pt x="239" y="602"/>
                </a:lnTo>
                <a:lnTo>
                  <a:pt x="234" y="605"/>
                </a:lnTo>
                <a:lnTo>
                  <a:pt x="231" y="608"/>
                </a:lnTo>
                <a:lnTo>
                  <a:pt x="226" y="609"/>
                </a:lnTo>
                <a:lnTo>
                  <a:pt x="222" y="610"/>
                </a:lnTo>
                <a:lnTo>
                  <a:pt x="213" y="610"/>
                </a:lnTo>
                <a:lnTo>
                  <a:pt x="202" y="609"/>
                </a:lnTo>
                <a:lnTo>
                  <a:pt x="202" y="609"/>
                </a:lnTo>
                <a:lnTo>
                  <a:pt x="154" y="609"/>
                </a:lnTo>
                <a:lnTo>
                  <a:pt x="154" y="609"/>
                </a:lnTo>
                <a:lnTo>
                  <a:pt x="148" y="610"/>
                </a:lnTo>
                <a:lnTo>
                  <a:pt x="142" y="612"/>
                </a:lnTo>
                <a:lnTo>
                  <a:pt x="133" y="618"/>
                </a:lnTo>
                <a:lnTo>
                  <a:pt x="129" y="622"/>
                </a:lnTo>
                <a:lnTo>
                  <a:pt x="124" y="625"/>
                </a:lnTo>
                <a:lnTo>
                  <a:pt x="117" y="626"/>
                </a:lnTo>
                <a:lnTo>
                  <a:pt x="110" y="627"/>
                </a:lnTo>
                <a:lnTo>
                  <a:pt x="110" y="627"/>
                </a:lnTo>
                <a:lnTo>
                  <a:pt x="103" y="626"/>
                </a:lnTo>
                <a:lnTo>
                  <a:pt x="96" y="623"/>
                </a:lnTo>
                <a:lnTo>
                  <a:pt x="91" y="618"/>
                </a:lnTo>
                <a:lnTo>
                  <a:pt x="85" y="612"/>
                </a:lnTo>
                <a:lnTo>
                  <a:pt x="79" y="607"/>
                </a:lnTo>
                <a:lnTo>
                  <a:pt x="75" y="600"/>
                </a:lnTo>
                <a:lnTo>
                  <a:pt x="71" y="593"/>
                </a:lnTo>
                <a:lnTo>
                  <a:pt x="70" y="587"/>
                </a:lnTo>
                <a:lnTo>
                  <a:pt x="70" y="587"/>
                </a:lnTo>
                <a:lnTo>
                  <a:pt x="70" y="506"/>
                </a:lnTo>
                <a:lnTo>
                  <a:pt x="70" y="506"/>
                </a:lnTo>
                <a:lnTo>
                  <a:pt x="70" y="506"/>
                </a:lnTo>
                <a:lnTo>
                  <a:pt x="63" y="497"/>
                </a:lnTo>
                <a:lnTo>
                  <a:pt x="58" y="488"/>
                </a:lnTo>
                <a:lnTo>
                  <a:pt x="55" y="479"/>
                </a:lnTo>
                <a:lnTo>
                  <a:pt x="53" y="468"/>
                </a:lnTo>
                <a:lnTo>
                  <a:pt x="47" y="448"/>
                </a:lnTo>
                <a:lnTo>
                  <a:pt x="43" y="436"/>
                </a:lnTo>
                <a:lnTo>
                  <a:pt x="40" y="426"/>
                </a:lnTo>
                <a:lnTo>
                  <a:pt x="40" y="426"/>
                </a:lnTo>
                <a:lnTo>
                  <a:pt x="39" y="421"/>
                </a:lnTo>
                <a:lnTo>
                  <a:pt x="38" y="418"/>
                </a:lnTo>
                <a:lnTo>
                  <a:pt x="32" y="411"/>
                </a:lnTo>
                <a:lnTo>
                  <a:pt x="26" y="406"/>
                </a:lnTo>
                <a:lnTo>
                  <a:pt x="18" y="402"/>
                </a:lnTo>
                <a:lnTo>
                  <a:pt x="11" y="396"/>
                </a:lnTo>
                <a:lnTo>
                  <a:pt x="5" y="389"/>
                </a:lnTo>
                <a:lnTo>
                  <a:pt x="3" y="384"/>
                </a:lnTo>
                <a:lnTo>
                  <a:pt x="1" y="380"/>
                </a:lnTo>
                <a:lnTo>
                  <a:pt x="0" y="374"/>
                </a:lnTo>
                <a:lnTo>
                  <a:pt x="0" y="367"/>
                </a:lnTo>
                <a:lnTo>
                  <a:pt x="0" y="367"/>
                </a:lnTo>
                <a:lnTo>
                  <a:pt x="0" y="359"/>
                </a:lnTo>
                <a:lnTo>
                  <a:pt x="2" y="351"/>
                </a:lnTo>
                <a:lnTo>
                  <a:pt x="4" y="344"/>
                </a:lnTo>
                <a:lnTo>
                  <a:pt x="7" y="338"/>
                </a:lnTo>
                <a:lnTo>
                  <a:pt x="11" y="332"/>
                </a:lnTo>
                <a:lnTo>
                  <a:pt x="16" y="327"/>
                </a:lnTo>
                <a:lnTo>
                  <a:pt x="22" y="321"/>
                </a:lnTo>
                <a:lnTo>
                  <a:pt x="27" y="317"/>
                </a:lnTo>
                <a:lnTo>
                  <a:pt x="34" y="313"/>
                </a:lnTo>
                <a:lnTo>
                  <a:pt x="41" y="310"/>
                </a:lnTo>
                <a:lnTo>
                  <a:pt x="57" y="305"/>
                </a:lnTo>
                <a:lnTo>
                  <a:pt x="75" y="302"/>
                </a:lnTo>
                <a:lnTo>
                  <a:pt x="92" y="300"/>
                </a:lnTo>
                <a:lnTo>
                  <a:pt x="92" y="300"/>
                </a:lnTo>
                <a:lnTo>
                  <a:pt x="96" y="300"/>
                </a:lnTo>
                <a:lnTo>
                  <a:pt x="100" y="302"/>
                </a:lnTo>
                <a:lnTo>
                  <a:pt x="108" y="306"/>
                </a:lnTo>
                <a:lnTo>
                  <a:pt x="116" y="310"/>
                </a:lnTo>
                <a:lnTo>
                  <a:pt x="121" y="311"/>
                </a:lnTo>
                <a:lnTo>
                  <a:pt x="125" y="312"/>
                </a:lnTo>
                <a:lnTo>
                  <a:pt x="125" y="312"/>
                </a:lnTo>
                <a:lnTo>
                  <a:pt x="131" y="311"/>
                </a:lnTo>
                <a:lnTo>
                  <a:pt x="136" y="310"/>
                </a:lnTo>
                <a:lnTo>
                  <a:pt x="140" y="309"/>
                </a:lnTo>
                <a:lnTo>
                  <a:pt x="144" y="306"/>
                </a:lnTo>
                <a:lnTo>
                  <a:pt x="147" y="303"/>
                </a:lnTo>
                <a:lnTo>
                  <a:pt x="149" y="299"/>
                </a:lnTo>
                <a:lnTo>
                  <a:pt x="153" y="291"/>
                </a:lnTo>
                <a:lnTo>
                  <a:pt x="156" y="281"/>
                </a:lnTo>
                <a:lnTo>
                  <a:pt x="159" y="269"/>
                </a:lnTo>
                <a:lnTo>
                  <a:pt x="162" y="258"/>
                </a:lnTo>
                <a:lnTo>
                  <a:pt x="165" y="245"/>
                </a:lnTo>
                <a:lnTo>
                  <a:pt x="165" y="245"/>
                </a:lnTo>
                <a:lnTo>
                  <a:pt x="202" y="208"/>
                </a:lnTo>
                <a:lnTo>
                  <a:pt x="202" y="208"/>
                </a:lnTo>
                <a:lnTo>
                  <a:pt x="210" y="203"/>
                </a:lnTo>
                <a:lnTo>
                  <a:pt x="223" y="192"/>
                </a:lnTo>
                <a:lnTo>
                  <a:pt x="229" y="188"/>
                </a:lnTo>
                <a:lnTo>
                  <a:pt x="232" y="183"/>
                </a:lnTo>
                <a:lnTo>
                  <a:pt x="232" y="182"/>
                </a:lnTo>
                <a:lnTo>
                  <a:pt x="232" y="181"/>
                </a:lnTo>
                <a:lnTo>
                  <a:pt x="231" y="180"/>
                </a:lnTo>
                <a:lnTo>
                  <a:pt x="228" y="180"/>
                </a:lnTo>
                <a:lnTo>
                  <a:pt x="228" y="180"/>
                </a:lnTo>
                <a:lnTo>
                  <a:pt x="211" y="176"/>
                </a:lnTo>
                <a:lnTo>
                  <a:pt x="198" y="172"/>
                </a:lnTo>
                <a:lnTo>
                  <a:pt x="187" y="167"/>
                </a:lnTo>
                <a:lnTo>
                  <a:pt x="178" y="160"/>
                </a:lnTo>
                <a:lnTo>
                  <a:pt x="170" y="151"/>
                </a:lnTo>
                <a:lnTo>
                  <a:pt x="162" y="141"/>
                </a:lnTo>
                <a:lnTo>
                  <a:pt x="155" y="128"/>
                </a:lnTo>
                <a:lnTo>
                  <a:pt x="147" y="113"/>
                </a:lnTo>
                <a:lnTo>
                  <a:pt x="147" y="113"/>
                </a:lnTo>
                <a:lnTo>
                  <a:pt x="144" y="105"/>
                </a:lnTo>
                <a:lnTo>
                  <a:pt x="142" y="99"/>
                </a:lnTo>
                <a:lnTo>
                  <a:pt x="142" y="94"/>
                </a:lnTo>
                <a:lnTo>
                  <a:pt x="142" y="91"/>
                </a:lnTo>
                <a:lnTo>
                  <a:pt x="145" y="82"/>
                </a:lnTo>
                <a:lnTo>
                  <a:pt x="146" y="75"/>
                </a:lnTo>
                <a:lnTo>
                  <a:pt x="147" y="66"/>
                </a:lnTo>
                <a:lnTo>
                  <a:pt x="147" y="66"/>
                </a:lnTo>
                <a:lnTo>
                  <a:pt x="147" y="61"/>
                </a:lnTo>
                <a:lnTo>
                  <a:pt x="148" y="59"/>
                </a:lnTo>
                <a:lnTo>
                  <a:pt x="150" y="57"/>
                </a:lnTo>
                <a:lnTo>
                  <a:pt x="154" y="55"/>
                </a:lnTo>
                <a:lnTo>
                  <a:pt x="161" y="53"/>
                </a:lnTo>
                <a:lnTo>
                  <a:pt x="169" y="51"/>
                </a:lnTo>
                <a:lnTo>
                  <a:pt x="169" y="51"/>
                </a:lnTo>
                <a:lnTo>
                  <a:pt x="150" y="19"/>
                </a:lnTo>
                <a:lnTo>
                  <a:pt x="150" y="19"/>
                </a:lnTo>
                <a:lnTo>
                  <a:pt x="150" y="19"/>
                </a:lnTo>
                <a:lnTo>
                  <a:pt x="182" y="19"/>
                </a:lnTo>
                <a:lnTo>
                  <a:pt x="195" y="17"/>
                </a:lnTo>
                <a:lnTo>
                  <a:pt x="209" y="16"/>
                </a:lnTo>
                <a:lnTo>
                  <a:pt x="222" y="14"/>
                </a:lnTo>
                <a:lnTo>
                  <a:pt x="233" y="10"/>
                </a:lnTo>
                <a:lnTo>
                  <a:pt x="244" y="6"/>
                </a:lnTo>
                <a:lnTo>
                  <a:pt x="254" y="0"/>
                </a:lnTo>
                <a:lnTo>
                  <a:pt x="254" y="0"/>
                </a:lnTo>
                <a:lnTo>
                  <a:pt x="254" y="5"/>
                </a:lnTo>
                <a:lnTo>
                  <a:pt x="255" y="9"/>
                </a:lnTo>
                <a:lnTo>
                  <a:pt x="257" y="13"/>
                </a:lnTo>
                <a:lnTo>
                  <a:pt x="260" y="16"/>
                </a:lnTo>
                <a:lnTo>
                  <a:pt x="268" y="24"/>
                </a:lnTo>
                <a:lnTo>
                  <a:pt x="276" y="30"/>
                </a:lnTo>
                <a:lnTo>
                  <a:pt x="297" y="44"/>
                </a:lnTo>
                <a:lnTo>
                  <a:pt x="307" y="51"/>
                </a:lnTo>
                <a:lnTo>
                  <a:pt x="316" y="58"/>
                </a:lnTo>
                <a:lnTo>
                  <a:pt x="316" y="58"/>
                </a:lnTo>
                <a:lnTo>
                  <a:pt x="320" y="62"/>
                </a:lnTo>
                <a:lnTo>
                  <a:pt x="322" y="68"/>
                </a:lnTo>
                <a:lnTo>
                  <a:pt x="324" y="82"/>
                </a:lnTo>
                <a:lnTo>
                  <a:pt x="327" y="93"/>
                </a:lnTo>
                <a:lnTo>
                  <a:pt x="329" y="99"/>
                </a:lnTo>
                <a:lnTo>
                  <a:pt x="331" y="103"/>
                </a:lnTo>
                <a:lnTo>
                  <a:pt x="331" y="103"/>
                </a:lnTo>
                <a:lnTo>
                  <a:pt x="331" y="109"/>
                </a:lnTo>
                <a:lnTo>
                  <a:pt x="331" y="1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9" name="Freeform 124"/>
          <p:cNvSpPr>
            <a:spLocks/>
          </p:cNvSpPr>
          <p:nvPr/>
        </p:nvSpPr>
        <p:spPr bwMode="auto">
          <a:xfrm>
            <a:off x="717550" y="5634038"/>
            <a:ext cx="222250" cy="195262"/>
          </a:xfrm>
          <a:custGeom>
            <a:avLst/>
            <a:gdLst/>
            <a:ahLst/>
            <a:cxnLst>
              <a:cxn ang="0">
                <a:pos x="177" y="15"/>
              </a:cxn>
              <a:cxn ang="0">
                <a:pos x="160" y="15"/>
              </a:cxn>
              <a:cxn ang="0">
                <a:pos x="154" y="13"/>
              </a:cxn>
              <a:cxn ang="0">
                <a:pos x="146" y="5"/>
              </a:cxn>
              <a:cxn ang="0">
                <a:pos x="139" y="1"/>
              </a:cxn>
              <a:cxn ang="0">
                <a:pos x="133" y="0"/>
              </a:cxn>
              <a:cxn ang="0">
                <a:pos x="113" y="2"/>
              </a:cxn>
              <a:cxn ang="0">
                <a:pos x="80" y="9"/>
              </a:cxn>
              <a:cxn ang="0">
                <a:pos x="50" y="21"/>
              </a:cxn>
              <a:cxn ang="0">
                <a:pos x="41" y="28"/>
              </a:cxn>
              <a:cxn ang="0">
                <a:pos x="38" y="37"/>
              </a:cxn>
              <a:cxn ang="0">
                <a:pos x="39" y="45"/>
              </a:cxn>
              <a:cxn ang="0">
                <a:pos x="43" y="63"/>
              </a:cxn>
              <a:cxn ang="0">
                <a:pos x="46" y="74"/>
              </a:cxn>
              <a:cxn ang="0">
                <a:pos x="43" y="94"/>
              </a:cxn>
              <a:cxn ang="0">
                <a:pos x="39" y="105"/>
              </a:cxn>
              <a:cxn ang="0">
                <a:pos x="32" y="109"/>
              </a:cxn>
              <a:cxn ang="0">
                <a:pos x="27" y="111"/>
              </a:cxn>
              <a:cxn ang="0">
                <a:pos x="14" y="106"/>
              </a:cxn>
              <a:cxn ang="0">
                <a:pos x="4" y="96"/>
              </a:cxn>
              <a:cxn ang="0">
                <a:pos x="1" y="102"/>
              </a:cxn>
              <a:cxn ang="0">
                <a:pos x="1" y="111"/>
              </a:cxn>
              <a:cxn ang="0">
                <a:pos x="1" y="117"/>
              </a:cxn>
              <a:cxn ang="0">
                <a:pos x="2" y="124"/>
              </a:cxn>
              <a:cxn ang="0">
                <a:pos x="7" y="130"/>
              </a:cxn>
              <a:cxn ang="0">
                <a:pos x="19" y="138"/>
              </a:cxn>
              <a:cxn ang="0">
                <a:pos x="37" y="147"/>
              </a:cxn>
              <a:cxn ang="0">
                <a:pos x="53" y="162"/>
              </a:cxn>
              <a:cxn ang="0">
                <a:pos x="56" y="168"/>
              </a:cxn>
              <a:cxn ang="0">
                <a:pos x="62" y="192"/>
              </a:cxn>
              <a:cxn ang="0">
                <a:pos x="67" y="208"/>
              </a:cxn>
              <a:cxn ang="0">
                <a:pos x="75" y="224"/>
              </a:cxn>
              <a:cxn ang="0">
                <a:pos x="78" y="224"/>
              </a:cxn>
              <a:cxn ang="0">
                <a:pos x="78" y="224"/>
              </a:cxn>
              <a:cxn ang="0">
                <a:pos x="101" y="213"/>
              </a:cxn>
              <a:cxn ang="0">
                <a:pos x="130" y="209"/>
              </a:cxn>
              <a:cxn ang="0">
                <a:pos x="134" y="209"/>
              </a:cxn>
              <a:cxn ang="0">
                <a:pos x="146" y="215"/>
              </a:cxn>
              <a:cxn ang="0">
                <a:pos x="159" y="220"/>
              </a:cxn>
              <a:cxn ang="0">
                <a:pos x="163" y="221"/>
              </a:cxn>
              <a:cxn ang="0">
                <a:pos x="174" y="219"/>
              </a:cxn>
              <a:cxn ang="0">
                <a:pos x="182" y="215"/>
              </a:cxn>
              <a:cxn ang="0">
                <a:pos x="187" y="208"/>
              </a:cxn>
              <a:cxn ang="0">
                <a:pos x="194" y="190"/>
              </a:cxn>
              <a:cxn ang="0">
                <a:pos x="200" y="167"/>
              </a:cxn>
              <a:cxn ang="0">
                <a:pos x="203" y="154"/>
              </a:cxn>
              <a:cxn ang="0">
                <a:pos x="240" y="117"/>
              </a:cxn>
              <a:cxn ang="0">
                <a:pos x="261" y="101"/>
              </a:cxn>
              <a:cxn ang="0">
                <a:pos x="270" y="92"/>
              </a:cxn>
              <a:cxn ang="0">
                <a:pos x="270" y="90"/>
              </a:cxn>
              <a:cxn ang="0">
                <a:pos x="266" y="89"/>
              </a:cxn>
              <a:cxn ang="0">
                <a:pos x="249" y="85"/>
              </a:cxn>
              <a:cxn ang="0">
                <a:pos x="225" y="76"/>
              </a:cxn>
              <a:cxn ang="0">
                <a:pos x="208" y="60"/>
              </a:cxn>
              <a:cxn ang="0">
                <a:pos x="193" y="37"/>
              </a:cxn>
              <a:cxn ang="0">
                <a:pos x="185" y="22"/>
              </a:cxn>
              <a:cxn ang="0">
                <a:pos x="177" y="15"/>
              </a:cxn>
            </a:cxnLst>
            <a:rect l="0" t="0" r="r" b="b"/>
            <a:pathLst>
              <a:path w="270" h="224">
                <a:moveTo>
                  <a:pt x="177" y="15"/>
                </a:moveTo>
                <a:lnTo>
                  <a:pt x="177" y="15"/>
                </a:lnTo>
                <a:lnTo>
                  <a:pt x="160" y="15"/>
                </a:lnTo>
                <a:lnTo>
                  <a:pt x="160" y="15"/>
                </a:lnTo>
                <a:lnTo>
                  <a:pt x="156" y="14"/>
                </a:lnTo>
                <a:lnTo>
                  <a:pt x="154" y="13"/>
                </a:lnTo>
                <a:lnTo>
                  <a:pt x="149" y="7"/>
                </a:lnTo>
                <a:lnTo>
                  <a:pt x="146" y="5"/>
                </a:lnTo>
                <a:lnTo>
                  <a:pt x="142" y="2"/>
                </a:lnTo>
                <a:lnTo>
                  <a:pt x="139" y="1"/>
                </a:lnTo>
                <a:lnTo>
                  <a:pt x="133" y="0"/>
                </a:lnTo>
                <a:lnTo>
                  <a:pt x="133" y="0"/>
                </a:lnTo>
                <a:lnTo>
                  <a:pt x="125" y="1"/>
                </a:lnTo>
                <a:lnTo>
                  <a:pt x="113" y="2"/>
                </a:lnTo>
                <a:lnTo>
                  <a:pt x="96" y="5"/>
                </a:lnTo>
                <a:lnTo>
                  <a:pt x="80" y="9"/>
                </a:lnTo>
                <a:lnTo>
                  <a:pt x="64" y="14"/>
                </a:lnTo>
                <a:lnTo>
                  <a:pt x="50" y="21"/>
                </a:lnTo>
                <a:lnTo>
                  <a:pt x="45" y="24"/>
                </a:lnTo>
                <a:lnTo>
                  <a:pt x="41" y="28"/>
                </a:lnTo>
                <a:lnTo>
                  <a:pt x="39" y="32"/>
                </a:lnTo>
                <a:lnTo>
                  <a:pt x="38" y="37"/>
                </a:lnTo>
                <a:lnTo>
                  <a:pt x="38" y="37"/>
                </a:lnTo>
                <a:lnTo>
                  <a:pt x="39" y="45"/>
                </a:lnTo>
                <a:lnTo>
                  <a:pt x="41" y="54"/>
                </a:lnTo>
                <a:lnTo>
                  <a:pt x="43" y="63"/>
                </a:lnTo>
                <a:lnTo>
                  <a:pt x="46" y="74"/>
                </a:lnTo>
                <a:lnTo>
                  <a:pt x="46" y="74"/>
                </a:lnTo>
                <a:lnTo>
                  <a:pt x="45" y="89"/>
                </a:lnTo>
                <a:lnTo>
                  <a:pt x="43" y="94"/>
                </a:lnTo>
                <a:lnTo>
                  <a:pt x="41" y="100"/>
                </a:lnTo>
                <a:lnTo>
                  <a:pt x="39" y="105"/>
                </a:lnTo>
                <a:lnTo>
                  <a:pt x="37" y="107"/>
                </a:lnTo>
                <a:lnTo>
                  <a:pt x="32" y="109"/>
                </a:lnTo>
                <a:lnTo>
                  <a:pt x="27" y="111"/>
                </a:lnTo>
                <a:lnTo>
                  <a:pt x="27" y="111"/>
                </a:lnTo>
                <a:lnTo>
                  <a:pt x="19" y="109"/>
                </a:lnTo>
                <a:lnTo>
                  <a:pt x="14" y="106"/>
                </a:lnTo>
                <a:lnTo>
                  <a:pt x="8" y="101"/>
                </a:lnTo>
                <a:lnTo>
                  <a:pt x="4" y="96"/>
                </a:lnTo>
                <a:lnTo>
                  <a:pt x="4" y="96"/>
                </a:lnTo>
                <a:lnTo>
                  <a:pt x="1" y="102"/>
                </a:lnTo>
                <a:lnTo>
                  <a:pt x="0" y="107"/>
                </a:lnTo>
                <a:lnTo>
                  <a:pt x="1" y="111"/>
                </a:lnTo>
                <a:lnTo>
                  <a:pt x="1" y="117"/>
                </a:lnTo>
                <a:lnTo>
                  <a:pt x="1" y="117"/>
                </a:lnTo>
                <a:lnTo>
                  <a:pt x="2" y="122"/>
                </a:lnTo>
                <a:lnTo>
                  <a:pt x="2" y="124"/>
                </a:lnTo>
                <a:lnTo>
                  <a:pt x="4" y="128"/>
                </a:lnTo>
                <a:lnTo>
                  <a:pt x="7" y="130"/>
                </a:lnTo>
                <a:lnTo>
                  <a:pt x="12" y="135"/>
                </a:lnTo>
                <a:lnTo>
                  <a:pt x="19" y="138"/>
                </a:lnTo>
                <a:lnTo>
                  <a:pt x="29" y="143"/>
                </a:lnTo>
                <a:lnTo>
                  <a:pt x="37" y="147"/>
                </a:lnTo>
                <a:lnTo>
                  <a:pt x="45" y="153"/>
                </a:lnTo>
                <a:lnTo>
                  <a:pt x="53" y="162"/>
                </a:lnTo>
                <a:lnTo>
                  <a:pt x="53" y="162"/>
                </a:lnTo>
                <a:lnTo>
                  <a:pt x="56" y="168"/>
                </a:lnTo>
                <a:lnTo>
                  <a:pt x="58" y="175"/>
                </a:lnTo>
                <a:lnTo>
                  <a:pt x="62" y="192"/>
                </a:lnTo>
                <a:lnTo>
                  <a:pt x="64" y="200"/>
                </a:lnTo>
                <a:lnTo>
                  <a:pt x="67" y="208"/>
                </a:lnTo>
                <a:lnTo>
                  <a:pt x="70" y="216"/>
                </a:lnTo>
                <a:lnTo>
                  <a:pt x="75" y="224"/>
                </a:lnTo>
                <a:lnTo>
                  <a:pt x="75" y="224"/>
                </a:lnTo>
                <a:lnTo>
                  <a:pt x="78" y="224"/>
                </a:lnTo>
                <a:lnTo>
                  <a:pt x="78" y="224"/>
                </a:lnTo>
                <a:lnTo>
                  <a:pt x="78" y="224"/>
                </a:lnTo>
                <a:lnTo>
                  <a:pt x="90" y="218"/>
                </a:lnTo>
                <a:lnTo>
                  <a:pt x="101" y="213"/>
                </a:lnTo>
                <a:lnTo>
                  <a:pt x="115" y="211"/>
                </a:lnTo>
                <a:lnTo>
                  <a:pt x="130" y="209"/>
                </a:lnTo>
                <a:lnTo>
                  <a:pt x="130" y="209"/>
                </a:lnTo>
                <a:lnTo>
                  <a:pt x="134" y="209"/>
                </a:lnTo>
                <a:lnTo>
                  <a:pt x="138" y="211"/>
                </a:lnTo>
                <a:lnTo>
                  <a:pt x="146" y="215"/>
                </a:lnTo>
                <a:lnTo>
                  <a:pt x="154" y="219"/>
                </a:lnTo>
                <a:lnTo>
                  <a:pt x="159" y="220"/>
                </a:lnTo>
                <a:lnTo>
                  <a:pt x="163" y="221"/>
                </a:lnTo>
                <a:lnTo>
                  <a:pt x="163" y="221"/>
                </a:lnTo>
                <a:lnTo>
                  <a:pt x="169" y="220"/>
                </a:lnTo>
                <a:lnTo>
                  <a:pt x="174" y="219"/>
                </a:lnTo>
                <a:lnTo>
                  <a:pt x="178" y="218"/>
                </a:lnTo>
                <a:lnTo>
                  <a:pt x="182" y="215"/>
                </a:lnTo>
                <a:lnTo>
                  <a:pt x="185" y="212"/>
                </a:lnTo>
                <a:lnTo>
                  <a:pt x="187" y="208"/>
                </a:lnTo>
                <a:lnTo>
                  <a:pt x="191" y="200"/>
                </a:lnTo>
                <a:lnTo>
                  <a:pt x="194" y="190"/>
                </a:lnTo>
                <a:lnTo>
                  <a:pt x="197" y="178"/>
                </a:lnTo>
                <a:lnTo>
                  <a:pt x="200" y="167"/>
                </a:lnTo>
                <a:lnTo>
                  <a:pt x="203" y="154"/>
                </a:lnTo>
                <a:lnTo>
                  <a:pt x="203" y="154"/>
                </a:lnTo>
                <a:lnTo>
                  <a:pt x="240" y="117"/>
                </a:lnTo>
                <a:lnTo>
                  <a:pt x="240" y="117"/>
                </a:lnTo>
                <a:lnTo>
                  <a:pt x="248" y="112"/>
                </a:lnTo>
                <a:lnTo>
                  <a:pt x="261" y="101"/>
                </a:lnTo>
                <a:lnTo>
                  <a:pt x="267" y="97"/>
                </a:lnTo>
                <a:lnTo>
                  <a:pt x="270" y="92"/>
                </a:lnTo>
                <a:lnTo>
                  <a:pt x="270" y="91"/>
                </a:lnTo>
                <a:lnTo>
                  <a:pt x="270" y="90"/>
                </a:lnTo>
                <a:lnTo>
                  <a:pt x="269" y="89"/>
                </a:lnTo>
                <a:lnTo>
                  <a:pt x="266" y="89"/>
                </a:lnTo>
                <a:lnTo>
                  <a:pt x="266" y="89"/>
                </a:lnTo>
                <a:lnTo>
                  <a:pt x="249" y="85"/>
                </a:lnTo>
                <a:lnTo>
                  <a:pt x="236" y="81"/>
                </a:lnTo>
                <a:lnTo>
                  <a:pt x="225" y="76"/>
                </a:lnTo>
                <a:lnTo>
                  <a:pt x="216" y="69"/>
                </a:lnTo>
                <a:lnTo>
                  <a:pt x="208" y="60"/>
                </a:lnTo>
                <a:lnTo>
                  <a:pt x="200" y="50"/>
                </a:lnTo>
                <a:lnTo>
                  <a:pt x="193" y="37"/>
                </a:lnTo>
                <a:lnTo>
                  <a:pt x="185" y="22"/>
                </a:lnTo>
                <a:lnTo>
                  <a:pt x="185" y="22"/>
                </a:lnTo>
                <a:lnTo>
                  <a:pt x="177" y="15"/>
                </a:lnTo>
                <a:lnTo>
                  <a:pt x="177" y="1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0" name="Freeform 125"/>
          <p:cNvSpPr>
            <a:spLocks/>
          </p:cNvSpPr>
          <p:nvPr/>
        </p:nvSpPr>
        <p:spPr bwMode="auto">
          <a:xfrm>
            <a:off x="493713" y="5368925"/>
            <a:ext cx="179387" cy="176213"/>
          </a:xfrm>
          <a:custGeom>
            <a:avLst/>
            <a:gdLst/>
            <a:ahLst/>
            <a:cxnLst>
              <a:cxn ang="0">
                <a:pos x="173" y="8"/>
              </a:cxn>
              <a:cxn ang="0">
                <a:pos x="163" y="24"/>
              </a:cxn>
              <a:cxn ang="0">
                <a:pos x="154" y="35"/>
              </a:cxn>
              <a:cxn ang="0">
                <a:pos x="141" y="39"/>
              </a:cxn>
              <a:cxn ang="0">
                <a:pos x="124" y="42"/>
              </a:cxn>
              <a:cxn ang="0">
                <a:pos x="118" y="40"/>
              </a:cxn>
              <a:cxn ang="0">
                <a:pos x="109" y="37"/>
              </a:cxn>
              <a:cxn ang="0">
                <a:pos x="101" y="29"/>
              </a:cxn>
              <a:cxn ang="0">
                <a:pos x="95" y="14"/>
              </a:cxn>
              <a:cxn ang="0">
                <a:pos x="90" y="7"/>
              </a:cxn>
              <a:cxn ang="0">
                <a:pos x="82" y="2"/>
              </a:cxn>
              <a:cxn ang="0">
                <a:pos x="69" y="0"/>
              </a:cxn>
              <a:cxn ang="0">
                <a:pos x="59" y="1"/>
              </a:cxn>
              <a:cxn ang="0">
                <a:pos x="36" y="9"/>
              </a:cxn>
              <a:cxn ang="0">
                <a:pos x="15" y="23"/>
              </a:cxn>
              <a:cxn ang="0">
                <a:pos x="3" y="37"/>
              </a:cxn>
              <a:cxn ang="0">
                <a:pos x="0" y="47"/>
              </a:cxn>
              <a:cxn ang="0">
                <a:pos x="0" y="52"/>
              </a:cxn>
              <a:cxn ang="0">
                <a:pos x="2" y="73"/>
              </a:cxn>
              <a:cxn ang="0">
                <a:pos x="11" y="94"/>
              </a:cxn>
              <a:cxn ang="0">
                <a:pos x="24" y="117"/>
              </a:cxn>
              <a:cxn ang="0">
                <a:pos x="59" y="161"/>
              </a:cxn>
              <a:cxn ang="0">
                <a:pos x="94" y="193"/>
              </a:cxn>
              <a:cxn ang="0">
                <a:pos x="110" y="203"/>
              </a:cxn>
              <a:cxn ang="0">
                <a:pos x="110" y="199"/>
              </a:cxn>
              <a:cxn ang="0">
                <a:pos x="115" y="192"/>
              </a:cxn>
              <a:cxn ang="0">
                <a:pos x="129" y="182"/>
              </a:cxn>
              <a:cxn ang="0">
                <a:pos x="155" y="170"/>
              </a:cxn>
              <a:cxn ang="0">
                <a:pos x="183" y="164"/>
              </a:cxn>
              <a:cxn ang="0">
                <a:pos x="194" y="162"/>
              </a:cxn>
              <a:cxn ang="0">
                <a:pos x="201" y="162"/>
              </a:cxn>
              <a:cxn ang="0">
                <a:pos x="201" y="145"/>
              </a:cxn>
              <a:cxn ang="0">
                <a:pos x="198" y="130"/>
              </a:cxn>
              <a:cxn ang="0">
                <a:pos x="191" y="111"/>
              </a:cxn>
              <a:cxn ang="0">
                <a:pos x="191" y="104"/>
              </a:cxn>
              <a:cxn ang="0">
                <a:pos x="192" y="97"/>
              </a:cxn>
              <a:cxn ang="0">
                <a:pos x="200" y="90"/>
              </a:cxn>
              <a:cxn ang="0">
                <a:pos x="210" y="85"/>
              </a:cxn>
              <a:cxn ang="0">
                <a:pos x="219" y="77"/>
              </a:cxn>
              <a:cxn ang="0">
                <a:pos x="220" y="70"/>
              </a:cxn>
              <a:cxn ang="0">
                <a:pos x="220" y="65"/>
              </a:cxn>
              <a:cxn ang="0">
                <a:pos x="215" y="55"/>
              </a:cxn>
              <a:cxn ang="0">
                <a:pos x="205" y="43"/>
              </a:cxn>
              <a:cxn ang="0">
                <a:pos x="187" y="29"/>
              </a:cxn>
              <a:cxn ang="0">
                <a:pos x="177" y="16"/>
              </a:cxn>
              <a:cxn ang="0">
                <a:pos x="173" y="7"/>
              </a:cxn>
              <a:cxn ang="0">
                <a:pos x="173" y="0"/>
              </a:cxn>
              <a:cxn ang="0">
                <a:pos x="173" y="8"/>
              </a:cxn>
            </a:cxnLst>
            <a:rect l="0" t="0" r="r" b="b"/>
            <a:pathLst>
              <a:path w="220" h="203">
                <a:moveTo>
                  <a:pt x="173" y="8"/>
                </a:moveTo>
                <a:lnTo>
                  <a:pt x="173" y="8"/>
                </a:lnTo>
                <a:lnTo>
                  <a:pt x="168" y="17"/>
                </a:lnTo>
                <a:lnTo>
                  <a:pt x="163" y="24"/>
                </a:lnTo>
                <a:lnTo>
                  <a:pt x="159" y="30"/>
                </a:lnTo>
                <a:lnTo>
                  <a:pt x="154" y="35"/>
                </a:lnTo>
                <a:lnTo>
                  <a:pt x="148" y="38"/>
                </a:lnTo>
                <a:lnTo>
                  <a:pt x="141" y="39"/>
                </a:lnTo>
                <a:lnTo>
                  <a:pt x="133" y="40"/>
                </a:lnTo>
                <a:lnTo>
                  <a:pt x="124" y="42"/>
                </a:lnTo>
                <a:lnTo>
                  <a:pt x="124" y="42"/>
                </a:lnTo>
                <a:lnTo>
                  <a:pt x="118" y="40"/>
                </a:lnTo>
                <a:lnTo>
                  <a:pt x="114" y="39"/>
                </a:lnTo>
                <a:lnTo>
                  <a:pt x="109" y="37"/>
                </a:lnTo>
                <a:lnTo>
                  <a:pt x="106" y="35"/>
                </a:lnTo>
                <a:lnTo>
                  <a:pt x="101" y="29"/>
                </a:lnTo>
                <a:lnTo>
                  <a:pt x="99" y="21"/>
                </a:lnTo>
                <a:lnTo>
                  <a:pt x="95" y="14"/>
                </a:lnTo>
                <a:lnTo>
                  <a:pt x="93" y="10"/>
                </a:lnTo>
                <a:lnTo>
                  <a:pt x="90" y="7"/>
                </a:lnTo>
                <a:lnTo>
                  <a:pt x="86" y="5"/>
                </a:lnTo>
                <a:lnTo>
                  <a:pt x="82" y="2"/>
                </a:lnTo>
                <a:lnTo>
                  <a:pt x="76" y="1"/>
                </a:lnTo>
                <a:lnTo>
                  <a:pt x="69" y="0"/>
                </a:lnTo>
                <a:lnTo>
                  <a:pt x="69" y="0"/>
                </a:lnTo>
                <a:lnTo>
                  <a:pt x="59" y="1"/>
                </a:lnTo>
                <a:lnTo>
                  <a:pt x="47" y="5"/>
                </a:lnTo>
                <a:lnTo>
                  <a:pt x="36" y="9"/>
                </a:lnTo>
                <a:lnTo>
                  <a:pt x="24" y="15"/>
                </a:lnTo>
                <a:lnTo>
                  <a:pt x="15" y="23"/>
                </a:lnTo>
                <a:lnTo>
                  <a:pt x="7" y="32"/>
                </a:lnTo>
                <a:lnTo>
                  <a:pt x="3" y="37"/>
                </a:lnTo>
                <a:lnTo>
                  <a:pt x="1" y="42"/>
                </a:lnTo>
                <a:lnTo>
                  <a:pt x="0" y="47"/>
                </a:lnTo>
                <a:lnTo>
                  <a:pt x="0" y="52"/>
                </a:lnTo>
                <a:lnTo>
                  <a:pt x="0" y="52"/>
                </a:lnTo>
                <a:lnTo>
                  <a:pt x="0" y="62"/>
                </a:lnTo>
                <a:lnTo>
                  <a:pt x="2" y="73"/>
                </a:lnTo>
                <a:lnTo>
                  <a:pt x="7" y="84"/>
                </a:lnTo>
                <a:lnTo>
                  <a:pt x="11" y="94"/>
                </a:lnTo>
                <a:lnTo>
                  <a:pt x="17" y="106"/>
                </a:lnTo>
                <a:lnTo>
                  <a:pt x="24" y="117"/>
                </a:lnTo>
                <a:lnTo>
                  <a:pt x="40" y="140"/>
                </a:lnTo>
                <a:lnTo>
                  <a:pt x="59" y="161"/>
                </a:lnTo>
                <a:lnTo>
                  <a:pt x="77" y="178"/>
                </a:lnTo>
                <a:lnTo>
                  <a:pt x="94" y="193"/>
                </a:lnTo>
                <a:lnTo>
                  <a:pt x="102" y="199"/>
                </a:lnTo>
                <a:lnTo>
                  <a:pt x="110" y="203"/>
                </a:lnTo>
                <a:lnTo>
                  <a:pt x="110" y="203"/>
                </a:lnTo>
                <a:lnTo>
                  <a:pt x="110" y="199"/>
                </a:lnTo>
                <a:lnTo>
                  <a:pt x="113" y="196"/>
                </a:lnTo>
                <a:lnTo>
                  <a:pt x="115" y="192"/>
                </a:lnTo>
                <a:lnTo>
                  <a:pt x="120" y="189"/>
                </a:lnTo>
                <a:lnTo>
                  <a:pt x="129" y="182"/>
                </a:lnTo>
                <a:lnTo>
                  <a:pt x="141" y="176"/>
                </a:lnTo>
                <a:lnTo>
                  <a:pt x="155" y="170"/>
                </a:lnTo>
                <a:lnTo>
                  <a:pt x="169" y="166"/>
                </a:lnTo>
                <a:lnTo>
                  <a:pt x="183" y="164"/>
                </a:lnTo>
                <a:lnTo>
                  <a:pt x="194" y="162"/>
                </a:lnTo>
                <a:lnTo>
                  <a:pt x="194" y="162"/>
                </a:lnTo>
                <a:lnTo>
                  <a:pt x="201" y="162"/>
                </a:lnTo>
                <a:lnTo>
                  <a:pt x="201" y="162"/>
                </a:lnTo>
                <a:lnTo>
                  <a:pt x="202" y="153"/>
                </a:lnTo>
                <a:lnTo>
                  <a:pt x="201" y="145"/>
                </a:lnTo>
                <a:lnTo>
                  <a:pt x="200" y="137"/>
                </a:lnTo>
                <a:lnTo>
                  <a:pt x="198" y="130"/>
                </a:lnTo>
                <a:lnTo>
                  <a:pt x="193" y="117"/>
                </a:lnTo>
                <a:lnTo>
                  <a:pt x="191" y="111"/>
                </a:lnTo>
                <a:lnTo>
                  <a:pt x="191" y="104"/>
                </a:lnTo>
                <a:lnTo>
                  <a:pt x="191" y="104"/>
                </a:lnTo>
                <a:lnTo>
                  <a:pt x="191" y="100"/>
                </a:lnTo>
                <a:lnTo>
                  <a:pt x="192" y="97"/>
                </a:lnTo>
                <a:lnTo>
                  <a:pt x="196" y="92"/>
                </a:lnTo>
                <a:lnTo>
                  <a:pt x="200" y="90"/>
                </a:lnTo>
                <a:lnTo>
                  <a:pt x="205" y="88"/>
                </a:lnTo>
                <a:lnTo>
                  <a:pt x="210" y="85"/>
                </a:lnTo>
                <a:lnTo>
                  <a:pt x="215" y="82"/>
                </a:lnTo>
                <a:lnTo>
                  <a:pt x="219" y="77"/>
                </a:lnTo>
                <a:lnTo>
                  <a:pt x="220" y="75"/>
                </a:lnTo>
                <a:lnTo>
                  <a:pt x="220" y="70"/>
                </a:lnTo>
                <a:lnTo>
                  <a:pt x="220" y="70"/>
                </a:lnTo>
                <a:lnTo>
                  <a:pt x="220" y="65"/>
                </a:lnTo>
                <a:lnTo>
                  <a:pt x="217" y="60"/>
                </a:lnTo>
                <a:lnTo>
                  <a:pt x="215" y="55"/>
                </a:lnTo>
                <a:lnTo>
                  <a:pt x="213" y="51"/>
                </a:lnTo>
                <a:lnTo>
                  <a:pt x="205" y="43"/>
                </a:lnTo>
                <a:lnTo>
                  <a:pt x="196" y="36"/>
                </a:lnTo>
                <a:lnTo>
                  <a:pt x="187" y="29"/>
                </a:lnTo>
                <a:lnTo>
                  <a:pt x="179" y="21"/>
                </a:lnTo>
                <a:lnTo>
                  <a:pt x="177" y="16"/>
                </a:lnTo>
                <a:lnTo>
                  <a:pt x="175" y="12"/>
                </a:lnTo>
                <a:lnTo>
                  <a:pt x="173" y="7"/>
                </a:lnTo>
                <a:lnTo>
                  <a:pt x="173" y="0"/>
                </a:lnTo>
                <a:lnTo>
                  <a:pt x="173" y="0"/>
                </a:lnTo>
                <a:lnTo>
                  <a:pt x="173" y="8"/>
                </a:lnTo>
                <a:lnTo>
                  <a:pt x="173" y="8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1" name="Freeform 126"/>
          <p:cNvSpPr>
            <a:spLocks/>
          </p:cNvSpPr>
          <p:nvPr/>
        </p:nvSpPr>
        <p:spPr bwMode="auto">
          <a:xfrm>
            <a:off x="581025" y="5510213"/>
            <a:ext cx="198438" cy="136525"/>
          </a:xfrm>
          <a:custGeom>
            <a:avLst/>
            <a:gdLst/>
            <a:ahLst/>
            <a:cxnLst>
              <a:cxn ang="0">
                <a:pos x="227" y="103"/>
              </a:cxn>
              <a:cxn ang="0">
                <a:pos x="236" y="92"/>
              </a:cxn>
              <a:cxn ang="0">
                <a:pos x="242" y="86"/>
              </a:cxn>
              <a:cxn ang="0">
                <a:pos x="220" y="69"/>
              </a:cxn>
              <a:cxn ang="0">
                <a:pos x="201" y="52"/>
              </a:cxn>
              <a:cxn ang="0">
                <a:pos x="193" y="56"/>
              </a:cxn>
              <a:cxn ang="0">
                <a:pos x="181" y="57"/>
              </a:cxn>
              <a:cxn ang="0">
                <a:pos x="168" y="51"/>
              </a:cxn>
              <a:cxn ang="0">
                <a:pos x="150" y="36"/>
              </a:cxn>
              <a:cxn ang="0">
                <a:pos x="130" y="18"/>
              </a:cxn>
              <a:cxn ang="0">
                <a:pos x="115" y="7"/>
              </a:cxn>
              <a:cxn ang="0">
                <a:pos x="98" y="2"/>
              </a:cxn>
              <a:cxn ang="0">
                <a:pos x="87" y="0"/>
              </a:cxn>
              <a:cxn ang="0">
                <a:pos x="61" y="4"/>
              </a:cxn>
              <a:cxn ang="0">
                <a:pos x="32" y="14"/>
              </a:cxn>
              <a:cxn ang="0">
                <a:pos x="9" y="27"/>
              </a:cxn>
              <a:cxn ang="0">
                <a:pos x="2" y="34"/>
              </a:cxn>
              <a:cxn ang="0">
                <a:pos x="0" y="41"/>
              </a:cxn>
              <a:cxn ang="0">
                <a:pos x="0" y="44"/>
              </a:cxn>
              <a:cxn ang="0">
                <a:pos x="8" y="53"/>
              </a:cxn>
              <a:cxn ang="0">
                <a:pos x="17" y="59"/>
              </a:cxn>
              <a:cxn ang="0">
                <a:pos x="28" y="80"/>
              </a:cxn>
              <a:cxn ang="0">
                <a:pos x="45" y="127"/>
              </a:cxn>
              <a:cxn ang="0">
                <a:pos x="59" y="152"/>
              </a:cxn>
              <a:cxn ang="0">
                <a:pos x="66" y="158"/>
              </a:cxn>
              <a:cxn ang="0">
                <a:pos x="66" y="156"/>
              </a:cxn>
              <a:cxn ang="0">
                <a:pos x="72" y="150"/>
              </a:cxn>
              <a:cxn ang="0">
                <a:pos x="92" y="144"/>
              </a:cxn>
              <a:cxn ang="0">
                <a:pos x="132" y="140"/>
              </a:cxn>
              <a:cxn ang="0">
                <a:pos x="135" y="140"/>
              </a:cxn>
              <a:cxn ang="0">
                <a:pos x="140" y="145"/>
              </a:cxn>
              <a:cxn ang="0">
                <a:pos x="147" y="150"/>
              </a:cxn>
              <a:cxn ang="0">
                <a:pos x="150" y="150"/>
              </a:cxn>
              <a:cxn ang="0">
                <a:pos x="160" y="146"/>
              </a:cxn>
              <a:cxn ang="0">
                <a:pos x="168" y="140"/>
              </a:cxn>
              <a:cxn ang="0">
                <a:pos x="177" y="148"/>
              </a:cxn>
              <a:cxn ang="0">
                <a:pos x="190" y="150"/>
              </a:cxn>
              <a:cxn ang="0">
                <a:pos x="194" y="150"/>
              </a:cxn>
              <a:cxn ang="0">
                <a:pos x="201" y="146"/>
              </a:cxn>
              <a:cxn ang="0">
                <a:pos x="209" y="137"/>
              </a:cxn>
              <a:cxn ang="0">
                <a:pos x="216" y="122"/>
              </a:cxn>
              <a:cxn ang="0">
                <a:pos x="224" y="112"/>
              </a:cxn>
              <a:cxn ang="0">
                <a:pos x="230" y="110"/>
              </a:cxn>
              <a:cxn ang="0">
                <a:pos x="227" y="103"/>
              </a:cxn>
            </a:cxnLst>
            <a:rect l="0" t="0" r="r" b="b"/>
            <a:pathLst>
              <a:path w="242" h="158">
                <a:moveTo>
                  <a:pt x="227" y="103"/>
                </a:moveTo>
                <a:lnTo>
                  <a:pt x="227" y="103"/>
                </a:lnTo>
                <a:lnTo>
                  <a:pt x="231" y="96"/>
                </a:lnTo>
                <a:lnTo>
                  <a:pt x="236" y="92"/>
                </a:lnTo>
                <a:lnTo>
                  <a:pt x="239" y="89"/>
                </a:lnTo>
                <a:lnTo>
                  <a:pt x="242" y="86"/>
                </a:lnTo>
                <a:lnTo>
                  <a:pt x="242" y="86"/>
                </a:lnTo>
                <a:lnTo>
                  <a:pt x="220" y="69"/>
                </a:lnTo>
                <a:lnTo>
                  <a:pt x="210" y="61"/>
                </a:lnTo>
                <a:lnTo>
                  <a:pt x="201" y="52"/>
                </a:lnTo>
                <a:lnTo>
                  <a:pt x="201" y="52"/>
                </a:lnTo>
                <a:lnTo>
                  <a:pt x="193" y="56"/>
                </a:lnTo>
                <a:lnTo>
                  <a:pt x="187" y="57"/>
                </a:lnTo>
                <a:lnTo>
                  <a:pt x="181" y="57"/>
                </a:lnTo>
                <a:lnTo>
                  <a:pt x="174" y="54"/>
                </a:lnTo>
                <a:lnTo>
                  <a:pt x="168" y="51"/>
                </a:lnTo>
                <a:lnTo>
                  <a:pt x="162" y="46"/>
                </a:lnTo>
                <a:lnTo>
                  <a:pt x="150" y="36"/>
                </a:lnTo>
                <a:lnTo>
                  <a:pt x="137" y="23"/>
                </a:lnTo>
                <a:lnTo>
                  <a:pt x="130" y="18"/>
                </a:lnTo>
                <a:lnTo>
                  <a:pt x="123" y="12"/>
                </a:lnTo>
                <a:lnTo>
                  <a:pt x="115" y="7"/>
                </a:lnTo>
                <a:lnTo>
                  <a:pt x="107" y="4"/>
                </a:lnTo>
                <a:lnTo>
                  <a:pt x="98" y="2"/>
                </a:lnTo>
                <a:lnTo>
                  <a:pt x="87" y="0"/>
                </a:lnTo>
                <a:lnTo>
                  <a:pt x="87" y="0"/>
                </a:lnTo>
                <a:lnTo>
                  <a:pt x="76" y="2"/>
                </a:lnTo>
                <a:lnTo>
                  <a:pt x="61" y="4"/>
                </a:lnTo>
                <a:lnTo>
                  <a:pt x="47" y="8"/>
                </a:lnTo>
                <a:lnTo>
                  <a:pt x="32" y="14"/>
                </a:lnTo>
                <a:lnTo>
                  <a:pt x="19" y="20"/>
                </a:lnTo>
                <a:lnTo>
                  <a:pt x="9" y="27"/>
                </a:lnTo>
                <a:lnTo>
                  <a:pt x="5" y="30"/>
                </a:lnTo>
                <a:lnTo>
                  <a:pt x="2" y="34"/>
                </a:lnTo>
                <a:lnTo>
                  <a:pt x="0" y="37"/>
                </a:lnTo>
                <a:lnTo>
                  <a:pt x="0" y="41"/>
                </a:lnTo>
                <a:lnTo>
                  <a:pt x="0" y="41"/>
                </a:lnTo>
                <a:lnTo>
                  <a:pt x="0" y="44"/>
                </a:lnTo>
                <a:lnTo>
                  <a:pt x="2" y="48"/>
                </a:lnTo>
                <a:lnTo>
                  <a:pt x="8" y="53"/>
                </a:lnTo>
                <a:lnTo>
                  <a:pt x="17" y="59"/>
                </a:lnTo>
                <a:lnTo>
                  <a:pt x="17" y="59"/>
                </a:lnTo>
                <a:lnTo>
                  <a:pt x="22" y="67"/>
                </a:lnTo>
                <a:lnTo>
                  <a:pt x="28" y="80"/>
                </a:lnTo>
                <a:lnTo>
                  <a:pt x="39" y="111"/>
                </a:lnTo>
                <a:lnTo>
                  <a:pt x="45" y="127"/>
                </a:lnTo>
                <a:lnTo>
                  <a:pt x="52" y="141"/>
                </a:lnTo>
                <a:lnTo>
                  <a:pt x="59" y="152"/>
                </a:lnTo>
                <a:lnTo>
                  <a:pt x="62" y="156"/>
                </a:lnTo>
                <a:lnTo>
                  <a:pt x="66" y="158"/>
                </a:lnTo>
                <a:lnTo>
                  <a:pt x="66" y="158"/>
                </a:lnTo>
                <a:lnTo>
                  <a:pt x="66" y="156"/>
                </a:lnTo>
                <a:lnTo>
                  <a:pt x="68" y="153"/>
                </a:lnTo>
                <a:lnTo>
                  <a:pt x="72" y="150"/>
                </a:lnTo>
                <a:lnTo>
                  <a:pt x="82" y="148"/>
                </a:lnTo>
                <a:lnTo>
                  <a:pt x="92" y="144"/>
                </a:lnTo>
                <a:lnTo>
                  <a:pt x="114" y="141"/>
                </a:lnTo>
                <a:lnTo>
                  <a:pt x="132" y="140"/>
                </a:lnTo>
                <a:lnTo>
                  <a:pt x="132" y="140"/>
                </a:lnTo>
                <a:lnTo>
                  <a:pt x="135" y="140"/>
                </a:lnTo>
                <a:lnTo>
                  <a:pt x="137" y="141"/>
                </a:lnTo>
                <a:lnTo>
                  <a:pt x="140" y="145"/>
                </a:lnTo>
                <a:lnTo>
                  <a:pt x="145" y="149"/>
                </a:lnTo>
                <a:lnTo>
                  <a:pt x="147" y="150"/>
                </a:lnTo>
                <a:lnTo>
                  <a:pt x="150" y="150"/>
                </a:lnTo>
                <a:lnTo>
                  <a:pt x="150" y="150"/>
                </a:lnTo>
                <a:lnTo>
                  <a:pt x="155" y="149"/>
                </a:lnTo>
                <a:lnTo>
                  <a:pt x="160" y="146"/>
                </a:lnTo>
                <a:lnTo>
                  <a:pt x="168" y="140"/>
                </a:lnTo>
                <a:lnTo>
                  <a:pt x="168" y="140"/>
                </a:lnTo>
                <a:lnTo>
                  <a:pt x="173" y="144"/>
                </a:lnTo>
                <a:lnTo>
                  <a:pt x="177" y="148"/>
                </a:lnTo>
                <a:lnTo>
                  <a:pt x="182" y="150"/>
                </a:lnTo>
                <a:lnTo>
                  <a:pt x="190" y="150"/>
                </a:lnTo>
                <a:lnTo>
                  <a:pt x="190" y="150"/>
                </a:lnTo>
                <a:lnTo>
                  <a:pt x="194" y="150"/>
                </a:lnTo>
                <a:lnTo>
                  <a:pt x="198" y="149"/>
                </a:lnTo>
                <a:lnTo>
                  <a:pt x="201" y="146"/>
                </a:lnTo>
                <a:lnTo>
                  <a:pt x="205" y="144"/>
                </a:lnTo>
                <a:lnTo>
                  <a:pt x="209" y="137"/>
                </a:lnTo>
                <a:lnTo>
                  <a:pt x="213" y="130"/>
                </a:lnTo>
                <a:lnTo>
                  <a:pt x="216" y="122"/>
                </a:lnTo>
                <a:lnTo>
                  <a:pt x="220" y="117"/>
                </a:lnTo>
                <a:lnTo>
                  <a:pt x="224" y="112"/>
                </a:lnTo>
                <a:lnTo>
                  <a:pt x="228" y="111"/>
                </a:lnTo>
                <a:lnTo>
                  <a:pt x="230" y="110"/>
                </a:lnTo>
                <a:lnTo>
                  <a:pt x="230" y="110"/>
                </a:lnTo>
                <a:lnTo>
                  <a:pt x="227" y="103"/>
                </a:lnTo>
                <a:lnTo>
                  <a:pt x="227" y="103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2" name="Freeform 127"/>
          <p:cNvSpPr>
            <a:spLocks/>
          </p:cNvSpPr>
          <p:nvPr/>
        </p:nvSpPr>
        <p:spPr bwMode="auto">
          <a:xfrm>
            <a:off x="635000" y="5603875"/>
            <a:ext cx="169863" cy="125413"/>
          </a:xfrm>
          <a:custGeom>
            <a:avLst/>
            <a:gdLst/>
            <a:ahLst/>
            <a:cxnLst>
              <a:cxn ang="0">
                <a:pos x="110" y="132"/>
              </a:cxn>
              <a:cxn ang="0">
                <a:pos x="123" y="142"/>
              </a:cxn>
              <a:cxn ang="0">
                <a:pos x="128" y="144"/>
              </a:cxn>
              <a:cxn ang="0">
                <a:pos x="138" y="140"/>
              </a:cxn>
              <a:cxn ang="0">
                <a:pos x="142" y="133"/>
              </a:cxn>
              <a:cxn ang="0">
                <a:pos x="146" y="122"/>
              </a:cxn>
              <a:cxn ang="0">
                <a:pos x="147" y="107"/>
              </a:cxn>
              <a:cxn ang="0">
                <a:pos x="142" y="87"/>
              </a:cxn>
              <a:cxn ang="0">
                <a:pos x="139" y="70"/>
              </a:cxn>
              <a:cxn ang="0">
                <a:pos x="139" y="66"/>
              </a:cxn>
              <a:cxn ang="0">
                <a:pos x="144" y="57"/>
              </a:cxn>
              <a:cxn ang="0">
                <a:pos x="161" y="48"/>
              </a:cxn>
              <a:cxn ang="0">
                <a:pos x="182" y="41"/>
              </a:cxn>
              <a:cxn ang="0">
                <a:pos x="205" y="36"/>
              </a:cxn>
              <a:cxn ang="0">
                <a:pos x="199" y="22"/>
              </a:cxn>
              <a:cxn ang="0">
                <a:pos x="191" y="10"/>
              </a:cxn>
              <a:cxn ang="0">
                <a:pos x="179" y="3"/>
              </a:cxn>
              <a:cxn ang="0">
                <a:pos x="164" y="0"/>
              </a:cxn>
              <a:cxn ang="0">
                <a:pos x="162" y="1"/>
              </a:cxn>
              <a:cxn ang="0">
                <a:pos x="154" y="7"/>
              </a:cxn>
              <a:cxn ang="0">
                <a:pos x="147" y="20"/>
              </a:cxn>
              <a:cxn ang="0">
                <a:pos x="139" y="34"/>
              </a:cxn>
              <a:cxn ang="0">
                <a:pos x="132" y="39"/>
              </a:cxn>
              <a:cxn ang="0">
                <a:pos x="124" y="40"/>
              </a:cxn>
              <a:cxn ang="0">
                <a:pos x="116" y="40"/>
              </a:cxn>
              <a:cxn ang="0">
                <a:pos x="107" y="34"/>
              </a:cxn>
              <a:cxn ang="0">
                <a:pos x="102" y="30"/>
              </a:cxn>
              <a:cxn ang="0">
                <a:pos x="89" y="39"/>
              </a:cxn>
              <a:cxn ang="0">
                <a:pos x="84" y="40"/>
              </a:cxn>
              <a:cxn ang="0">
                <a:pos x="79" y="39"/>
              </a:cxn>
              <a:cxn ang="0">
                <a:pos x="71" y="31"/>
              </a:cxn>
              <a:cxn ang="0">
                <a:pos x="66" y="30"/>
              </a:cxn>
              <a:cxn ang="0">
                <a:pos x="48" y="31"/>
              </a:cxn>
              <a:cxn ang="0">
                <a:pos x="16" y="38"/>
              </a:cxn>
              <a:cxn ang="0">
                <a:pos x="2" y="43"/>
              </a:cxn>
              <a:cxn ang="0">
                <a:pos x="0" y="48"/>
              </a:cxn>
              <a:cxn ang="0">
                <a:pos x="1" y="54"/>
              </a:cxn>
              <a:cxn ang="0">
                <a:pos x="6" y="65"/>
              </a:cxn>
              <a:cxn ang="0">
                <a:pos x="18" y="78"/>
              </a:cxn>
              <a:cxn ang="0">
                <a:pos x="21" y="88"/>
              </a:cxn>
              <a:cxn ang="0">
                <a:pos x="21" y="91"/>
              </a:cxn>
              <a:cxn ang="0">
                <a:pos x="16" y="97"/>
              </a:cxn>
              <a:cxn ang="0">
                <a:pos x="11" y="104"/>
              </a:cxn>
              <a:cxn ang="0">
                <a:pos x="10" y="107"/>
              </a:cxn>
              <a:cxn ang="0">
                <a:pos x="13" y="116"/>
              </a:cxn>
              <a:cxn ang="0">
                <a:pos x="21" y="124"/>
              </a:cxn>
              <a:cxn ang="0">
                <a:pos x="33" y="129"/>
              </a:cxn>
              <a:cxn ang="0">
                <a:pos x="62" y="134"/>
              </a:cxn>
              <a:cxn ang="0">
                <a:pos x="102" y="135"/>
              </a:cxn>
              <a:cxn ang="0">
                <a:pos x="110" y="132"/>
              </a:cxn>
            </a:cxnLst>
            <a:rect l="0" t="0" r="r" b="b"/>
            <a:pathLst>
              <a:path w="205" h="144">
                <a:moveTo>
                  <a:pt x="110" y="132"/>
                </a:moveTo>
                <a:lnTo>
                  <a:pt x="110" y="132"/>
                </a:lnTo>
                <a:lnTo>
                  <a:pt x="117" y="139"/>
                </a:lnTo>
                <a:lnTo>
                  <a:pt x="123" y="142"/>
                </a:lnTo>
                <a:lnTo>
                  <a:pt x="128" y="144"/>
                </a:lnTo>
                <a:lnTo>
                  <a:pt x="128" y="144"/>
                </a:lnTo>
                <a:lnTo>
                  <a:pt x="133" y="142"/>
                </a:lnTo>
                <a:lnTo>
                  <a:pt x="138" y="140"/>
                </a:lnTo>
                <a:lnTo>
                  <a:pt x="140" y="138"/>
                </a:lnTo>
                <a:lnTo>
                  <a:pt x="142" y="133"/>
                </a:lnTo>
                <a:lnTo>
                  <a:pt x="144" y="127"/>
                </a:lnTo>
                <a:lnTo>
                  <a:pt x="146" y="122"/>
                </a:lnTo>
                <a:lnTo>
                  <a:pt x="147" y="107"/>
                </a:lnTo>
                <a:lnTo>
                  <a:pt x="147" y="107"/>
                </a:lnTo>
                <a:lnTo>
                  <a:pt x="144" y="96"/>
                </a:lnTo>
                <a:lnTo>
                  <a:pt x="142" y="87"/>
                </a:lnTo>
                <a:lnTo>
                  <a:pt x="140" y="78"/>
                </a:lnTo>
                <a:lnTo>
                  <a:pt x="139" y="70"/>
                </a:lnTo>
                <a:lnTo>
                  <a:pt x="139" y="70"/>
                </a:lnTo>
                <a:lnTo>
                  <a:pt x="139" y="66"/>
                </a:lnTo>
                <a:lnTo>
                  <a:pt x="140" y="63"/>
                </a:lnTo>
                <a:lnTo>
                  <a:pt x="144" y="57"/>
                </a:lnTo>
                <a:lnTo>
                  <a:pt x="151" y="51"/>
                </a:lnTo>
                <a:lnTo>
                  <a:pt x="161" y="48"/>
                </a:lnTo>
                <a:lnTo>
                  <a:pt x="171" y="43"/>
                </a:lnTo>
                <a:lnTo>
                  <a:pt x="182" y="41"/>
                </a:lnTo>
                <a:lnTo>
                  <a:pt x="194" y="39"/>
                </a:lnTo>
                <a:lnTo>
                  <a:pt x="205" y="36"/>
                </a:lnTo>
                <a:lnTo>
                  <a:pt x="205" y="36"/>
                </a:lnTo>
                <a:lnTo>
                  <a:pt x="199" y="22"/>
                </a:lnTo>
                <a:lnTo>
                  <a:pt x="195" y="16"/>
                </a:lnTo>
                <a:lnTo>
                  <a:pt x="191" y="10"/>
                </a:lnTo>
                <a:lnTo>
                  <a:pt x="185" y="5"/>
                </a:lnTo>
                <a:lnTo>
                  <a:pt x="179" y="3"/>
                </a:lnTo>
                <a:lnTo>
                  <a:pt x="172" y="1"/>
                </a:lnTo>
                <a:lnTo>
                  <a:pt x="164" y="0"/>
                </a:lnTo>
                <a:lnTo>
                  <a:pt x="164" y="0"/>
                </a:lnTo>
                <a:lnTo>
                  <a:pt x="162" y="1"/>
                </a:lnTo>
                <a:lnTo>
                  <a:pt x="158" y="2"/>
                </a:lnTo>
                <a:lnTo>
                  <a:pt x="154" y="7"/>
                </a:lnTo>
                <a:lnTo>
                  <a:pt x="150" y="12"/>
                </a:lnTo>
                <a:lnTo>
                  <a:pt x="147" y="20"/>
                </a:lnTo>
                <a:lnTo>
                  <a:pt x="143" y="27"/>
                </a:lnTo>
                <a:lnTo>
                  <a:pt x="139" y="34"/>
                </a:lnTo>
                <a:lnTo>
                  <a:pt x="135" y="36"/>
                </a:lnTo>
                <a:lnTo>
                  <a:pt x="132" y="39"/>
                </a:lnTo>
                <a:lnTo>
                  <a:pt x="128" y="40"/>
                </a:lnTo>
                <a:lnTo>
                  <a:pt x="124" y="40"/>
                </a:lnTo>
                <a:lnTo>
                  <a:pt x="124" y="40"/>
                </a:lnTo>
                <a:lnTo>
                  <a:pt x="116" y="40"/>
                </a:lnTo>
                <a:lnTo>
                  <a:pt x="111" y="38"/>
                </a:lnTo>
                <a:lnTo>
                  <a:pt x="107" y="34"/>
                </a:lnTo>
                <a:lnTo>
                  <a:pt x="102" y="30"/>
                </a:lnTo>
                <a:lnTo>
                  <a:pt x="102" y="30"/>
                </a:lnTo>
                <a:lnTo>
                  <a:pt x="94" y="36"/>
                </a:lnTo>
                <a:lnTo>
                  <a:pt x="89" y="39"/>
                </a:lnTo>
                <a:lnTo>
                  <a:pt x="84" y="40"/>
                </a:lnTo>
                <a:lnTo>
                  <a:pt x="84" y="40"/>
                </a:lnTo>
                <a:lnTo>
                  <a:pt x="81" y="40"/>
                </a:lnTo>
                <a:lnTo>
                  <a:pt x="79" y="39"/>
                </a:lnTo>
                <a:lnTo>
                  <a:pt x="74" y="35"/>
                </a:lnTo>
                <a:lnTo>
                  <a:pt x="71" y="31"/>
                </a:lnTo>
                <a:lnTo>
                  <a:pt x="69" y="30"/>
                </a:lnTo>
                <a:lnTo>
                  <a:pt x="66" y="30"/>
                </a:lnTo>
                <a:lnTo>
                  <a:pt x="66" y="30"/>
                </a:lnTo>
                <a:lnTo>
                  <a:pt x="48" y="31"/>
                </a:lnTo>
                <a:lnTo>
                  <a:pt x="26" y="34"/>
                </a:lnTo>
                <a:lnTo>
                  <a:pt x="16" y="38"/>
                </a:lnTo>
                <a:lnTo>
                  <a:pt x="6" y="40"/>
                </a:lnTo>
                <a:lnTo>
                  <a:pt x="2" y="43"/>
                </a:lnTo>
                <a:lnTo>
                  <a:pt x="0" y="46"/>
                </a:lnTo>
                <a:lnTo>
                  <a:pt x="0" y="48"/>
                </a:lnTo>
                <a:lnTo>
                  <a:pt x="0" y="48"/>
                </a:lnTo>
                <a:lnTo>
                  <a:pt x="1" y="54"/>
                </a:lnTo>
                <a:lnTo>
                  <a:pt x="3" y="60"/>
                </a:lnTo>
                <a:lnTo>
                  <a:pt x="6" y="65"/>
                </a:lnTo>
                <a:lnTo>
                  <a:pt x="11" y="70"/>
                </a:lnTo>
                <a:lnTo>
                  <a:pt x="18" y="78"/>
                </a:lnTo>
                <a:lnTo>
                  <a:pt x="20" y="84"/>
                </a:lnTo>
                <a:lnTo>
                  <a:pt x="21" y="88"/>
                </a:lnTo>
                <a:lnTo>
                  <a:pt x="21" y="88"/>
                </a:lnTo>
                <a:lnTo>
                  <a:pt x="21" y="91"/>
                </a:lnTo>
                <a:lnTo>
                  <a:pt x="20" y="93"/>
                </a:lnTo>
                <a:lnTo>
                  <a:pt x="16" y="97"/>
                </a:lnTo>
                <a:lnTo>
                  <a:pt x="12" y="101"/>
                </a:lnTo>
                <a:lnTo>
                  <a:pt x="11" y="104"/>
                </a:lnTo>
                <a:lnTo>
                  <a:pt x="10" y="107"/>
                </a:lnTo>
                <a:lnTo>
                  <a:pt x="10" y="107"/>
                </a:lnTo>
                <a:lnTo>
                  <a:pt x="11" y="111"/>
                </a:lnTo>
                <a:lnTo>
                  <a:pt x="13" y="116"/>
                </a:lnTo>
                <a:lnTo>
                  <a:pt x="17" y="120"/>
                </a:lnTo>
                <a:lnTo>
                  <a:pt x="21" y="124"/>
                </a:lnTo>
                <a:lnTo>
                  <a:pt x="26" y="126"/>
                </a:lnTo>
                <a:lnTo>
                  <a:pt x="33" y="129"/>
                </a:lnTo>
                <a:lnTo>
                  <a:pt x="47" y="132"/>
                </a:lnTo>
                <a:lnTo>
                  <a:pt x="62" y="134"/>
                </a:lnTo>
                <a:lnTo>
                  <a:pt x="77" y="135"/>
                </a:lnTo>
                <a:lnTo>
                  <a:pt x="102" y="135"/>
                </a:lnTo>
                <a:lnTo>
                  <a:pt x="102" y="135"/>
                </a:lnTo>
                <a:lnTo>
                  <a:pt x="110" y="132"/>
                </a:lnTo>
                <a:lnTo>
                  <a:pt x="110" y="13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3" name="Freeform 128"/>
          <p:cNvSpPr>
            <a:spLocks/>
          </p:cNvSpPr>
          <p:nvPr/>
        </p:nvSpPr>
        <p:spPr bwMode="auto">
          <a:xfrm>
            <a:off x="2062163" y="4357688"/>
            <a:ext cx="269875" cy="344487"/>
          </a:xfrm>
          <a:custGeom>
            <a:avLst/>
            <a:gdLst/>
            <a:ahLst/>
            <a:cxnLst>
              <a:cxn ang="0">
                <a:pos x="162" y="395"/>
              </a:cxn>
              <a:cxn ang="0">
                <a:pos x="183" y="395"/>
              </a:cxn>
              <a:cxn ang="0">
                <a:pos x="220" y="379"/>
              </a:cxn>
              <a:cxn ang="0">
                <a:pos x="251" y="356"/>
              </a:cxn>
              <a:cxn ang="0">
                <a:pos x="231" y="347"/>
              </a:cxn>
              <a:cxn ang="0">
                <a:pos x="224" y="330"/>
              </a:cxn>
              <a:cxn ang="0">
                <a:pos x="224" y="319"/>
              </a:cxn>
              <a:cxn ang="0">
                <a:pos x="230" y="307"/>
              </a:cxn>
              <a:cxn ang="0">
                <a:pos x="263" y="290"/>
              </a:cxn>
              <a:cxn ang="0">
                <a:pos x="280" y="283"/>
              </a:cxn>
              <a:cxn ang="0">
                <a:pos x="290" y="252"/>
              </a:cxn>
              <a:cxn ang="0">
                <a:pos x="301" y="203"/>
              </a:cxn>
              <a:cxn ang="0">
                <a:pos x="314" y="128"/>
              </a:cxn>
              <a:cxn ang="0">
                <a:pos x="330" y="74"/>
              </a:cxn>
              <a:cxn ang="0">
                <a:pos x="304" y="55"/>
              </a:cxn>
              <a:cxn ang="0">
                <a:pos x="237" y="9"/>
              </a:cxn>
              <a:cxn ang="0">
                <a:pos x="209" y="0"/>
              </a:cxn>
              <a:cxn ang="0">
                <a:pos x="194" y="5"/>
              </a:cxn>
              <a:cxn ang="0">
                <a:pos x="178" y="24"/>
              </a:cxn>
              <a:cxn ang="0">
                <a:pos x="159" y="73"/>
              </a:cxn>
              <a:cxn ang="0">
                <a:pos x="145" y="97"/>
              </a:cxn>
              <a:cxn ang="0">
                <a:pos x="122" y="106"/>
              </a:cxn>
              <a:cxn ang="0">
                <a:pos x="113" y="104"/>
              </a:cxn>
              <a:cxn ang="0">
                <a:pos x="106" y="97"/>
              </a:cxn>
              <a:cxn ang="0">
                <a:pos x="95" y="91"/>
              </a:cxn>
              <a:cxn ang="0">
                <a:pos x="79" y="98"/>
              </a:cxn>
              <a:cxn ang="0">
                <a:pos x="67" y="106"/>
              </a:cxn>
              <a:cxn ang="0">
                <a:pos x="62" y="120"/>
              </a:cxn>
              <a:cxn ang="0">
                <a:pos x="57" y="165"/>
              </a:cxn>
              <a:cxn ang="0">
                <a:pos x="54" y="179"/>
              </a:cxn>
              <a:cxn ang="0">
                <a:pos x="37" y="196"/>
              </a:cxn>
              <a:cxn ang="0">
                <a:pos x="17" y="212"/>
              </a:cxn>
              <a:cxn ang="0">
                <a:pos x="9" y="228"/>
              </a:cxn>
              <a:cxn ang="0">
                <a:pos x="7" y="242"/>
              </a:cxn>
              <a:cxn ang="0">
                <a:pos x="9" y="274"/>
              </a:cxn>
              <a:cxn ang="0">
                <a:pos x="6" y="289"/>
              </a:cxn>
              <a:cxn ang="0">
                <a:pos x="0" y="297"/>
              </a:cxn>
              <a:cxn ang="0">
                <a:pos x="1" y="306"/>
              </a:cxn>
              <a:cxn ang="0">
                <a:pos x="17" y="324"/>
              </a:cxn>
              <a:cxn ang="0">
                <a:pos x="40" y="330"/>
              </a:cxn>
              <a:cxn ang="0">
                <a:pos x="55" y="330"/>
              </a:cxn>
              <a:cxn ang="0">
                <a:pos x="85" y="335"/>
              </a:cxn>
              <a:cxn ang="0">
                <a:pos x="107" y="330"/>
              </a:cxn>
              <a:cxn ang="0">
                <a:pos x="102" y="320"/>
              </a:cxn>
              <a:cxn ang="0">
                <a:pos x="100" y="309"/>
              </a:cxn>
              <a:cxn ang="0">
                <a:pos x="108" y="299"/>
              </a:cxn>
              <a:cxn ang="0">
                <a:pos x="143" y="294"/>
              </a:cxn>
              <a:cxn ang="0">
                <a:pos x="143" y="315"/>
              </a:cxn>
              <a:cxn ang="0">
                <a:pos x="127" y="340"/>
              </a:cxn>
              <a:cxn ang="0">
                <a:pos x="125" y="349"/>
              </a:cxn>
              <a:cxn ang="0">
                <a:pos x="158" y="349"/>
              </a:cxn>
              <a:cxn ang="0">
                <a:pos x="152" y="365"/>
              </a:cxn>
              <a:cxn ang="0">
                <a:pos x="137" y="375"/>
              </a:cxn>
              <a:cxn ang="0">
                <a:pos x="125" y="394"/>
              </a:cxn>
              <a:cxn ang="0">
                <a:pos x="133" y="397"/>
              </a:cxn>
              <a:cxn ang="0">
                <a:pos x="151" y="394"/>
              </a:cxn>
              <a:cxn ang="0">
                <a:pos x="154" y="394"/>
              </a:cxn>
            </a:cxnLst>
            <a:rect l="0" t="0" r="r" b="b"/>
            <a:pathLst>
              <a:path w="330" h="397">
                <a:moveTo>
                  <a:pt x="154" y="394"/>
                </a:moveTo>
                <a:lnTo>
                  <a:pt x="154" y="394"/>
                </a:lnTo>
                <a:lnTo>
                  <a:pt x="162" y="395"/>
                </a:lnTo>
                <a:lnTo>
                  <a:pt x="169" y="396"/>
                </a:lnTo>
                <a:lnTo>
                  <a:pt x="176" y="395"/>
                </a:lnTo>
                <a:lnTo>
                  <a:pt x="183" y="395"/>
                </a:lnTo>
                <a:lnTo>
                  <a:pt x="196" y="391"/>
                </a:lnTo>
                <a:lnTo>
                  <a:pt x="208" y="386"/>
                </a:lnTo>
                <a:lnTo>
                  <a:pt x="220" y="379"/>
                </a:lnTo>
                <a:lnTo>
                  <a:pt x="230" y="371"/>
                </a:lnTo>
                <a:lnTo>
                  <a:pt x="251" y="356"/>
                </a:lnTo>
                <a:lnTo>
                  <a:pt x="251" y="356"/>
                </a:lnTo>
                <a:lnTo>
                  <a:pt x="240" y="352"/>
                </a:lnTo>
                <a:lnTo>
                  <a:pt x="236" y="350"/>
                </a:lnTo>
                <a:lnTo>
                  <a:pt x="231" y="347"/>
                </a:lnTo>
                <a:lnTo>
                  <a:pt x="229" y="342"/>
                </a:lnTo>
                <a:lnTo>
                  <a:pt x="227" y="337"/>
                </a:lnTo>
                <a:lnTo>
                  <a:pt x="224" y="330"/>
                </a:lnTo>
                <a:lnTo>
                  <a:pt x="224" y="324"/>
                </a:lnTo>
                <a:lnTo>
                  <a:pt x="224" y="324"/>
                </a:lnTo>
                <a:lnTo>
                  <a:pt x="224" y="319"/>
                </a:lnTo>
                <a:lnTo>
                  <a:pt x="225" y="314"/>
                </a:lnTo>
                <a:lnTo>
                  <a:pt x="228" y="311"/>
                </a:lnTo>
                <a:lnTo>
                  <a:pt x="230" y="307"/>
                </a:lnTo>
                <a:lnTo>
                  <a:pt x="237" y="302"/>
                </a:lnTo>
                <a:lnTo>
                  <a:pt x="245" y="297"/>
                </a:lnTo>
                <a:lnTo>
                  <a:pt x="263" y="290"/>
                </a:lnTo>
                <a:lnTo>
                  <a:pt x="272" y="287"/>
                </a:lnTo>
                <a:lnTo>
                  <a:pt x="280" y="283"/>
                </a:lnTo>
                <a:lnTo>
                  <a:pt x="280" y="283"/>
                </a:lnTo>
                <a:lnTo>
                  <a:pt x="282" y="278"/>
                </a:lnTo>
                <a:lnTo>
                  <a:pt x="285" y="271"/>
                </a:lnTo>
                <a:lnTo>
                  <a:pt x="290" y="252"/>
                </a:lnTo>
                <a:lnTo>
                  <a:pt x="298" y="217"/>
                </a:lnTo>
                <a:lnTo>
                  <a:pt x="298" y="217"/>
                </a:lnTo>
                <a:lnTo>
                  <a:pt x="301" y="203"/>
                </a:lnTo>
                <a:lnTo>
                  <a:pt x="305" y="187"/>
                </a:lnTo>
                <a:lnTo>
                  <a:pt x="311" y="147"/>
                </a:lnTo>
                <a:lnTo>
                  <a:pt x="314" y="128"/>
                </a:lnTo>
                <a:lnTo>
                  <a:pt x="318" y="108"/>
                </a:lnTo>
                <a:lnTo>
                  <a:pt x="323" y="90"/>
                </a:lnTo>
                <a:lnTo>
                  <a:pt x="330" y="74"/>
                </a:lnTo>
                <a:lnTo>
                  <a:pt x="330" y="74"/>
                </a:lnTo>
                <a:lnTo>
                  <a:pt x="319" y="66"/>
                </a:lnTo>
                <a:lnTo>
                  <a:pt x="304" y="55"/>
                </a:lnTo>
                <a:lnTo>
                  <a:pt x="270" y="31"/>
                </a:lnTo>
                <a:lnTo>
                  <a:pt x="253" y="20"/>
                </a:lnTo>
                <a:lnTo>
                  <a:pt x="237" y="9"/>
                </a:lnTo>
                <a:lnTo>
                  <a:pt x="222" y="2"/>
                </a:lnTo>
                <a:lnTo>
                  <a:pt x="215" y="0"/>
                </a:lnTo>
                <a:lnTo>
                  <a:pt x="209" y="0"/>
                </a:lnTo>
                <a:lnTo>
                  <a:pt x="209" y="0"/>
                </a:lnTo>
                <a:lnTo>
                  <a:pt x="201" y="1"/>
                </a:lnTo>
                <a:lnTo>
                  <a:pt x="194" y="5"/>
                </a:lnTo>
                <a:lnTo>
                  <a:pt x="189" y="9"/>
                </a:lnTo>
                <a:lnTo>
                  <a:pt x="183" y="16"/>
                </a:lnTo>
                <a:lnTo>
                  <a:pt x="178" y="24"/>
                </a:lnTo>
                <a:lnTo>
                  <a:pt x="175" y="34"/>
                </a:lnTo>
                <a:lnTo>
                  <a:pt x="167" y="53"/>
                </a:lnTo>
                <a:lnTo>
                  <a:pt x="159" y="73"/>
                </a:lnTo>
                <a:lnTo>
                  <a:pt x="155" y="82"/>
                </a:lnTo>
                <a:lnTo>
                  <a:pt x="150" y="90"/>
                </a:lnTo>
                <a:lnTo>
                  <a:pt x="145" y="97"/>
                </a:lnTo>
                <a:lnTo>
                  <a:pt x="138" y="101"/>
                </a:lnTo>
                <a:lnTo>
                  <a:pt x="130" y="105"/>
                </a:lnTo>
                <a:lnTo>
                  <a:pt x="122" y="106"/>
                </a:lnTo>
                <a:lnTo>
                  <a:pt x="122" y="106"/>
                </a:lnTo>
                <a:lnTo>
                  <a:pt x="116" y="106"/>
                </a:lnTo>
                <a:lnTo>
                  <a:pt x="113" y="104"/>
                </a:lnTo>
                <a:lnTo>
                  <a:pt x="110" y="101"/>
                </a:lnTo>
                <a:lnTo>
                  <a:pt x="108" y="99"/>
                </a:lnTo>
                <a:lnTo>
                  <a:pt x="106" y="97"/>
                </a:lnTo>
                <a:lnTo>
                  <a:pt x="104" y="93"/>
                </a:lnTo>
                <a:lnTo>
                  <a:pt x="100" y="92"/>
                </a:lnTo>
                <a:lnTo>
                  <a:pt x="95" y="91"/>
                </a:lnTo>
                <a:lnTo>
                  <a:pt x="95" y="91"/>
                </a:lnTo>
                <a:lnTo>
                  <a:pt x="90" y="93"/>
                </a:lnTo>
                <a:lnTo>
                  <a:pt x="79" y="98"/>
                </a:lnTo>
                <a:lnTo>
                  <a:pt x="70" y="103"/>
                </a:lnTo>
                <a:lnTo>
                  <a:pt x="68" y="105"/>
                </a:lnTo>
                <a:lnTo>
                  <a:pt x="67" y="106"/>
                </a:lnTo>
                <a:lnTo>
                  <a:pt x="67" y="106"/>
                </a:lnTo>
                <a:lnTo>
                  <a:pt x="64" y="113"/>
                </a:lnTo>
                <a:lnTo>
                  <a:pt x="62" y="120"/>
                </a:lnTo>
                <a:lnTo>
                  <a:pt x="61" y="137"/>
                </a:lnTo>
                <a:lnTo>
                  <a:pt x="60" y="156"/>
                </a:lnTo>
                <a:lnTo>
                  <a:pt x="57" y="165"/>
                </a:lnTo>
                <a:lnTo>
                  <a:pt x="55" y="173"/>
                </a:lnTo>
                <a:lnTo>
                  <a:pt x="55" y="173"/>
                </a:lnTo>
                <a:lnTo>
                  <a:pt x="54" y="179"/>
                </a:lnTo>
                <a:lnTo>
                  <a:pt x="52" y="182"/>
                </a:lnTo>
                <a:lnTo>
                  <a:pt x="45" y="190"/>
                </a:lnTo>
                <a:lnTo>
                  <a:pt x="37" y="196"/>
                </a:lnTo>
                <a:lnTo>
                  <a:pt x="29" y="202"/>
                </a:lnTo>
                <a:lnTo>
                  <a:pt x="21" y="208"/>
                </a:lnTo>
                <a:lnTo>
                  <a:pt x="17" y="212"/>
                </a:lnTo>
                <a:lnTo>
                  <a:pt x="14" y="217"/>
                </a:lnTo>
                <a:lnTo>
                  <a:pt x="11" y="222"/>
                </a:lnTo>
                <a:lnTo>
                  <a:pt x="9" y="228"/>
                </a:lnTo>
                <a:lnTo>
                  <a:pt x="8" y="235"/>
                </a:lnTo>
                <a:lnTo>
                  <a:pt x="7" y="242"/>
                </a:lnTo>
                <a:lnTo>
                  <a:pt x="7" y="242"/>
                </a:lnTo>
                <a:lnTo>
                  <a:pt x="8" y="252"/>
                </a:lnTo>
                <a:lnTo>
                  <a:pt x="9" y="263"/>
                </a:lnTo>
                <a:lnTo>
                  <a:pt x="9" y="274"/>
                </a:lnTo>
                <a:lnTo>
                  <a:pt x="7" y="287"/>
                </a:lnTo>
                <a:lnTo>
                  <a:pt x="7" y="287"/>
                </a:lnTo>
                <a:lnTo>
                  <a:pt x="6" y="289"/>
                </a:lnTo>
                <a:lnTo>
                  <a:pt x="3" y="292"/>
                </a:lnTo>
                <a:lnTo>
                  <a:pt x="1" y="295"/>
                </a:lnTo>
                <a:lnTo>
                  <a:pt x="0" y="297"/>
                </a:lnTo>
                <a:lnTo>
                  <a:pt x="0" y="297"/>
                </a:lnTo>
                <a:lnTo>
                  <a:pt x="1" y="302"/>
                </a:lnTo>
                <a:lnTo>
                  <a:pt x="1" y="306"/>
                </a:lnTo>
                <a:lnTo>
                  <a:pt x="6" y="313"/>
                </a:lnTo>
                <a:lnTo>
                  <a:pt x="10" y="319"/>
                </a:lnTo>
                <a:lnTo>
                  <a:pt x="17" y="324"/>
                </a:lnTo>
                <a:lnTo>
                  <a:pt x="25" y="327"/>
                </a:lnTo>
                <a:lnTo>
                  <a:pt x="33" y="329"/>
                </a:lnTo>
                <a:lnTo>
                  <a:pt x="40" y="330"/>
                </a:lnTo>
                <a:lnTo>
                  <a:pt x="48" y="330"/>
                </a:lnTo>
                <a:lnTo>
                  <a:pt x="48" y="330"/>
                </a:lnTo>
                <a:lnTo>
                  <a:pt x="55" y="330"/>
                </a:lnTo>
                <a:lnTo>
                  <a:pt x="62" y="332"/>
                </a:lnTo>
                <a:lnTo>
                  <a:pt x="77" y="335"/>
                </a:lnTo>
                <a:lnTo>
                  <a:pt x="85" y="335"/>
                </a:lnTo>
                <a:lnTo>
                  <a:pt x="92" y="335"/>
                </a:lnTo>
                <a:lnTo>
                  <a:pt x="100" y="334"/>
                </a:lnTo>
                <a:lnTo>
                  <a:pt x="107" y="330"/>
                </a:lnTo>
                <a:lnTo>
                  <a:pt x="107" y="330"/>
                </a:lnTo>
                <a:lnTo>
                  <a:pt x="105" y="325"/>
                </a:lnTo>
                <a:lnTo>
                  <a:pt x="102" y="320"/>
                </a:lnTo>
                <a:lnTo>
                  <a:pt x="100" y="315"/>
                </a:lnTo>
                <a:lnTo>
                  <a:pt x="100" y="309"/>
                </a:lnTo>
                <a:lnTo>
                  <a:pt x="100" y="309"/>
                </a:lnTo>
                <a:lnTo>
                  <a:pt x="100" y="306"/>
                </a:lnTo>
                <a:lnTo>
                  <a:pt x="102" y="304"/>
                </a:lnTo>
                <a:lnTo>
                  <a:pt x="108" y="299"/>
                </a:lnTo>
                <a:lnTo>
                  <a:pt x="122" y="294"/>
                </a:lnTo>
                <a:lnTo>
                  <a:pt x="122" y="294"/>
                </a:lnTo>
                <a:lnTo>
                  <a:pt x="143" y="294"/>
                </a:lnTo>
                <a:lnTo>
                  <a:pt x="143" y="315"/>
                </a:lnTo>
                <a:lnTo>
                  <a:pt x="143" y="315"/>
                </a:lnTo>
                <a:lnTo>
                  <a:pt x="143" y="315"/>
                </a:lnTo>
                <a:lnTo>
                  <a:pt x="136" y="324"/>
                </a:lnTo>
                <a:lnTo>
                  <a:pt x="130" y="332"/>
                </a:lnTo>
                <a:lnTo>
                  <a:pt x="127" y="340"/>
                </a:lnTo>
                <a:lnTo>
                  <a:pt x="125" y="344"/>
                </a:lnTo>
                <a:lnTo>
                  <a:pt x="125" y="349"/>
                </a:lnTo>
                <a:lnTo>
                  <a:pt x="125" y="349"/>
                </a:lnTo>
                <a:lnTo>
                  <a:pt x="158" y="349"/>
                </a:lnTo>
                <a:lnTo>
                  <a:pt x="158" y="349"/>
                </a:lnTo>
                <a:lnTo>
                  <a:pt x="158" y="349"/>
                </a:lnTo>
                <a:lnTo>
                  <a:pt x="158" y="356"/>
                </a:lnTo>
                <a:lnTo>
                  <a:pt x="155" y="362"/>
                </a:lnTo>
                <a:lnTo>
                  <a:pt x="152" y="365"/>
                </a:lnTo>
                <a:lnTo>
                  <a:pt x="147" y="370"/>
                </a:lnTo>
                <a:lnTo>
                  <a:pt x="141" y="372"/>
                </a:lnTo>
                <a:lnTo>
                  <a:pt x="137" y="375"/>
                </a:lnTo>
                <a:lnTo>
                  <a:pt x="125" y="379"/>
                </a:lnTo>
                <a:lnTo>
                  <a:pt x="125" y="379"/>
                </a:lnTo>
                <a:lnTo>
                  <a:pt x="125" y="394"/>
                </a:lnTo>
                <a:lnTo>
                  <a:pt x="125" y="394"/>
                </a:lnTo>
                <a:lnTo>
                  <a:pt x="125" y="394"/>
                </a:lnTo>
                <a:lnTo>
                  <a:pt x="133" y="397"/>
                </a:lnTo>
                <a:lnTo>
                  <a:pt x="139" y="397"/>
                </a:lnTo>
                <a:lnTo>
                  <a:pt x="144" y="396"/>
                </a:lnTo>
                <a:lnTo>
                  <a:pt x="151" y="394"/>
                </a:lnTo>
                <a:lnTo>
                  <a:pt x="151" y="394"/>
                </a:lnTo>
                <a:lnTo>
                  <a:pt x="154" y="394"/>
                </a:lnTo>
                <a:lnTo>
                  <a:pt x="154" y="39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4" name="Freeform 129"/>
          <p:cNvSpPr>
            <a:spLocks/>
          </p:cNvSpPr>
          <p:nvPr/>
        </p:nvSpPr>
        <p:spPr bwMode="auto">
          <a:xfrm>
            <a:off x="4462463" y="3478213"/>
            <a:ext cx="1020762" cy="1457325"/>
          </a:xfrm>
          <a:custGeom>
            <a:avLst/>
            <a:gdLst/>
            <a:ahLst/>
            <a:cxnLst>
              <a:cxn ang="0">
                <a:pos x="68" y="588"/>
              </a:cxn>
              <a:cxn ang="0">
                <a:pos x="26" y="625"/>
              </a:cxn>
              <a:cxn ang="0">
                <a:pos x="28" y="675"/>
              </a:cxn>
              <a:cxn ang="0">
                <a:pos x="3" y="730"/>
              </a:cxn>
              <a:cxn ang="0">
                <a:pos x="36" y="776"/>
              </a:cxn>
              <a:cxn ang="0">
                <a:pos x="37" y="848"/>
              </a:cxn>
              <a:cxn ang="0">
                <a:pos x="174" y="912"/>
              </a:cxn>
              <a:cxn ang="0">
                <a:pos x="227" y="997"/>
              </a:cxn>
              <a:cxn ang="0">
                <a:pos x="201" y="1087"/>
              </a:cxn>
              <a:cxn ang="0">
                <a:pos x="149" y="1191"/>
              </a:cxn>
              <a:cxn ang="0">
                <a:pos x="110" y="1238"/>
              </a:cxn>
              <a:cxn ang="0">
                <a:pos x="147" y="1334"/>
              </a:cxn>
              <a:cxn ang="0">
                <a:pos x="186" y="1463"/>
              </a:cxn>
              <a:cxn ang="0">
                <a:pos x="254" y="1415"/>
              </a:cxn>
              <a:cxn ang="0">
                <a:pos x="286" y="1385"/>
              </a:cxn>
              <a:cxn ang="0">
                <a:pos x="306" y="1365"/>
              </a:cxn>
              <a:cxn ang="0">
                <a:pos x="366" y="1406"/>
              </a:cxn>
              <a:cxn ang="0">
                <a:pos x="435" y="1392"/>
              </a:cxn>
              <a:cxn ang="0">
                <a:pos x="460" y="1496"/>
              </a:cxn>
              <a:cxn ang="0">
                <a:pos x="462" y="1602"/>
              </a:cxn>
              <a:cxn ang="0">
                <a:pos x="593" y="1622"/>
              </a:cxn>
              <a:cxn ang="0">
                <a:pos x="677" y="1584"/>
              </a:cxn>
              <a:cxn ang="0">
                <a:pos x="778" y="1518"/>
              </a:cxn>
              <a:cxn ang="0">
                <a:pos x="1003" y="1555"/>
              </a:cxn>
              <a:cxn ang="0">
                <a:pos x="1036" y="1610"/>
              </a:cxn>
              <a:cxn ang="0">
                <a:pos x="1083" y="1618"/>
              </a:cxn>
              <a:cxn ang="0">
                <a:pos x="1202" y="1663"/>
              </a:cxn>
              <a:cxn ang="0">
                <a:pos x="1220" y="1595"/>
              </a:cxn>
              <a:cxn ang="0">
                <a:pos x="1188" y="1534"/>
              </a:cxn>
              <a:cxn ang="0">
                <a:pos x="1196" y="1484"/>
              </a:cxn>
              <a:cxn ang="0">
                <a:pos x="1205" y="1419"/>
              </a:cxn>
              <a:cxn ang="0">
                <a:pos x="1120" y="1334"/>
              </a:cxn>
              <a:cxn ang="0">
                <a:pos x="1130" y="1265"/>
              </a:cxn>
              <a:cxn ang="0">
                <a:pos x="1172" y="1207"/>
              </a:cxn>
              <a:cxn ang="0">
                <a:pos x="1201" y="1148"/>
              </a:cxn>
              <a:cxn ang="0">
                <a:pos x="1194" y="1088"/>
              </a:cxn>
              <a:cxn ang="0">
                <a:pos x="1204" y="1034"/>
              </a:cxn>
              <a:cxn ang="0">
                <a:pos x="1161" y="965"/>
              </a:cxn>
              <a:cxn ang="0">
                <a:pos x="1167" y="898"/>
              </a:cxn>
              <a:cxn ang="0">
                <a:pos x="1199" y="829"/>
              </a:cxn>
              <a:cxn ang="0">
                <a:pos x="1242" y="783"/>
              </a:cxn>
              <a:cxn ang="0">
                <a:pos x="1145" y="768"/>
              </a:cxn>
              <a:cxn ang="0">
                <a:pos x="1081" y="672"/>
              </a:cxn>
              <a:cxn ang="0">
                <a:pos x="1107" y="593"/>
              </a:cxn>
              <a:cxn ang="0">
                <a:pos x="1042" y="487"/>
              </a:cxn>
              <a:cxn ang="0">
                <a:pos x="1039" y="419"/>
              </a:cxn>
              <a:cxn ang="0">
                <a:pos x="1019" y="370"/>
              </a:cxn>
              <a:cxn ang="0">
                <a:pos x="1035" y="243"/>
              </a:cxn>
              <a:cxn ang="0">
                <a:pos x="932" y="3"/>
              </a:cxn>
              <a:cxn ang="0">
                <a:pos x="896" y="44"/>
              </a:cxn>
              <a:cxn ang="0">
                <a:pos x="845" y="42"/>
              </a:cxn>
              <a:cxn ang="0">
                <a:pos x="778" y="56"/>
              </a:cxn>
              <a:cxn ang="0">
                <a:pos x="676" y="38"/>
              </a:cxn>
              <a:cxn ang="0">
                <a:pos x="628" y="44"/>
              </a:cxn>
              <a:cxn ang="0">
                <a:pos x="583" y="6"/>
              </a:cxn>
              <a:cxn ang="0">
                <a:pos x="537" y="43"/>
              </a:cxn>
              <a:cxn ang="0">
                <a:pos x="432" y="77"/>
              </a:cxn>
              <a:cxn ang="0">
                <a:pos x="310" y="235"/>
              </a:cxn>
              <a:cxn ang="0">
                <a:pos x="262" y="276"/>
              </a:cxn>
              <a:cxn ang="0">
                <a:pos x="165" y="419"/>
              </a:cxn>
            </a:cxnLst>
            <a:rect l="0" t="0" r="r" b="b"/>
            <a:pathLst>
              <a:path w="1249" h="1672">
                <a:moveTo>
                  <a:pt x="165" y="419"/>
                </a:moveTo>
                <a:lnTo>
                  <a:pt x="165" y="419"/>
                </a:lnTo>
                <a:lnTo>
                  <a:pt x="152" y="442"/>
                </a:lnTo>
                <a:lnTo>
                  <a:pt x="140" y="464"/>
                </a:lnTo>
                <a:lnTo>
                  <a:pt x="114" y="502"/>
                </a:lnTo>
                <a:lnTo>
                  <a:pt x="103" y="520"/>
                </a:lnTo>
                <a:lnTo>
                  <a:pt x="91" y="540"/>
                </a:lnTo>
                <a:lnTo>
                  <a:pt x="80" y="562"/>
                </a:lnTo>
                <a:lnTo>
                  <a:pt x="69" y="585"/>
                </a:lnTo>
                <a:lnTo>
                  <a:pt x="69" y="585"/>
                </a:lnTo>
                <a:lnTo>
                  <a:pt x="68" y="588"/>
                </a:lnTo>
                <a:lnTo>
                  <a:pt x="66" y="591"/>
                </a:lnTo>
                <a:lnTo>
                  <a:pt x="60" y="595"/>
                </a:lnTo>
                <a:lnTo>
                  <a:pt x="52" y="599"/>
                </a:lnTo>
                <a:lnTo>
                  <a:pt x="45" y="602"/>
                </a:lnTo>
                <a:lnTo>
                  <a:pt x="37" y="606"/>
                </a:lnTo>
                <a:lnTo>
                  <a:pt x="31" y="610"/>
                </a:lnTo>
                <a:lnTo>
                  <a:pt x="29" y="614"/>
                </a:lnTo>
                <a:lnTo>
                  <a:pt x="27" y="617"/>
                </a:lnTo>
                <a:lnTo>
                  <a:pt x="26" y="621"/>
                </a:lnTo>
                <a:lnTo>
                  <a:pt x="26" y="625"/>
                </a:lnTo>
                <a:lnTo>
                  <a:pt x="26" y="625"/>
                </a:lnTo>
                <a:lnTo>
                  <a:pt x="27" y="629"/>
                </a:lnTo>
                <a:lnTo>
                  <a:pt x="28" y="632"/>
                </a:lnTo>
                <a:lnTo>
                  <a:pt x="33" y="638"/>
                </a:lnTo>
                <a:lnTo>
                  <a:pt x="38" y="645"/>
                </a:lnTo>
                <a:lnTo>
                  <a:pt x="40" y="649"/>
                </a:lnTo>
                <a:lnTo>
                  <a:pt x="41" y="654"/>
                </a:lnTo>
                <a:lnTo>
                  <a:pt x="41" y="654"/>
                </a:lnTo>
                <a:lnTo>
                  <a:pt x="40" y="659"/>
                </a:lnTo>
                <a:lnTo>
                  <a:pt x="38" y="662"/>
                </a:lnTo>
                <a:lnTo>
                  <a:pt x="34" y="669"/>
                </a:lnTo>
                <a:lnTo>
                  <a:pt x="28" y="675"/>
                </a:lnTo>
                <a:lnTo>
                  <a:pt x="20" y="682"/>
                </a:lnTo>
                <a:lnTo>
                  <a:pt x="13" y="688"/>
                </a:lnTo>
                <a:lnTo>
                  <a:pt x="6" y="697"/>
                </a:lnTo>
                <a:lnTo>
                  <a:pt x="4" y="700"/>
                </a:lnTo>
                <a:lnTo>
                  <a:pt x="2" y="706"/>
                </a:lnTo>
                <a:lnTo>
                  <a:pt x="0" y="710"/>
                </a:lnTo>
                <a:lnTo>
                  <a:pt x="0" y="716"/>
                </a:lnTo>
                <a:lnTo>
                  <a:pt x="0" y="716"/>
                </a:lnTo>
                <a:lnTo>
                  <a:pt x="0" y="722"/>
                </a:lnTo>
                <a:lnTo>
                  <a:pt x="2" y="726"/>
                </a:lnTo>
                <a:lnTo>
                  <a:pt x="3" y="730"/>
                </a:lnTo>
                <a:lnTo>
                  <a:pt x="5" y="733"/>
                </a:lnTo>
                <a:lnTo>
                  <a:pt x="12" y="739"/>
                </a:lnTo>
                <a:lnTo>
                  <a:pt x="18" y="744"/>
                </a:lnTo>
                <a:lnTo>
                  <a:pt x="25" y="748"/>
                </a:lnTo>
                <a:lnTo>
                  <a:pt x="30" y="753"/>
                </a:lnTo>
                <a:lnTo>
                  <a:pt x="33" y="756"/>
                </a:lnTo>
                <a:lnTo>
                  <a:pt x="35" y="760"/>
                </a:lnTo>
                <a:lnTo>
                  <a:pt x="36" y="763"/>
                </a:lnTo>
                <a:lnTo>
                  <a:pt x="36" y="768"/>
                </a:lnTo>
                <a:lnTo>
                  <a:pt x="36" y="768"/>
                </a:lnTo>
                <a:lnTo>
                  <a:pt x="36" y="776"/>
                </a:lnTo>
                <a:lnTo>
                  <a:pt x="35" y="783"/>
                </a:lnTo>
                <a:lnTo>
                  <a:pt x="31" y="795"/>
                </a:lnTo>
                <a:lnTo>
                  <a:pt x="27" y="808"/>
                </a:lnTo>
                <a:lnTo>
                  <a:pt x="26" y="816"/>
                </a:lnTo>
                <a:lnTo>
                  <a:pt x="26" y="823"/>
                </a:lnTo>
                <a:lnTo>
                  <a:pt x="26" y="823"/>
                </a:lnTo>
                <a:lnTo>
                  <a:pt x="26" y="830"/>
                </a:lnTo>
                <a:lnTo>
                  <a:pt x="28" y="835"/>
                </a:lnTo>
                <a:lnTo>
                  <a:pt x="30" y="840"/>
                </a:lnTo>
                <a:lnTo>
                  <a:pt x="34" y="845"/>
                </a:lnTo>
                <a:lnTo>
                  <a:pt x="37" y="848"/>
                </a:lnTo>
                <a:lnTo>
                  <a:pt x="42" y="852"/>
                </a:lnTo>
                <a:lnTo>
                  <a:pt x="52" y="859"/>
                </a:lnTo>
                <a:lnTo>
                  <a:pt x="63" y="863"/>
                </a:lnTo>
                <a:lnTo>
                  <a:pt x="74" y="867"/>
                </a:lnTo>
                <a:lnTo>
                  <a:pt x="91" y="871"/>
                </a:lnTo>
                <a:lnTo>
                  <a:pt x="91" y="871"/>
                </a:lnTo>
                <a:lnTo>
                  <a:pt x="111" y="877"/>
                </a:lnTo>
                <a:lnTo>
                  <a:pt x="128" y="884"/>
                </a:lnTo>
                <a:lnTo>
                  <a:pt x="144" y="892"/>
                </a:lnTo>
                <a:lnTo>
                  <a:pt x="160" y="901"/>
                </a:lnTo>
                <a:lnTo>
                  <a:pt x="174" y="912"/>
                </a:lnTo>
                <a:lnTo>
                  <a:pt x="187" y="924"/>
                </a:lnTo>
                <a:lnTo>
                  <a:pt x="198" y="939"/>
                </a:lnTo>
                <a:lnTo>
                  <a:pt x="209" y="955"/>
                </a:lnTo>
                <a:lnTo>
                  <a:pt x="209" y="955"/>
                </a:lnTo>
                <a:lnTo>
                  <a:pt x="216" y="965"/>
                </a:lnTo>
                <a:lnTo>
                  <a:pt x="221" y="973"/>
                </a:lnTo>
                <a:lnTo>
                  <a:pt x="226" y="980"/>
                </a:lnTo>
                <a:lnTo>
                  <a:pt x="227" y="984"/>
                </a:lnTo>
                <a:lnTo>
                  <a:pt x="227" y="989"/>
                </a:lnTo>
                <a:lnTo>
                  <a:pt x="227" y="989"/>
                </a:lnTo>
                <a:lnTo>
                  <a:pt x="227" y="997"/>
                </a:lnTo>
                <a:lnTo>
                  <a:pt x="225" y="1004"/>
                </a:lnTo>
                <a:lnTo>
                  <a:pt x="221" y="1011"/>
                </a:lnTo>
                <a:lnTo>
                  <a:pt x="218" y="1018"/>
                </a:lnTo>
                <a:lnTo>
                  <a:pt x="209" y="1030"/>
                </a:lnTo>
                <a:lnTo>
                  <a:pt x="205" y="1037"/>
                </a:lnTo>
                <a:lnTo>
                  <a:pt x="202" y="1044"/>
                </a:lnTo>
                <a:lnTo>
                  <a:pt x="202" y="1044"/>
                </a:lnTo>
                <a:lnTo>
                  <a:pt x="201" y="1051"/>
                </a:lnTo>
                <a:lnTo>
                  <a:pt x="199" y="1058"/>
                </a:lnTo>
                <a:lnTo>
                  <a:pt x="201" y="1072"/>
                </a:lnTo>
                <a:lnTo>
                  <a:pt x="201" y="1087"/>
                </a:lnTo>
                <a:lnTo>
                  <a:pt x="199" y="1095"/>
                </a:lnTo>
                <a:lnTo>
                  <a:pt x="198" y="1103"/>
                </a:lnTo>
                <a:lnTo>
                  <a:pt x="198" y="1103"/>
                </a:lnTo>
                <a:lnTo>
                  <a:pt x="195" y="1110"/>
                </a:lnTo>
                <a:lnTo>
                  <a:pt x="189" y="1120"/>
                </a:lnTo>
                <a:lnTo>
                  <a:pt x="175" y="1142"/>
                </a:lnTo>
                <a:lnTo>
                  <a:pt x="161" y="1165"/>
                </a:lnTo>
                <a:lnTo>
                  <a:pt x="156" y="1176"/>
                </a:lnTo>
                <a:lnTo>
                  <a:pt x="150" y="1187"/>
                </a:lnTo>
                <a:lnTo>
                  <a:pt x="150" y="1187"/>
                </a:lnTo>
                <a:lnTo>
                  <a:pt x="149" y="1191"/>
                </a:lnTo>
                <a:lnTo>
                  <a:pt x="147" y="1194"/>
                </a:lnTo>
                <a:lnTo>
                  <a:pt x="141" y="1199"/>
                </a:lnTo>
                <a:lnTo>
                  <a:pt x="134" y="1203"/>
                </a:lnTo>
                <a:lnTo>
                  <a:pt x="127" y="1207"/>
                </a:lnTo>
                <a:lnTo>
                  <a:pt x="121" y="1212"/>
                </a:lnTo>
                <a:lnTo>
                  <a:pt x="115" y="1218"/>
                </a:lnTo>
                <a:lnTo>
                  <a:pt x="113" y="1222"/>
                </a:lnTo>
                <a:lnTo>
                  <a:pt x="111" y="1227"/>
                </a:lnTo>
                <a:lnTo>
                  <a:pt x="110" y="1233"/>
                </a:lnTo>
                <a:lnTo>
                  <a:pt x="110" y="1238"/>
                </a:lnTo>
                <a:lnTo>
                  <a:pt x="110" y="1238"/>
                </a:lnTo>
                <a:lnTo>
                  <a:pt x="111" y="1251"/>
                </a:lnTo>
                <a:lnTo>
                  <a:pt x="114" y="1262"/>
                </a:lnTo>
                <a:lnTo>
                  <a:pt x="119" y="1271"/>
                </a:lnTo>
                <a:lnTo>
                  <a:pt x="124" y="1279"/>
                </a:lnTo>
                <a:lnTo>
                  <a:pt x="135" y="1293"/>
                </a:lnTo>
                <a:lnTo>
                  <a:pt x="140" y="1301"/>
                </a:lnTo>
                <a:lnTo>
                  <a:pt x="143" y="1308"/>
                </a:lnTo>
                <a:lnTo>
                  <a:pt x="143" y="1308"/>
                </a:lnTo>
                <a:lnTo>
                  <a:pt x="145" y="1314"/>
                </a:lnTo>
                <a:lnTo>
                  <a:pt x="147" y="1321"/>
                </a:lnTo>
                <a:lnTo>
                  <a:pt x="147" y="1334"/>
                </a:lnTo>
                <a:lnTo>
                  <a:pt x="144" y="1347"/>
                </a:lnTo>
                <a:lnTo>
                  <a:pt x="143" y="1359"/>
                </a:lnTo>
                <a:lnTo>
                  <a:pt x="143" y="1359"/>
                </a:lnTo>
                <a:lnTo>
                  <a:pt x="150" y="1392"/>
                </a:lnTo>
                <a:lnTo>
                  <a:pt x="155" y="1410"/>
                </a:lnTo>
                <a:lnTo>
                  <a:pt x="159" y="1426"/>
                </a:lnTo>
                <a:lnTo>
                  <a:pt x="166" y="1442"/>
                </a:lnTo>
                <a:lnTo>
                  <a:pt x="171" y="1449"/>
                </a:lnTo>
                <a:lnTo>
                  <a:pt x="175" y="1455"/>
                </a:lnTo>
                <a:lnTo>
                  <a:pt x="180" y="1459"/>
                </a:lnTo>
                <a:lnTo>
                  <a:pt x="186" y="1463"/>
                </a:lnTo>
                <a:lnTo>
                  <a:pt x="191" y="1465"/>
                </a:lnTo>
                <a:lnTo>
                  <a:pt x="198" y="1466"/>
                </a:lnTo>
                <a:lnTo>
                  <a:pt x="198" y="1466"/>
                </a:lnTo>
                <a:lnTo>
                  <a:pt x="203" y="1466"/>
                </a:lnTo>
                <a:lnTo>
                  <a:pt x="208" y="1465"/>
                </a:lnTo>
                <a:lnTo>
                  <a:pt x="217" y="1461"/>
                </a:lnTo>
                <a:lnTo>
                  <a:pt x="226" y="1454"/>
                </a:lnTo>
                <a:lnTo>
                  <a:pt x="234" y="1446"/>
                </a:lnTo>
                <a:lnTo>
                  <a:pt x="242" y="1436"/>
                </a:lnTo>
                <a:lnTo>
                  <a:pt x="248" y="1426"/>
                </a:lnTo>
                <a:lnTo>
                  <a:pt x="254" y="1415"/>
                </a:lnTo>
                <a:lnTo>
                  <a:pt x="257" y="1404"/>
                </a:lnTo>
                <a:lnTo>
                  <a:pt x="257" y="1404"/>
                </a:lnTo>
                <a:lnTo>
                  <a:pt x="268" y="1406"/>
                </a:lnTo>
                <a:lnTo>
                  <a:pt x="275" y="1408"/>
                </a:lnTo>
                <a:lnTo>
                  <a:pt x="275" y="1408"/>
                </a:lnTo>
                <a:lnTo>
                  <a:pt x="280" y="1404"/>
                </a:lnTo>
                <a:lnTo>
                  <a:pt x="283" y="1400"/>
                </a:lnTo>
                <a:lnTo>
                  <a:pt x="286" y="1395"/>
                </a:lnTo>
                <a:lnTo>
                  <a:pt x="286" y="1389"/>
                </a:lnTo>
                <a:lnTo>
                  <a:pt x="286" y="1389"/>
                </a:lnTo>
                <a:lnTo>
                  <a:pt x="286" y="1385"/>
                </a:lnTo>
                <a:lnTo>
                  <a:pt x="285" y="1381"/>
                </a:lnTo>
                <a:lnTo>
                  <a:pt x="281" y="1374"/>
                </a:lnTo>
                <a:lnTo>
                  <a:pt x="278" y="1367"/>
                </a:lnTo>
                <a:lnTo>
                  <a:pt x="277" y="1364"/>
                </a:lnTo>
                <a:lnTo>
                  <a:pt x="275" y="1359"/>
                </a:lnTo>
                <a:lnTo>
                  <a:pt x="275" y="1359"/>
                </a:lnTo>
                <a:lnTo>
                  <a:pt x="297" y="1359"/>
                </a:lnTo>
                <a:lnTo>
                  <a:pt x="297" y="1359"/>
                </a:lnTo>
                <a:lnTo>
                  <a:pt x="297" y="1359"/>
                </a:lnTo>
                <a:lnTo>
                  <a:pt x="302" y="1362"/>
                </a:lnTo>
                <a:lnTo>
                  <a:pt x="306" y="1365"/>
                </a:lnTo>
                <a:lnTo>
                  <a:pt x="313" y="1372"/>
                </a:lnTo>
                <a:lnTo>
                  <a:pt x="319" y="1380"/>
                </a:lnTo>
                <a:lnTo>
                  <a:pt x="325" y="1388"/>
                </a:lnTo>
                <a:lnTo>
                  <a:pt x="332" y="1395"/>
                </a:lnTo>
                <a:lnTo>
                  <a:pt x="339" y="1402"/>
                </a:lnTo>
                <a:lnTo>
                  <a:pt x="342" y="1404"/>
                </a:lnTo>
                <a:lnTo>
                  <a:pt x="347" y="1405"/>
                </a:lnTo>
                <a:lnTo>
                  <a:pt x="351" y="1406"/>
                </a:lnTo>
                <a:lnTo>
                  <a:pt x="356" y="1408"/>
                </a:lnTo>
                <a:lnTo>
                  <a:pt x="356" y="1408"/>
                </a:lnTo>
                <a:lnTo>
                  <a:pt x="366" y="1406"/>
                </a:lnTo>
                <a:lnTo>
                  <a:pt x="374" y="1404"/>
                </a:lnTo>
                <a:lnTo>
                  <a:pt x="382" y="1402"/>
                </a:lnTo>
                <a:lnTo>
                  <a:pt x="388" y="1398"/>
                </a:lnTo>
                <a:lnTo>
                  <a:pt x="395" y="1395"/>
                </a:lnTo>
                <a:lnTo>
                  <a:pt x="402" y="1392"/>
                </a:lnTo>
                <a:lnTo>
                  <a:pt x="410" y="1390"/>
                </a:lnTo>
                <a:lnTo>
                  <a:pt x="418" y="1389"/>
                </a:lnTo>
                <a:lnTo>
                  <a:pt x="418" y="1389"/>
                </a:lnTo>
                <a:lnTo>
                  <a:pt x="424" y="1389"/>
                </a:lnTo>
                <a:lnTo>
                  <a:pt x="430" y="1390"/>
                </a:lnTo>
                <a:lnTo>
                  <a:pt x="435" y="1392"/>
                </a:lnTo>
                <a:lnTo>
                  <a:pt x="440" y="1394"/>
                </a:lnTo>
                <a:lnTo>
                  <a:pt x="448" y="1401"/>
                </a:lnTo>
                <a:lnTo>
                  <a:pt x="455" y="1408"/>
                </a:lnTo>
                <a:lnTo>
                  <a:pt x="460" y="1417"/>
                </a:lnTo>
                <a:lnTo>
                  <a:pt x="463" y="1428"/>
                </a:lnTo>
                <a:lnTo>
                  <a:pt x="465" y="1440"/>
                </a:lnTo>
                <a:lnTo>
                  <a:pt x="466" y="1451"/>
                </a:lnTo>
                <a:lnTo>
                  <a:pt x="466" y="1451"/>
                </a:lnTo>
                <a:lnTo>
                  <a:pt x="465" y="1469"/>
                </a:lnTo>
                <a:lnTo>
                  <a:pt x="463" y="1484"/>
                </a:lnTo>
                <a:lnTo>
                  <a:pt x="460" y="1496"/>
                </a:lnTo>
                <a:lnTo>
                  <a:pt x="455" y="1508"/>
                </a:lnTo>
                <a:lnTo>
                  <a:pt x="451" y="1519"/>
                </a:lnTo>
                <a:lnTo>
                  <a:pt x="448" y="1530"/>
                </a:lnTo>
                <a:lnTo>
                  <a:pt x="446" y="1541"/>
                </a:lnTo>
                <a:lnTo>
                  <a:pt x="445" y="1555"/>
                </a:lnTo>
                <a:lnTo>
                  <a:pt x="445" y="1555"/>
                </a:lnTo>
                <a:lnTo>
                  <a:pt x="445" y="1566"/>
                </a:lnTo>
                <a:lnTo>
                  <a:pt x="447" y="1578"/>
                </a:lnTo>
                <a:lnTo>
                  <a:pt x="450" y="1587"/>
                </a:lnTo>
                <a:lnTo>
                  <a:pt x="456" y="1595"/>
                </a:lnTo>
                <a:lnTo>
                  <a:pt x="462" y="1602"/>
                </a:lnTo>
                <a:lnTo>
                  <a:pt x="469" y="1608"/>
                </a:lnTo>
                <a:lnTo>
                  <a:pt x="477" y="1612"/>
                </a:lnTo>
                <a:lnTo>
                  <a:pt x="485" y="1616"/>
                </a:lnTo>
                <a:lnTo>
                  <a:pt x="494" y="1618"/>
                </a:lnTo>
                <a:lnTo>
                  <a:pt x="504" y="1621"/>
                </a:lnTo>
                <a:lnTo>
                  <a:pt x="526" y="1623"/>
                </a:lnTo>
                <a:lnTo>
                  <a:pt x="549" y="1624"/>
                </a:lnTo>
                <a:lnTo>
                  <a:pt x="573" y="1624"/>
                </a:lnTo>
                <a:lnTo>
                  <a:pt x="573" y="1624"/>
                </a:lnTo>
                <a:lnTo>
                  <a:pt x="584" y="1624"/>
                </a:lnTo>
                <a:lnTo>
                  <a:pt x="593" y="1622"/>
                </a:lnTo>
                <a:lnTo>
                  <a:pt x="601" y="1618"/>
                </a:lnTo>
                <a:lnTo>
                  <a:pt x="607" y="1614"/>
                </a:lnTo>
                <a:lnTo>
                  <a:pt x="617" y="1604"/>
                </a:lnTo>
                <a:lnTo>
                  <a:pt x="623" y="1600"/>
                </a:lnTo>
                <a:lnTo>
                  <a:pt x="628" y="1595"/>
                </a:lnTo>
                <a:lnTo>
                  <a:pt x="628" y="1595"/>
                </a:lnTo>
                <a:lnTo>
                  <a:pt x="636" y="1591"/>
                </a:lnTo>
                <a:lnTo>
                  <a:pt x="644" y="1587"/>
                </a:lnTo>
                <a:lnTo>
                  <a:pt x="652" y="1586"/>
                </a:lnTo>
                <a:lnTo>
                  <a:pt x="660" y="1585"/>
                </a:lnTo>
                <a:lnTo>
                  <a:pt x="677" y="1584"/>
                </a:lnTo>
                <a:lnTo>
                  <a:pt x="687" y="1583"/>
                </a:lnTo>
                <a:lnTo>
                  <a:pt x="698" y="1580"/>
                </a:lnTo>
                <a:lnTo>
                  <a:pt x="698" y="1580"/>
                </a:lnTo>
                <a:lnTo>
                  <a:pt x="705" y="1579"/>
                </a:lnTo>
                <a:lnTo>
                  <a:pt x="712" y="1577"/>
                </a:lnTo>
                <a:lnTo>
                  <a:pt x="724" y="1571"/>
                </a:lnTo>
                <a:lnTo>
                  <a:pt x="737" y="1563"/>
                </a:lnTo>
                <a:lnTo>
                  <a:pt x="748" y="1553"/>
                </a:lnTo>
                <a:lnTo>
                  <a:pt x="760" y="1542"/>
                </a:lnTo>
                <a:lnTo>
                  <a:pt x="769" y="1530"/>
                </a:lnTo>
                <a:lnTo>
                  <a:pt x="778" y="1518"/>
                </a:lnTo>
                <a:lnTo>
                  <a:pt x="786" y="1507"/>
                </a:lnTo>
                <a:lnTo>
                  <a:pt x="786" y="1507"/>
                </a:lnTo>
                <a:lnTo>
                  <a:pt x="799" y="1514"/>
                </a:lnTo>
                <a:lnTo>
                  <a:pt x="813" y="1519"/>
                </a:lnTo>
                <a:lnTo>
                  <a:pt x="843" y="1532"/>
                </a:lnTo>
                <a:lnTo>
                  <a:pt x="871" y="1543"/>
                </a:lnTo>
                <a:lnTo>
                  <a:pt x="896" y="1555"/>
                </a:lnTo>
                <a:lnTo>
                  <a:pt x="896" y="1555"/>
                </a:lnTo>
                <a:lnTo>
                  <a:pt x="999" y="1555"/>
                </a:lnTo>
                <a:lnTo>
                  <a:pt x="999" y="1555"/>
                </a:lnTo>
                <a:lnTo>
                  <a:pt x="1003" y="1555"/>
                </a:lnTo>
                <a:lnTo>
                  <a:pt x="1005" y="1556"/>
                </a:lnTo>
                <a:lnTo>
                  <a:pt x="1007" y="1558"/>
                </a:lnTo>
                <a:lnTo>
                  <a:pt x="1010" y="1562"/>
                </a:lnTo>
                <a:lnTo>
                  <a:pt x="1014" y="1570"/>
                </a:lnTo>
                <a:lnTo>
                  <a:pt x="1016" y="1580"/>
                </a:lnTo>
                <a:lnTo>
                  <a:pt x="1022" y="1602"/>
                </a:lnTo>
                <a:lnTo>
                  <a:pt x="1024" y="1612"/>
                </a:lnTo>
                <a:lnTo>
                  <a:pt x="1028" y="1621"/>
                </a:lnTo>
                <a:lnTo>
                  <a:pt x="1028" y="1621"/>
                </a:lnTo>
                <a:lnTo>
                  <a:pt x="1031" y="1615"/>
                </a:lnTo>
                <a:lnTo>
                  <a:pt x="1036" y="1610"/>
                </a:lnTo>
                <a:lnTo>
                  <a:pt x="1041" y="1607"/>
                </a:lnTo>
                <a:lnTo>
                  <a:pt x="1046" y="1603"/>
                </a:lnTo>
                <a:lnTo>
                  <a:pt x="1051" y="1601"/>
                </a:lnTo>
                <a:lnTo>
                  <a:pt x="1057" y="1600"/>
                </a:lnTo>
                <a:lnTo>
                  <a:pt x="1068" y="1599"/>
                </a:lnTo>
                <a:lnTo>
                  <a:pt x="1068" y="1599"/>
                </a:lnTo>
                <a:lnTo>
                  <a:pt x="1073" y="1600"/>
                </a:lnTo>
                <a:lnTo>
                  <a:pt x="1075" y="1601"/>
                </a:lnTo>
                <a:lnTo>
                  <a:pt x="1077" y="1604"/>
                </a:lnTo>
                <a:lnTo>
                  <a:pt x="1080" y="1609"/>
                </a:lnTo>
                <a:lnTo>
                  <a:pt x="1083" y="1618"/>
                </a:lnTo>
                <a:lnTo>
                  <a:pt x="1087" y="1627"/>
                </a:lnTo>
                <a:lnTo>
                  <a:pt x="1087" y="1627"/>
                </a:lnTo>
                <a:lnTo>
                  <a:pt x="1126" y="1650"/>
                </a:lnTo>
                <a:lnTo>
                  <a:pt x="1156" y="1665"/>
                </a:lnTo>
                <a:lnTo>
                  <a:pt x="1167" y="1670"/>
                </a:lnTo>
                <a:lnTo>
                  <a:pt x="1175" y="1672"/>
                </a:lnTo>
                <a:lnTo>
                  <a:pt x="1175" y="1672"/>
                </a:lnTo>
                <a:lnTo>
                  <a:pt x="1184" y="1671"/>
                </a:lnTo>
                <a:lnTo>
                  <a:pt x="1191" y="1670"/>
                </a:lnTo>
                <a:lnTo>
                  <a:pt x="1197" y="1667"/>
                </a:lnTo>
                <a:lnTo>
                  <a:pt x="1202" y="1663"/>
                </a:lnTo>
                <a:lnTo>
                  <a:pt x="1204" y="1660"/>
                </a:lnTo>
                <a:lnTo>
                  <a:pt x="1206" y="1655"/>
                </a:lnTo>
                <a:lnTo>
                  <a:pt x="1207" y="1650"/>
                </a:lnTo>
                <a:lnTo>
                  <a:pt x="1209" y="1646"/>
                </a:lnTo>
                <a:lnTo>
                  <a:pt x="1209" y="1646"/>
                </a:lnTo>
                <a:lnTo>
                  <a:pt x="1209" y="1621"/>
                </a:lnTo>
                <a:lnTo>
                  <a:pt x="1209" y="1621"/>
                </a:lnTo>
                <a:lnTo>
                  <a:pt x="1209" y="1615"/>
                </a:lnTo>
                <a:lnTo>
                  <a:pt x="1211" y="1610"/>
                </a:lnTo>
                <a:lnTo>
                  <a:pt x="1216" y="1602"/>
                </a:lnTo>
                <a:lnTo>
                  <a:pt x="1220" y="1595"/>
                </a:lnTo>
                <a:lnTo>
                  <a:pt x="1222" y="1592"/>
                </a:lnTo>
                <a:lnTo>
                  <a:pt x="1222" y="1587"/>
                </a:lnTo>
                <a:lnTo>
                  <a:pt x="1222" y="1587"/>
                </a:lnTo>
                <a:lnTo>
                  <a:pt x="1222" y="1569"/>
                </a:lnTo>
                <a:lnTo>
                  <a:pt x="1222" y="1569"/>
                </a:lnTo>
                <a:lnTo>
                  <a:pt x="1221" y="1565"/>
                </a:lnTo>
                <a:lnTo>
                  <a:pt x="1219" y="1561"/>
                </a:lnTo>
                <a:lnTo>
                  <a:pt x="1212" y="1554"/>
                </a:lnTo>
                <a:lnTo>
                  <a:pt x="1205" y="1547"/>
                </a:lnTo>
                <a:lnTo>
                  <a:pt x="1196" y="1540"/>
                </a:lnTo>
                <a:lnTo>
                  <a:pt x="1188" y="1534"/>
                </a:lnTo>
                <a:lnTo>
                  <a:pt x="1182" y="1528"/>
                </a:lnTo>
                <a:lnTo>
                  <a:pt x="1176" y="1523"/>
                </a:lnTo>
                <a:lnTo>
                  <a:pt x="1175" y="1520"/>
                </a:lnTo>
                <a:lnTo>
                  <a:pt x="1175" y="1517"/>
                </a:lnTo>
                <a:lnTo>
                  <a:pt x="1175" y="1517"/>
                </a:lnTo>
                <a:lnTo>
                  <a:pt x="1175" y="1511"/>
                </a:lnTo>
                <a:lnTo>
                  <a:pt x="1176" y="1507"/>
                </a:lnTo>
                <a:lnTo>
                  <a:pt x="1179" y="1502"/>
                </a:lnTo>
                <a:lnTo>
                  <a:pt x="1181" y="1497"/>
                </a:lnTo>
                <a:lnTo>
                  <a:pt x="1188" y="1489"/>
                </a:lnTo>
                <a:lnTo>
                  <a:pt x="1196" y="1484"/>
                </a:lnTo>
                <a:lnTo>
                  <a:pt x="1203" y="1477"/>
                </a:lnTo>
                <a:lnTo>
                  <a:pt x="1210" y="1470"/>
                </a:lnTo>
                <a:lnTo>
                  <a:pt x="1212" y="1465"/>
                </a:lnTo>
                <a:lnTo>
                  <a:pt x="1214" y="1462"/>
                </a:lnTo>
                <a:lnTo>
                  <a:pt x="1216" y="1457"/>
                </a:lnTo>
                <a:lnTo>
                  <a:pt x="1216" y="1451"/>
                </a:lnTo>
                <a:lnTo>
                  <a:pt x="1216" y="1451"/>
                </a:lnTo>
                <a:lnTo>
                  <a:pt x="1216" y="1444"/>
                </a:lnTo>
                <a:lnTo>
                  <a:pt x="1214" y="1439"/>
                </a:lnTo>
                <a:lnTo>
                  <a:pt x="1210" y="1428"/>
                </a:lnTo>
                <a:lnTo>
                  <a:pt x="1205" y="1419"/>
                </a:lnTo>
                <a:lnTo>
                  <a:pt x="1201" y="1411"/>
                </a:lnTo>
                <a:lnTo>
                  <a:pt x="1201" y="1411"/>
                </a:lnTo>
                <a:lnTo>
                  <a:pt x="1135" y="1411"/>
                </a:lnTo>
                <a:lnTo>
                  <a:pt x="1135" y="1411"/>
                </a:lnTo>
                <a:lnTo>
                  <a:pt x="1135" y="1411"/>
                </a:lnTo>
                <a:lnTo>
                  <a:pt x="1132" y="1405"/>
                </a:lnTo>
                <a:lnTo>
                  <a:pt x="1128" y="1398"/>
                </a:lnTo>
                <a:lnTo>
                  <a:pt x="1126" y="1389"/>
                </a:lnTo>
                <a:lnTo>
                  <a:pt x="1123" y="1380"/>
                </a:lnTo>
                <a:lnTo>
                  <a:pt x="1121" y="1357"/>
                </a:lnTo>
                <a:lnTo>
                  <a:pt x="1120" y="1334"/>
                </a:lnTo>
                <a:lnTo>
                  <a:pt x="1120" y="1334"/>
                </a:lnTo>
                <a:lnTo>
                  <a:pt x="1121" y="1321"/>
                </a:lnTo>
                <a:lnTo>
                  <a:pt x="1123" y="1312"/>
                </a:lnTo>
                <a:lnTo>
                  <a:pt x="1126" y="1305"/>
                </a:lnTo>
                <a:lnTo>
                  <a:pt x="1128" y="1298"/>
                </a:lnTo>
                <a:lnTo>
                  <a:pt x="1135" y="1286"/>
                </a:lnTo>
                <a:lnTo>
                  <a:pt x="1137" y="1278"/>
                </a:lnTo>
                <a:lnTo>
                  <a:pt x="1138" y="1268"/>
                </a:lnTo>
                <a:lnTo>
                  <a:pt x="1138" y="1268"/>
                </a:lnTo>
                <a:lnTo>
                  <a:pt x="1134" y="1267"/>
                </a:lnTo>
                <a:lnTo>
                  <a:pt x="1130" y="1265"/>
                </a:lnTo>
                <a:lnTo>
                  <a:pt x="1127" y="1260"/>
                </a:lnTo>
                <a:lnTo>
                  <a:pt x="1125" y="1253"/>
                </a:lnTo>
                <a:lnTo>
                  <a:pt x="1125" y="1253"/>
                </a:lnTo>
                <a:lnTo>
                  <a:pt x="1132" y="1249"/>
                </a:lnTo>
                <a:lnTo>
                  <a:pt x="1137" y="1244"/>
                </a:lnTo>
                <a:lnTo>
                  <a:pt x="1145" y="1234"/>
                </a:lnTo>
                <a:lnTo>
                  <a:pt x="1155" y="1224"/>
                </a:lnTo>
                <a:lnTo>
                  <a:pt x="1160" y="1218"/>
                </a:lnTo>
                <a:lnTo>
                  <a:pt x="1168" y="1213"/>
                </a:lnTo>
                <a:lnTo>
                  <a:pt x="1168" y="1213"/>
                </a:lnTo>
                <a:lnTo>
                  <a:pt x="1172" y="1207"/>
                </a:lnTo>
                <a:lnTo>
                  <a:pt x="1176" y="1203"/>
                </a:lnTo>
                <a:lnTo>
                  <a:pt x="1179" y="1199"/>
                </a:lnTo>
                <a:lnTo>
                  <a:pt x="1181" y="1196"/>
                </a:lnTo>
                <a:lnTo>
                  <a:pt x="1182" y="1192"/>
                </a:lnTo>
                <a:lnTo>
                  <a:pt x="1183" y="1187"/>
                </a:lnTo>
                <a:lnTo>
                  <a:pt x="1183" y="1187"/>
                </a:lnTo>
                <a:lnTo>
                  <a:pt x="1184" y="1177"/>
                </a:lnTo>
                <a:lnTo>
                  <a:pt x="1187" y="1169"/>
                </a:lnTo>
                <a:lnTo>
                  <a:pt x="1191" y="1163"/>
                </a:lnTo>
                <a:lnTo>
                  <a:pt x="1196" y="1156"/>
                </a:lnTo>
                <a:lnTo>
                  <a:pt x="1201" y="1148"/>
                </a:lnTo>
                <a:lnTo>
                  <a:pt x="1204" y="1141"/>
                </a:lnTo>
                <a:lnTo>
                  <a:pt x="1207" y="1131"/>
                </a:lnTo>
                <a:lnTo>
                  <a:pt x="1209" y="1121"/>
                </a:lnTo>
                <a:lnTo>
                  <a:pt x="1209" y="1121"/>
                </a:lnTo>
                <a:lnTo>
                  <a:pt x="1207" y="1118"/>
                </a:lnTo>
                <a:lnTo>
                  <a:pt x="1206" y="1114"/>
                </a:lnTo>
                <a:lnTo>
                  <a:pt x="1201" y="1107"/>
                </a:lnTo>
                <a:lnTo>
                  <a:pt x="1198" y="1104"/>
                </a:lnTo>
                <a:lnTo>
                  <a:pt x="1196" y="1099"/>
                </a:lnTo>
                <a:lnTo>
                  <a:pt x="1194" y="1093"/>
                </a:lnTo>
                <a:lnTo>
                  <a:pt x="1194" y="1088"/>
                </a:lnTo>
                <a:lnTo>
                  <a:pt x="1194" y="1088"/>
                </a:lnTo>
                <a:lnTo>
                  <a:pt x="1194" y="1083"/>
                </a:lnTo>
                <a:lnTo>
                  <a:pt x="1196" y="1080"/>
                </a:lnTo>
                <a:lnTo>
                  <a:pt x="1201" y="1070"/>
                </a:lnTo>
                <a:lnTo>
                  <a:pt x="1206" y="1061"/>
                </a:lnTo>
                <a:lnTo>
                  <a:pt x="1207" y="1057"/>
                </a:lnTo>
                <a:lnTo>
                  <a:pt x="1209" y="1051"/>
                </a:lnTo>
                <a:lnTo>
                  <a:pt x="1209" y="1051"/>
                </a:lnTo>
                <a:lnTo>
                  <a:pt x="1207" y="1045"/>
                </a:lnTo>
                <a:lnTo>
                  <a:pt x="1206" y="1039"/>
                </a:lnTo>
                <a:lnTo>
                  <a:pt x="1204" y="1034"/>
                </a:lnTo>
                <a:lnTo>
                  <a:pt x="1201" y="1029"/>
                </a:lnTo>
                <a:lnTo>
                  <a:pt x="1193" y="1021"/>
                </a:lnTo>
                <a:lnTo>
                  <a:pt x="1184" y="1014"/>
                </a:lnTo>
                <a:lnTo>
                  <a:pt x="1175" y="1007"/>
                </a:lnTo>
                <a:lnTo>
                  <a:pt x="1168" y="998"/>
                </a:lnTo>
                <a:lnTo>
                  <a:pt x="1165" y="993"/>
                </a:lnTo>
                <a:lnTo>
                  <a:pt x="1163" y="988"/>
                </a:lnTo>
                <a:lnTo>
                  <a:pt x="1161" y="981"/>
                </a:lnTo>
                <a:lnTo>
                  <a:pt x="1160" y="974"/>
                </a:lnTo>
                <a:lnTo>
                  <a:pt x="1160" y="974"/>
                </a:lnTo>
                <a:lnTo>
                  <a:pt x="1161" y="965"/>
                </a:lnTo>
                <a:lnTo>
                  <a:pt x="1164" y="958"/>
                </a:lnTo>
                <a:lnTo>
                  <a:pt x="1167" y="952"/>
                </a:lnTo>
                <a:lnTo>
                  <a:pt x="1172" y="946"/>
                </a:lnTo>
                <a:lnTo>
                  <a:pt x="1180" y="937"/>
                </a:lnTo>
                <a:lnTo>
                  <a:pt x="1182" y="931"/>
                </a:lnTo>
                <a:lnTo>
                  <a:pt x="1183" y="927"/>
                </a:lnTo>
                <a:lnTo>
                  <a:pt x="1183" y="927"/>
                </a:lnTo>
                <a:lnTo>
                  <a:pt x="1182" y="920"/>
                </a:lnTo>
                <a:lnTo>
                  <a:pt x="1180" y="914"/>
                </a:lnTo>
                <a:lnTo>
                  <a:pt x="1172" y="904"/>
                </a:lnTo>
                <a:lnTo>
                  <a:pt x="1167" y="898"/>
                </a:lnTo>
                <a:lnTo>
                  <a:pt x="1164" y="891"/>
                </a:lnTo>
                <a:lnTo>
                  <a:pt x="1161" y="882"/>
                </a:lnTo>
                <a:lnTo>
                  <a:pt x="1160" y="871"/>
                </a:lnTo>
                <a:lnTo>
                  <a:pt x="1160" y="871"/>
                </a:lnTo>
                <a:lnTo>
                  <a:pt x="1161" y="862"/>
                </a:lnTo>
                <a:lnTo>
                  <a:pt x="1164" y="854"/>
                </a:lnTo>
                <a:lnTo>
                  <a:pt x="1167" y="847"/>
                </a:lnTo>
                <a:lnTo>
                  <a:pt x="1172" y="841"/>
                </a:lnTo>
                <a:lnTo>
                  <a:pt x="1178" y="838"/>
                </a:lnTo>
                <a:lnTo>
                  <a:pt x="1184" y="835"/>
                </a:lnTo>
                <a:lnTo>
                  <a:pt x="1199" y="829"/>
                </a:lnTo>
                <a:lnTo>
                  <a:pt x="1214" y="824"/>
                </a:lnTo>
                <a:lnTo>
                  <a:pt x="1228" y="818"/>
                </a:lnTo>
                <a:lnTo>
                  <a:pt x="1235" y="815"/>
                </a:lnTo>
                <a:lnTo>
                  <a:pt x="1241" y="810"/>
                </a:lnTo>
                <a:lnTo>
                  <a:pt x="1245" y="805"/>
                </a:lnTo>
                <a:lnTo>
                  <a:pt x="1249" y="798"/>
                </a:lnTo>
                <a:lnTo>
                  <a:pt x="1249" y="798"/>
                </a:lnTo>
                <a:lnTo>
                  <a:pt x="1249" y="783"/>
                </a:lnTo>
                <a:lnTo>
                  <a:pt x="1249" y="783"/>
                </a:lnTo>
                <a:lnTo>
                  <a:pt x="1249" y="783"/>
                </a:lnTo>
                <a:lnTo>
                  <a:pt x="1242" y="783"/>
                </a:lnTo>
                <a:lnTo>
                  <a:pt x="1242" y="783"/>
                </a:lnTo>
                <a:lnTo>
                  <a:pt x="1228" y="784"/>
                </a:lnTo>
                <a:lnTo>
                  <a:pt x="1216" y="785"/>
                </a:lnTo>
                <a:lnTo>
                  <a:pt x="1203" y="786"/>
                </a:lnTo>
                <a:lnTo>
                  <a:pt x="1197" y="785"/>
                </a:lnTo>
                <a:lnTo>
                  <a:pt x="1190" y="783"/>
                </a:lnTo>
                <a:lnTo>
                  <a:pt x="1190" y="783"/>
                </a:lnTo>
                <a:lnTo>
                  <a:pt x="1176" y="777"/>
                </a:lnTo>
                <a:lnTo>
                  <a:pt x="1165" y="772"/>
                </a:lnTo>
                <a:lnTo>
                  <a:pt x="1156" y="769"/>
                </a:lnTo>
                <a:lnTo>
                  <a:pt x="1145" y="768"/>
                </a:lnTo>
                <a:lnTo>
                  <a:pt x="1145" y="768"/>
                </a:lnTo>
                <a:lnTo>
                  <a:pt x="1129" y="769"/>
                </a:lnTo>
                <a:lnTo>
                  <a:pt x="1113" y="771"/>
                </a:lnTo>
                <a:lnTo>
                  <a:pt x="1096" y="771"/>
                </a:lnTo>
                <a:lnTo>
                  <a:pt x="1088" y="770"/>
                </a:lnTo>
                <a:lnTo>
                  <a:pt x="1080" y="768"/>
                </a:lnTo>
                <a:lnTo>
                  <a:pt x="1080" y="768"/>
                </a:lnTo>
                <a:lnTo>
                  <a:pt x="1080" y="684"/>
                </a:lnTo>
                <a:lnTo>
                  <a:pt x="1080" y="684"/>
                </a:lnTo>
                <a:lnTo>
                  <a:pt x="1081" y="678"/>
                </a:lnTo>
                <a:lnTo>
                  <a:pt x="1081" y="672"/>
                </a:lnTo>
                <a:lnTo>
                  <a:pt x="1085" y="662"/>
                </a:lnTo>
                <a:lnTo>
                  <a:pt x="1090" y="653"/>
                </a:lnTo>
                <a:lnTo>
                  <a:pt x="1096" y="645"/>
                </a:lnTo>
                <a:lnTo>
                  <a:pt x="1107" y="631"/>
                </a:lnTo>
                <a:lnTo>
                  <a:pt x="1112" y="624"/>
                </a:lnTo>
                <a:lnTo>
                  <a:pt x="1112" y="621"/>
                </a:lnTo>
                <a:lnTo>
                  <a:pt x="1113" y="618"/>
                </a:lnTo>
                <a:lnTo>
                  <a:pt x="1113" y="618"/>
                </a:lnTo>
                <a:lnTo>
                  <a:pt x="1112" y="609"/>
                </a:lnTo>
                <a:lnTo>
                  <a:pt x="1110" y="601"/>
                </a:lnTo>
                <a:lnTo>
                  <a:pt x="1107" y="593"/>
                </a:lnTo>
                <a:lnTo>
                  <a:pt x="1103" y="585"/>
                </a:lnTo>
                <a:lnTo>
                  <a:pt x="1092" y="571"/>
                </a:lnTo>
                <a:lnTo>
                  <a:pt x="1081" y="557"/>
                </a:lnTo>
                <a:lnTo>
                  <a:pt x="1068" y="543"/>
                </a:lnTo>
                <a:lnTo>
                  <a:pt x="1057" y="529"/>
                </a:lnTo>
                <a:lnTo>
                  <a:pt x="1052" y="522"/>
                </a:lnTo>
                <a:lnTo>
                  <a:pt x="1048" y="514"/>
                </a:lnTo>
                <a:lnTo>
                  <a:pt x="1045" y="505"/>
                </a:lnTo>
                <a:lnTo>
                  <a:pt x="1043" y="496"/>
                </a:lnTo>
                <a:lnTo>
                  <a:pt x="1043" y="496"/>
                </a:lnTo>
                <a:lnTo>
                  <a:pt x="1042" y="487"/>
                </a:lnTo>
                <a:lnTo>
                  <a:pt x="1042" y="479"/>
                </a:lnTo>
                <a:lnTo>
                  <a:pt x="1043" y="470"/>
                </a:lnTo>
                <a:lnTo>
                  <a:pt x="1045" y="462"/>
                </a:lnTo>
                <a:lnTo>
                  <a:pt x="1048" y="454"/>
                </a:lnTo>
                <a:lnTo>
                  <a:pt x="1049" y="447"/>
                </a:lnTo>
                <a:lnTo>
                  <a:pt x="1049" y="439"/>
                </a:lnTo>
                <a:lnTo>
                  <a:pt x="1048" y="431"/>
                </a:lnTo>
                <a:lnTo>
                  <a:pt x="1048" y="431"/>
                </a:lnTo>
                <a:lnTo>
                  <a:pt x="1046" y="427"/>
                </a:lnTo>
                <a:lnTo>
                  <a:pt x="1044" y="424"/>
                </a:lnTo>
                <a:lnTo>
                  <a:pt x="1039" y="419"/>
                </a:lnTo>
                <a:lnTo>
                  <a:pt x="1033" y="415"/>
                </a:lnTo>
                <a:lnTo>
                  <a:pt x="1024" y="412"/>
                </a:lnTo>
                <a:lnTo>
                  <a:pt x="1006" y="408"/>
                </a:lnTo>
                <a:lnTo>
                  <a:pt x="988" y="404"/>
                </a:lnTo>
                <a:lnTo>
                  <a:pt x="988" y="404"/>
                </a:lnTo>
                <a:lnTo>
                  <a:pt x="990" y="397"/>
                </a:lnTo>
                <a:lnTo>
                  <a:pt x="992" y="393"/>
                </a:lnTo>
                <a:lnTo>
                  <a:pt x="996" y="387"/>
                </a:lnTo>
                <a:lnTo>
                  <a:pt x="999" y="384"/>
                </a:lnTo>
                <a:lnTo>
                  <a:pt x="1008" y="375"/>
                </a:lnTo>
                <a:lnTo>
                  <a:pt x="1019" y="370"/>
                </a:lnTo>
                <a:lnTo>
                  <a:pt x="1028" y="363"/>
                </a:lnTo>
                <a:lnTo>
                  <a:pt x="1035" y="356"/>
                </a:lnTo>
                <a:lnTo>
                  <a:pt x="1038" y="351"/>
                </a:lnTo>
                <a:lnTo>
                  <a:pt x="1041" y="347"/>
                </a:lnTo>
                <a:lnTo>
                  <a:pt x="1042" y="341"/>
                </a:lnTo>
                <a:lnTo>
                  <a:pt x="1043" y="335"/>
                </a:lnTo>
                <a:lnTo>
                  <a:pt x="1043" y="335"/>
                </a:lnTo>
                <a:lnTo>
                  <a:pt x="1042" y="311"/>
                </a:lnTo>
                <a:lnTo>
                  <a:pt x="1041" y="288"/>
                </a:lnTo>
                <a:lnTo>
                  <a:pt x="1038" y="266"/>
                </a:lnTo>
                <a:lnTo>
                  <a:pt x="1035" y="243"/>
                </a:lnTo>
                <a:lnTo>
                  <a:pt x="1030" y="221"/>
                </a:lnTo>
                <a:lnTo>
                  <a:pt x="1024" y="199"/>
                </a:lnTo>
                <a:lnTo>
                  <a:pt x="1019" y="178"/>
                </a:lnTo>
                <a:lnTo>
                  <a:pt x="1012" y="157"/>
                </a:lnTo>
                <a:lnTo>
                  <a:pt x="1004" y="136"/>
                </a:lnTo>
                <a:lnTo>
                  <a:pt x="996" y="115"/>
                </a:lnTo>
                <a:lnTo>
                  <a:pt x="977" y="75"/>
                </a:lnTo>
                <a:lnTo>
                  <a:pt x="958" y="37"/>
                </a:lnTo>
                <a:lnTo>
                  <a:pt x="936" y="0"/>
                </a:lnTo>
                <a:lnTo>
                  <a:pt x="936" y="0"/>
                </a:lnTo>
                <a:lnTo>
                  <a:pt x="932" y="3"/>
                </a:lnTo>
                <a:lnTo>
                  <a:pt x="929" y="5"/>
                </a:lnTo>
                <a:lnTo>
                  <a:pt x="924" y="12"/>
                </a:lnTo>
                <a:lnTo>
                  <a:pt x="921" y="19"/>
                </a:lnTo>
                <a:lnTo>
                  <a:pt x="917" y="27"/>
                </a:lnTo>
                <a:lnTo>
                  <a:pt x="914" y="34"/>
                </a:lnTo>
                <a:lnTo>
                  <a:pt x="911" y="39"/>
                </a:lnTo>
                <a:lnTo>
                  <a:pt x="907" y="42"/>
                </a:lnTo>
                <a:lnTo>
                  <a:pt x="904" y="43"/>
                </a:lnTo>
                <a:lnTo>
                  <a:pt x="900" y="44"/>
                </a:lnTo>
                <a:lnTo>
                  <a:pt x="896" y="44"/>
                </a:lnTo>
                <a:lnTo>
                  <a:pt x="896" y="44"/>
                </a:lnTo>
                <a:lnTo>
                  <a:pt x="892" y="44"/>
                </a:lnTo>
                <a:lnTo>
                  <a:pt x="888" y="42"/>
                </a:lnTo>
                <a:lnTo>
                  <a:pt x="880" y="37"/>
                </a:lnTo>
                <a:lnTo>
                  <a:pt x="870" y="33"/>
                </a:lnTo>
                <a:lnTo>
                  <a:pt x="865" y="30"/>
                </a:lnTo>
                <a:lnTo>
                  <a:pt x="860" y="30"/>
                </a:lnTo>
                <a:lnTo>
                  <a:pt x="860" y="30"/>
                </a:lnTo>
                <a:lnTo>
                  <a:pt x="855" y="30"/>
                </a:lnTo>
                <a:lnTo>
                  <a:pt x="852" y="34"/>
                </a:lnTo>
                <a:lnTo>
                  <a:pt x="848" y="37"/>
                </a:lnTo>
                <a:lnTo>
                  <a:pt x="845" y="42"/>
                </a:lnTo>
                <a:lnTo>
                  <a:pt x="839" y="50"/>
                </a:lnTo>
                <a:lnTo>
                  <a:pt x="837" y="53"/>
                </a:lnTo>
                <a:lnTo>
                  <a:pt x="833" y="56"/>
                </a:lnTo>
                <a:lnTo>
                  <a:pt x="833" y="56"/>
                </a:lnTo>
                <a:lnTo>
                  <a:pt x="825" y="60"/>
                </a:lnTo>
                <a:lnTo>
                  <a:pt x="819" y="61"/>
                </a:lnTo>
                <a:lnTo>
                  <a:pt x="812" y="62"/>
                </a:lnTo>
                <a:lnTo>
                  <a:pt x="805" y="61"/>
                </a:lnTo>
                <a:lnTo>
                  <a:pt x="792" y="58"/>
                </a:lnTo>
                <a:lnTo>
                  <a:pt x="785" y="57"/>
                </a:lnTo>
                <a:lnTo>
                  <a:pt x="778" y="56"/>
                </a:lnTo>
                <a:lnTo>
                  <a:pt x="778" y="56"/>
                </a:lnTo>
                <a:lnTo>
                  <a:pt x="762" y="54"/>
                </a:lnTo>
                <a:lnTo>
                  <a:pt x="749" y="53"/>
                </a:lnTo>
                <a:lnTo>
                  <a:pt x="738" y="50"/>
                </a:lnTo>
                <a:lnTo>
                  <a:pt x="728" y="46"/>
                </a:lnTo>
                <a:lnTo>
                  <a:pt x="718" y="43"/>
                </a:lnTo>
                <a:lnTo>
                  <a:pt x="708" y="41"/>
                </a:lnTo>
                <a:lnTo>
                  <a:pt x="697" y="38"/>
                </a:lnTo>
                <a:lnTo>
                  <a:pt x="683" y="37"/>
                </a:lnTo>
                <a:lnTo>
                  <a:pt x="683" y="37"/>
                </a:lnTo>
                <a:lnTo>
                  <a:pt x="676" y="38"/>
                </a:lnTo>
                <a:lnTo>
                  <a:pt x="670" y="39"/>
                </a:lnTo>
                <a:lnTo>
                  <a:pt x="664" y="42"/>
                </a:lnTo>
                <a:lnTo>
                  <a:pt x="660" y="45"/>
                </a:lnTo>
                <a:lnTo>
                  <a:pt x="651" y="50"/>
                </a:lnTo>
                <a:lnTo>
                  <a:pt x="645" y="51"/>
                </a:lnTo>
                <a:lnTo>
                  <a:pt x="639" y="52"/>
                </a:lnTo>
                <a:lnTo>
                  <a:pt x="639" y="52"/>
                </a:lnTo>
                <a:lnTo>
                  <a:pt x="636" y="52"/>
                </a:lnTo>
                <a:lnTo>
                  <a:pt x="633" y="50"/>
                </a:lnTo>
                <a:lnTo>
                  <a:pt x="630" y="48"/>
                </a:lnTo>
                <a:lnTo>
                  <a:pt x="628" y="44"/>
                </a:lnTo>
                <a:lnTo>
                  <a:pt x="624" y="37"/>
                </a:lnTo>
                <a:lnTo>
                  <a:pt x="619" y="28"/>
                </a:lnTo>
                <a:lnTo>
                  <a:pt x="615" y="19"/>
                </a:lnTo>
                <a:lnTo>
                  <a:pt x="610" y="12"/>
                </a:lnTo>
                <a:lnTo>
                  <a:pt x="607" y="8"/>
                </a:lnTo>
                <a:lnTo>
                  <a:pt x="603" y="6"/>
                </a:lnTo>
                <a:lnTo>
                  <a:pt x="600" y="5"/>
                </a:lnTo>
                <a:lnTo>
                  <a:pt x="595" y="4"/>
                </a:lnTo>
                <a:lnTo>
                  <a:pt x="595" y="4"/>
                </a:lnTo>
                <a:lnTo>
                  <a:pt x="588" y="4"/>
                </a:lnTo>
                <a:lnTo>
                  <a:pt x="583" y="6"/>
                </a:lnTo>
                <a:lnTo>
                  <a:pt x="578" y="7"/>
                </a:lnTo>
                <a:lnTo>
                  <a:pt x="575" y="11"/>
                </a:lnTo>
                <a:lnTo>
                  <a:pt x="568" y="16"/>
                </a:lnTo>
                <a:lnTo>
                  <a:pt x="562" y="24"/>
                </a:lnTo>
                <a:lnTo>
                  <a:pt x="558" y="31"/>
                </a:lnTo>
                <a:lnTo>
                  <a:pt x="554" y="38"/>
                </a:lnTo>
                <a:lnTo>
                  <a:pt x="549" y="43"/>
                </a:lnTo>
                <a:lnTo>
                  <a:pt x="547" y="44"/>
                </a:lnTo>
                <a:lnTo>
                  <a:pt x="544" y="44"/>
                </a:lnTo>
                <a:lnTo>
                  <a:pt x="544" y="44"/>
                </a:lnTo>
                <a:lnTo>
                  <a:pt x="537" y="43"/>
                </a:lnTo>
                <a:lnTo>
                  <a:pt x="531" y="41"/>
                </a:lnTo>
                <a:lnTo>
                  <a:pt x="525" y="38"/>
                </a:lnTo>
                <a:lnTo>
                  <a:pt x="518" y="37"/>
                </a:lnTo>
                <a:lnTo>
                  <a:pt x="518" y="37"/>
                </a:lnTo>
                <a:lnTo>
                  <a:pt x="506" y="38"/>
                </a:lnTo>
                <a:lnTo>
                  <a:pt x="494" y="41"/>
                </a:lnTo>
                <a:lnTo>
                  <a:pt x="483" y="44"/>
                </a:lnTo>
                <a:lnTo>
                  <a:pt x="472" y="50"/>
                </a:lnTo>
                <a:lnTo>
                  <a:pt x="462" y="56"/>
                </a:lnTo>
                <a:lnTo>
                  <a:pt x="451" y="61"/>
                </a:lnTo>
                <a:lnTo>
                  <a:pt x="432" y="77"/>
                </a:lnTo>
                <a:lnTo>
                  <a:pt x="396" y="108"/>
                </a:lnTo>
                <a:lnTo>
                  <a:pt x="380" y="122"/>
                </a:lnTo>
                <a:lnTo>
                  <a:pt x="371" y="128"/>
                </a:lnTo>
                <a:lnTo>
                  <a:pt x="363" y="133"/>
                </a:lnTo>
                <a:lnTo>
                  <a:pt x="363" y="133"/>
                </a:lnTo>
                <a:lnTo>
                  <a:pt x="359" y="137"/>
                </a:lnTo>
                <a:lnTo>
                  <a:pt x="352" y="148"/>
                </a:lnTo>
                <a:lnTo>
                  <a:pt x="336" y="179"/>
                </a:lnTo>
                <a:lnTo>
                  <a:pt x="312" y="228"/>
                </a:lnTo>
                <a:lnTo>
                  <a:pt x="312" y="228"/>
                </a:lnTo>
                <a:lnTo>
                  <a:pt x="310" y="235"/>
                </a:lnTo>
                <a:lnTo>
                  <a:pt x="308" y="243"/>
                </a:lnTo>
                <a:lnTo>
                  <a:pt x="305" y="259"/>
                </a:lnTo>
                <a:lnTo>
                  <a:pt x="303" y="266"/>
                </a:lnTo>
                <a:lnTo>
                  <a:pt x="300" y="271"/>
                </a:lnTo>
                <a:lnTo>
                  <a:pt x="296" y="275"/>
                </a:lnTo>
                <a:lnTo>
                  <a:pt x="293" y="275"/>
                </a:lnTo>
                <a:lnTo>
                  <a:pt x="289" y="276"/>
                </a:lnTo>
                <a:lnTo>
                  <a:pt x="289" y="276"/>
                </a:lnTo>
                <a:lnTo>
                  <a:pt x="268" y="276"/>
                </a:lnTo>
                <a:lnTo>
                  <a:pt x="268" y="276"/>
                </a:lnTo>
                <a:lnTo>
                  <a:pt x="262" y="276"/>
                </a:lnTo>
                <a:lnTo>
                  <a:pt x="255" y="280"/>
                </a:lnTo>
                <a:lnTo>
                  <a:pt x="249" y="285"/>
                </a:lnTo>
                <a:lnTo>
                  <a:pt x="243" y="289"/>
                </a:lnTo>
                <a:lnTo>
                  <a:pt x="237" y="297"/>
                </a:lnTo>
                <a:lnTo>
                  <a:pt x="232" y="305"/>
                </a:lnTo>
                <a:lnTo>
                  <a:pt x="220" y="324"/>
                </a:lnTo>
                <a:lnTo>
                  <a:pt x="196" y="371"/>
                </a:lnTo>
                <a:lnTo>
                  <a:pt x="182" y="395"/>
                </a:lnTo>
                <a:lnTo>
                  <a:pt x="174" y="407"/>
                </a:lnTo>
                <a:lnTo>
                  <a:pt x="165" y="419"/>
                </a:lnTo>
                <a:lnTo>
                  <a:pt x="165" y="419"/>
                </a:lnTo>
                <a:lnTo>
                  <a:pt x="165" y="419"/>
                </a:lnTo>
                <a:lnTo>
                  <a:pt x="165" y="41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5" name="Freeform 130"/>
          <p:cNvSpPr>
            <a:spLocks/>
          </p:cNvSpPr>
          <p:nvPr/>
        </p:nvSpPr>
        <p:spPr bwMode="auto">
          <a:xfrm>
            <a:off x="4052888" y="2347913"/>
            <a:ext cx="1370012" cy="1516062"/>
          </a:xfrm>
          <a:custGeom>
            <a:avLst/>
            <a:gdLst/>
            <a:ahLst/>
            <a:cxnLst>
              <a:cxn ang="0">
                <a:pos x="264" y="1733"/>
              </a:cxn>
              <a:cxn ang="0">
                <a:pos x="331" y="1639"/>
              </a:cxn>
              <a:cxn ang="0">
                <a:pos x="415" y="1708"/>
              </a:cxn>
              <a:cxn ang="0">
                <a:pos x="595" y="1723"/>
              </a:cxn>
              <a:cxn ang="0">
                <a:pos x="732" y="1600"/>
              </a:cxn>
              <a:cxn ang="0">
                <a:pos x="803" y="1561"/>
              </a:cxn>
              <a:cxn ang="0">
                <a:pos x="896" y="1403"/>
              </a:cxn>
              <a:cxn ang="0">
                <a:pos x="1044" y="1339"/>
              </a:cxn>
              <a:cxn ang="0">
                <a:pos x="1095" y="1299"/>
              </a:cxn>
              <a:cxn ang="0">
                <a:pos x="1139" y="1347"/>
              </a:cxn>
              <a:cxn ang="0">
                <a:pos x="1238" y="1345"/>
              </a:cxn>
              <a:cxn ang="0">
                <a:pos x="1337" y="1348"/>
              </a:cxn>
              <a:cxn ang="0">
                <a:pos x="1396" y="1339"/>
              </a:cxn>
              <a:cxn ang="0">
                <a:pos x="1436" y="1295"/>
              </a:cxn>
              <a:cxn ang="0">
                <a:pos x="1531" y="1216"/>
              </a:cxn>
              <a:cxn ang="0">
                <a:pos x="1571" y="1169"/>
              </a:cxn>
              <a:cxn ang="0">
                <a:pos x="1664" y="981"/>
              </a:cxn>
              <a:cxn ang="0">
                <a:pos x="1643" y="916"/>
              </a:cxn>
              <a:cxn ang="0">
                <a:pos x="1606" y="814"/>
              </a:cxn>
              <a:cxn ang="0">
                <a:pos x="1501" y="681"/>
              </a:cxn>
              <a:cxn ang="0">
                <a:pos x="1488" y="601"/>
              </a:cxn>
              <a:cxn ang="0">
                <a:pos x="1428" y="554"/>
              </a:cxn>
              <a:cxn ang="0">
                <a:pos x="1458" y="624"/>
              </a:cxn>
              <a:cxn ang="0">
                <a:pos x="1314" y="744"/>
              </a:cxn>
              <a:cxn ang="0">
                <a:pos x="1398" y="565"/>
              </a:cxn>
              <a:cxn ang="0">
                <a:pos x="1510" y="297"/>
              </a:cxn>
              <a:cxn ang="0">
                <a:pos x="1376" y="120"/>
              </a:cxn>
              <a:cxn ang="0">
                <a:pos x="1245" y="145"/>
              </a:cxn>
              <a:cxn ang="0">
                <a:pos x="1184" y="178"/>
              </a:cxn>
              <a:cxn ang="0">
                <a:pos x="1192" y="91"/>
              </a:cxn>
              <a:cxn ang="0">
                <a:pos x="1122" y="68"/>
              </a:cxn>
              <a:cxn ang="0">
                <a:pos x="1064" y="0"/>
              </a:cxn>
              <a:cxn ang="0">
                <a:pos x="970" y="133"/>
              </a:cxn>
              <a:cxn ang="0">
                <a:pos x="948" y="238"/>
              </a:cxn>
              <a:cxn ang="0">
                <a:pos x="941" y="297"/>
              </a:cxn>
              <a:cxn ang="0">
                <a:pos x="839" y="333"/>
              </a:cxn>
              <a:cxn ang="0">
                <a:pos x="829" y="291"/>
              </a:cxn>
              <a:cxn ang="0">
                <a:pos x="720" y="316"/>
              </a:cxn>
              <a:cxn ang="0">
                <a:pos x="696" y="359"/>
              </a:cxn>
              <a:cxn ang="0">
                <a:pos x="566" y="417"/>
              </a:cxn>
              <a:cxn ang="0">
                <a:pos x="423" y="578"/>
              </a:cxn>
              <a:cxn ang="0">
                <a:pos x="452" y="714"/>
              </a:cxn>
              <a:cxn ang="0">
                <a:pos x="209" y="700"/>
              </a:cxn>
              <a:cxn ang="0">
                <a:pos x="132" y="776"/>
              </a:cxn>
              <a:cxn ang="0">
                <a:pos x="144" y="901"/>
              </a:cxn>
              <a:cxn ang="0">
                <a:pos x="207" y="978"/>
              </a:cxn>
              <a:cxn ang="0">
                <a:pos x="258" y="1051"/>
              </a:cxn>
              <a:cxn ang="0">
                <a:pos x="255" y="1212"/>
              </a:cxn>
              <a:cxn ang="0">
                <a:pos x="194" y="1259"/>
              </a:cxn>
              <a:cxn ang="0">
                <a:pos x="209" y="1145"/>
              </a:cxn>
              <a:cxn ang="0">
                <a:pos x="191" y="1115"/>
              </a:cxn>
              <a:cxn ang="0">
                <a:pos x="214" y="1013"/>
              </a:cxn>
              <a:cxn ang="0">
                <a:pos x="122" y="950"/>
              </a:cxn>
              <a:cxn ang="0">
                <a:pos x="33" y="921"/>
              </a:cxn>
              <a:cxn ang="0">
                <a:pos x="99" y="973"/>
              </a:cxn>
              <a:cxn ang="0">
                <a:pos x="61" y="1042"/>
              </a:cxn>
              <a:cxn ang="0">
                <a:pos x="91" y="1126"/>
              </a:cxn>
              <a:cxn ang="0">
                <a:pos x="52" y="1246"/>
              </a:cxn>
              <a:cxn ang="0">
                <a:pos x="17" y="1356"/>
              </a:cxn>
              <a:cxn ang="0">
                <a:pos x="122" y="1414"/>
              </a:cxn>
              <a:cxn ang="0">
                <a:pos x="180" y="1486"/>
              </a:cxn>
            </a:cxnLst>
            <a:rect l="0" t="0" r="r" b="b"/>
            <a:pathLst>
              <a:path w="1675" h="1736">
                <a:moveTo>
                  <a:pt x="169" y="1560"/>
                </a:moveTo>
                <a:lnTo>
                  <a:pt x="169" y="1560"/>
                </a:lnTo>
                <a:lnTo>
                  <a:pt x="175" y="1580"/>
                </a:lnTo>
                <a:lnTo>
                  <a:pt x="184" y="1604"/>
                </a:lnTo>
                <a:lnTo>
                  <a:pt x="195" y="1632"/>
                </a:lnTo>
                <a:lnTo>
                  <a:pt x="209" y="1661"/>
                </a:lnTo>
                <a:lnTo>
                  <a:pt x="224" y="1689"/>
                </a:lnTo>
                <a:lnTo>
                  <a:pt x="231" y="1700"/>
                </a:lnTo>
                <a:lnTo>
                  <a:pt x="239" y="1712"/>
                </a:lnTo>
                <a:lnTo>
                  <a:pt x="246" y="1720"/>
                </a:lnTo>
                <a:lnTo>
                  <a:pt x="254" y="1727"/>
                </a:lnTo>
                <a:lnTo>
                  <a:pt x="261" y="1731"/>
                </a:lnTo>
                <a:lnTo>
                  <a:pt x="264" y="1733"/>
                </a:lnTo>
                <a:lnTo>
                  <a:pt x="268" y="1733"/>
                </a:lnTo>
                <a:lnTo>
                  <a:pt x="268" y="1733"/>
                </a:lnTo>
                <a:lnTo>
                  <a:pt x="275" y="1731"/>
                </a:lnTo>
                <a:lnTo>
                  <a:pt x="282" y="1728"/>
                </a:lnTo>
                <a:lnTo>
                  <a:pt x="286" y="1723"/>
                </a:lnTo>
                <a:lnTo>
                  <a:pt x="291" y="1716"/>
                </a:lnTo>
                <a:lnTo>
                  <a:pt x="294" y="1708"/>
                </a:lnTo>
                <a:lnTo>
                  <a:pt x="299" y="1700"/>
                </a:lnTo>
                <a:lnTo>
                  <a:pt x="306" y="1682"/>
                </a:lnTo>
                <a:lnTo>
                  <a:pt x="314" y="1662"/>
                </a:lnTo>
                <a:lnTo>
                  <a:pt x="319" y="1654"/>
                </a:lnTo>
                <a:lnTo>
                  <a:pt x="325" y="1646"/>
                </a:lnTo>
                <a:lnTo>
                  <a:pt x="331" y="1639"/>
                </a:lnTo>
                <a:lnTo>
                  <a:pt x="339" y="1635"/>
                </a:lnTo>
                <a:lnTo>
                  <a:pt x="348" y="1631"/>
                </a:lnTo>
                <a:lnTo>
                  <a:pt x="360" y="1630"/>
                </a:lnTo>
                <a:lnTo>
                  <a:pt x="360" y="1630"/>
                </a:lnTo>
                <a:lnTo>
                  <a:pt x="372" y="1631"/>
                </a:lnTo>
                <a:lnTo>
                  <a:pt x="381" y="1635"/>
                </a:lnTo>
                <a:lnTo>
                  <a:pt x="389" y="1639"/>
                </a:lnTo>
                <a:lnTo>
                  <a:pt x="395" y="1646"/>
                </a:lnTo>
                <a:lnTo>
                  <a:pt x="399" y="1654"/>
                </a:lnTo>
                <a:lnTo>
                  <a:pt x="403" y="1662"/>
                </a:lnTo>
                <a:lnTo>
                  <a:pt x="407" y="1682"/>
                </a:lnTo>
                <a:lnTo>
                  <a:pt x="412" y="1700"/>
                </a:lnTo>
                <a:lnTo>
                  <a:pt x="415" y="1708"/>
                </a:lnTo>
                <a:lnTo>
                  <a:pt x="420" y="1716"/>
                </a:lnTo>
                <a:lnTo>
                  <a:pt x="424" y="1723"/>
                </a:lnTo>
                <a:lnTo>
                  <a:pt x="432" y="1728"/>
                </a:lnTo>
                <a:lnTo>
                  <a:pt x="441" y="1731"/>
                </a:lnTo>
                <a:lnTo>
                  <a:pt x="452" y="1733"/>
                </a:lnTo>
                <a:lnTo>
                  <a:pt x="452" y="1733"/>
                </a:lnTo>
                <a:lnTo>
                  <a:pt x="473" y="1731"/>
                </a:lnTo>
                <a:lnTo>
                  <a:pt x="495" y="1729"/>
                </a:lnTo>
                <a:lnTo>
                  <a:pt x="518" y="1726"/>
                </a:lnTo>
                <a:lnTo>
                  <a:pt x="542" y="1723"/>
                </a:lnTo>
                <a:lnTo>
                  <a:pt x="567" y="1722"/>
                </a:lnTo>
                <a:lnTo>
                  <a:pt x="581" y="1722"/>
                </a:lnTo>
                <a:lnTo>
                  <a:pt x="595" y="1723"/>
                </a:lnTo>
                <a:lnTo>
                  <a:pt x="609" y="1725"/>
                </a:lnTo>
                <a:lnTo>
                  <a:pt x="624" y="1728"/>
                </a:lnTo>
                <a:lnTo>
                  <a:pt x="638" y="1731"/>
                </a:lnTo>
                <a:lnTo>
                  <a:pt x="653" y="1736"/>
                </a:lnTo>
                <a:lnTo>
                  <a:pt x="653" y="1736"/>
                </a:lnTo>
                <a:lnTo>
                  <a:pt x="658" y="1726"/>
                </a:lnTo>
                <a:lnTo>
                  <a:pt x="665" y="1714"/>
                </a:lnTo>
                <a:lnTo>
                  <a:pt x="665" y="1714"/>
                </a:lnTo>
                <a:lnTo>
                  <a:pt x="674" y="1702"/>
                </a:lnTo>
                <a:lnTo>
                  <a:pt x="682" y="1690"/>
                </a:lnTo>
                <a:lnTo>
                  <a:pt x="696" y="1666"/>
                </a:lnTo>
                <a:lnTo>
                  <a:pt x="720" y="1619"/>
                </a:lnTo>
                <a:lnTo>
                  <a:pt x="732" y="1600"/>
                </a:lnTo>
                <a:lnTo>
                  <a:pt x="737" y="1592"/>
                </a:lnTo>
                <a:lnTo>
                  <a:pt x="743" y="1584"/>
                </a:lnTo>
                <a:lnTo>
                  <a:pt x="749" y="1580"/>
                </a:lnTo>
                <a:lnTo>
                  <a:pt x="755" y="1575"/>
                </a:lnTo>
                <a:lnTo>
                  <a:pt x="762" y="1571"/>
                </a:lnTo>
                <a:lnTo>
                  <a:pt x="768" y="1571"/>
                </a:lnTo>
                <a:lnTo>
                  <a:pt x="768" y="1571"/>
                </a:lnTo>
                <a:lnTo>
                  <a:pt x="789" y="1571"/>
                </a:lnTo>
                <a:lnTo>
                  <a:pt x="789" y="1571"/>
                </a:lnTo>
                <a:lnTo>
                  <a:pt x="793" y="1570"/>
                </a:lnTo>
                <a:lnTo>
                  <a:pt x="796" y="1570"/>
                </a:lnTo>
                <a:lnTo>
                  <a:pt x="800" y="1566"/>
                </a:lnTo>
                <a:lnTo>
                  <a:pt x="803" y="1561"/>
                </a:lnTo>
                <a:lnTo>
                  <a:pt x="805" y="1554"/>
                </a:lnTo>
                <a:lnTo>
                  <a:pt x="808" y="1538"/>
                </a:lnTo>
                <a:lnTo>
                  <a:pt x="810" y="1530"/>
                </a:lnTo>
                <a:lnTo>
                  <a:pt x="812" y="1523"/>
                </a:lnTo>
                <a:lnTo>
                  <a:pt x="812" y="1523"/>
                </a:lnTo>
                <a:lnTo>
                  <a:pt x="836" y="1474"/>
                </a:lnTo>
                <a:lnTo>
                  <a:pt x="852" y="1443"/>
                </a:lnTo>
                <a:lnTo>
                  <a:pt x="859" y="1432"/>
                </a:lnTo>
                <a:lnTo>
                  <a:pt x="863" y="1428"/>
                </a:lnTo>
                <a:lnTo>
                  <a:pt x="863" y="1428"/>
                </a:lnTo>
                <a:lnTo>
                  <a:pt x="871" y="1423"/>
                </a:lnTo>
                <a:lnTo>
                  <a:pt x="880" y="1417"/>
                </a:lnTo>
                <a:lnTo>
                  <a:pt x="896" y="1403"/>
                </a:lnTo>
                <a:lnTo>
                  <a:pt x="932" y="1372"/>
                </a:lnTo>
                <a:lnTo>
                  <a:pt x="951" y="1356"/>
                </a:lnTo>
                <a:lnTo>
                  <a:pt x="962" y="1351"/>
                </a:lnTo>
                <a:lnTo>
                  <a:pt x="972" y="1345"/>
                </a:lnTo>
                <a:lnTo>
                  <a:pt x="983" y="1339"/>
                </a:lnTo>
                <a:lnTo>
                  <a:pt x="994" y="1336"/>
                </a:lnTo>
                <a:lnTo>
                  <a:pt x="1006" y="1333"/>
                </a:lnTo>
                <a:lnTo>
                  <a:pt x="1018" y="1332"/>
                </a:lnTo>
                <a:lnTo>
                  <a:pt x="1018" y="1332"/>
                </a:lnTo>
                <a:lnTo>
                  <a:pt x="1025" y="1333"/>
                </a:lnTo>
                <a:lnTo>
                  <a:pt x="1031" y="1336"/>
                </a:lnTo>
                <a:lnTo>
                  <a:pt x="1037" y="1338"/>
                </a:lnTo>
                <a:lnTo>
                  <a:pt x="1044" y="1339"/>
                </a:lnTo>
                <a:lnTo>
                  <a:pt x="1044" y="1339"/>
                </a:lnTo>
                <a:lnTo>
                  <a:pt x="1047" y="1339"/>
                </a:lnTo>
                <a:lnTo>
                  <a:pt x="1049" y="1338"/>
                </a:lnTo>
                <a:lnTo>
                  <a:pt x="1054" y="1333"/>
                </a:lnTo>
                <a:lnTo>
                  <a:pt x="1058" y="1326"/>
                </a:lnTo>
                <a:lnTo>
                  <a:pt x="1062" y="1319"/>
                </a:lnTo>
                <a:lnTo>
                  <a:pt x="1068" y="1311"/>
                </a:lnTo>
                <a:lnTo>
                  <a:pt x="1075" y="1306"/>
                </a:lnTo>
                <a:lnTo>
                  <a:pt x="1078" y="1302"/>
                </a:lnTo>
                <a:lnTo>
                  <a:pt x="1083" y="1301"/>
                </a:lnTo>
                <a:lnTo>
                  <a:pt x="1088" y="1299"/>
                </a:lnTo>
                <a:lnTo>
                  <a:pt x="1095" y="1299"/>
                </a:lnTo>
                <a:lnTo>
                  <a:pt x="1095" y="1299"/>
                </a:lnTo>
                <a:lnTo>
                  <a:pt x="1100" y="1300"/>
                </a:lnTo>
                <a:lnTo>
                  <a:pt x="1103" y="1301"/>
                </a:lnTo>
                <a:lnTo>
                  <a:pt x="1107" y="1303"/>
                </a:lnTo>
                <a:lnTo>
                  <a:pt x="1110" y="1307"/>
                </a:lnTo>
                <a:lnTo>
                  <a:pt x="1115" y="1314"/>
                </a:lnTo>
                <a:lnTo>
                  <a:pt x="1119" y="1323"/>
                </a:lnTo>
                <a:lnTo>
                  <a:pt x="1124" y="1332"/>
                </a:lnTo>
                <a:lnTo>
                  <a:pt x="1128" y="1339"/>
                </a:lnTo>
                <a:lnTo>
                  <a:pt x="1130" y="1343"/>
                </a:lnTo>
                <a:lnTo>
                  <a:pt x="1133" y="1345"/>
                </a:lnTo>
                <a:lnTo>
                  <a:pt x="1136" y="1347"/>
                </a:lnTo>
                <a:lnTo>
                  <a:pt x="1139" y="1347"/>
                </a:lnTo>
                <a:lnTo>
                  <a:pt x="1139" y="1347"/>
                </a:lnTo>
                <a:lnTo>
                  <a:pt x="1145" y="1346"/>
                </a:lnTo>
                <a:lnTo>
                  <a:pt x="1151" y="1345"/>
                </a:lnTo>
                <a:lnTo>
                  <a:pt x="1160" y="1340"/>
                </a:lnTo>
                <a:lnTo>
                  <a:pt x="1164" y="1337"/>
                </a:lnTo>
                <a:lnTo>
                  <a:pt x="1170" y="1334"/>
                </a:lnTo>
                <a:lnTo>
                  <a:pt x="1176" y="1333"/>
                </a:lnTo>
                <a:lnTo>
                  <a:pt x="1183" y="1332"/>
                </a:lnTo>
                <a:lnTo>
                  <a:pt x="1183" y="1332"/>
                </a:lnTo>
                <a:lnTo>
                  <a:pt x="1197" y="1333"/>
                </a:lnTo>
                <a:lnTo>
                  <a:pt x="1208" y="1336"/>
                </a:lnTo>
                <a:lnTo>
                  <a:pt x="1218" y="1338"/>
                </a:lnTo>
                <a:lnTo>
                  <a:pt x="1228" y="1341"/>
                </a:lnTo>
                <a:lnTo>
                  <a:pt x="1238" y="1345"/>
                </a:lnTo>
                <a:lnTo>
                  <a:pt x="1249" y="1348"/>
                </a:lnTo>
                <a:lnTo>
                  <a:pt x="1262" y="1349"/>
                </a:lnTo>
                <a:lnTo>
                  <a:pt x="1278" y="1351"/>
                </a:lnTo>
                <a:lnTo>
                  <a:pt x="1278" y="1351"/>
                </a:lnTo>
                <a:lnTo>
                  <a:pt x="1285" y="1352"/>
                </a:lnTo>
                <a:lnTo>
                  <a:pt x="1292" y="1353"/>
                </a:lnTo>
                <a:lnTo>
                  <a:pt x="1305" y="1356"/>
                </a:lnTo>
                <a:lnTo>
                  <a:pt x="1312" y="1357"/>
                </a:lnTo>
                <a:lnTo>
                  <a:pt x="1319" y="1356"/>
                </a:lnTo>
                <a:lnTo>
                  <a:pt x="1325" y="1355"/>
                </a:lnTo>
                <a:lnTo>
                  <a:pt x="1333" y="1351"/>
                </a:lnTo>
                <a:lnTo>
                  <a:pt x="1333" y="1351"/>
                </a:lnTo>
                <a:lnTo>
                  <a:pt x="1337" y="1348"/>
                </a:lnTo>
                <a:lnTo>
                  <a:pt x="1339" y="1345"/>
                </a:lnTo>
                <a:lnTo>
                  <a:pt x="1345" y="1337"/>
                </a:lnTo>
                <a:lnTo>
                  <a:pt x="1348" y="1332"/>
                </a:lnTo>
                <a:lnTo>
                  <a:pt x="1352" y="1329"/>
                </a:lnTo>
                <a:lnTo>
                  <a:pt x="1355" y="1325"/>
                </a:lnTo>
                <a:lnTo>
                  <a:pt x="1360" y="1325"/>
                </a:lnTo>
                <a:lnTo>
                  <a:pt x="1360" y="1325"/>
                </a:lnTo>
                <a:lnTo>
                  <a:pt x="1365" y="1325"/>
                </a:lnTo>
                <a:lnTo>
                  <a:pt x="1370" y="1328"/>
                </a:lnTo>
                <a:lnTo>
                  <a:pt x="1380" y="1332"/>
                </a:lnTo>
                <a:lnTo>
                  <a:pt x="1388" y="1337"/>
                </a:lnTo>
                <a:lnTo>
                  <a:pt x="1392" y="1339"/>
                </a:lnTo>
                <a:lnTo>
                  <a:pt x="1396" y="1339"/>
                </a:lnTo>
                <a:lnTo>
                  <a:pt x="1396" y="1339"/>
                </a:lnTo>
                <a:lnTo>
                  <a:pt x="1400" y="1339"/>
                </a:lnTo>
                <a:lnTo>
                  <a:pt x="1404" y="1338"/>
                </a:lnTo>
                <a:lnTo>
                  <a:pt x="1407" y="1337"/>
                </a:lnTo>
                <a:lnTo>
                  <a:pt x="1411" y="1334"/>
                </a:lnTo>
                <a:lnTo>
                  <a:pt x="1414" y="1329"/>
                </a:lnTo>
                <a:lnTo>
                  <a:pt x="1417" y="1322"/>
                </a:lnTo>
                <a:lnTo>
                  <a:pt x="1421" y="1314"/>
                </a:lnTo>
                <a:lnTo>
                  <a:pt x="1424" y="1307"/>
                </a:lnTo>
                <a:lnTo>
                  <a:pt x="1429" y="1300"/>
                </a:lnTo>
                <a:lnTo>
                  <a:pt x="1432" y="1298"/>
                </a:lnTo>
                <a:lnTo>
                  <a:pt x="1436" y="1295"/>
                </a:lnTo>
                <a:lnTo>
                  <a:pt x="1436" y="1295"/>
                </a:lnTo>
                <a:lnTo>
                  <a:pt x="1443" y="1292"/>
                </a:lnTo>
                <a:lnTo>
                  <a:pt x="1449" y="1288"/>
                </a:lnTo>
                <a:lnTo>
                  <a:pt x="1460" y="1278"/>
                </a:lnTo>
                <a:lnTo>
                  <a:pt x="1472" y="1267"/>
                </a:lnTo>
                <a:lnTo>
                  <a:pt x="1483" y="1254"/>
                </a:lnTo>
                <a:lnTo>
                  <a:pt x="1493" y="1242"/>
                </a:lnTo>
                <a:lnTo>
                  <a:pt x="1503" y="1231"/>
                </a:lnTo>
                <a:lnTo>
                  <a:pt x="1513" y="1223"/>
                </a:lnTo>
                <a:lnTo>
                  <a:pt x="1516" y="1221"/>
                </a:lnTo>
                <a:lnTo>
                  <a:pt x="1521" y="1218"/>
                </a:lnTo>
                <a:lnTo>
                  <a:pt x="1521" y="1218"/>
                </a:lnTo>
                <a:lnTo>
                  <a:pt x="1526" y="1217"/>
                </a:lnTo>
                <a:lnTo>
                  <a:pt x="1531" y="1216"/>
                </a:lnTo>
                <a:lnTo>
                  <a:pt x="1542" y="1215"/>
                </a:lnTo>
                <a:lnTo>
                  <a:pt x="1560" y="1215"/>
                </a:lnTo>
                <a:lnTo>
                  <a:pt x="1568" y="1214"/>
                </a:lnTo>
                <a:lnTo>
                  <a:pt x="1572" y="1212"/>
                </a:lnTo>
                <a:lnTo>
                  <a:pt x="1574" y="1210"/>
                </a:lnTo>
                <a:lnTo>
                  <a:pt x="1576" y="1208"/>
                </a:lnTo>
                <a:lnTo>
                  <a:pt x="1579" y="1203"/>
                </a:lnTo>
                <a:lnTo>
                  <a:pt x="1580" y="1199"/>
                </a:lnTo>
                <a:lnTo>
                  <a:pt x="1580" y="1193"/>
                </a:lnTo>
                <a:lnTo>
                  <a:pt x="1580" y="1193"/>
                </a:lnTo>
                <a:lnTo>
                  <a:pt x="1580" y="1186"/>
                </a:lnTo>
                <a:lnTo>
                  <a:pt x="1577" y="1180"/>
                </a:lnTo>
                <a:lnTo>
                  <a:pt x="1571" y="1169"/>
                </a:lnTo>
                <a:lnTo>
                  <a:pt x="1565" y="1157"/>
                </a:lnTo>
                <a:lnTo>
                  <a:pt x="1562" y="1151"/>
                </a:lnTo>
                <a:lnTo>
                  <a:pt x="1561" y="1145"/>
                </a:lnTo>
                <a:lnTo>
                  <a:pt x="1561" y="1145"/>
                </a:lnTo>
                <a:lnTo>
                  <a:pt x="1613" y="1012"/>
                </a:lnTo>
                <a:lnTo>
                  <a:pt x="1613" y="1012"/>
                </a:lnTo>
                <a:lnTo>
                  <a:pt x="1613" y="1012"/>
                </a:lnTo>
                <a:lnTo>
                  <a:pt x="1620" y="1008"/>
                </a:lnTo>
                <a:lnTo>
                  <a:pt x="1629" y="1002"/>
                </a:lnTo>
                <a:lnTo>
                  <a:pt x="1640" y="997"/>
                </a:lnTo>
                <a:lnTo>
                  <a:pt x="1650" y="992"/>
                </a:lnTo>
                <a:lnTo>
                  <a:pt x="1659" y="985"/>
                </a:lnTo>
                <a:lnTo>
                  <a:pt x="1664" y="981"/>
                </a:lnTo>
                <a:lnTo>
                  <a:pt x="1667" y="977"/>
                </a:lnTo>
                <a:lnTo>
                  <a:pt x="1671" y="972"/>
                </a:lnTo>
                <a:lnTo>
                  <a:pt x="1673" y="966"/>
                </a:lnTo>
                <a:lnTo>
                  <a:pt x="1674" y="960"/>
                </a:lnTo>
                <a:lnTo>
                  <a:pt x="1675" y="954"/>
                </a:lnTo>
                <a:lnTo>
                  <a:pt x="1675" y="954"/>
                </a:lnTo>
                <a:lnTo>
                  <a:pt x="1675" y="949"/>
                </a:lnTo>
                <a:lnTo>
                  <a:pt x="1674" y="944"/>
                </a:lnTo>
                <a:lnTo>
                  <a:pt x="1672" y="940"/>
                </a:lnTo>
                <a:lnTo>
                  <a:pt x="1669" y="936"/>
                </a:lnTo>
                <a:lnTo>
                  <a:pt x="1664" y="929"/>
                </a:lnTo>
                <a:lnTo>
                  <a:pt x="1657" y="925"/>
                </a:lnTo>
                <a:lnTo>
                  <a:pt x="1643" y="916"/>
                </a:lnTo>
                <a:lnTo>
                  <a:pt x="1636" y="911"/>
                </a:lnTo>
                <a:lnTo>
                  <a:pt x="1632" y="906"/>
                </a:lnTo>
                <a:lnTo>
                  <a:pt x="1632" y="906"/>
                </a:lnTo>
                <a:lnTo>
                  <a:pt x="1628" y="901"/>
                </a:lnTo>
                <a:lnTo>
                  <a:pt x="1626" y="895"/>
                </a:lnTo>
                <a:lnTo>
                  <a:pt x="1622" y="883"/>
                </a:lnTo>
                <a:lnTo>
                  <a:pt x="1621" y="871"/>
                </a:lnTo>
                <a:lnTo>
                  <a:pt x="1620" y="859"/>
                </a:lnTo>
                <a:lnTo>
                  <a:pt x="1619" y="847"/>
                </a:lnTo>
                <a:lnTo>
                  <a:pt x="1617" y="835"/>
                </a:lnTo>
                <a:lnTo>
                  <a:pt x="1612" y="825"/>
                </a:lnTo>
                <a:lnTo>
                  <a:pt x="1610" y="819"/>
                </a:lnTo>
                <a:lnTo>
                  <a:pt x="1606" y="814"/>
                </a:lnTo>
                <a:lnTo>
                  <a:pt x="1606" y="814"/>
                </a:lnTo>
                <a:lnTo>
                  <a:pt x="1595" y="802"/>
                </a:lnTo>
                <a:lnTo>
                  <a:pt x="1583" y="791"/>
                </a:lnTo>
                <a:lnTo>
                  <a:pt x="1559" y="773"/>
                </a:lnTo>
                <a:lnTo>
                  <a:pt x="1548" y="764"/>
                </a:lnTo>
                <a:lnTo>
                  <a:pt x="1536" y="753"/>
                </a:lnTo>
                <a:lnTo>
                  <a:pt x="1527" y="741"/>
                </a:lnTo>
                <a:lnTo>
                  <a:pt x="1522" y="734"/>
                </a:lnTo>
                <a:lnTo>
                  <a:pt x="1518" y="726"/>
                </a:lnTo>
                <a:lnTo>
                  <a:pt x="1518" y="726"/>
                </a:lnTo>
                <a:lnTo>
                  <a:pt x="1511" y="713"/>
                </a:lnTo>
                <a:lnTo>
                  <a:pt x="1507" y="702"/>
                </a:lnTo>
                <a:lnTo>
                  <a:pt x="1501" y="681"/>
                </a:lnTo>
                <a:lnTo>
                  <a:pt x="1498" y="673"/>
                </a:lnTo>
                <a:lnTo>
                  <a:pt x="1496" y="669"/>
                </a:lnTo>
                <a:lnTo>
                  <a:pt x="1492" y="665"/>
                </a:lnTo>
                <a:lnTo>
                  <a:pt x="1489" y="661"/>
                </a:lnTo>
                <a:lnTo>
                  <a:pt x="1483" y="659"/>
                </a:lnTo>
                <a:lnTo>
                  <a:pt x="1469" y="653"/>
                </a:lnTo>
                <a:lnTo>
                  <a:pt x="1469" y="653"/>
                </a:lnTo>
                <a:lnTo>
                  <a:pt x="1475" y="636"/>
                </a:lnTo>
                <a:lnTo>
                  <a:pt x="1482" y="622"/>
                </a:lnTo>
                <a:lnTo>
                  <a:pt x="1487" y="612"/>
                </a:lnTo>
                <a:lnTo>
                  <a:pt x="1488" y="606"/>
                </a:lnTo>
                <a:lnTo>
                  <a:pt x="1488" y="601"/>
                </a:lnTo>
                <a:lnTo>
                  <a:pt x="1488" y="601"/>
                </a:lnTo>
                <a:lnTo>
                  <a:pt x="1489" y="593"/>
                </a:lnTo>
                <a:lnTo>
                  <a:pt x="1492" y="586"/>
                </a:lnTo>
                <a:lnTo>
                  <a:pt x="1495" y="575"/>
                </a:lnTo>
                <a:lnTo>
                  <a:pt x="1496" y="557"/>
                </a:lnTo>
                <a:lnTo>
                  <a:pt x="1496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84" y="557"/>
                </a:lnTo>
                <a:lnTo>
                  <a:pt x="1473" y="551"/>
                </a:lnTo>
                <a:lnTo>
                  <a:pt x="1459" y="542"/>
                </a:lnTo>
                <a:lnTo>
                  <a:pt x="1459" y="542"/>
                </a:lnTo>
                <a:lnTo>
                  <a:pt x="1440" y="549"/>
                </a:lnTo>
                <a:lnTo>
                  <a:pt x="1428" y="554"/>
                </a:lnTo>
                <a:lnTo>
                  <a:pt x="1420" y="561"/>
                </a:lnTo>
                <a:lnTo>
                  <a:pt x="1417" y="563"/>
                </a:lnTo>
                <a:lnTo>
                  <a:pt x="1416" y="567"/>
                </a:lnTo>
                <a:lnTo>
                  <a:pt x="1415" y="570"/>
                </a:lnTo>
                <a:lnTo>
                  <a:pt x="1415" y="573"/>
                </a:lnTo>
                <a:lnTo>
                  <a:pt x="1417" y="580"/>
                </a:lnTo>
                <a:lnTo>
                  <a:pt x="1422" y="585"/>
                </a:lnTo>
                <a:lnTo>
                  <a:pt x="1428" y="591"/>
                </a:lnTo>
                <a:lnTo>
                  <a:pt x="1440" y="601"/>
                </a:lnTo>
                <a:lnTo>
                  <a:pt x="1452" y="612"/>
                </a:lnTo>
                <a:lnTo>
                  <a:pt x="1457" y="618"/>
                </a:lnTo>
                <a:lnTo>
                  <a:pt x="1458" y="622"/>
                </a:lnTo>
                <a:lnTo>
                  <a:pt x="1458" y="624"/>
                </a:lnTo>
                <a:lnTo>
                  <a:pt x="1457" y="626"/>
                </a:lnTo>
                <a:lnTo>
                  <a:pt x="1451" y="630"/>
                </a:lnTo>
                <a:lnTo>
                  <a:pt x="1451" y="630"/>
                </a:lnTo>
                <a:lnTo>
                  <a:pt x="1444" y="645"/>
                </a:lnTo>
                <a:lnTo>
                  <a:pt x="1435" y="658"/>
                </a:lnTo>
                <a:lnTo>
                  <a:pt x="1426" y="669"/>
                </a:lnTo>
                <a:lnTo>
                  <a:pt x="1415" y="680"/>
                </a:lnTo>
                <a:lnTo>
                  <a:pt x="1404" y="689"/>
                </a:lnTo>
                <a:lnTo>
                  <a:pt x="1392" y="697"/>
                </a:lnTo>
                <a:lnTo>
                  <a:pt x="1369" y="712"/>
                </a:lnTo>
                <a:lnTo>
                  <a:pt x="1345" y="726"/>
                </a:lnTo>
                <a:lnTo>
                  <a:pt x="1323" y="737"/>
                </a:lnTo>
                <a:lnTo>
                  <a:pt x="1314" y="744"/>
                </a:lnTo>
                <a:lnTo>
                  <a:pt x="1305" y="751"/>
                </a:lnTo>
                <a:lnTo>
                  <a:pt x="1297" y="758"/>
                </a:lnTo>
                <a:lnTo>
                  <a:pt x="1290" y="766"/>
                </a:lnTo>
                <a:lnTo>
                  <a:pt x="1290" y="766"/>
                </a:lnTo>
                <a:lnTo>
                  <a:pt x="1290" y="758"/>
                </a:lnTo>
                <a:lnTo>
                  <a:pt x="1291" y="749"/>
                </a:lnTo>
                <a:lnTo>
                  <a:pt x="1294" y="738"/>
                </a:lnTo>
                <a:lnTo>
                  <a:pt x="1298" y="728"/>
                </a:lnTo>
                <a:lnTo>
                  <a:pt x="1308" y="705"/>
                </a:lnTo>
                <a:lnTo>
                  <a:pt x="1322" y="681"/>
                </a:lnTo>
                <a:lnTo>
                  <a:pt x="1339" y="653"/>
                </a:lnTo>
                <a:lnTo>
                  <a:pt x="1358" y="626"/>
                </a:lnTo>
                <a:lnTo>
                  <a:pt x="1398" y="565"/>
                </a:lnTo>
                <a:lnTo>
                  <a:pt x="1419" y="532"/>
                </a:lnTo>
                <a:lnTo>
                  <a:pt x="1439" y="499"/>
                </a:lnTo>
                <a:lnTo>
                  <a:pt x="1458" y="466"/>
                </a:lnTo>
                <a:lnTo>
                  <a:pt x="1475" y="432"/>
                </a:lnTo>
                <a:lnTo>
                  <a:pt x="1483" y="415"/>
                </a:lnTo>
                <a:lnTo>
                  <a:pt x="1489" y="398"/>
                </a:lnTo>
                <a:lnTo>
                  <a:pt x="1496" y="381"/>
                </a:lnTo>
                <a:lnTo>
                  <a:pt x="1500" y="363"/>
                </a:lnTo>
                <a:lnTo>
                  <a:pt x="1505" y="347"/>
                </a:lnTo>
                <a:lnTo>
                  <a:pt x="1507" y="330"/>
                </a:lnTo>
                <a:lnTo>
                  <a:pt x="1510" y="313"/>
                </a:lnTo>
                <a:lnTo>
                  <a:pt x="1510" y="297"/>
                </a:lnTo>
                <a:lnTo>
                  <a:pt x="1510" y="297"/>
                </a:lnTo>
                <a:lnTo>
                  <a:pt x="1508" y="284"/>
                </a:lnTo>
                <a:lnTo>
                  <a:pt x="1505" y="269"/>
                </a:lnTo>
                <a:lnTo>
                  <a:pt x="1499" y="254"/>
                </a:lnTo>
                <a:lnTo>
                  <a:pt x="1492" y="239"/>
                </a:lnTo>
                <a:lnTo>
                  <a:pt x="1483" y="223"/>
                </a:lnTo>
                <a:lnTo>
                  <a:pt x="1472" y="208"/>
                </a:lnTo>
                <a:lnTo>
                  <a:pt x="1460" y="193"/>
                </a:lnTo>
                <a:lnTo>
                  <a:pt x="1447" y="178"/>
                </a:lnTo>
                <a:lnTo>
                  <a:pt x="1434" y="164"/>
                </a:lnTo>
                <a:lnTo>
                  <a:pt x="1420" y="150"/>
                </a:lnTo>
                <a:lnTo>
                  <a:pt x="1405" y="139"/>
                </a:lnTo>
                <a:lnTo>
                  <a:pt x="1391" y="129"/>
                </a:lnTo>
                <a:lnTo>
                  <a:pt x="1376" y="120"/>
                </a:lnTo>
                <a:lnTo>
                  <a:pt x="1362" y="115"/>
                </a:lnTo>
                <a:lnTo>
                  <a:pt x="1350" y="110"/>
                </a:lnTo>
                <a:lnTo>
                  <a:pt x="1337" y="109"/>
                </a:lnTo>
                <a:lnTo>
                  <a:pt x="1337" y="109"/>
                </a:lnTo>
                <a:lnTo>
                  <a:pt x="1317" y="109"/>
                </a:lnTo>
                <a:lnTo>
                  <a:pt x="1293" y="110"/>
                </a:lnTo>
                <a:lnTo>
                  <a:pt x="1281" y="112"/>
                </a:lnTo>
                <a:lnTo>
                  <a:pt x="1269" y="115"/>
                </a:lnTo>
                <a:lnTo>
                  <a:pt x="1259" y="118"/>
                </a:lnTo>
                <a:lnTo>
                  <a:pt x="1248" y="124"/>
                </a:lnTo>
                <a:lnTo>
                  <a:pt x="1248" y="124"/>
                </a:lnTo>
                <a:lnTo>
                  <a:pt x="1247" y="135"/>
                </a:lnTo>
                <a:lnTo>
                  <a:pt x="1245" y="145"/>
                </a:lnTo>
                <a:lnTo>
                  <a:pt x="1243" y="153"/>
                </a:lnTo>
                <a:lnTo>
                  <a:pt x="1239" y="160"/>
                </a:lnTo>
                <a:lnTo>
                  <a:pt x="1236" y="165"/>
                </a:lnTo>
                <a:lnTo>
                  <a:pt x="1232" y="170"/>
                </a:lnTo>
                <a:lnTo>
                  <a:pt x="1228" y="173"/>
                </a:lnTo>
                <a:lnTo>
                  <a:pt x="1223" y="176"/>
                </a:lnTo>
                <a:lnTo>
                  <a:pt x="1218" y="178"/>
                </a:lnTo>
                <a:lnTo>
                  <a:pt x="1214" y="179"/>
                </a:lnTo>
                <a:lnTo>
                  <a:pt x="1205" y="179"/>
                </a:lnTo>
                <a:lnTo>
                  <a:pt x="1186" y="179"/>
                </a:lnTo>
                <a:lnTo>
                  <a:pt x="1186" y="179"/>
                </a:lnTo>
                <a:lnTo>
                  <a:pt x="1185" y="178"/>
                </a:lnTo>
                <a:lnTo>
                  <a:pt x="1184" y="178"/>
                </a:lnTo>
                <a:lnTo>
                  <a:pt x="1185" y="173"/>
                </a:lnTo>
                <a:lnTo>
                  <a:pt x="1187" y="168"/>
                </a:lnTo>
                <a:lnTo>
                  <a:pt x="1192" y="161"/>
                </a:lnTo>
                <a:lnTo>
                  <a:pt x="1201" y="142"/>
                </a:lnTo>
                <a:lnTo>
                  <a:pt x="1206" y="132"/>
                </a:lnTo>
                <a:lnTo>
                  <a:pt x="1208" y="123"/>
                </a:lnTo>
                <a:lnTo>
                  <a:pt x="1209" y="112"/>
                </a:lnTo>
                <a:lnTo>
                  <a:pt x="1208" y="108"/>
                </a:lnTo>
                <a:lnTo>
                  <a:pt x="1207" y="104"/>
                </a:lnTo>
                <a:lnTo>
                  <a:pt x="1205" y="100"/>
                </a:lnTo>
                <a:lnTo>
                  <a:pt x="1201" y="96"/>
                </a:lnTo>
                <a:lnTo>
                  <a:pt x="1197" y="93"/>
                </a:lnTo>
                <a:lnTo>
                  <a:pt x="1192" y="91"/>
                </a:lnTo>
                <a:lnTo>
                  <a:pt x="1185" y="88"/>
                </a:lnTo>
                <a:lnTo>
                  <a:pt x="1177" y="87"/>
                </a:lnTo>
                <a:lnTo>
                  <a:pt x="1167" y="86"/>
                </a:lnTo>
                <a:lnTo>
                  <a:pt x="1156" y="85"/>
                </a:lnTo>
                <a:lnTo>
                  <a:pt x="1129" y="86"/>
                </a:lnTo>
                <a:lnTo>
                  <a:pt x="1095" y="91"/>
                </a:lnTo>
                <a:lnTo>
                  <a:pt x="1095" y="91"/>
                </a:lnTo>
                <a:lnTo>
                  <a:pt x="1092" y="88"/>
                </a:lnTo>
                <a:lnTo>
                  <a:pt x="1092" y="85"/>
                </a:lnTo>
                <a:lnTo>
                  <a:pt x="1094" y="82"/>
                </a:lnTo>
                <a:lnTo>
                  <a:pt x="1098" y="80"/>
                </a:lnTo>
                <a:lnTo>
                  <a:pt x="1109" y="74"/>
                </a:lnTo>
                <a:lnTo>
                  <a:pt x="1122" y="68"/>
                </a:lnTo>
                <a:lnTo>
                  <a:pt x="1128" y="63"/>
                </a:lnTo>
                <a:lnTo>
                  <a:pt x="1132" y="58"/>
                </a:lnTo>
                <a:lnTo>
                  <a:pt x="1137" y="53"/>
                </a:lnTo>
                <a:lnTo>
                  <a:pt x="1139" y="47"/>
                </a:lnTo>
                <a:lnTo>
                  <a:pt x="1138" y="40"/>
                </a:lnTo>
                <a:lnTo>
                  <a:pt x="1136" y="32"/>
                </a:lnTo>
                <a:lnTo>
                  <a:pt x="1130" y="24"/>
                </a:lnTo>
                <a:lnTo>
                  <a:pt x="1121" y="13"/>
                </a:lnTo>
                <a:lnTo>
                  <a:pt x="1121" y="13"/>
                </a:lnTo>
                <a:lnTo>
                  <a:pt x="1103" y="7"/>
                </a:lnTo>
                <a:lnTo>
                  <a:pt x="1088" y="2"/>
                </a:lnTo>
                <a:lnTo>
                  <a:pt x="1076" y="0"/>
                </a:lnTo>
                <a:lnTo>
                  <a:pt x="1064" y="0"/>
                </a:lnTo>
                <a:lnTo>
                  <a:pt x="1055" y="2"/>
                </a:lnTo>
                <a:lnTo>
                  <a:pt x="1047" y="5"/>
                </a:lnTo>
                <a:lnTo>
                  <a:pt x="1042" y="11"/>
                </a:lnTo>
                <a:lnTo>
                  <a:pt x="1040" y="17"/>
                </a:lnTo>
                <a:lnTo>
                  <a:pt x="1040" y="17"/>
                </a:lnTo>
                <a:lnTo>
                  <a:pt x="1032" y="27"/>
                </a:lnTo>
                <a:lnTo>
                  <a:pt x="1024" y="39"/>
                </a:lnTo>
                <a:lnTo>
                  <a:pt x="1008" y="69"/>
                </a:lnTo>
                <a:lnTo>
                  <a:pt x="992" y="101"/>
                </a:lnTo>
                <a:lnTo>
                  <a:pt x="984" y="115"/>
                </a:lnTo>
                <a:lnTo>
                  <a:pt x="973" y="127"/>
                </a:lnTo>
                <a:lnTo>
                  <a:pt x="973" y="127"/>
                </a:lnTo>
                <a:lnTo>
                  <a:pt x="970" y="133"/>
                </a:lnTo>
                <a:lnTo>
                  <a:pt x="969" y="140"/>
                </a:lnTo>
                <a:lnTo>
                  <a:pt x="969" y="147"/>
                </a:lnTo>
                <a:lnTo>
                  <a:pt x="970" y="154"/>
                </a:lnTo>
                <a:lnTo>
                  <a:pt x="974" y="168"/>
                </a:lnTo>
                <a:lnTo>
                  <a:pt x="980" y="183"/>
                </a:lnTo>
                <a:lnTo>
                  <a:pt x="983" y="190"/>
                </a:lnTo>
                <a:lnTo>
                  <a:pt x="983" y="196"/>
                </a:lnTo>
                <a:lnTo>
                  <a:pt x="983" y="203"/>
                </a:lnTo>
                <a:lnTo>
                  <a:pt x="980" y="211"/>
                </a:lnTo>
                <a:lnTo>
                  <a:pt x="977" y="218"/>
                </a:lnTo>
                <a:lnTo>
                  <a:pt x="970" y="224"/>
                </a:lnTo>
                <a:lnTo>
                  <a:pt x="961" y="231"/>
                </a:lnTo>
                <a:lnTo>
                  <a:pt x="948" y="238"/>
                </a:lnTo>
                <a:lnTo>
                  <a:pt x="948" y="238"/>
                </a:lnTo>
                <a:lnTo>
                  <a:pt x="933" y="233"/>
                </a:lnTo>
                <a:lnTo>
                  <a:pt x="919" y="232"/>
                </a:lnTo>
                <a:lnTo>
                  <a:pt x="912" y="232"/>
                </a:lnTo>
                <a:lnTo>
                  <a:pt x="907" y="232"/>
                </a:lnTo>
                <a:lnTo>
                  <a:pt x="902" y="234"/>
                </a:lnTo>
                <a:lnTo>
                  <a:pt x="900" y="237"/>
                </a:lnTo>
                <a:lnTo>
                  <a:pt x="899" y="241"/>
                </a:lnTo>
                <a:lnTo>
                  <a:pt x="900" y="248"/>
                </a:lnTo>
                <a:lnTo>
                  <a:pt x="904" y="256"/>
                </a:lnTo>
                <a:lnTo>
                  <a:pt x="912" y="268"/>
                </a:lnTo>
                <a:lnTo>
                  <a:pt x="925" y="280"/>
                </a:lnTo>
                <a:lnTo>
                  <a:pt x="941" y="297"/>
                </a:lnTo>
                <a:lnTo>
                  <a:pt x="941" y="297"/>
                </a:lnTo>
                <a:lnTo>
                  <a:pt x="927" y="291"/>
                </a:lnTo>
                <a:lnTo>
                  <a:pt x="917" y="286"/>
                </a:lnTo>
                <a:lnTo>
                  <a:pt x="909" y="285"/>
                </a:lnTo>
                <a:lnTo>
                  <a:pt x="902" y="284"/>
                </a:lnTo>
                <a:lnTo>
                  <a:pt x="893" y="284"/>
                </a:lnTo>
                <a:lnTo>
                  <a:pt x="886" y="285"/>
                </a:lnTo>
                <a:lnTo>
                  <a:pt x="886" y="285"/>
                </a:lnTo>
                <a:lnTo>
                  <a:pt x="882" y="287"/>
                </a:lnTo>
                <a:lnTo>
                  <a:pt x="877" y="294"/>
                </a:lnTo>
                <a:lnTo>
                  <a:pt x="859" y="314"/>
                </a:lnTo>
                <a:lnTo>
                  <a:pt x="849" y="324"/>
                </a:lnTo>
                <a:lnTo>
                  <a:pt x="839" y="333"/>
                </a:lnTo>
                <a:lnTo>
                  <a:pt x="833" y="337"/>
                </a:lnTo>
                <a:lnTo>
                  <a:pt x="828" y="339"/>
                </a:lnTo>
                <a:lnTo>
                  <a:pt x="824" y="340"/>
                </a:lnTo>
                <a:lnTo>
                  <a:pt x="819" y="340"/>
                </a:lnTo>
                <a:lnTo>
                  <a:pt x="819" y="340"/>
                </a:lnTo>
                <a:lnTo>
                  <a:pt x="816" y="339"/>
                </a:lnTo>
                <a:lnTo>
                  <a:pt x="815" y="337"/>
                </a:lnTo>
                <a:lnTo>
                  <a:pt x="815" y="333"/>
                </a:lnTo>
                <a:lnTo>
                  <a:pt x="815" y="329"/>
                </a:lnTo>
                <a:lnTo>
                  <a:pt x="819" y="318"/>
                </a:lnTo>
                <a:lnTo>
                  <a:pt x="825" y="307"/>
                </a:lnTo>
                <a:lnTo>
                  <a:pt x="828" y="297"/>
                </a:lnTo>
                <a:lnTo>
                  <a:pt x="829" y="291"/>
                </a:lnTo>
                <a:lnTo>
                  <a:pt x="831" y="287"/>
                </a:lnTo>
                <a:lnTo>
                  <a:pt x="829" y="283"/>
                </a:lnTo>
                <a:lnTo>
                  <a:pt x="826" y="280"/>
                </a:lnTo>
                <a:lnTo>
                  <a:pt x="823" y="278"/>
                </a:lnTo>
                <a:lnTo>
                  <a:pt x="816" y="277"/>
                </a:lnTo>
                <a:lnTo>
                  <a:pt x="816" y="277"/>
                </a:lnTo>
                <a:lnTo>
                  <a:pt x="798" y="291"/>
                </a:lnTo>
                <a:lnTo>
                  <a:pt x="783" y="300"/>
                </a:lnTo>
                <a:lnTo>
                  <a:pt x="768" y="307"/>
                </a:lnTo>
                <a:lnTo>
                  <a:pt x="756" y="310"/>
                </a:lnTo>
                <a:lnTo>
                  <a:pt x="743" y="313"/>
                </a:lnTo>
                <a:lnTo>
                  <a:pt x="732" y="315"/>
                </a:lnTo>
                <a:lnTo>
                  <a:pt x="720" y="316"/>
                </a:lnTo>
                <a:lnTo>
                  <a:pt x="709" y="318"/>
                </a:lnTo>
                <a:lnTo>
                  <a:pt x="709" y="318"/>
                </a:lnTo>
                <a:lnTo>
                  <a:pt x="697" y="318"/>
                </a:lnTo>
                <a:lnTo>
                  <a:pt x="688" y="320"/>
                </a:lnTo>
                <a:lnTo>
                  <a:pt x="682" y="322"/>
                </a:lnTo>
                <a:lnTo>
                  <a:pt x="679" y="323"/>
                </a:lnTo>
                <a:lnTo>
                  <a:pt x="678" y="326"/>
                </a:lnTo>
                <a:lnTo>
                  <a:pt x="678" y="330"/>
                </a:lnTo>
                <a:lnTo>
                  <a:pt x="680" y="333"/>
                </a:lnTo>
                <a:lnTo>
                  <a:pt x="682" y="337"/>
                </a:lnTo>
                <a:lnTo>
                  <a:pt x="689" y="345"/>
                </a:lnTo>
                <a:lnTo>
                  <a:pt x="695" y="354"/>
                </a:lnTo>
                <a:lnTo>
                  <a:pt x="696" y="359"/>
                </a:lnTo>
                <a:lnTo>
                  <a:pt x="696" y="362"/>
                </a:lnTo>
                <a:lnTo>
                  <a:pt x="695" y="367"/>
                </a:lnTo>
                <a:lnTo>
                  <a:pt x="691" y="370"/>
                </a:lnTo>
                <a:lnTo>
                  <a:pt x="691" y="370"/>
                </a:lnTo>
                <a:lnTo>
                  <a:pt x="687" y="372"/>
                </a:lnTo>
                <a:lnTo>
                  <a:pt x="682" y="375"/>
                </a:lnTo>
                <a:lnTo>
                  <a:pt x="668" y="379"/>
                </a:lnTo>
                <a:lnTo>
                  <a:pt x="635" y="389"/>
                </a:lnTo>
                <a:lnTo>
                  <a:pt x="617" y="393"/>
                </a:lnTo>
                <a:lnTo>
                  <a:pt x="598" y="400"/>
                </a:lnTo>
                <a:lnTo>
                  <a:pt x="581" y="408"/>
                </a:lnTo>
                <a:lnTo>
                  <a:pt x="573" y="413"/>
                </a:lnTo>
                <a:lnTo>
                  <a:pt x="566" y="417"/>
                </a:lnTo>
                <a:lnTo>
                  <a:pt x="566" y="417"/>
                </a:lnTo>
                <a:lnTo>
                  <a:pt x="542" y="435"/>
                </a:lnTo>
                <a:lnTo>
                  <a:pt x="521" y="451"/>
                </a:lnTo>
                <a:lnTo>
                  <a:pt x="503" y="468"/>
                </a:lnTo>
                <a:lnTo>
                  <a:pt x="485" y="486"/>
                </a:lnTo>
                <a:lnTo>
                  <a:pt x="470" y="504"/>
                </a:lnTo>
                <a:lnTo>
                  <a:pt x="456" y="521"/>
                </a:lnTo>
                <a:lnTo>
                  <a:pt x="430" y="557"/>
                </a:lnTo>
                <a:lnTo>
                  <a:pt x="430" y="557"/>
                </a:lnTo>
                <a:lnTo>
                  <a:pt x="427" y="561"/>
                </a:lnTo>
                <a:lnTo>
                  <a:pt x="424" y="567"/>
                </a:lnTo>
                <a:lnTo>
                  <a:pt x="423" y="573"/>
                </a:lnTo>
                <a:lnTo>
                  <a:pt x="423" y="578"/>
                </a:lnTo>
                <a:lnTo>
                  <a:pt x="424" y="593"/>
                </a:lnTo>
                <a:lnTo>
                  <a:pt x="428" y="610"/>
                </a:lnTo>
                <a:lnTo>
                  <a:pt x="434" y="626"/>
                </a:lnTo>
                <a:lnTo>
                  <a:pt x="439" y="642"/>
                </a:lnTo>
                <a:lnTo>
                  <a:pt x="452" y="674"/>
                </a:lnTo>
                <a:lnTo>
                  <a:pt x="457" y="688"/>
                </a:lnTo>
                <a:lnTo>
                  <a:pt x="460" y="699"/>
                </a:lnTo>
                <a:lnTo>
                  <a:pt x="461" y="708"/>
                </a:lnTo>
                <a:lnTo>
                  <a:pt x="461" y="711"/>
                </a:lnTo>
                <a:lnTo>
                  <a:pt x="460" y="713"/>
                </a:lnTo>
                <a:lnTo>
                  <a:pt x="459" y="714"/>
                </a:lnTo>
                <a:lnTo>
                  <a:pt x="456" y="714"/>
                </a:lnTo>
                <a:lnTo>
                  <a:pt x="452" y="714"/>
                </a:lnTo>
                <a:lnTo>
                  <a:pt x="447" y="712"/>
                </a:lnTo>
                <a:lnTo>
                  <a:pt x="434" y="703"/>
                </a:lnTo>
                <a:lnTo>
                  <a:pt x="415" y="689"/>
                </a:lnTo>
                <a:lnTo>
                  <a:pt x="415" y="689"/>
                </a:lnTo>
                <a:lnTo>
                  <a:pt x="380" y="696"/>
                </a:lnTo>
                <a:lnTo>
                  <a:pt x="348" y="700"/>
                </a:lnTo>
                <a:lnTo>
                  <a:pt x="321" y="703"/>
                </a:lnTo>
                <a:lnTo>
                  <a:pt x="297" y="703"/>
                </a:lnTo>
                <a:lnTo>
                  <a:pt x="275" y="703"/>
                </a:lnTo>
                <a:lnTo>
                  <a:pt x="254" y="702"/>
                </a:lnTo>
                <a:lnTo>
                  <a:pt x="232" y="700"/>
                </a:lnTo>
                <a:lnTo>
                  <a:pt x="209" y="700"/>
                </a:lnTo>
                <a:lnTo>
                  <a:pt x="209" y="700"/>
                </a:lnTo>
                <a:lnTo>
                  <a:pt x="193" y="700"/>
                </a:lnTo>
                <a:lnTo>
                  <a:pt x="179" y="702"/>
                </a:lnTo>
                <a:lnTo>
                  <a:pt x="168" y="704"/>
                </a:lnTo>
                <a:lnTo>
                  <a:pt x="156" y="707"/>
                </a:lnTo>
                <a:lnTo>
                  <a:pt x="148" y="711"/>
                </a:lnTo>
                <a:lnTo>
                  <a:pt x="140" y="717"/>
                </a:lnTo>
                <a:lnTo>
                  <a:pt x="134" y="722"/>
                </a:lnTo>
                <a:lnTo>
                  <a:pt x="130" y="729"/>
                </a:lnTo>
                <a:lnTo>
                  <a:pt x="128" y="736"/>
                </a:lnTo>
                <a:lnTo>
                  <a:pt x="126" y="745"/>
                </a:lnTo>
                <a:lnTo>
                  <a:pt x="126" y="754"/>
                </a:lnTo>
                <a:lnTo>
                  <a:pt x="129" y="765"/>
                </a:lnTo>
                <a:lnTo>
                  <a:pt x="132" y="776"/>
                </a:lnTo>
                <a:lnTo>
                  <a:pt x="137" y="789"/>
                </a:lnTo>
                <a:lnTo>
                  <a:pt x="143" y="803"/>
                </a:lnTo>
                <a:lnTo>
                  <a:pt x="151" y="818"/>
                </a:lnTo>
                <a:lnTo>
                  <a:pt x="151" y="818"/>
                </a:lnTo>
                <a:lnTo>
                  <a:pt x="153" y="824"/>
                </a:lnTo>
                <a:lnTo>
                  <a:pt x="153" y="829"/>
                </a:lnTo>
                <a:lnTo>
                  <a:pt x="153" y="836"/>
                </a:lnTo>
                <a:lnTo>
                  <a:pt x="151" y="843"/>
                </a:lnTo>
                <a:lnTo>
                  <a:pt x="147" y="859"/>
                </a:lnTo>
                <a:lnTo>
                  <a:pt x="144" y="875"/>
                </a:lnTo>
                <a:lnTo>
                  <a:pt x="143" y="883"/>
                </a:lnTo>
                <a:lnTo>
                  <a:pt x="143" y="893"/>
                </a:lnTo>
                <a:lnTo>
                  <a:pt x="144" y="901"/>
                </a:lnTo>
                <a:lnTo>
                  <a:pt x="146" y="909"/>
                </a:lnTo>
                <a:lnTo>
                  <a:pt x="152" y="916"/>
                </a:lnTo>
                <a:lnTo>
                  <a:pt x="159" y="924"/>
                </a:lnTo>
                <a:lnTo>
                  <a:pt x="168" y="929"/>
                </a:lnTo>
                <a:lnTo>
                  <a:pt x="180" y="935"/>
                </a:lnTo>
                <a:lnTo>
                  <a:pt x="180" y="935"/>
                </a:lnTo>
                <a:lnTo>
                  <a:pt x="184" y="933"/>
                </a:lnTo>
                <a:lnTo>
                  <a:pt x="189" y="934"/>
                </a:lnTo>
                <a:lnTo>
                  <a:pt x="192" y="935"/>
                </a:lnTo>
                <a:lnTo>
                  <a:pt x="194" y="940"/>
                </a:lnTo>
                <a:lnTo>
                  <a:pt x="199" y="951"/>
                </a:lnTo>
                <a:lnTo>
                  <a:pt x="202" y="964"/>
                </a:lnTo>
                <a:lnTo>
                  <a:pt x="207" y="978"/>
                </a:lnTo>
                <a:lnTo>
                  <a:pt x="209" y="983"/>
                </a:lnTo>
                <a:lnTo>
                  <a:pt x="212" y="989"/>
                </a:lnTo>
                <a:lnTo>
                  <a:pt x="215" y="993"/>
                </a:lnTo>
                <a:lnTo>
                  <a:pt x="218" y="994"/>
                </a:lnTo>
                <a:lnTo>
                  <a:pt x="223" y="994"/>
                </a:lnTo>
                <a:lnTo>
                  <a:pt x="228" y="990"/>
                </a:lnTo>
                <a:lnTo>
                  <a:pt x="228" y="990"/>
                </a:lnTo>
                <a:lnTo>
                  <a:pt x="239" y="1007"/>
                </a:lnTo>
                <a:lnTo>
                  <a:pt x="248" y="1020"/>
                </a:lnTo>
                <a:lnTo>
                  <a:pt x="255" y="1033"/>
                </a:lnTo>
                <a:lnTo>
                  <a:pt x="256" y="1039"/>
                </a:lnTo>
                <a:lnTo>
                  <a:pt x="258" y="1046"/>
                </a:lnTo>
                <a:lnTo>
                  <a:pt x="258" y="1051"/>
                </a:lnTo>
                <a:lnTo>
                  <a:pt x="256" y="1058"/>
                </a:lnTo>
                <a:lnTo>
                  <a:pt x="254" y="1065"/>
                </a:lnTo>
                <a:lnTo>
                  <a:pt x="251" y="1072"/>
                </a:lnTo>
                <a:lnTo>
                  <a:pt x="246" y="1080"/>
                </a:lnTo>
                <a:lnTo>
                  <a:pt x="240" y="1089"/>
                </a:lnTo>
                <a:lnTo>
                  <a:pt x="224" y="1108"/>
                </a:lnTo>
                <a:lnTo>
                  <a:pt x="224" y="1108"/>
                </a:lnTo>
                <a:lnTo>
                  <a:pt x="230" y="1123"/>
                </a:lnTo>
                <a:lnTo>
                  <a:pt x="243" y="1157"/>
                </a:lnTo>
                <a:lnTo>
                  <a:pt x="250" y="1177"/>
                </a:lnTo>
                <a:lnTo>
                  <a:pt x="253" y="1196"/>
                </a:lnTo>
                <a:lnTo>
                  <a:pt x="255" y="1206"/>
                </a:lnTo>
                <a:lnTo>
                  <a:pt x="255" y="1212"/>
                </a:lnTo>
                <a:lnTo>
                  <a:pt x="255" y="1219"/>
                </a:lnTo>
                <a:lnTo>
                  <a:pt x="253" y="1225"/>
                </a:lnTo>
                <a:lnTo>
                  <a:pt x="253" y="1225"/>
                </a:lnTo>
                <a:lnTo>
                  <a:pt x="238" y="1252"/>
                </a:lnTo>
                <a:lnTo>
                  <a:pt x="225" y="1269"/>
                </a:lnTo>
                <a:lnTo>
                  <a:pt x="221" y="1275"/>
                </a:lnTo>
                <a:lnTo>
                  <a:pt x="217" y="1279"/>
                </a:lnTo>
                <a:lnTo>
                  <a:pt x="214" y="1282"/>
                </a:lnTo>
                <a:lnTo>
                  <a:pt x="210" y="1282"/>
                </a:lnTo>
                <a:lnTo>
                  <a:pt x="208" y="1282"/>
                </a:lnTo>
                <a:lnTo>
                  <a:pt x="206" y="1280"/>
                </a:lnTo>
                <a:lnTo>
                  <a:pt x="202" y="1275"/>
                </a:lnTo>
                <a:lnTo>
                  <a:pt x="194" y="1259"/>
                </a:lnTo>
                <a:lnTo>
                  <a:pt x="194" y="1259"/>
                </a:lnTo>
                <a:lnTo>
                  <a:pt x="205" y="1235"/>
                </a:lnTo>
                <a:lnTo>
                  <a:pt x="212" y="1215"/>
                </a:lnTo>
                <a:lnTo>
                  <a:pt x="217" y="1196"/>
                </a:lnTo>
                <a:lnTo>
                  <a:pt x="220" y="1181"/>
                </a:lnTo>
                <a:lnTo>
                  <a:pt x="221" y="1168"/>
                </a:lnTo>
                <a:lnTo>
                  <a:pt x="221" y="1157"/>
                </a:lnTo>
                <a:lnTo>
                  <a:pt x="220" y="1149"/>
                </a:lnTo>
                <a:lnTo>
                  <a:pt x="217" y="1147"/>
                </a:lnTo>
                <a:lnTo>
                  <a:pt x="216" y="1146"/>
                </a:lnTo>
                <a:lnTo>
                  <a:pt x="214" y="1145"/>
                </a:lnTo>
                <a:lnTo>
                  <a:pt x="212" y="1143"/>
                </a:lnTo>
                <a:lnTo>
                  <a:pt x="209" y="1145"/>
                </a:lnTo>
                <a:lnTo>
                  <a:pt x="206" y="1146"/>
                </a:lnTo>
                <a:lnTo>
                  <a:pt x="200" y="1151"/>
                </a:lnTo>
                <a:lnTo>
                  <a:pt x="194" y="1160"/>
                </a:lnTo>
                <a:lnTo>
                  <a:pt x="186" y="1172"/>
                </a:lnTo>
                <a:lnTo>
                  <a:pt x="179" y="1188"/>
                </a:lnTo>
                <a:lnTo>
                  <a:pt x="172" y="1209"/>
                </a:lnTo>
                <a:lnTo>
                  <a:pt x="166" y="1233"/>
                </a:lnTo>
                <a:lnTo>
                  <a:pt x="166" y="1233"/>
                </a:lnTo>
                <a:lnTo>
                  <a:pt x="167" y="1222"/>
                </a:lnTo>
                <a:lnTo>
                  <a:pt x="169" y="1203"/>
                </a:lnTo>
                <a:lnTo>
                  <a:pt x="178" y="1160"/>
                </a:lnTo>
                <a:lnTo>
                  <a:pt x="184" y="1137"/>
                </a:lnTo>
                <a:lnTo>
                  <a:pt x="191" y="1115"/>
                </a:lnTo>
                <a:lnTo>
                  <a:pt x="197" y="1097"/>
                </a:lnTo>
                <a:lnTo>
                  <a:pt x="202" y="1086"/>
                </a:lnTo>
                <a:lnTo>
                  <a:pt x="202" y="1086"/>
                </a:lnTo>
                <a:lnTo>
                  <a:pt x="215" y="1064"/>
                </a:lnTo>
                <a:lnTo>
                  <a:pt x="223" y="1047"/>
                </a:lnTo>
                <a:lnTo>
                  <a:pt x="228" y="1033"/>
                </a:lnTo>
                <a:lnTo>
                  <a:pt x="230" y="1024"/>
                </a:lnTo>
                <a:lnTo>
                  <a:pt x="230" y="1020"/>
                </a:lnTo>
                <a:lnTo>
                  <a:pt x="229" y="1018"/>
                </a:lnTo>
                <a:lnTo>
                  <a:pt x="228" y="1016"/>
                </a:lnTo>
                <a:lnTo>
                  <a:pt x="225" y="1015"/>
                </a:lnTo>
                <a:lnTo>
                  <a:pt x="221" y="1013"/>
                </a:lnTo>
                <a:lnTo>
                  <a:pt x="214" y="1013"/>
                </a:lnTo>
                <a:lnTo>
                  <a:pt x="197" y="1016"/>
                </a:lnTo>
                <a:lnTo>
                  <a:pt x="189" y="1016"/>
                </a:lnTo>
                <a:lnTo>
                  <a:pt x="179" y="1017"/>
                </a:lnTo>
                <a:lnTo>
                  <a:pt x="170" y="1016"/>
                </a:lnTo>
                <a:lnTo>
                  <a:pt x="162" y="1012"/>
                </a:lnTo>
                <a:lnTo>
                  <a:pt x="159" y="1010"/>
                </a:lnTo>
                <a:lnTo>
                  <a:pt x="155" y="1007"/>
                </a:lnTo>
                <a:lnTo>
                  <a:pt x="153" y="1003"/>
                </a:lnTo>
                <a:lnTo>
                  <a:pt x="151" y="997"/>
                </a:lnTo>
                <a:lnTo>
                  <a:pt x="151" y="997"/>
                </a:lnTo>
                <a:lnTo>
                  <a:pt x="141" y="979"/>
                </a:lnTo>
                <a:lnTo>
                  <a:pt x="132" y="963"/>
                </a:lnTo>
                <a:lnTo>
                  <a:pt x="122" y="950"/>
                </a:lnTo>
                <a:lnTo>
                  <a:pt x="111" y="940"/>
                </a:lnTo>
                <a:lnTo>
                  <a:pt x="87" y="918"/>
                </a:lnTo>
                <a:lnTo>
                  <a:pt x="72" y="905"/>
                </a:lnTo>
                <a:lnTo>
                  <a:pt x="55" y="888"/>
                </a:lnTo>
                <a:lnTo>
                  <a:pt x="55" y="888"/>
                </a:lnTo>
                <a:lnTo>
                  <a:pt x="54" y="890"/>
                </a:lnTo>
                <a:lnTo>
                  <a:pt x="50" y="893"/>
                </a:lnTo>
                <a:lnTo>
                  <a:pt x="45" y="895"/>
                </a:lnTo>
                <a:lnTo>
                  <a:pt x="37" y="895"/>
                </a:lnTo>
                <a:lnTo>
                  <a:pt x="37" y="895"/>
                </a:lnTo>
                <a:lnTo>
                  <a:pt x="33" y="902"/>
                </a:lnTo>
                <a:lnTo>
                  <a:pt x="32" y="908"/>
                </a:lnTo>
                <a:lnTo>
                  <a:pt x="33" y="921"/>
                </a:lnTo>
                <a:lnTo>
                  <a:pt x="33" y="921"/>
                </a:lnTo>
                <a:lnTo>
                  <a:pt x="33" y="928"/>
                </a:lnTo>
                <a:lnTo>
                  <a:pt x="36" y="934"/>
                </a:lnTo>
                <a:lnTo>
                  <a:pt x="39" y="939"/>
                </a:lnTo>
                <a:lnTo>
                  <a:pt x="44" y="942"/>
                </a:lnTo>
                <a:lnTo>
                  <a:pt x="48" y="946"/>
                </a:lnTo>
                <a:lnTo>
                  <a:pt x="54" y="948"/>
                </a:lnTo>
                <a:lnTo>
                  <a:pt x="67" y="952"/>
                </a:lnTo>
                <a:lnTo>
                  <a:pt x="79" y="957"/>
                </a:lnTo>
                <a:lnTo>
                  <a:pt x="85" y="960"/>
                </a:lnTo>
                <a:lnTo>
                  <a:pt x="91" y="964"/>
                </a:lnTo>
                <a:lnTo>
                  <a:pt x="95" y="967"/>
                </a:lnTo>
                <a:lnTo>
                  <a:pt x="99" y="973"/>
                </a:lnTo>
                <a:lnTo>
                  <a:pt x="101" y="979"/>
                </a:lnTo>
                <a:lnTo>
                  <a:pt x="103" y="987"/>
                </a:lnTo>
                <a:lnTo>
                  <a:pt x="103" y="987"/>
                </a:lnTo>
                <a:lnTo>
                  <a:pt x="103" y="998"/>
                </a:lnTo>
                <a:lnTo>
                  <a:pt x="103" y="1008"/>
                </a:lnTo>
                <a:lnTo>
                  <a:pt x="101" y="1015"/>
                </a:lnTo>
                <a:lnTo>
                  <a:pt x="98" y="1021"/>
                </a:lnTo>
                <a:lnTo>
                  <a:pt x="94" y="1026"/>
                </a:lnTo>
                <a:lnTo>
                  <a:pt x="90" y="1030"/>
                </a:lnTo>
                <a:lnTo>
                  <a:pt x="85" y="1032"/>
                </a:lnTo>
                <a:lnTo>
                  <a:pt x="80" y="1034"/>
                </a:lnTo>
                <a:lnTo>
                  <a:pt x="70" y="1039"/>
                </a:lnTo>
                <a:lnTo>
                  <a:pt x="61" y="1042"/>
                </a:lnTo>
                <a:lnTo>
                  <a:pt x="57" y="1046"/>
                </a:lnTo>
                <a:lnTo>
                  <a:pt x="54" y="1049"/>
                </a:lnTo>
                <a:lnTo>
                  <a:pt x="53" y="1054"/>
                </a:lnTo>
                <a:lnTo>
                  <a:pt x="52" y="1061"/>
                </a:lnTo>
                <a:lnTo>
                  <a:pt x="52" y="1061"/>
                </a:lnTo>
                <a:lnTo>
                  <a:pt x="53" y="1066"/>
                </a:lnTo>
                <a:lnTo>
                  <a:pt x="54" y="1072"/>
                </a:lnTo>
                <a:lnTo>
                  <a:pt x="56" y="1078"/>
                </a:lnTo>
                <a:lnTo>
                  <a:pt x="60" y="1082"/>
                </a:lnTo>
                <a:lnTo>
                  <a:pt x="68" y="1094"/>
                </a:lnTo>
                <a:lnTo>
                  <a:pt x="77" y="1105"/>
                </a:lnTo>
                <a:lnTo>
                  <a:pt x="87" y="1118"/>
                </a:lnTo>
                <a:lnTo>
                  <a:pt x="91" y="1126"/>
                </a:lnTo>
                <a:lnTo>
                  <a:pt x="95" y="1133"/>
                </a:lnTo>
                <a:lnTo>
                  <a:pt x="98" y="1141"/>
                </a:lnTo>
                <a:lnTo>
                  <a:pt x="101" y="1150"/>
                </a:lnTo>
                <a:lnTo>
                  <a:pt x="102" y="1161"/>
                </a:lnTo>
                <a:lnTo>
                  <a:pt x="103" y="1171"/>
                </a:lnTo>
                <a:lnTo>
                  <a:pt x="103" y="1171"/>
                </a:lnTo>
                <a:lnTo>
                  <a:pt x="102" y="1187"/>
                </a:lnTo>
                <a:lnTo>
                  <a:pt x="99" y="1201"/>
                </a:lnTo>
                <a:lnTo>
                  <a:pt x="93" y="1211"/>
                </a:lnTo>
                <a:lnTo>
                  <a:pt x="87" y="1221"/>
                </a:lnTo>
                <a:lnTo>
                  <a:pt x="79" y="1229"/>
                </a:lnTo>
                <a:lnTo>
                  <a:pt x="70" y="1234"/>
                </a:lnTo>
                <a:lnTo>
                  <a:pt x="52" y="1246"/>
                </a:lnTo>
                <a:lnTo>
                  <a:pt x="32" y="1256"/>
                </a:lnTo>
                <a:lnTo>
                  <a:pt x="24" y="1262"/>
                </a:lnTo>
                <a:lnTo>
                  <a:pt x="16" y="1269"/>
                </a:lnTo>
                <a:lnTo>
                  <a:pt x="9" y="1278"/>
                </a:lnTo>
                <a:lnTo>
                  <a:pt x="4" y="1288"/>
                </a:lnTo>
                <a:lnTo>
                  <a:pt x="1" y="1302"/>
                </a:lnTo>
                <a:lnTo>
                  <a:pt x="0" y="1317"/>
                </a:lnTo>
                <a:lnTo>
                  <a:pt x="0" y="1317"/>
                </a:lnTo>
                <a:lnTo>
                  <a:pt x="1" y="1325"/>
                </a:lnTo>
                <a:lnTo>
                  <a:pt x="3" y="1332"/>
                </a:lnTo>
                <a:lnTo>
                  <a:pt x="7" y="1340"/>
                </a:lnTo>
                <a:lnTo>
                  <a:pt x="11" y="1348"/>
                </a:lnTo>
                <a:lnTo>
                  <a:pt x="17" y="1356"/>
                </a:lnTo>
                <a:lnTo>
                  <a:pt x="23" y="1366"/>
                </a:lnTo>
                <a:lnTo>
                  <a:pt x="38" y="1380"/>
                </a:lnTo>
                <a:lnTo>
                  <a:pt x="54" y="1394"/>
                </a:lnTo>
                <a:lnTo>
                  <a:pt x="63" y="1401"/>
                </a:lnTo>
                <a:lnTo>
                  <a:pt x="71" y="1406"/>
                </a:lnTo>
                <a:lnTo>
                  <a:pt x="80" y="1410"/>
                </a:lnTo>
                <a:lnTo>
                  <a:pt x="88" y="1414"/>
                </a:lnTo>
                <a:lnTo>
                  <a:pt x="95" y="1416"/>
                </a:lnTo>
                <a:lnTo>
                  <a:pt x="103" y="1416"/>
                </a:lnTo>
                <a:lnTo>
                  <a:pt x="103" y="1416"/>
                </a:lnTo>
                <a:lnTo>
                  <a:pt x="110" y="1416"/>
                </a:lnTo>
                <a:lnTo>
                  <a:pt x="115" y="1415"/>
                </a:lnTo>
                <a:lnTo>
                  <a:pt x="122" y="1414"/>
                </a:lnTo>
                <a:lnTo>
                  <a:pt x="126" y="1412"/>
                </a:lnTo>
                <a:lnTo>
                  <a:pt x="132" y="1413"/>
                </a:lnTo>
                <a:lnTo>
                  <a:pt x="132" y="1413"/>
                </a:lnTo>
                <a:lnTo>
                  <a:pt x="139" y="1421"/>
                </a:lnTo>
                <a:lnTo>
                  <a:pt x="146" y="1428"/>
                </a:lnTo>
                <a:lnTo>
                  <a:pt x="162" y="1441"/>
                </a:lnTo>
                <a:lnTo>
                  <a:pt x="169" y="1450"/>
                </a:lnTo>
                <a:lnTo>
                  <a:pt x="175" y="1460"/>
                </a:lnTo>
                <a:lnTo>
                  <a:pt x="177" y="1466"/>
                </a:lnTo>
                <a:lnTo>
                  <a:pt x="178" y="1471"/>
                </a:lnTo>
                <a:lnTo>
                  <a:pt x="179" y="1478"/>
                </a:lnTo>
                <a:lnTo>
                  <a:pt x="180" y="1486"/>
                </a:lnTo>
                <a:lnTo>
                  <a:pt x="180" y="1486"/>
                </a:lnTo>
                <a:lnTo>
                  <a:pt x="179" y="1501"/>
                </a:lnTo>
                <a:lnTo>
                  <a:pt x="179" y="1507"/>
                </a:lnTo>
                <a:lnTo>
                  <a:pt x="178" y="1513"/>
                </a:lnTo>
                <a:lnTo>
                  <a:pt x="176" y="1517"/>
                </a:lnTo>
                <a:lnTo>
                  <a:pt x="172" y="1522"/>
                </a:lnTo>
                <a:lnTo>
                  <a:pt x="168" y="1527"/>
                </a:lnTo>
                <a:lnTo>
                  <a:pt x="162" y="1530"/>
                </a:lnTo>
                <a:lnTo>
                  <a:pt x="162" y="1530"/>
                </a:lnTo>
                <a:lnTo>
                  <a:pt x="166" y="1548"/>
                </a:lnTo>
                <a:lnTo>
                  <a:pt x="169" y="1560"/>
                </a:lnTo>
                <a:lnTo>
                  <a:pt x="169" y="1560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6" name="Freeform 131"/>
          <p:cNvSpPr>
            <a:spLocks/>
          </p:cNvSpPr>
          <p:nvPr/>
        </p:nvSpPr>
        <p:spPr bwMode="auto">
          <a:xfrm>
            <a:off x="2840038" y="3776663"/>
            <a:ext cx="1447800" cy="1139825"/>
          </a:xfrm>
          <a:custGeom>
            <a:avLst/>
            <a:gdLst/>
            <a:ahLst/>
            <a:cxnLst>
              <a:cxn ang="0">
                <a:pos x="982" y="1239"/>
              </a:cxn>
              <a:cxn ang="0">
                <a:pos x="1036" y="1198"/>
              </a:cxn>
              <a:cxn ang="0">
                <a:pos x="1082" y="1136"/>
              </a:cxn>
              <a:cxn ang="0">
                <a:pos x="1149" y="1027"/>
              </a:cxn>
              <a:cxn ang="0">
                <a:pos x="1223" y="1044"/>
              </a:cxn>
              <a:cxn ang="0">
                <a:pos x="1350" y="1068"/>
              </a:cxn>
              <a:cxn ang="0">
                <a:pos x="1449" y="1099"/>
              </a:cxn>
              <a:cxn ang="0">
                <a:pos x="1512" y="1108"/>
              </a:cxn>
              <a:cxn ang="0">
                <a:pos x="1590" y="1059"/>
              </a:cxn>
              <a:cxn ang="0">
                <a:pos x="1643" y="1090"/>
              </a:cxn>
              <a:cxn ang="0">
                <a:pos x="1673" y="1059"/>
              </a:cxn>
              <a:cxn ang="0">
                <a:pos x="1766" y="1008"/>
              </a:cxn>
              <a:cxn ang="0">
                <a:pos x="1739" y="972"/>
              </a:cxn>
              <a:cxn ang="0">
                <a:pos x="1684" y="908"/>
              </a:cxn>
              <a:cxn ang="0">
                <a:pos x="1646" y="838"/>
              </a:cxn>
              <a:cxn ang="0">
                <a:pos x="1589" y="823"/>
              </a:cxn>
              <a:cxn ang="0">
                <a:pos x="1550" y="775"/>
              </a:cxn>
              <a:cxn ang="0">
                <a:pos x="1498" y="779"/>
              </a:cxn>
              <a:cxn ang="0">
                <a:pos x="1452" y="720"/>
              </a:cxn>
              <a:cxn ang="0">
                <a:pos x="1405" y="737"/>
              </a:cxn>
              <a:cxn ang="0">
                <a:pos x="1350" y="779"/>
              </a:cxn>
              <a:cxn ang="0">
                <a:pos x="1229" y="760"/>
              </a:cxn>
              <a:cxn ang="0">
                <a:pos x="1149" y="672"/>
              </a:cxn>
              <a:cxn ang="0">
                <a:pos x="998" y="632"/>
              </a:cxn>
              <a:cxn ang="0">
                <a:pos x="859" y="570"/>
              </a:cxn>
              <a:cxn ang="0">
                <a:pos x="836" y="508"/>
              </a:cxn>
              <a:cxn ang="0">
                <a:pos x="811" y="437"/>
              </a:cxn>
              <a:cxn ang="0">
                <a:pos x="745" y="357"/>
              </a:cxn>
              <a:cxn ang="0">
                <a:pos x="693" y="367"/>
              </a:cxn>
              <a:cxn ang="0">
                <a:pos x="649" y="367"/>
              </a:cxn>
              <a:cxn ang="0">
                <a:pos x="597" y="363"/>
              </a:cxn>
              <a:cxn ang="0">
                <a:pos x="555" y="256"/>
              </a:cxn>
              <a:cxn ang="0">
                <a:pos x="424" y="249"/>
              </a:cxn>
              <a:cxn ang="0">
                <a:pos x="385" y="210"/>
              </a:cxn>
              <a:cxn ang="0">
                <a:pos x="349" y="169"/>
              </a:cxn>
              <a:cxn ang="0">
                <a:pos x="384" y="91"/>
              </a:cxn>
              <a:cxn ang="0">
                <a:pos x="378" y="0"/>
              </a:cxn>
              <a:cxn ang="0">
                <a:pos x="293" y="56"/>
              </a:cxn>
              <a:cxn ang="0">
                <a:pos x="245" y="62"/>
              </a:cxn>
              <a:cxn ang="0">
                <a:pos x="189" y="63"/>
              </a:cxn>
              <a:cxn ang="0">
                <a:pos x="143" y="169"/>
              </a:cxn>
              <a:cxn ang="0">
                <a:pos x="81" y="244"/>
              </a:cxn>
              <a:cxn ang="0">
                <a:pos x="30" y="396"/>
              </a:cxn>
              <a:cxn ang="0">
                <a:pos x="3" y="455"/>
              </a:cxn>
              <a:cxn ang="0">
                <a:pos x="40" y="514"/>
              </a:cxn>
              <a:cxn ang="0">
                <a:pos x="120" y="613"/>
              </a:cxn>
              <a:cxn ang="0">
                <a:pos x="154" y="672"/>
              </a:cxn>
              <a:cxn ang="0">
                <a:pos x="145" y="760"/>
              </a:cxn>
              <a:cxn ang="0">
                <a:pos x="149" y="926"/>
              </a:cxn>
              <a:cxn ang="0">
                <a:pos x="173" y="975"/>
              </a:cxn>
              <a:cxn ang="0">
                <a:pos x="227" y="1024"/>
              </a:cxn>
              <a:cxn ang="0">
                <a:pos x="262" y="1127"/>
              </a:cxn>
              <a:cxn ang="0">
                <a:pos x="330" y="1107"/>
              </a:cxn>
              <a:cxn ang="0">
                <a:pos x="418" y="1088"/>
              </a:cxn>
              <a:cxn ang="0">
                <a:pos x="468" y="1064"/>
              </a:cxn>
              <a:cxn ang="0">
                <a:pos x="505" y="1045"/>
              </a:cxn>
              <a:cxn ang="0">
                <a:pos x="538" y="1008"/>
              </a:cxn>
              <a:cxn ang="0">
                <a:pos x="627" y="1047"/>
              </a:cxn>
              <a:cxn ang="0">
                <a:pos x="690" y="1066"/>
              </a:cxn>
              <a:cxn ang="0">
                <a:pos x="749" y="1183"/>
              </a:cxn>
              <a:cxn ang="0">
                <a:pos x="829" y="1273"/>
              </a:cxn>
            </a:cxnLst>
            <a:rect l="0" t="0" r="r" b="b"/>
            <a:pathLst>
              <a:path w="1771" h="1307">
                <a:moveTo>
                  <a:pt x="932" y="1307"/>
                </a:moveTo>
                <a:lnTo>
                  <a:pt x="954" y="1307"/>
                </a:lnTo>
                <a:lnTo>
                  <a:pt x="954" y="1307"/>
                </a:lnTo>
                <a:lnTo>
                  <a:pt x="954" y="1307"/>
                </a:lnTo>
                <a:lnTo>
                  <a:pt x="960" y="1297"/>
                </a:lnTo>
                <a:lnTo>
                  <a:pt x="965" y="1287"/>
                </a:lnTo>
                <a:lnTo>
                  <a:pt x="972" y="1267"/>
                </a:lnTo>
                <a:lnTo>
                  <a:pt x="979" y="1247"/>
                </a:lnTo>
                <a:lnTo>
                  <a:pt x="982" y="1239"/>
                </a:lnTo>
                <a:lnTo>
                  <a:pt x="987" y="1230"/>
                </a:lnTo>
                <a:lnTo>
                  <a:pt x="987" y="1230"/>
                </a:lnTo>
                <a:lnTo>
                  <a:pt x="991" y="1224"/>
                </a:lnTo>
                <a:lnTo>
                  <a:pt x="995" y="1219"/>
                </a:lnTo>
                <a:lnTo>
                  <a:pt x="1000" y="1215"/>
                </a:lnTo>
                <a:lnTo>
                  <a:pt x="1004" y="1212"/>
                </a:lnTo>
                <a:lnTo>
                  <a:pt x="1014" y="1206"/>
                </a:lnTo>
                <a:lnTo>
                  <a:pt x="1026" y="1201"/>
                </a:lnTo>
                <a:lnTo>
                  <a:pt x="1036" y="1198"/>
                </a:lnTo>
                <a:lnTo>
                  <a:pt x="1047" y="1193"/>
                </a:lnTo>
                <a:lnTo>
                  <a:pt x="1052" y="1190"/>
                </a:lnTo>
                <a:lnTo>
                  <a:pt x="1057" y="1185"/>
                </a:lnTo>
                <a:lnTo>
                  <a:pt x="1061" y="1181"/>
                </a:lnTo>
                <a:lnTo>
                  <a:pt x="1064" y="1175"/>
                </a:lnTo>
                <a:lnTo>
                  <a:pt x="1064" y="1175"/>
                </a:lnTo>
                <a:lnTo>
                  <a:pt x="1069" y="1168"/>
                </a:lnTo>
                <a:lnTo>
                  <a:pt x="1073" y="1159"/>
                </a:lnTo>
                <a:lnTo>
                  <a:pt x="1082" y="1136"/>
                </a:lnTo>
                <a:lnTo>
                  <a:pt x="1090" y="1112"/>
                </a:lnTo>
                <a:lnTo>
                  <a:pt x="1100" y="1086"/>
                </a:lnTo>
                <a:lnTo>
                  <a:pt x="1105" y="1074"/>
                </a:lnTo>
                <a:lnTo>
                  <a:pt x="1110" y="1063"/>
                </a:lnTo>
                <a:lnTo>
                  <a:pt x="1117" y="1052"/>
                </a:lnTo>
                <a:lnTo>
                  <a:pt x="1124" y="1043"/>
                </a:lnTo>
                <a:lnTo>
                  <a:pt x="1131" y="1036"/>
                </a:lnTo>
                <a:lnTo>
                  <a:pt x="1140" y="1030"/>
                </a:lnTo>
                <a:lnTo>
                  <a:pt x="1149" y="1027"/>
                </a:lnTo>
                <a:lnTo>
                  <a:pt x="1159" y="1024"/>
                </a:lnTo>
                <a:lnTo>
                  <a:pt x="1159" y="1024"/>
                </a:lnTo>
                <a:lnTo>
                  <a:pt x="1169" y="1025"/>
                </a:lnTo>
                <a:lnTo>
                  <a:pt x="1178" y="1028"/>
                </a:lnTo>
                <a:lnTo>
                  <a:pt x="1187" y="1030"/>
                </a:lnTo>
                <a:lnTo>
                  <a:pt x="1195" y="1032"/>
                </a:lnTo>
                <a:lnTo>
                  <a:pt x="1210" y="1039"/>
                </a:lnTo>
                <a:lnTo>
                  <a:pt x="1223" y="1044"/>
                </a:lnTo>
                <a:lnTo>
                  <a:pt x="1223" y="1044"/>
                </a:lnTo>
                <a:lnTo>
                  <a:pt x="1285" y="1044"/>
                </a:lnTo>
                <a:lnTo>
                  <a:pt x="1285" y="1044"/>
                </a:lnTo>
                <a:lnTo>
                  <a:pt x="1285" y="1044"/>
                </a:lnTo>
                <a:lnTo>
                  <a:pt x="1295" y="1051"/>
                </a:lnTo>
                <a:lnTo>
                  <a:pt x="1306" y="1056"/>
                </a:lnTo>
                <a:lnTo>
                  <a:pt x="1316" y="1061"/>
                </a:lnTo>
                <a:lnTo>
                  <a:pt x="1326" y="1064"/>
                </a:lnTo>
                <a:lnTo>
                  <a:pt x="1339" y="1067"/>
                </a:lnTo>
                <a:lnTo>
                  <a:pt x="1350" y="1068"/>
                </a:lnTo>
                <a:lnTo>
                  <a:pt x="1377" y="1069"/>
                </a:lnTo>
                <a:lnTo>
                  <a:pt x="1377" y="1069"/>
                </a:lnTo>
                <a:lnTo>
                  <a:pt x="1387" y="1069"/>
                </a:lnTo>
                <a:lnTo>
                  <a:pt x="1397" y="1070"/>
                </a:lnTo>
                <a:lnTo>
                  <a:pt x="1405" y="1073"/>
                </a:lnTo>
                <a:lnTo>
                  <a:pt x="1413" y="1076"/>
                </a:lnTo>
                <a:lnTo>
                  <a:pt x="1426" y="1083"/>
                </a:lnTo>
                <a:lnTo>
                  <a:pt x="1438" y="1091"/>
                </a:lnTo>
                <a:lnTo>
                  <a:pt x="1449" y="1099"/>
                </a:lnTo>
                <a:lnTo>
                  <a:pt x="1462" y="1106"/>
                </a:lnTo>
                <a:lnTo>
                  <a:pt x="1469" y="1109"/>
                </a:lnTo>
                <a:lnTo>
                  <a:pt x="1477" y="1111"/>
                </a:lnTo>
                <a:lnTo>
                  <a:pt x="1485" y="1113"/>
                </a:lnTo>
                <a:lnTo>
                  <a:pt x="1494" y="1113"/>
                </a:lnTo>
                <a:lnTo>
                  <a:pt x="1494" y="1113"/>
                </a:lnTo>
                <a:lnTo>
                  <a:pt x="1500" y="1113"/>
                </a:lnTo>
                <a:lnTo>
                  <a:pt x="1506" y="1111"/>
                </a:lnTo>
                <a:lnTo>
                  <a:pt x="1512" y="1108"/>
                </a:lnTo>
                <a:lnTo>
                  <a:pt x="1516" y="1105"/>
                </a:lnTo>
                <a:lnTo>
                  <a:pt x="1527" y="1096"/>
                </a:lnTo>
                <a:lnTo>
                  <a:pt x="1536" y="1085"/>
                </a:lnTo>
                <a:lnTo>
                  <a:pt x="1547" y="1076"/>
                </a:lnTo>
                <a:lnTo>
                  <a:pt x="1559" y="1067"/>
                </a:lnTo>
                <a:lnTo>
                  <a:pt x="1566" y="1063"/>
                </a:lnTo>
                <a:lnTo>
                  <a:pt x="1573" y="1061"/>
                </a:lnTo>
                <a:lnTo>
                  <a:pt x="1581" y="1059"/>
                </a:lnTo>
                <a:lnTo>
                  <a:pt x="1590" y="1059"/>
                </a:lnTo>
                <a:lnTo>
                  <a:pt x="1590" y="1059"/>
                </a:lnTo>
                <a:lnTo>
                  <a:pt x="1594" y="1059"/>
                </a:lnTo>
                <a:lnTo>
                  <a:pt x="1599" y="1060"/>
                </a:lnTo>
                <a:lnTo>
                  <a:pt x="1607" y="1063"/>
                </a:lnTo>
                <a:lnTo>
                  <a:pt x="1614" y="1069"/>
                </a:lnTo>
                <a:lnTo>
                  <a:pt x="1621" y="1075"/>
                </a:lnTo>
                <a:lnTo>
                  <a:pt x="1628" y="1081"/>
                </a:lnTo>
                <a:lnTo>
                  <a:pt x="1636" y="1086"/>
                </a:lnTo>
                <a:lnTo>
                  <a:pt x="1643" y="1090"/>
                </a:lnTo>
                <a:lnTo>
                  <a:pt x="1647" y="1091"/>
                </a:lnTo>
                <a:lnTo>
                  <a:pt x="1652" y="1091"/>
                </a:lnTo>
                <a:lnTo>
                  <a:pt x="1652" y="1091"/>
                </a:lnTo>
                <a:lnTo>
                  <a:pt x="1653" y="1085"/>
                </a:lnTo>
                <a:lnTo>
                  <a:pt x="1654" y="1081"/>
                </a:lnTo>
                <a:lnTo>
                  <a:pt x="1655" y="1076"/>
                </a:lnTo>
                <a:lnTo>
                  <a:pt x="1658" y="1071"/>
                </a:lnTo>
                <a:lnTo>
                  <a:pt x="1665" y="1064"/>
                </a:lnTo>
                <a:lnTo>
                  <a:pt x="1673" y="1059"/>
                </a:lnTo>
                <a:lnTo>
                  <a:pt x="1682" y="1054"/>
                </a:lnTo>
                <a:lnTo>
                  <a:pt x="1692" y="1050"/>
                </a:lnTo>
                <a:lnTo>
                  <a:pt x="1715" y="1041"/>
                </a:lnTo>
                <a:lnTo>
                  <a:pt x="1727" y="1037"/>
                </a:lnTo>
                <a:lnTo>
                  <a:pt x="1737" y="1032"/>
                </a:lnTo>
                <a:lnTo>
                  <a:pt x="1747" y="1027"/>
                </a:lnTo>
                <a:lnTo>
                  <a:pt x="1756" y="1021"/>
                </a:lnTo>
                <a:lnTo>
                  <a:pt x="1764" y="1013"/>
                </a:lnTo>
                <a:lnTo>
                  <a:pt x="1766" y="1008"/>
                </a:lnTo>
                <a:lnTo>
                  <a:pt x="1768" y="1002"/>
                </a:lnTo>
                <a:lnTo>
                  <a:pt x="1769" y="998"/>
                </a:lnTo>
                <a:lnTo>
                  <a:pt x="1771" y="991"/>
                </a:lnTo>
                <a:lnTo>
                  <a:pt x="1771" y="984"/>
                </a:lnTo>
                <a:lnTo>
                  <a:pt x="1771" y="977"/>
                </a:lnTo>
                <a:lnTo>
                  <a:pt x="1771" y="977"/>
                </a:lnTo>
                <a:lnTo>
                  <a:pt x="1759" y="977"/>
                </a:lnTo>
                <a:lnTo>
                  <a:pt x="1749" y="975"/>
                </a:lnTo>
                <a:lnTo>
                  <a:pt x="1739" y="972"/>
                </a:lnTo>
                <a:lnTo>
                  <a:pt x="1730" y="968"/>
                </a:lnTo>
                <a:lnTo>
                  <a:pt x="1722" y="963"/>
                </a:lnTo>
                <a:lnTo>
                  <a:pt x="1715" y="957"/>
                </a:lnTo>
                <a:lnTo>
                  <a:pt x="1708" y="951"/>
                </a:lnTo>
                <a:lnTo>
                  <a:pt x="1701" y="944"/>
                </a:lnTo>
                <a:lnTo>
                  <a:pt x="1696" y="936"/>
                </a:lnTo>
                <a:lnTo>
                  <a:pt x="1691" y="926"/>
                </a:lnTo>
                <a:lnTo>
                  <a:pt x="1688" y="917"/>
                </a:lnTo>
                <a:lnTo>
                  <a:pt x="1684" y="908"/>
                </a:lnTo>
                <a:lnTo>
                  <a:pt x="1681" y="896"/>
                </a:lnTo>
                <a:lnTo>
                  <a:pt x="1680" y="886"/>
                </a:lnTo>
                <a:lnTo>
                  <a:pt x="1678" y="875"/>
                </a:lnTo>
                <a:lnTo>
                  <a:pt x="1677" y="863"/>
                </a:lnTo>
                <a:lnTo>
                  <a:pt x="1677" y="863"/>
                </a:lnTo>
                <a:lnTo>
                  <a:pt x="1672" y="860"/>
                </a:lnTo>
                <a:lnTo>
                  <a:pt x="1666" y="856"/>
                </a:lnTo>
                <a:lnTo>
                  <a:pt x="1655" y="847"/>
                </a:lnTo>
                <a:lnTo>
                  <a:pt x="1646" y="838"/>
                </a:lnTo>
                <a:lnTo>
                  <a:pt x="1640" y="833"/>
                </a:lnTo>
                <a:lnTo>
                  <a:pt x="1634" y="830"/>
                </a:lnTo>
                <a:lnTo>
                  <a:pt x="1634" y="830"/>
                </a:lnTo>
                <a:lnTo>
                  <a:pt x="1627" y="829"/>
                </a:lnTo>
                <a:lnTo>
                  <a:pt x="1621" y="827"/>
                </a:lnTo>
                <a:lnTo>
                  <a:pt x="1608" y="827"/>
                </a:lnTo>
                <a:lnTo>
                  <a:pt x="1601" y="827"/>
                </a:lnTo>
                <a:lnTo>
                  <a:pt x="1596" y="826"/>
                </a:lnTo>
                <a:lnTo>
                  <a:pt x="1589" y="823"/>
                </a:lnTo>
                <a:lnTo>
                  <a:pt x="1583" y="819"/>
                </a:lnTo>
                <a:lnTo>
                  <a:pt x="1583" y="819"/>
                </a:lnTo>
                <a:lnTo>
                  <a:pt x="1577" y="815"/>
                </a:lnTo>
                <a:lnTo>
                  <a:pt x="1574" y="809"/>
                </a:lnTo>
                <a:lnTo>
                  <a:pt x="1569" y="798"/>
                </a:lnTo>
                <a:lnTo>
                  <a:pt x="1566" y="791"/>
                </a:lnTo>
                <a:lnTo>
                  <a:pt x="1562" y="785"/>
                </a:lnTo>
                <a:lnTo>
                  <a:pt x="1556" y="779"/>
                </a:lnTo>
                <a:lnTo>
                  <a:pt x="1550" y="775"/>
                </a:lnTo>
                <a:lnTo>
                  <a:pt x="1550" y="775"/>
                </a:lnTo>
                <a:lnTo>
                  <a:pt x="1545" y="775"/>
                </a:lnTo>
                <a:lnTo>
                  <a:pt x="1542" y="773"/>
                </a:lnTo>
                <a:lnTo>
                  <a:pt x="1533" y="775"/>
                </a:lnTo>
                <a:lnTo>
                  <a:pt x="1519" y="780"/>
                </a:lnTo>
                <a:lnTo>
                  <a:pt x="1512" y="783"/>
                </a:lnTo>
                <a:lnTo>
                  <a:pt x="1505" y="781"/>
                </a:lnTo>
                <a:lnTo>
                  <a:pt x="1501" y="780"/>
                </a:lnTo>
                <a:lnTo>
                  <a:pt x="1498" y="779"/>
                </a:lnTo>
                <a:lnTo>
                  <a:pt x="1494" y="776"/>
                </a:lnTo>
                <a:lnTo>
                  <a:pt x="1491" y="771"/>
                </a:lnTo>
                <a:lnTo>
                  <a:pt x="1491" y="771"/>
                </a:lnTo>
                <a:lnTo>
                  <a:pt x="1485" y="765"/>
                </a:lnTo>
                <a:lnTo>
                  <a:pt x="1481" y="758"/>
                </a:lnTo>
                <a:lnTo>
                  <a:pt x="1469" y="740"/>
                </a:lnTo>
                <a:lnTo>
                  <a:pt x="1463" y="731"/>
                </a:lnTo>
                <a:lnTo>
                  <a:pt x="1456" y="724"/>
                </a:lnTo>
                <a:lnTo>
                  <a:pt x="1452" y="720"/>
                </a:lnTo>
                <a:lnTo>
                  <a:pt x="1448" y="718"/>
                </a:lnTo>
                <a:lnTo>
                  <a:pt x="1444" y="717"/>
                </a:lnTo>
                <a:lnTo>
                  <a:pt x="1439" y="717"/>
                </a:lnTo>
                <a:lnTo>
                  <a:pt x="1439" y="717"/>
                </a:lnTo>
                <a:lnTo>
                  <a:pt x="1432" y="717"/>
                </a:lnTo>
                <a:lnTo>
                  <a:pt x="1425" y="719"/>
                </a:lnTo>
                <a:lnTo>
                  <a:pt x="1420" y="723"/>
                </a:lnTo>
                <a:lnTo>
                  <a:pt x="1414" y="726"/>
                </a:lnTo>
                <a:lnTo>
                  <a:pt x="1405" y="737"/>
                </a:lnTo>
                <a:lnTo>
                  <a:pt x="1397" y="748"/>
                </a:lnTo>
                <a:lnTo>
                  <a:pt x="1387" y="760"/>
                </a:lnTo>
                <a:lnTo>
                  <a:pt x="1383" y="764"/>
                </a:lnTo>
                <a:lnTo>
                  <a:pt x="1377" y="769"/>
                </a:lnTo>
                <a:lnTo>
                  <a:pt x="1371" y="773"/>
                </a:lnTo>
                <a:lnTo>
                  <a:pt x="1365" y="777"/>
                </a:lnTo>
                <a:lnTo>
                  <a:pt x="1359" y="778"/>
                </a:lnTo>
                <a:lnTo>
                  <a:pt x="1350" y="779"/>
                </a:lnTo>
                <a:lnTo>
                  <a:pt x="1350" y="779"/>
                </a:lnTo>
                <a:lnTo>
                  <a:pt x="1332" y="778"/>
                </a:lnTo>
                <a:lnTo>
                  <a:pt x="1314" y="776"/>
                </a:lnTo>
                <a:lnTo>
                  <a:pt x="1296" y="772"/>
                </a:lnTo>
                <a:lnTo>
                  <a:pt x="1277" y="771"/>
                </a:lnTo>
                <a:lnTo>
                  <a:pt x="1277" y="771"/>
                </a:lnTo>
                <a:lnTo>
                  <a:pt x="1263" y="771"/>
                </a:lnTo>
                <a:lnTo>
                  <a:pt x="1249" y="768"/>
                </a:lnTo>
                <a:lnTo>
                  <a:pt x="1239" y="764"/>
                </a:lnTo>
                <a:lnTo>
                  <a:pt x="1229" y="760"/>
                </a:lnTo>
                <a:lnTo>
                  <a:pt x="1220" y="754"/>
                </a:lnTo>
                <a:lnTo>
                  <a:pt x="1212" y="747"/>
                </a:lnTo>
                <a:lnTo>
                  <a:pt x="1206" y="739"/>
                </a:lnTo>
                <a:lnTo>
                  <a:pt x="1200" y="731"/>
                </a:lnTo>
                <a:lnTo>
                  <a:pt x="1187" y="714"/>
                </a:lnTo>
                <a:lnTo>
                  <a:pt x="1174" y="695"/>
                </a:lnTo>
                <a:lnTo>
                  <a:pt x="1166" y="687"/>
                </a:lnTo>
                <a:lnTo>
                  <a:pt x="1158" y="679"/>
                </a:lnTo>
                <a:lnTo>
                  <a:pt x="1149" y="672"/>
                </a:lnTo>
                <a:lnTo>
                  <a:pt x="1138" y="665"/>
                </a:lnTo>
                <a:lnTo>
                  <a:pt x="1138" y="665"/>
                </a:lnTo>
                <a:lnTo>
                  <a:pt x="1124" y="661"/>
                </a:lnTo>
                <a:lnTo>
                  <a:pt x="1107" y="656"/>
                </a:lnTo>
                <a:lnTo>
                  <a:pt x="1067" y="649"/>
                </a:lnTo>
                <a:lnTo>
                  <a:pt x="1047" y="646"/>
                </a:lnTo>
                <a:lnTo>
                  <a:pt x="1026" y="641"/>
                </a:lnTo>
                <a:lnTo>
                  <a:pt x="1008" y="635"/>
                </a:lnTo>
                <a:lnTo>
                  <a:pt x="998" y="632"/>
                </a:lnTo>
                <a:lnTo>
                  <a:pt x="991" y="628"/>
                </a:lnTo>
                <a:lnTo>
                  <a:pt x="991" y="628"/>
                </a:lnTo>
                <a:lnTo>
                  <a:pt x="981" y="623"/>
                </a:lnTo>
                <a:lnTo>
                  <a:pt x="973" y="617"/>
                </a:lnTo>
                <a:lnTo>
                  <a:pt x="958" y="603"/>
                </a:lnTo>
                <a:lnTo>
                  <a:pt x="944" y="587"/>
                </a:lnTo>
                <a:lnTo>
                  <a:pt x="928" y="570"/>
                </a:lnTo>
                <a:lnTo>
                  <a:pt x="928" y="570"/>
                </a:lnTo>
                <a:lnTo>
                  <a:pt x="859" y="570"/>
                </a:lnTo>
                <a:lnTo>
                  <a:pt x="859" y="570"/>
                </a:lnTo>
                <a:lnTo>
                  <a:pt x="859" y="570"/>
                </a:lnTo>
                <a:lnTo>
                  <a:pt x="855" y="565"/>
                </a:lnTo>
                <a:lnTo>
                  <a:pt x="851" y="560"/>
                </a:lnTo>
                <a:lnTo>
                  <a:pt x="845" y="551"/>
                </a:lnTo>
                <a:lnTo>
                  <a:pt x="843" y="541"/>
                </a:lnTo>
                <a:lnTo>
                  <a:pt x="841" y="531"/>
                </a:lnTo>
                <a:lnTo>
                  <a:pt x="838" y="519"/>
                </a:lnTo>
                <a:lnTo>
                  <a:pt x="836" y="508"/>
                </a:lnTo>
                <a:lnTo>
                  <a:pt x="833" y="496"/>
                </a:lnTo>
                <a:lnTo>
                  <a:pt x="829" y="490"/>
                </a:lnTo>
                <a:lnTo>
                  <a:pt x="826" y="485"/>
                </a:lnTo>
                <a:lnTo>
                  <a:pt x="826" y="485"/>
                </a:lnTo>
                <a:lnTo>
                  <a:pt x="820" y="473"/>
                </a:lnTo>
                <a:lnTo>
                  <a:pt x="815" y="459"/>
                </a:lnTo>
                <a:lnTo>
                  <a:pt x="812" y="448"/>
                </a:lnTo>
                <a:lnTo>
                  <a:pt x="811" y="437"/>
                </a:lnTo>
                <a:lnTo>
                  <a:pt x="811" y="437"/>
                </a:lnTo>
                <a:lnTo>
                  <a:pt x="811" y="409"/>
                </a:lnTo>
                <a:lnTo>
                  <a:pt x="811" y="409"/>
                </a:lnTo>
                <a:lnTo>
                  <a:pt x="810" y="405"/>
                </a:lnTo>
                <a:lnTo>
                  <a:pt x="809" y="402"/>
                </a:lnTo>
                <a:lnTo>
                  <a:pt x="799" y="392"/>
                </a:lnTo>
                <a:lnTo>
                  <a:pt x="788" y="383"/>
                </a:lnTo>
                <a:lnTo>
                  <a:pt x="774" y="373"/>
                </a:lnTo>
                <a:lnTo>
                  <a:pt x="759" y="364"/>
                </a:lnTo>
                <a:lnTo>
                  <a:pt x="745" y="357"/>
                </a:lnTo>
                <a:lnTo>
                  <a:pt x="734" y="351"/>
                </a:lnTo>
                <a:lnTo>
                  <a:pt x="727" y="349"/>
                </a:lnTo>
                <a:lnTo>
                  <a:pt x="727" y="349"/>
                </a:lnTo>
                <a:lnTo>
                  <a:pt x="722" y="350"/>
                </a:lnTo>
                <a:lnTo>
                  <a:pt x="719" y="352"/>
                </a:lnTo>
                <a:lnTo>
                  <a:pt x="711" y="358"/>
                </a:lnTo>
                <a:lnTo>
                  <a:pt x="703" y="365"/>
                </a:lnTo>
                <a:lnTo>
                  <a:pt x="698" y="367"/>
                </a:lnTo>
                <a:lnTo>
                  <a:pt x="693" y="367"/>
                </a:lnTo>
                <a:lnTo>
                  <a:pt x="693" y="367"/>
                </a:lnTo>
                <a:lnTo>
                  <a:pt x="687" y="367"/>
                </a:lnTo>
                <a:lnTo>
                  <a:pt x="682" y="365"/>
                </a:lnTo>
                <a:lnTo>
                  <a:pt x="678" y="361"/>
                </a:lnTo>
                <a:lnTo>
                  <a:pt x="675" y="357"/>
                </a:lnTo>
                <a:lnTo>
                  <a:pt x="675" y="357"/>
                </a:lnTo>
                <a:lnTo>
                  <a:pt x="668" y="358"/>
                </a:lnTo>
                <a:lnTo>
                  <a:pt x="661" y="360"/>
                </a:lnTo>
                <a:lnTo>
                  <a:pt x="649" y="367"/>
                </a:lnTo>
                <a:lnTo>
                  <a:pt x="637" y="372"/>
                </a:lnTo>
                <a:lnTo>
                  <a:pt x="630" y="374"/>
                </a:lnTo>
                <a:lnTo>
                  <a:pt x="623" y="374"/>
                </a:lnTo>
                <a:lnTo>
                  <a:pt x="623" y="374"/>
                </a:lnTo>
                <a:lnTo>
                  <a:pt x="618" y="374"/>
                </a:lnTo>
                <a:lnTo>
                  <a:pt x="613" y="373"/>
                </a:lnTo>
                <a:lnTo>
                  <a:pt x="608" y="372"/>
                </a:lnTo>
                <a:lnTo>
                  <a:pt x="604" y="369"/>
                </a:lnTo>
                <a:lnTo>
                  <a:pt x="597" y="363"/>
                </a:lnTo>
                <a:lnTo>
                  <a:pt x="592" y="355"/>
                </a:lnTo>
                <a:lnTo>
                  <a:pt x="588" y="345"/>
                </a:lnTo>
                <a:lnTo>
                  <a:pt x="584" y="335"/>
                </a:lnTo>
                <a:lnTo>
                  <a:pt x="578" y="312"/>
                </a:lnTo>
                <a:lnTo>
                  <a:pt x="574" y="289"/>
                </a:lnTo>
                <a:lnTo>
                  <a:pt x="570" y="279"/>
                </a:lnTo>
                <a:lnTo>
                  <a:pt x="567" y="269"/>
                </a:lnTo>
                <a:lnTo>
                  <a:pt x="562" y="261"/>
                </a:lnTo>
                <a:lnTo>
                  <a:pt x="555" y="256"/>
                </a:lnTo>
                <a:lnTo>
                  <a:pt x="552" y="253"/>
                </a:lnTo>
                <a:lnTo>
                  <a:pt x="548" y="251"/>
                </a:lnTo>
                <a:lnTo>
                  <a:pt x="544" y="250"/>
                </a:lnTo>
                <a:lnTo>
                  <a:pt x="539" y="250"/>
                </a:lnTo>
                <a:lnTo>
                  <a:pt x="539" y="250"/>
                </a:lnTo>
                <a:lnTo>
                  <a:pt x="447" y="250"/>
                </a:lnTo>
                <a:lnTo>
                  <a:pt x="447" y="250"/>
                </a:lnTo>
                <a:lnTo>
                  <a:pt x="436" y="250"/>
                </a:lnTo>
                <a:lnTo>
                  <a:pt x="424" y="249"/>
                </a:lnTo>
                <a:lnTo>
                  <a:pt x="414" y="246"/>
                </a:lnTo>
                <a:lnTo>
                  <a:pt x="405" y="244"/>
                </a:lnTo>
                <a:lnTo>
                  <a:pt x="397" y="238"/>
                </a:lnTo>
                <a:lnTo>
                  <a:pt x="393" y="235"/>
                </a:lnTo>
                <a:lnTo>
                  <a:pt x="391" y="231"/>
                </a:lnTo>
                <a:lnTo>
                  <a:pt x="389" y="227"/>
                </a:lnTo>
                <a:lnTo>
                  <a:pt x="386" y="222"/>
                </a:lnTo>
                <a:lnTo>
                  <a:pt x="386" y="215"/>
                </a:lnTo>
                <a:lnTo>
                  <a:pt x="385" y="210"/>
                </a:lnTo>
                <a:lnTo>
                  <a:pt x="385" y="210"/>
                </a:lnTo>
                <a:lnTo>
                  <a:pt x="378" y="207"/>
                </a:lnTo>
                <a:lnTo>
                  <a:pt x="372" y="205"/>
                </a:lnTo>
                <a:lnTo>
                  <a:pt x="366" y="201"/>
                </a:lnTo>
                <a:lnTo>
                  <a:pt x="361" y="198"/>
                </a:lnTo>
                <a:lnTo>
                  <a:pt x="355" y="192"/>
                </a:lnTo>
                <a:lnTo>
                  <a:pt x="352" y="185"/>
                </a:lnTo>
                <a:lnTo>
                  <a:pt x="349" y="178"/>
                </a:lnTo>
                <a:lnTo>
                  <a:pt x="349" y="169"/>
                </a:lnTo>
                <a:lnTo>
                  <a:pt x="349" y="169"/>
                </a:lnTo>
                <a:lnTo>
                  <a:pt x="349" y="162"/>
                </a:lnTo>
                <a:lnTo>
                  <a:pt x="351" y="157"/>
                </a:lnTo>
                <a:lnTo>
                  <a:pt x="355" y="145"/>
                </a:lnTo>
                <a:lnTo>
                  <a:pt x="361" y="135"/>
                </a:lnTo>
                <a:lnTo>
                  <a:pt x="367" y="124"/>
                </a:lnTo>
                <a:lnTo>
                  <a:pt x="374" y="114"/>
                </a:lnTo>
                <a:lnTo>
                  <a:pt x="379" y="104"/>
                </a:lnTo>
                <a:lnTo>
                  <a:pt x="384" y="91"/>
                </a:lnTo>
                <a:lnTo>
                  <a:pt x="385" y="84"/>
                </a:lnTo>
                <a:lnTo>
                  <a:pt x="385" y="77"/>
                </a:lnTo>
                <a:lnTo>
                  <a:pt x="385" y="77"/>
                </a:lnTo>
                <a:lnTo>
                  <a:pt x="385" y="22"/>
                </a:lnTo>
                <a:lnTo>
                  <a:pt x="385" y="22"/>
                </a:lnTo>
                <a:lnTo>
                  <a:pt x="385" y="16"/>
                </a:lnTo>
                <a:lnTo>
                  <a:pt x="383" y="12"/>
                </a:lnTo>
                <a:lnTo>
                  <a:pt x="380" y="7"/>
                </a:lnTo>
                <a:lnTo>
                  <a:pt x="378" y="0"/>
                </a:lnTo>
                <a:lnTo>
                  <a:pt x="378" y="0"/>
                </a:lnTo>
                <a:lnTo>
                  <a:pt x="369" y="4"/>
                </a:lnTo>
                <a:lnTo>
                  <a:pt x="360" y="7"/>
                </a:lnTo>
                <a:lnTo>
                  <a:pt x="351" y="12"/>
                </a:lnTo>
                <a:lnTo>
                  <a:pt x="342" y="17"/>
                </a:lnTo>
                <a:lnTo>
                  <a:pt x="328" y="29"/>
                </a:lnTo>
                <a:lnTo>
                  <a:pt x="314" y="40"/>
                </a:lnTo>
                <a:lnTo>
                  <a:pt x="300" y="52"/>
                </a:lnTo>
                <a:lnTo>
                  <a:pt x="293" y="56"/>
                </a:lnTo>
                <a:lnTo>
                  <a:pt x="285" y="61"/>
                </a:lnTo>
                <a:lnTo>
                  <a:pt x="277" y="65"/>
                </a:lnTo>
                <a:lnTo>
                  <a:pt x="269" y="68"/>
                </a:lnTo>
                <a:lnTo>
                  <a:pt x="260" y="69"/>
                </a:lnTo>
                <a:lnTo>
                  <a:pt x="249" y="70"/>
                </a:lnTo>
                <a:lnTo>
                  <a:pt x="249" y="70"/>
                </a:lnTo>
                <a:lnTo>
                  <a:pt x="248" y="69"/>
                </a:lnTo>
                <a:lnTo>
                  <a:pt x="247" y="68"/>
                </a:lnTo>
                <a:lnTo>
                  <a:pt x="245" y="62"/>
                </a:lnTo>
                <a:lnTo>
                  <a:pt x="242" y="56"/>
                </a:lnTo>
                <a:lnTo>
                  <a:pt x="242" y="52"/>
                </a:lnTo>
                <a:lnTo>
                  <a:pt x="242" y="52"/>
                </a:lnTo>
                <a:lnTo>
                  <a:pt x="224" y="52"/>
                </a:lnTo>
                <a:lnTo>
                  <a:pt x="224" y="52"/>
                </a:lnTo>
                <a:lnTo>
                  <a:pt x="214" y="53"/>
                </a:lnTo>
                <a:lnTo>
                  <a:pt x="204" y="54"/>
                </a:lnTo>
                <a:lnTo>
                  <a:pt x="196" y="58"/>
                </a:lnTo>
                <a:lnTo>
                  <a:pt x="189" y="63"/>
                </a:lnTo>
                <a:lnTo>
                  <a:pt x="183" y="69"/>
                </a:lnTo>
                <a:lnTo>
                  <a:pt x="177" y="75"/>
                </a:lnTo>
                <a:lnTo>
                  <a:pt x="171" y="83"/>
                </a:lnTo>
                <a:lnTo>
                  <a:pt x="166" y="91"/>
                </a:lnTo>
                <a:lnTo>
                  <a:pt x="158" y="109"/>
                </a:lnTo>
                <a:lnTo>
                  <a:pt x="153" y="129"/>
                </a:lnTo>
                <a:lnTo>
                  <a:pt x="147" y="150"/>
                </a:lnTo>
                <a:lnTo>
                  <a:pt x="143" y="169"/>
                </a:lnTo>
                <a:lnTo>
                  <a:pt x="143" y="169"/>
                </a:lnTo>
                <a:lnTo>
                  <a:pt x="142" y="173"/>
                </a:lnTo>
                <a:lnTo>
                  <a:pt x="141" y="176"/>
                </a:lnTo>
                <a:lnTo>
                  <a:pt x="137" y="184"/>
                </a:lnTo>
                <a:lnTo>
                  <a:pt x="128" y="192"/>
                </a:lnTo>
                <a:lnTo>
                  <a:pt x="119" y="203"/>
                </a:lnTo>
                <a:lnTo>
                  <a:pt x="101" y="221"/>
                </a:lnTo>
                <a:lnTo>
                  <a:pt x="88" y="235"/>
                </a:lnTo>
                <a:lnTo>
                  <a:pt x="88" y="235"/>
                </a:lnTo>
                <a:lnTo>
                  <a:pt x="81" y="244"/>
                </a:lnTo>
                <a:lnTo>
                  <a:pt x="76" y="252"/>
                </a:lnTo>
                <a:lnTo>
                  <a:pt x="67" y="269"/>
                </a:lnTo>
                <a:lnTo>
                  <a:pt x="61" y="288"/>
                </a:lnTo>
                <a:lnTo>
                  <a:pt x="55" y="306"/>
                </a:lnTo>
                <a:lnTo>
                  <a:pt x="46" y="346"/>
                </a:lnTo>
                <a:lnTo>
                  <a:pt x="40" y="367"/>
                </a:lnTo>
                <a:lnTo>
                  <a:pt x="33" y="389"/>
                </a:lnTo>
                <a:lnTo>
                  <a:pt x="33" y="389"/>
                </a:lnTo>
                <a:lnTo>
                  <a:pt x="30" y="396"/>
                </a:lnTo>
                <a:lnTo>
                  <a:pt x="25" y="403"/>
                </a:lnTo>
                <a:lnTo>
                  <a:pt x="13" y="418"/>
                </a:lnTo>
                <a:lnTo>
                  <a:pt x="9" y="425"/>
                </a:lnTo>
                <a:lnTo>
                  <a:pt x="4" y="433"/>
                </a:lnTo>
                <a:lnTo>
                  <a:pt x="1" y="440"/>
                </a:lnTo>
                <a:lnTo>
                  <a:pt x="0" y="448"/>
                </a:lnTo>
                <a:lnTo>
                  <a:pt x="0" y="448"/>
                </a:lnTo>
                <a:lnTo>
                  <a:pt x="1" y="451"/>
                </a:lnTo>
                <a:lnTo>
                  <a:pt x="3" y="455"/>
                </a:lnTo>
                <a:lnTo>
                  <a:pt x="9" y="460"/>
                </a:lnTo>
                <a:lnTo>
                  <a:pt x="15" y="466"/>
                </a:lnTo>
                <a:lnTo>
                  <a:pt x="17" y="468"/>
                </a:lnTo>
                <a:lnTo>
                  <a:pt x="18" y="471"/>
                </a:lnTo>
                <a:lnTo>
                  <a:pt x="18" y="471"/>
                </a:lnTo>
                <a:lnTo>
                  <a:pt x="23" y="483"/>
                </a:lnTo>
                <a:lnTo>
                  <a:pt x="28" y="495"/>
                </a:lnTo>
                <a:lnTo>
                  <a:pt x="34" y="505"/>
                </a:lnTo>
                <a:lnTo>
                  <a:pt x="40" y="514"/>
                </a:lnTo>
                <a:lnTo>
                  <a:pt x="47" y="523"/>
                </a:lnTo>
                <a:lnTo>
                  <a:pt x="55" y="531"/>
                </a:lnTo>
                <a:lnTo>
                  <a:pt x="70" y="544"/>
                </a:lnTo>
                <a:lnTo>
                  <a:pt x="85" y="558"/>
                </a:lnTo>
                <a:lnTo>
                  <a:pt x="99" y="574"/>
                </a:lnTo>
                <a:lnTo>
                  <a:pt x="105" y="582"/>
                </a:lnTo>
                <a:lnTo>
                  <a:pt x="111" y="592"/>
                </a:lnTo>
                <a:lnTo>
                  <a:pt x="116" y="602"/>
                </a:lnTo>
                <a:lnTo>
                  <a:pt x="120" y="613"/>
                </a:lnTo>
                <a:lnTo>
                  <a:pt x="120" y="613"/>
                </a:lnTo>
                <a:lnTo>
                  <a:pt x="125" y="620"/>
                </a:lnTo>
                <a:lnTo>
                  <a:pt x="131" y="627"/>
                </a:lnTo>
                <a:lnTo>
                  <a:pt x="141" y="640"/>
                </a:lnTo>
                <a:lnTo>
                  <a:pt x="146" y="648"/>
                </a:lnTo>
                <a:lnTo>
                  <a:pt x="150" y="655"/>
                </a:lnTo>
                <a:lnTo>
                  <a:pt x="153" y="663"/>
                </a:lnTo>
                <a:lnTo>
                  <a:pt x="154" y="672"/>
                </a:lnTo>
                <a:lnTo>
                  <a:pt x="154" y="672"/>
                </a:lnTo>
                <a:lnTo>
                  <a:pt x="154" y="680"/>
                </a:lnTo>
                <a:lnTo>
                  <a:pt x="153" y="688"/>
                </a:lnTo>
                <a:lnTo>
                  <a:pt x="148" y="702"/>
                </a:lnTo>
                <a:lnTo>
                  <a:pt x="145" y="716"/>
                </a:lnTo>
                <a:lnTo>
                  <a:pt x="143" y="723"/>
                </a:lnTo>
                <a:lnTo>
                  <a:pt x="143" y="731"/>
                </a:lnTo>
                <a:lnTo>
                  <a:pt x="143" y="731"/>
                </a:lnTo>
                <a:lnTo>
                  <a:pt x="143" y="746"/>
                </a:lnTo>
                <a:lnTo>
                  <a:pt x="145" y="760"/>
                </a:lnTo>
                <a:lnTo>
                  <a:pt x="148" y="788"/>
                </a:lnTo>
                <a:lnTo>
                  <a:pt x="153" y="816"/>
                </a:lnTo>
                <a:lnTo>
                  <a:pt x="154" y="830"/>
                </a:lnTo>
                <a:lnTo>
                  <a:pt x="154" y="845"/>
                </a:lnTo>
                <a:lnTo>
                  <a:pt x="154" y="845"/>
                </a:lnTo>
                <a:lnTo>
                  <a:pt x="154" y="911"/>
                </a:lnTo>
                <a:lnTo>
                  <a:pt x="154" y="911"/>
                </a:lnTo>
                <a:lnTo>
                  <a:pt x="153" y="918"/>
                </a:lnTo>
                <a:lnTo>
                  <a:pt x="149" y="926"/>
                </a:lnTo>
                <a:lnTo>
                  <a:pt x="147" y="937"/>
                </a:lnTo>
                <a:lnTo>
                  <a:pt x="146" y="943"/>
                </a:lnTo>
                <a:lnTo>
                  <a:pt x="147" y="948"/>
                </a:lnTo>
                <a:lnTo>
                  <a:pt x="147" y="948"/>
                </a:lnTo>
                <a:lnTo>
                  <a:pt x="149" y="954"/>
                </a:lnTo>
                <a:lnTo>
                  <a:pt x="153" y="960"/>
                </a:lnTo>
                <a:lnTo>
                  <a:pt x="157" y="964"/>
                </a:lnTo>
                <a:lnTo>
                  <a:pt x="162" y="968"/>
                </a:lnTo>
                <a:lnTo>
                  <a:pt x="173" y="975"/>
                </a:lnTo>
                <a:lnTo>
                  <a:pt x="185" y="979"/>
                </a:lnTo>
                <a:lnTo>
                  <a:pt x="198" y="984"/>
                </a:lnTo>
                <a:lnTo>
                  <a:pt x="209" y="990"/>
                </a:lnTo>
                <a:lnTo>
                  <a:pt x="214" y="994"/>
                </a:lnTo>
                <a:lnTo>
                  <a:pt x="217" y="999"/>
                </a:lnTo>
                <a:lnTo>
                  <a:pt x="222" y="1004"/>
                </a:lnTo>
                <a:lnTo>
                  <a:pt x="224" y="1010"/>
                </a:lnTo>
                <a:lnTo>
                  <a:pt x="224" y="1010"/>
                </a:lnTo>
                <a:lnTo>
                  <a:pt x="227" y="1024"/>
                </a:lnTo>
                <a:lnTo>
                  <a:pt x="232" y="1041"/>
                </a:lnTo>
                <a:lnTo>
                  <a:pt x="239" y="1076"/>
                </a:lnTo>
                <a:lnTo>
                  <a:pt x="246" y="1117"/>
                </a:lnTo>
                <a:lnTo>
                  <a:pt x="246" y="1117"/>
                </a:lnTo>
                <a:lnTo>
                  <a:pt x="249" y="1117"/>
                </a:lnTo>
                <a:lnTo>
                  <a:pt x="249" y="1117"/>
                </a:lnTo>
                <a:lnTo>
                  <a:pt x="249" y="1117"/>
                </a:lnTo>
                <a:lnTo>
                  <a:pt x="255" y="1122"/>
                </a:lnTo>
                <a:lnTo>
                  <a:pt x="262" y="1127"/>
                </a:lnTo>
                <a:lnTo>
                  <a:pt x="271" y="1130"/>
                </a:lnTo>
                <a:lnTo>
                  <a:pt x="276" y="1131"/>
                </a:lnTo>
                <a:lnTo>
                  <a:pt x="283" y="1132"/>
                </a:lnTo>
                <a:lnTo>
                  <a:pt x="283" y="1132"/>
                </a:lnTo>
                <a:lnTo>
                  <a:pt x="295" y="1131"/>
                </a:lnTo>
                <a:lnTo>
                  <a:pt x="305" y="1128"/>
                </a:lnTo>
                <a:lnTo>
                  <a:pt x="313" y="1124"/>
                </a:lnTo>
                <a:lnTo>
                  <a:pt x="319" y="1119"/>
                </a:lnTo>
                <a:lnTo>
                  <a:pt x="330" y="1107"/>
                </a:lnTo>
                <a:lnTo>
                  <a:pt x="336" y="1100"/>
                </a:lnTo>
                <a:lnTo>
                  <a:pt x="341" y="1094"/>
                </a:lnTo>
                <a:lnTo>
                  <a:pt x="341" y="1094"/>
                </a:lnTo>
                <a:lnTo>
                  <a:pt x="348" y="1092"/>
                </a:lnTo>
                <a:lnTo>
                  <a:pt x="355" y="1090"/>
                </a:lnTo>
                <a:lnTo>
                  <a:pt x="370" y="1088"/>
                </a:lnTo>
                <a:lnTo>
                  <a:pt x="386" y="1086"/>
                </a:lnTo>
                <a:lnTo>
                  <a:pt x="402" y="1088"/>
                </a:lnTo>
                <a:lnTo>
                  <a:pt x="418" y="1088"/>
                </a:lnTo>
                <a:lnTo>
                  <a:pt x="432" y="1088"/>
                </a:lnTo>
                <a:lnTo>
                  <a:pt x="439" y="1086"/>
                </a:lnTo>
                <a:lnTo>
                  <a:pt x="445" y="1085"/>
                </a:lnTo>
                <a:lnTo>
                  <a:pt x="451" y="1083"/>
                </a:lnTo>
                <a:lnTo>
                  <a:pt x="455" y="1081"/>
                </a:lnTo>
                <a:lnTo>
                  <a:pt x="455" y="1081"/>
                </a:lnTo>
                <a:lnTo>
                  <a:pt x="459" y="1078"/>
                </a:lnTo>
                <a:lnTo>
                  <a:pt x="462" y="1074"/>
                </a:lnTo>
                <a:lnTo>
                  <a:pt x="468" y="1064"/>
                </a:lnTo>
                <a:lnTo>
                  <a:pt x="473" y="1055"/>
                </a:lnTo>
                <a:lnTo>
                  <a:pt x="475" y="1052"/>
                </a:lnTo>
                <a:lnTo>
                  <a:pt x="477" y="1051"/>
                </a:lnTo>
                <a:lnTo>
                  <a:pt x="477" y="1051"/>
                </a:lnTo>
                <a:lnTo>
                  <a:pt x="483" y="1047"/>
                </a:lnTo>
                <a:lnTo>
                  <a:pt x="489" y="1046"/>
                </a:lnTo>
                <a:lnTo>
                  <a:pt x="493" y="1045"/>
                </a:lnTo>
                <a:lnTo>
                  <a:pt x="499" y="1045"/>
                </a:lnTo>
                <a:lnTo>
                  <a:pt x="505" y="1045"/>
                </a:lnTo>
                <a:lnTo>
                  <a:pt x="510" y="1045"/>
                </a:lnTo>
                <a:lnTo>
                  <a:pt x="516" y="1043"/>
                </a:lnTo>
                <a:lnTo>
                  <a:pt x="521" y="1039"/>
                </a:lnTo>
                <a:lnTo>
                  <a:pt x="521" y="1039"/>
                </a:lnTo>
                <a:lnTo>
                  <a:pt x="525" y="1036"/>
                </a:lnTo>
                <a:lnTo>
                  <a:pt x="529" y="1031"/>
                </a:lnTo>
                <a:lnTo>
                  <a:pt x="532" y="1018"/>
                </a:lnTo>
                <a:lnTo>
                  <a:pt x="536" y="1013"/>
                </a:lnTo>
                <a:lnTo>
                  <a:pt x="538" y="1008"/>
                </a:lnTo>
                <a:lnTo>
                  <a:pt x="543" y="1005"/>
                </a:lnTo>
                <a:lnTo>
                  <a:pt x="546" y="1004"/>
                </a:lnTo>
                <a:lnTo>
                  <a:pt x="550" y="1004"/>
                </a:lnTo>
                <a:lnTo>
                  <a:pt x="550" y="1004"/>
                </a:lnTo>
                <a:lnTo>
                  <a:pt x="557" y="1005"/>
                </a:lnTo>
                <a:lnTo>
                  <a:pt x="567" y="1009"/>
                </a:lnTo>
                <a:lnTo>
                  <a:pt x="590" y="1022"/>
                </a:lnTo>
                <a:lnTo>
                  <a:pt x="613" y="1037"/>
                </a:lnTo>
                <a:lnTo>
                  <a:pt x="627" y="1047"/>
                </a:lnTo>
                <a:lnTo>
                  <a:pt x="627" y="1047"/>
                </a:lnTo>
                <a:lnTo>
                  <a:pt x="635" y="1051"/>
                </a:lnTo>
                <a:lnTo>
                  <a:pt x="643" y="1053"/>
                </a:lnTo>
                <a:lnTo>
                  <a:pt x="659" y="1055"/>
                </a:lnTo>
                <a:lnTo>
                  <a:pt x="666" y="1056"/>
                </a:lnTo>
                <a:lnTo>
                  <a:pt x="674" y="1058"/>
                </a:lnTo>
                <a:lnTo>
                  <a:pt x="682" y="1061"/>
                </a:lnTo>
                <a:lnTo>
                  <a:pt x="690" y="1066"/>
                </a:lnTo>
                <a:lnTo>
                  <a:pt x="690" y="1066"/>
                </a:lnTo>
                <a:lnTo>
                  <a:pt x="703" y="1077"/>
                </a:lnTo>
                <a:lnTo>
                  <a:pt x="713" y="1089"/>
                </a:lnTo>
                <a:lnTo>
                  <a:pt x="722" y="1101"/>
                </a:lnTo>
                <a:lnTo>
                  <a:pt x="730" y="1114"/>
                </a:lnTo>
                <a:lnTo>
                  <a:pt x="736" y="1129"/>
                </a:lnTo>
                <a:lnTo>
                  <a:pt x="742" y="1145"/>
                </a:lnTo>
                <a:lnTo>
                  <a:pt x="745" y="1163"/>
                </a:lnTo>
                <a:lnTo>
                  <a:pt x="749" y="1183"/>
                </a:lnTo>
                <a:lnTo>
                  <a:pt x="749" y="1183"/>
                </a:lnTo>
                <a:lnTo>
                  <a:pt x="766" y="1209"/>
                </a:lnTo>
                <a:lnTo>
                  <a:pt x="786" y="1238"/>
                </a:lnTo>
                <a:lnTo>
                  <a:pt x="786" y="1238"/>
                </a:lnTo>
                <a:lnTo>
                  <a:pt x="789" y="1245"/>
                </a:lnTo>
                <a:lnTo>
                  <a:pt x="795" y="1252"/>
                </a:lnTo>
                <a:lnTo>
                  <a:pt x="802" y="1258"/>
                </a:lnTo>
                <a:lnTo>
                  <a:pt x="810" y="1264"/>
                </a:lnTo>
                <a:lnTo>
                  <a:pt x="819" y="1268"/>
                </a:lnTo>
                <a:lnTo>
                  <a:pt x="829" y="1273"/>
                </a:lnTo>
                <a:lnTo>
                  <a:pt x="850" y="1281"/>
                </a:lnTo>
                <a:lnTo>
                  <a:pt x="873" y="1288"/>
                </a:lnTo>
                <a:lnTo>
                  <a:pt x="895" y="1295"/>
                </a:lnTo>
                <a:lnTo>
                  <a:pt x="914" y="1302"/>
                </a:lnTo>
                <a:lnTo>
                  <a:pt x="932" y="1307"/>
                </a:lnTo>
                <a:lnTo>
                  <a:pt x="932" y="1307"/>
                </a:lnTo>
                <a:lnTo>
                  <a:pt x="932" y="1307"/>
                </a:lnTo>
                <a:lnTo>
                  <a:pt x="932" y="1307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7" name="Freeform 132"/>
          <p:cNvSpPr>
            <a:spLocks/>
          </p:cNvSpPr>
          <p:nvPr/>
        </p:nvSpPr>
        <p:spPr bwMode="auto">
          <a:xfrm>
            <a:off x="2362200" y="4084638"/>
            <a:ext cx="177800" cy="334962"/>
          </a:xfrm>
          <a:custGeom>
            <a:avLst/>
            <a:gdLst/>
            <a:ahLst/>
            <a:cxnLst>
              <a:cxn ang="0">
                <a:pos x="8" y="86"/>
              </a:cxn>
              <a:cxn ang="0">
                <a:pos x="20" y="106"/>
              </a:cxn>
              <a:cxn ang="0">
                <a:pos x="45" y="122"/>
              </a:cxn>
              <a:cxn ang="0">
                <a:pos x="69" y="138"/>
              </a:cxn>
              <a:cxn ang="0">
                <a:pos x="80" y="157"/>
              </a:cxn>
              <a:cxn ang="0">
                <a:pos x="80" y="174"/>
              </a:cxn>
              <a:cxn ang="0">
                <a:pos x="68" y="195"/>
              </a:cxn>
              <a:cxn ang="0">
                <a:pos x="42" y="214"/>
              </a:cxn>
              <a:cxn ang="0">
                <a:pos x="15" y="234"/>
              </a:cxn>
              <a:cxn ang="0">
                <a:pos x="5" y="256"/>
              </a:cxn>
              <a:cxn ang="0">
                <a:pos x="4" y="338"/>
              </a:cxn>
              <a:cxn ang="0">
                <a:pos x="7" y="356"/>
              </a:cxn>
              <a:cxn ang="0">
                <a:pos x="23" y="373"/>
              </a:cxn>
              <a:cxn ang="0">
                <a:pos x="51" y="382"/>
              </a:cxn>
              <a:cxn ang="0">
                <a:pos x="139" y="386"/>
              </a:cxn>
              <a:cxn ang="0">
                <a:pos x="168" y="386"/>
              </a:cxn>
              <a:cxn ang="0">
                <a:pos x="190" y="381"/>
              </a:cxn>
              <a:cxn ang="0">
                <a:pos x="195" y="374"/>
              </a:cxn>
              <a:cxn ang="0">
                <a:pos x="194" y="367"/>
              </a:cxn>
              <a:cxn ang="0">
                <a:pos x="182" y="351"/>
              </a:cxn>
              <a:cxn ang="0">
                <a:pos x="160" y="332"/>
              </a:cxn>
              <a:cxn ang="0">
                <a:pos x="154" y="318"/>
              </a:cxn>
              <a:cxn ang="0">
                <a:pos x="154" y="303"/>
              </a:cxn>
              <a:cxn ang="0">
                <a:pos x="162" y="278"/>
              </a:cxn>
              <a:cxn ang="0">
                <a:pos x="189" y="233"/>
              </a:cxn>
              <a:cxn ang="0">
                <a:pos x="204" y="198"/>
              </a:cxn>
              <a:cxn ang="0">
                <a:pos x="206" y="176"/>
              </a:cxn>
              <a:cxn ang="0">
                <a:pos x="213" y="120"/>
              </a:cxn>
              <a:cxn ang="0">
                <a:pos x="210" y="98"/>
              </a:cxn>
              <a:cxn ang="0">
                <a:pos x="195" y="92"/>
              </a:cxn>
              <a:cxn ang="0">
                <a:pos x="175" y="72"/>
              </a:cxn>
              <a:cxn ang="0">
                <a:pos x="162" y="60"/>
              </a:cxn>
              <a:cxn ang="0">
                <a:pos x="154" y="59"/>
              </a:cxn>
              <a:cxn ang="0">
                <a:pos x="137" y="58"/>
              </a:cxn>
              <a:cxn ang="0">
                <a:pos x="133" y="39"/>
              </a:cxn>
              <a:cxn ang="0">
                <a:pos x="131" y="25"/>
              </a:cxn>
              <a:cxn ang="0">
                <a:pos x="124" y="10"/>
              </a:cxn>
              <a:cxn ang="0">
                <a:pos x="112" y="3"/>
              </a:cxn>
              <a:cxn ang="0">
                <a:pos x="83" y="2"/>
              </a:cxn>
              <a:cxn ang="0">
                <a:pos x="59" y="4"/>
              </a:cxn>
              <a:cxn ang="0">
                <a:pos x="32" y="3"/>
              </a:cxn>
              <a:cxn ang="0">
                <a:pos x="15" y="2"/>
              </a:cxn>
              <a:cxn ang="0">
                <a:pos x="15" y="18"/>
              </a:cxn>
              <a:cxn ang="0">
                <a:pos x="22" y="59"/>
              </a:cxn>
              <a:cxn ang="0">
                <a:pos x="20" y="67"/>
              </a:cxn>
              <a:cxn ang="0">
                <a:pos x="6" y="76"/>
              </a:cxn>
              <a:cxn ang="0">
                <a:pos x="7" y="76"/>
              </a:cxn>
            </a:cxnLst>
            <a:rect l="0" t="0" r="r" b="b"/>
            <a:pathLst>
              <a:path w="217" h="386">
                <a:moveTo>
                  <a:pt x="7" y="76"/>
                </a:moveTo>
                <a:lnTo>
                  <a:pt x="7" y="76"/>
                </a:lnTo>
                <a:lnTo>
                  <a:pt x="8" y="86"/>
                </a:lnTo>
                <a:lnTo>
                  <a:pt x="11" y="94"/>
                </a:lnTo>
                <a:lnTo>
                  <a:pt x="15" y="100"/>
                </a:lnTo>
                <a:lnTo>
                  <a:pt x="20" y="106"/>
                </a:lnTo>
                <a:lnTo>
                  <a:pt x="25" y="111"/>
                </a:lnTo>
                <a:lnTo>
                  <a:pt x="31" y="115"/>
                </a:lnTo>
                <a:lnTo>
                  <a:pt x="45" y="122"/>
                </a:lnTo>
                <a:lnTo>
                  <a:pt x="58" y="129"/>
                </a:lnTo>
                <a:lnTo>
                  <a:pt x="63" y="134"/>
                </a:lnTo>
                <a:lnTo>
                  <a:pt x="69" y="138"/>
                </a:lnTo>
                <a:lnTo>
                  <a:pt x="74" y="143"/>
                </a:lnTo>
                <a:lnTo>
                  <a:pt x="77" y="150"/>
                </a:lnTo>
                <a:lnTo>
                  <a:pt x="80" y="157"/>
                </a:lnTo>
                <a:lnTo>
                  <a:pt x="81" y="165"/>
                </a:lnTo>
                <a:lnTo>
                  <a:pt x="81" y="165"/>
                </a:lnTo>
                <a:lnTo>
                  <a:pt x="80" y="174"/>
                </a:lnTo>
                <a:lnTo>
                  <a:pt x="77" y="182"/>
                </a:lnTo>
                <a:lnTo>
                  <a:pt x="74" y="189"/>
                </a:lnTo>
                <a:lnTo>
                  <a:pt x="68" y="195"/>
                </a:lnTo>
                <a:lnTo>
                  <a:pt x="62" y="201"/>
                </a:lnTo>
                <a:lnTo>
                  <a:pt x="57" y="205"/>
                </a:lnTo>
                <a:lnTo>
                  <a:pt x="42" y="214"/>
                </a:lnTo>
                <a:lnTo>
                  <a:pt x="28" y="224"/>
                </a:lnTo>
                <a:lnTo>
                  <a:pt x="21" y="229"/>
                </a:lnTo>
                <a:lnTo>
                  <a:pt x="15" y="234"/>
                </a:lnTo>
                <a:lnTo>
                  <a:pt x="11" y="241"/>
                </a:lnTo>
                <a:lnTo>
                  <a:pt x="7" y="248"/>
                </a:lnTo>
                <a:lnTo>
                  <a:pt x="5" y="256"/>
                </a:lnTo>
                <a:lnTo>
                  <a:pt x="4" y="264"/>
                </a:lnTo>
                <a:lnTo>
                  <a:pt x="4" y="264"/>
                </a:lnTo>
                <a:lnTo>
                  <a:pt x="4" y="338"/>
                </a:lnTo>
                <a:lnTo>
                  <a:pt x="4" y="338"/>
                </a:lnTo>
                <a:lnTo>
                  <a:pt x="5" y="348"/>
                </a:lnTo>
                <a:lnTo>
                  <a:pt x="7" y="356"/>
                </a:lnTo>
                <a:lnTo>
                  <a:pt x="12" y="363"/>
                </a:lnTo>
                <a:lnTo>
                  <a:pt x="16" y="369"/>
                </a:lnTo>
                <a:lnTo>
                  <a:pt x="23" y="373"/>
                </a:lnTo>
                <a:lnTo>
                  <a:pt x="31" y="377"/>
                </a:lnTo>
                <a:lnTo>
                  <a:pt x="40" y="380"/>
                </a:lnTo>
                <a:lnTo>
                  <a:pt x="51" y="382"/>
                </a:lnTo>
                <a:lnTo>
                  <a:pt x="72" y="385"/>
                </a:lnTo>
                <a:lnTo>
                  <a:pt x="95" y="386"/>
                </a:lnTo>
                <a:lnTo>
                  <a:pt x="139" y="386"/>
                </a:lnTo>
                <a:lnTo>
                  <a:pt x="139" y="386"/>
                </a:lnTo>
                <a:lnTo>
                  <a:pt x="159" y="386"/>
                </a:lnTo>
                <a:lnTo>
                  <a:pt x="168" y="386"/>
                </a:lnTo>
                <a:lnTo>
                  <a:pt x="176" y="385"/>
                </a:lnTo>
                <a:lnTo>
                  <a:pt x="184" y="384"/>
                </a:lnTo>
                <a:lnTo>
                  <a:pt x="190" y="381"/>
                </a:lnTo>
                <a:lnTo>
                  <a:pt x="191" y="379"/>
                </a:lnTo>
                <a:lnTo>
                  <a:pt x="194" y="377"/>
                </a:lnTo>
                <a:lnTo>
                  <a:pt x="195" y="374"/>
                </a:lnTo>
                <a:lnTo>
                  <a:pt x="195" y="371"/>
                </a:lnTo>
                <a:lnTo>
                  <a:pt x="195" y="371"/>
                </a:lnTo>
                <a:lnTo>
                  <a:pt x="194" y="367"/>
                </a:lnTo>
                <a:lnTo>
                  <a:pt x="192" y="363"/>
                </a:lnTo>
                <a:lnTo>
                  <a:pt x="188" y="357"/>
                </a:lnTo>
                <a:lnTo>
                  <a:pt x="182" y="351"/>
                </a:lnTo>
                <a:lnTo>
                  <a:pt x="174" y="346"/>
                </a:lnTo>
                <a:lnTo>
                  <a:pt x="167" y="340"/>
                </a:lnTo>
                <a:lnTo>
                  <a:pt x="160" y="332"/>
                </a:lnTo>
                <a:lnTo>
                  <a:pt x="158" y="328"/>
                </a:lnTo>
                <a:lnTo>
                  <a:pt x="156" y="323"/>
                </a:lnTo>
                <a:lnTo>
                  <a:pt x="154" y="318"/>
                </a:lnTo>
                <a:lnTo>
                  <a:pt x="154" y="312"/>
                </a:lnTo>
                <a:lnTo>
                  <a:pt x="154" y="312"/>
                </a:lnTo>
                <a:lnTo>
                  <a:pt x="154" y="303"/>
                </a:lnTo>
                <a:lnTo>
                  <a:pt x="157" y="294"/>
                </a:lnTo>
                <a:lnTo>
                  <a:pt x="159" y="286"/>
                </a:lnTo>
                <a:lnTo>
                  <a:pt x="162" y="278"/>
                </a:lnTo>
                <a:lnTo>
                  <a:pt x="170" y="263"/>
                </a:lnTo>
                <a:lnTo>
                  <a:pt x="180" y="248"/>
                </a:lnTo>
                <a:lnTo>
                  <a:pt x="189" y="233"/>
                </a:lnTo>
                <a:lnTo>
                  <a:pt x="198" y="217"/>
                </a:lnTo>
                <a:lnTo>
                  <a:pt x="200" y="207"/>
                </a:lnTo>
                <a:lnTo>
                  <a:pt x="204" y="198"/>
                </a:lnTo>
                <a:lnTo>
                  <a:pt x="205" y="188"/>
                </a:lnTo>
                <a:lnTo>
                  <a:pt x="206" y="176"/>
                </a:lnTo>
                <a:lnTo>
                  <a:pt x="206" y="176"/>
                </a:lnTo>
                <a:lnTo>
                  <a:pt x="207" y="156"/>
                </a:lnTo>
                <a:lnTo>
                  <a:pt x="210" y="137"/>
                </a:lnTo>
                <a:lnTo>
                  <a:pt x="213" y="120"/>
                </a:lnTo>
                <a:lnTo>
                  <a:pt x="217" y="99"/>
                </a:lnTo>
                <a:lnTo>
                  <a:pt x="217" y="99"/>
                </a:lnTo>
                <a:lnTo>
                  <a:pt x="210" y="98"/>
                </a:lnTo>
                <a:lnTo>
                  <a:pt x="204" y="97"/>
                </a:lnTo>
                <a:lnTo>
                  <a:pt x="199" y="96"/>
                </a:lnTo>
                <a:lnTo>
                  <a:pt x="195" y="92"/>
                </a:lnTo>
                <a:lnTo>
                  <a:pt x="188" y="87"/>
                </a:lnTo>
                <a:lnTo>
                  <a:pt x="181" y="79"/>
                </a:lnTo>
                <a:lnTo>
                  <a:pt x="175" y="72"/>
                </a:lnTo>
                <a:lnTo>
                  <a:pt x="169" y="65"/>
                </a:lnTo>
                <a:lnTo>
                  <a:pt x="166" y="62"/>
                </a:lnTo>
                <a:lnTo>
                  <a:pt x="162" y="60"/>
                </a:lnTo>
                <a:lnTo>
                  <a:pt x="159" y="59"/>
                </a:lnTo>
                <a:lnTo>
                  <a:pt x="154" y="59"/>
                </a:lnTo>
                <a:lnTo>
                  <a:pt x="154" y="59"/>
                </a:lnTo>
                <a:lnTo>
                  <a:pt x="139" y="59"/>
                </a:lnTo>
                <a:lnTo>
                  <a:pt x="139" y="59"/>
                </a:lnTo>
                <a:lnTo>
                  <a:pt x="137" y="58"/>
                </a:lnTo>
                <a:lnTo>
                  <a:pt x="135" y="56"/>
                </a:lnTo>
                <a:lnTo>
                  <a:pt x="133" y="49"/>
                </a:lnTo>
                <a:lnTo>
                  <a:pt x="133" y="39"/>
                </a:lnTo>
                <a:lnTo>
                  <a:pt x="133" y="33"/>
                </a:lnTo>
                <a:lnTo>
                  <a:pt x="133" y="33"/>
                </a:lnTo>
                <a:lnTo>
                  <a:pt x="131" y="25"/>
                </a:lnTo>
                <a:lnTo>
                  <a:pt x="130" y="19"/>
                </a:lnTo>
                <a:lnTo>
                  <a:pt x="128" y="13"/>
                </a:lnTo>
                <a:lnTo>
                  <a:pt x="124" y="10"/>
                </a:lnTo>
                <a:lnTo>
                  <a:pt x="121" y="6"/>
                </a:lnTo>
                <a:lnTo>
                  <a:pt x="116" y="4"/>
                </a:lnTo>
                <a:lnTo>
                  <a:pt x="112" y="3"/>
                </a:lnTo>
                <a:lnTo>
                  <a:pt x="106" y="2"/>
                </a:lnTo>
                <a:lnTo>
                  <a:pt x="95" y="2"/>
                </a:lnTo>
                <a:lnTo>
                  <a:pt x="83" y="2"/>
                </a:lnTo>
                <a:lnTo>
                  <a:pt x="70" y="3"/>
                </a:lnTo>
                <a:lnTo>
                  <a:pt x="59" y="4"/>
                </a:lnTo>
                <a:lnTo>
                  <a:pt x="59" y="4"/>
                </a:lnTo>
                <a:lnTo>
                  <a:pt x="39" y="4"/>
                </a:lnTo>
                <a:lnTo>
                  <a:pt x="39" y="4"/>
                </a:lnTo>
                <a:lnTo>
                  <a:pt x="32" y="3"/>
                </a:lnTo>
                <a:lnTo>
                  <a:pt x="24" y="0"/>
                </a:lnTo>
                <a:lnTo>
                  <a:pt x="17" y="0"/>
                </a:lnTo>
                <a:lnTo>
                  <a:pt x="15" y="2"/>
                </a:lnTo>
                <a:lnTo>
                  <a:pt x="15" y="4"/>
                </a:lnTo>
                <a:lnTo>
                  <a:pt x="15" y="4"/>
                </a:lnTo>
                <a:lnTo>
                  <a:pt x="15" y="18"/>
                </a:lnTo>
                <a:lnTo>
                  <a:pt x="19" y="29"/>
                </a:lnTo>
                <a:lnTo>
                  <a:pt x="21" y="42"/>
                </a:lnTo>
                <a:lnTo>
                  <a:pt x="22" y="59"/>
                </a:lnTo>
                <a:lnTo>
                  <a:pt x="22" y="59"/>
                </a:lnTo>
                <a:lnTo>
                  <a:pt x="21" y="64"/>
                </a:lnTo>
                <a:lnTo>
                  <a:pt x="20" y="67"/>
                </a:lnTo>
                <a:lnTo>
                  <a:pt x="16" y="71"/>
                </a:lnTo>
                <a:lnTo>
                  <a:pt x="13" y="73"/>
                </a:lnTo>
                <a:lnTo>
                  <a:pt x="6" y="76"/>
                </a:lnTo>
                <a:lnTo>
                  <a:pt x="0" y="76"/>
                </a:lnTo>
                <a:lnTo>
                  <a:pt x="0" y="76"/>
                </a:lnTo>
                <a:lnTo>
                  <a:pt x="7" y="76"/>
                </a:lnTo>
                <a:lnTo>
                  <a:pt x="7" y="76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8" name="Freeform 133"/>
          <p:cNvSpPr>
            <a:spLocks/>
          </p:cNvSpPr>
          <p:nvPr/>
        </p:nvSpPr>
        <p:spPr bwMode="auto">
          <a:xfrm>
            <a:off x="3127375" y="2955925"/>
            <a:ext cx="1187450" cy="1577975"/>
          </a:xfrm>
          <a:custGeom>
            <a:avLst/>
            <a:gdLst/>
            <a:ahLst/>
            <a:cxnLst>
              <a:cxn ang="0">
                <a:pos x="1366" y="1758"/>
              </a:cxn>
              <a:cxn ang="0">
                <a:pos x="1401" y="1649"/>
              </a:cxn>
              <a:cxn ang="0">
                <a:pos x="1451" y="1525"/>
              </a:cxn>
              <a:cxn ang="0">
                <a:pos x="1357" y="1395"/>
              </a:cxn>
              <a:cxn ang="0">
                <a:pos x="1312" y="1249"/>
              </a:cxn>
              <a:cxn ang="0">
                <a:pos x="1266" y="1059"/>
              </a:cxn>
              <a:cxn ang="0">
                <a:pos x="1288" y="900"/>
              </a:cxn>
              <a:cxn ang="0">
                <a:pos x="1306" y="827"/>
              </a:cxn>
              <a:cxn ang="0">
                <a:pos x="1266" y="718"/>
              </a:cxn>
              <a:cxn ang="0">
                <a:pos x="1145" y="653"/>
              </a:cxn>
              <a:cxn ang="0">
                <a:pos x="1227" y="516"/>
              </a:cxn>
              <a:cxn ang="0">
                <a:pos x="1187" y="371"/>
              </a:cxn>
              <a:cxn ang="0">
                <a:pos x="1237" y="292"/>
              </a:cxn>
              <a:cxn ang="0">
                <a:pos x="1167" y="226"/>
              </a:cxn>
              <a:cxn ang="0">
                <a:pos x="1144" y="268"/>
              </a:cxn>
              <a:cxn ang="0">
                <a:pos x="1030" y="262"/>
              </a:cxn>
              <a:cxn ang="0">
                <a:pos x="1136" y="413"/>
              </a:cxn>
              <a:cxn ang="0">
                <a:pos x="1060" y="378"/>
              </a:cxn>
              <a:cxn ang="0">
                <a:pos x="1008" y="229"/>
              </a:cxn>
              <a:cxn ang="0">
                <a:pos x="1014" y="74"/>
              </a:cxn>
              <a:cxn ang="0">
                <a:pos x="954" y="215"/>
              </a:cxn>
              <a:cxn ang="0">
                <a:pos x="876" y="333"/>
              </a:cxn>
              <a:cxn ang="0">
                <a:pos x="837" y="590"/>
              </a:cxn>
              <a:cxn ang="0">
                <a:pos x="943" y="667"/>
              </a:cxn>
              <a:cxn ang="0">
                <a:pos x="1033" y="802"/>
              </a:cxn>
              <a:cxn ang="0">
                <a:pos x="990" y="901"/>
              </a:cxn>
              <a:cxn ang="0">
                <a:pos x="987" y="936"/>
              </a:cxn>
              <a:cxn ang="0">
                <a:pos x="990" y="779"/>
              </a:cxn>
              <a:cxn ang="0">
                <a:pos x="865" y="712"/>
              </a:cxn>
              <a:cxn ang="0">
                <a:pos x="783" y="924"/>
              </a:cxn>
              <a:cxn ang="0">
                <a:pos x="654" y="1028"/>
              </a:cxn>
              <a:cxn ang="0">
                <a:pos x="506" y="1008"/>
              </a:cxn>
              <a:cxn ang="0">
                <a:pos x="496" y="934"/>
              </a:cxn>
              <a:cxn ang="0">
                <a:pos x="594" y="1019"/>
              </a:cxn>
              <a:cxn ang="0">
                <a:pos x="752" y="842"/>
              </a:cxn>
              <a:cxn ang="0">
                <a:pos x="768" y="675"/>
              </a:cxn>
              <a:cxn ang="0">
                <a:pos x="852" y="376"/>
              </a:cxn>
              <a:cxn ang="0">
                <a:pos x="843" y="229"/>
              </a:cxn>
              <a:cxn ang="0">
                <a:pos x="913" y="100"/>
              </a:cxn>
              <a:cxn ang="0">
                <a:pos x="781" y="1"/>
              </a:cxn>
              <a:cxn ang="0">
                <a:pos x="670" y="168"/>
              </a:cxn>
              <a:cxn ang="0">
                <a:pos x="540" y="274"/>
              </a:cxn>
              <a:cxn ang="0">
                <a:pos x="514" y="412"/>
              </a:cxn>
              <a:cxn ang="0">
                <a:pos x="533" y="527"/>
              </a:cxn>
              <a:cxn ang="0">
                <a:pos x="547" y="664"/>
              </a:cxn>
              <a:cxn ang="0">
                <a:pos x="438" y="576"/>
              </a:cxn>
              <a:cxn ang="0">
                <a:pos x="359" y="565"/>
              </a:cxn>
              <a:cxn ang="0">
                <a:pos x="334" y="679"/>
              </a:cxn>
              <a:cxn ang="0">
                <a:pos x="323" y="795"/>
              </a:cxn>
              <a:cxn ang="0">
                <a:pos x="31" y="949"/>
              </a:cxn>
              <a:cxn ang="0">
                <a:pos x="0" y="1111"/>
              </a:cxn>
              <a:cxn ang="0">
                <a:pos x="48" y="1180"/>
              </a:cxn>
              <a:cxn ang="0">
                <a:pos x="225" y="1231"/>
              </a:cxn>
              <a:cxn ang="0">
                <a:pos x="319" y="1300"/>
              </a:cxn>
              <a:cxn ang="0">
                <a:pos x="396" y="1299"/>
              </a:cxn>
              <a:cxn ang="0">
                <a:pos x="480" y="1432"/>
              </a:cxn>
              <a:cxn ang="0">
                <a:pos x="624" y="1559"/>
              </a:cxn>
              <a:cxn ang="0">
                <a:pos x="825" y="1637"/>
              </a:cxn>
              <a:cxn ang="0">
                <a:pos x="1001" y="1721"/>
              </a:cxn>
              <a:cxn ang="0">
                <a:pos x="1099" y="1660"/>
              </a:cxn>
              <a:cxn ang="0">
                <a:pos x="1193" y="1715"/>
              </a:cxn>
              <a:cxn ang="0">
                <a:pos x="1272" y="1769"/>
              </a:cxn>
            </a:cxnLst>
            <a:rect l="0" t="0" r="r" b="b"/>
            <a:pathLst>
              <a:path w="1454" h="1810">
                <a:moveTo>
                  <a:pt x="1328" y="1805"/>
                </a:moveTo>
                <a:lnTo>
                  <a:pt x="1328" y="1810"/>
                </a:lnTo>
                <a:lnTo>
                  <a:pt x="1328" y="1810"/>
                </a:lnTo>
                <a:lnTo>
                  <a:pt x="1328" y="1810"/>
                </a:lnTo>
                <a:lnTo>
                  <a:pt x="1336" y="1807"/>
                </a:lnTo>
                <a:lnTo>
                  <a:pt x="1342" y="1806"/>
                </a:lnTo>
                <a:lnTo>
                  <a:pt x="1348" y="1805"/>
                </a:lnTo>
                <a:lnTo>
                  <a:pt x="1355" y="1802"/>
                </a:lnTo>
                <a:lnTo>
                  <a:pt x="1355" y="1802"/>
                </a:lnTo>
                <a:lnTo>
                  <a:pt x="1358" y="1798"/>
                </a:lnTo>
                <a:lnTo>
                  <a:pt x="1361" y="1795"/>
                </a:lnTo>
                <a:lnTo>
                  <a:pt x="1362" y="1789"/>
                </a:lnTo>
                <a:lnTo>
                  <a:pt x="1363" y="1783"/>
                </a:lnTo>
                <a:lnTo>
                  <a:pt x="1364" y="1771"/>
                </a:lnTo>
                <a:lnTo>
                  <a:pt x="1366" y="1758"/>
                </a:lnTo>
                <a:lnTo>
                  <a:pt x="1366" y="1758"/>
                </a:lnTo>
                <a:lnTo>
                  <a:pt x="1367" y="1752"/>
                </a:lnTo>
                <a:lnTo>
                  <a:pt x="1370" y="1748"/>
                </a:lnTo>
                <a:lnTo>
                  <a:pt x="1377" y="1738"/>
                </a:lnTo>
                <a:lnTo>
                  <a:pt x="1384" y="1731"/>
                </a:lnTo>
                <a:lnTo>
                  <a:pt x="1392" y="1725"/>
                </a:lnTo>
                <a:lnTo>
                  <a:pt x="1400" y="1717"/>
                </a:lnTo>
                <a:lnTo>
                  <a:pt x="1407" y="1708"/>
                </a:lnTo>
                <a:lnTo>
                  <a:pt x="1410" y="1704"/>
                </a:lnTo>
                <a:lnTo>
                  <a:pt x="1411" y="1699"/>
                </a:lnTo>
                <a:lnTo>
                  <a:pt x="1412" y="1693"/>
                </a:lnTo>
                <a:lnTo>
                  <a:pt x="1413" y="1688"/>
                </a:lnTo>
                <a:lnTo>
                  <a:pt x="1413" y="1688"/>
                </a:lnTo>
                <a:lnTo>
                  <a:pt x="1412" y="1676"/>
                </a:lnTo>
                <a:lnTo>
                  <a:pt x="1409" y="1666"/>
                </a:lnTo>
                <a:lnTo>
                  <a:pt x="1405" y="1657"/>
                </a:lnTo>
                <a:lnTo>
                  <a:pt x="1401" y="1649"/>
                </a:lnTo>
                <a:lnTo>
                  <a:pt x="1392" y="1634"/>
                </a:lnTo>
                <a:lnTo>
                  <a:pt x="1388" y="1626"/>
                </a:lnTo>
                <a:lnTo>
                  <a:pt x="1387" y="1619"/>
                </a:lnTo>
                <a:lnTo>
                  <a:pt x="1387" y="1619"/>
                </a:lnTo>
                <a:lnTo>
                  <a:pt x="1388" y="1607"/>
                </a:lnTo>
                <a:lnTo>
                  <a:pt x="1390" y="1598"/>
                </a:lnTo>
                <a:lnTo>
                  <a:pt x="1394" y="1590"/>
                </a:lnTo>
                <a:lnTo>
                  <a:pt x="1397" y="1583"/>
                </a:lnTo>
                <a:lnTo>
                  <a:pt x="1403" y="1577"/>
                </a:lnTo>
                <a:lnTo>
                  <a:pt x="1409" y="1573"/>
                </a:lnTo>
                <a:lnTo>
                  <a:pt x="1420" y="1562"/>
                </a:lnTo>
                <a:lnTo>
                  <a:pt x="1433" y="1553"/>
                </a:lnTo>
                <a:lnTo>
                  <a:pt x="1439" y="1547"/>
                </a:lnTo>
                <a:lnTo>
                  <a:pt x="1443" y="1542"/>
                </a:lnTo>
                <a:lnTo>
                  <a:pt x="1448" y="1534"/>
                </a:lnTo>
                <a:lnTo>
                  <a:pt x="1451" y="1525"/>
                </a:lnTo>
                <a:lnTo>
                  <a:pt x="1454" y="1515"/>
                </a:lnTo>
                <a:lnTo>
                  <a:pt x="1454" y="1504"/>
                </a:lnTo>
                <a:lnTo>
                  <a:pt x="1454" y="1504"/>
                </a:lnTo>
                <a:lnTo>
                  <a:pt x="1453" y="1483"/>
                </a:lnTo>
                <a:lnTo>
                  <a:pt x="1450" y="1465"/>
                </a:lnTo>
                <a:lnTo>
                  <a:pt x="1448" y="1447"/>
                </a:lnTo>
                <a:lnTo>
                  <a:pt x="1446" y="1430"/>
                </a:lnTo>
                <a:lnTo>
                  <a:pt x="1446" y="1430"/>
                </a:lnTo>
                <a:lnTo>
                  <a:pt x="1435" y="1430"/>
                </a:lnTo>
                <a:lnTo>
                  <a:pt x="1422" y="1428"/>
                </a:lnTo>
                <a:lnTo>
                  <a:pt x="1407" y="1423"/>
                </a:lnTo>
                <a:lnTo>
                  <a:pt x="1390" y="1418"/>
                </a:lnTo>
                <a:lnTo>
                  <a:pt x="1377" y="1412"/>
                </a:lnTo>
                <a:lnTo>
                  <a:pt x="1365" y="1405"/>
                </a:lnTo>
                <a:lnTo>
                  <a:pt x="1361" y="1400"/>
                </a:lnTo>
                <a:lnTo>
                  <a:pt x="1357" y="1395"/>
                </a:lnTo>
                <a:lnTo>
                  <a:pt x="1355" y="1391"/>
                </a:lnTo>
                <a:lnTo>
                  <a:pt x="1355" y="1386"/>
                </a:lnTo>
                <a:lnTo>
                  <a:pt x="1355" y="1386"/>
                </a:lnTo>
                <a:lnTo>
                  <a:pt x="1355" y="1382"/>
                </a:lnTo>
                <a:lnTo>
                  <a:pt x="1356" y="1377"/>
                </a:lnTo>
                <a:lnTo>
                  <a:pt x="1361" y="1369"/>
                </a:lnTo>
                <a:lnTo>
                  <a:pt x="1365" y="1362"/>
                </a:lnTo>
                <a:lnTo>
                  <a:pt x="1370" y="1357"/>
                </a:lnTo>
                <a:lnTo>
                  <a:pt x="1370" y="1357"/>
                </a:lnTo>
                <a:lnTo>
                  <a:pt x="1366" y="1287"/>
                </a:lnTo>
                <a:lnTo>
                  <a:pt x="1366" y="1287"/>
                </a:lnTo>
                <a:lnTo>
                  <a:pt x="1366" y="1287"/>
                </a:lnTo>
                <a:lnTo>
                  <a:pt x="1343" y="1273"/>
                </a:lnTo>
                <a:lnTo>
                  <a:pt x="1332" y="1267"/>
                </a:lnTo>
                <a:lnTo>
                  <a:pt x="1321" y="1259"/>
                </a:lnTo>
                <a:lnTo>
                  <a:pt x="1312" y="1249"/>
                </a:lnTo>
                <a:lnTo>
                  <a:pt x="1309" y="1244"/>
                </a:lnTo>
                <a:lnTo>
                  <a:pt x="1305" y="1238"/>
                </a:lnTo>
                <a:lnTo>
                  <a:pt x="1303" y="1232"/>
                </a:lnTo>
                <a:lnTo>
                  <a:pt x="1301" y="1225"/>
                </a:lnTo>
                <a:lnTo>
                  <a:pt x="1300" y="1218"/>
                </a:lnTo>
                <a:lnTo>
                  <a:pt x="1300" y="1210"/>
                </a:lnTo>
                <a:lnTo>
                  <a:pt x="1300" y="1210"/>
                </a:lnTo>
                <a:lnTo>
                  <a:pt x="1300" y="1111"/>
                </a:lnTo>
                <a:lnTo>
                  <a:pt x="1300" y="1111"/>
                </a:lnTo>
                <a:lnTo>
                  <a:pt x="1298" y="1100"/>
                </a:lnTo>
                <a:lnTo>
                  <a:pt x="1296" y="1091"/>
                </a:lnTo>
                <a:lnTo>
                  <a:pt x="1294" y="1085"/>
                </a:lnTo>
                <a:lnTo>
                  <a:pt x="1289" y="1080"/>
                </a:lnTo>
                <a:lnTo>
                  <a:pt x="1279" y="1072"/>
                </a:lnTo>
                <a:lnTo>
                  <a:pt x="1273" y="1066"/>
                </a:lnTo>
                <a:lnTo>
                  <a:pt x="1266" y="1059"/>
                </a:lnTo>
                <a:lnTo>
                  <a:pt x="1266" y="1059"/>
                </a:lnTo>
                <a:lnTo>
                  <a:pt x="1263" y="1050"/>
                </a:lnTo>
                <a:lnTo>
                  <a:pt x="1259" y="1034"/>
                </a:lnTo>
                <a:lnTo>
                  <a:pt x="1251" y="992"/>
                </a:lnTo>
                <a:lnTo>
                  <a:pt x="1241" y="935"/>
                </a:lnTo>
                <a:lnTo>
                  <a:pt x="1241" y="935"/>
                </a:lnTo>
                <a:lnTo>
                  <a:pt x="1241" y="929"/>
                </a:lnTo>
                <a:lnTo>
                  <a:pt x="1244" y="925"/>
                </a:lnTo>
                <a:lnTo>
                  <a:pt x="1248" y="921"/>
                </a:lnTo>
                <a:lnTo>
                  <a:pt x="1254" y="920"/>
                </a:lnTo>
                <a:lnTo>
                  <a:pt x="1264" y="918"/>
                </a:lnTo>
                <a:lnTo>
                  <a:pt x="1274" y="916"/>
                </a:lnTo>
                <a:lnTo>
                  <a:pt x="1274" y="916"/>
                </a:lnTo>
                <a:lnTo>
                  <a:pt x="1279" y="911"/>
                </a:lnTo>
                <a:lnTo>
                  <a:pt x="1285" y="905"/>
                </a:lnTo>
                <a:lnTo>
                  <a:pt x="1288" y="900"/>
                </a:lnTo>
                <a:lnTo>
                  <a:pt x="1293" y="893"/>
                </a:lnTo>
                <a:lnTo>
                  <a:pt x="1295" y="885"/>
                </a:lnTo>
                <a:lnTo>
                  <a:pt x="1297" y="878"/>
                </a:lnTo>
                <a:lnTo>
                  <a:pt x="1298" y="871"/>
                </a:lnTo>
                <a:lnTo>
                  <a:pt x="1300" y="865"/>
                </a:lnTo>
                <a:lnTo>
                  <a:pt x="1300" y="865"/>
                </a:lnTo>
                <a:lnTo>
                  <a:pt x="1303" y="865"/>
                </a:lnTo>
                <a:lnTo>
                  <a:pt x="1300" y="857"/>
                </a:lnTo>
                <a:lnTo>
                  <a:pt x="1300" y="857"/>
                </a:lnTo>
                <a:lnTo>
                  <a:pt x="1300" y="857"/>
                </a:lnTo>
                <a:lnTo>
                  <a:pt x="1298" y="851"/>
                </a:lnTo>
                <a:lnTo>
                  <a:pt x="1297" y="845"/>
                </a:lnTo>
                <a:lnTo>
                  <a:pt x="1296" y="835"/>
                </a:lnTo>
                <a:lnTo>
                  <a:pt x="1296" y="835"/>
                </a:lnTo>
                <a:lnTo>
                  <a:pt x="1302" y="832"/>
                </a:lnTo>
                <a:lnTo>
                  <a:pt x="1306" y="827"/>
                </a:lnTo>
                <a:lnTo>
                  <a:pt x="1310" y="822"/>
                </a:lnTo>
                <a:lnTo>
                  <a:pt x="1312" y="818"/>
                </a:lnTo>
                <a:lnTo>
                  <a:pt x="1313" y="812"/>
                </a:lnTo>
                <a:lnTo>
                  <a:pt x="1313" y="806"/>
                </a:lnTo>
                <a:lnTo>
                  <a:pt x="1314" y="791"/>
                </a:lnTo>
                <a:lnTo>
                  <a:pt x="1314" y="791"/>
                </a:lnTo>
                <a:lnTo>
                  <a:pt x="1313" y="783"/>
                </a:lnTo>
                <a:lnTo>
                  <a:pt x="1312" y="776"/>
                </a:lnTo>
                <a:lnTo>
                  <a:pt x="1311" y="771"/>
                </a:lnTo>
                <a:lnTo>
                  <a:pt x="1309" y="765"/>
                </a:lnTo>
                <a:lnTo>
                  <a:pt x="1303" y="755"/>
                </a:lnTo>
                <a:lnTo>
                  <a:pt x="1296" y="746"/>
                </a:lnTo>
                <a:lnTo>
                  <a:pt x="1280" y="733"/>
                </a:lnTo>
                <a:lnTo>
                  <a:pt x="1273" y="726"/>
                </a:lnTo>
                <a:lnTo>
                  <a:pt x="1266" y="718"/>
                </a:lnTo>
                <a:lnTo>
                  <a:pt x="1266" y="718"/>
                </a:lnTo>
                <a:lnTo>
                  <a:pt x="1260" y="717"/>
                </a:lnTo>
                <a:lnTo>
                  <a:pt x="1256" y="719"/>
                </a:lnTo>
                <a:lnTo>
                  <a:pt x="1249" y="720"/>
                </a:lnTo>
                <a:lnTo>
                  <a:pt x="1244" y="721"/>
                </a:lnTo>
                <a:lnTo>
                  <a:pt x="1237" y="721"/>
                </a:lnTo>
                <a:lnTo>
                  <a:pt x="1237" y="721"/>
                </a:lnTo>
                <a:lnTo>
                  <a:pt x="1229" y="721"/>
                </a:lnTo>
                <a:lnTo>
                  <a:pt x="1222" y="719"/>
                </a:lnTo>
                <a:lnTo>
                  <a:pt x="1214" y="715"/>
                </a:lnTo>
                <a:lnTo>
                  <a:pt x="1205" y="711"/>
                </a:lnTo>
                <a:lnTo>
                  <a:pt x="1197" y="706"/>
                </a:lnTo>
                <a:lnTo>
                  <a:pt x="1188" y="699"/>
                </a:lnTo>
                <a:lnTo>
                  <a:pt x="1172" y="685"/>
                </a:lnTo>
                <a:lnTo>
                  <a:pt x="1157" y="671"/>
                </a:lnTo>
                <a:lnTo>
                  <a:pt x="1151" y="661"/>
                </a:lnTo>
                <a:lnTo>
                  <a:pt x="1145" y="653"/>
                </a:lnTo>
                <a:lnTo>
                  <a:pt x="1141" y="645"/>
                </a:lnTo>
                <a:lnTo>
                  <a:pt x="1137" y="637"/>
                </a:lnTo>
                <a:lnTo>
                  <a:pt x="1135" y="630"/>
                </a:lnTo>
                <a:lnTo>
                  <a:pt x="1134" y="622"/>
                </a:lnTo>
                <a:lnTo>
                  <a:pt x="1134" y="622"/>
                </a:lnTo>
                <a:lnTo>
                  <a:pt x="1135" y="607"/>
                </a:lnTo>
                <a:lnTo>
                  <a:pt x="1138" y="593"/>
                </a:lnTo>
                <a:lnTo>
                  <a:pt x="1143" y="583"/>
                </a:lnTo>
                <a:lnTo>
                  <a:pt x="1150" y="574"/>
                </a:lnTo>
                <a:lnTo>
                  <a:pt x="1158" y="567"/>
                </a:lnTo>
                <a:lnTo>
                  <a:pt x="1166" y="561"/>
                </a:lnTo>
                <a:lnTo>
                  <a:pt x="1186" y="551"/>
                </a:lnTo>
                <a:lnTo>
                  <a:pt x="1204" y="539"/>
                </a:lnTo>
                <a:lnTo>
                  <a:pt x="1213" y="534"/>
                </a:lnTo>
                <a:lnTo>
                  <a:pt x="1221" y="526"/>
                </a:lnTo>
                <a:lnTo>
                  <a:pt x="1227" y="516"/>
                </a:lnTo>
                <a:lnTo>
                  <a:pt x="1233" y="506"/>
                </a:lnTo>
                <a:lnTo>
                  <a:pt x="1236" y="492"/>
                </a:lnTo>
                <a:lnTo>
                  <a:pt x="1237" y="476"/>
                </a:lnTo>
                <a:lnTo>
                  <a:pt x="1237" y="476"/>
                </a:lnTo>
                <a:lnTo>
                  <a:pt x="1236" y="466"/>
                </a:lnTo>
                <a:lnTo>
                  <a:pt x="1235" y="455"/>
                </a:lnTo>
                <a:lnTo>
                  <a:pt x="1232" y="446"/>
                </a:lnTo>
                <a:lnTo>
                  <a:pt x="1229" y="438"/>
                </a:lnTo>
                <a:lnTo>
                  <a:pt x="1225" y="431"/>
                </a:lnTo>
                <a:lnTo>
                  <a:pt x="1221" y="423"/>
                </a:lnTo>
                <a:lnTo>
                  <a:pt x="1211" y="410"/>
                </a:lnTo>
                <a:lnTo>
                  <a:pt x="1202" y="399"/>
                </a:lnTo>
                <a:lnTo>
                  <a:pt x="1194" y="387"/>
                </a:lnTo>
                <a:lnTo>
                  <a:pt x="1190" y="383"/>
                </a:lnTo>
                <a:lnTo>
                  <a:pt x="1188" y="377"/>
                </a:lnTo>
                <a:lnTo>
                  <a:pt x="1187" y="371"/>
                </a:lnTo>
                <a:lnTo>
                  <a:pt x="1186" y="366"/>
                </a:lnTo>
                <a:lnTo>
                  <a:pt x="1186" y="366"/>
                </a:lnTo>
                <a:lnTo>
                  <a:pt x="1187" y="359"/>
                </a:lnTo>
                <a:lnTo>
                  <a:pt x="1188" y="354"/>
                </a:lnTo>
                <a:lnTo>
                  <a:pt x="1191" y="351"/>
                </a:lnTo>
                <a:lnTo>
                  <a:pt x="1195" y="347"/>
                </a:lnTo>
                <a:lnTo>
                  <a:pt x="1204" y="344"/>
                </a:lnTo>
                <a:lnTo>
                  <a:pt x="1214" y="339"/>
                </a:lnTo>
                <a:lnTo>
                  <a:pt x="1219" y="337"/>
                </a:lnTo>
                <a:lnTo>
                  <a:pt x="1224" y="335"/>
                </a:lnTo>
                <a:lnTo>
                  <a:pt x="1228" y="331"/>
                </a:lnTo>
                <a:lnTo>
                  <a:pt x="1232" y="326"/>
                </a:lnTo>
                <a:lnTo>
                  <a:pt x="1235" y="320"/>
                </a:lnTo>
                <a:lnTo>
                  <a:pt x="1237" y="313"/>
                </a:lnTo>
                <a:lnTo>
                  <a:pt x="1237" y="303"/>
                </a:lnTo>
                <a:lnTo>
                  <a:pt x="1237" y="292"/>
                </a:lnTo>
                <a:lnTo>
                  <a:pt x="1237" y="292"/>
                </a:lnTo>
                <a:lnTo>
                  <a:pt x="1235" y="284"/>
                </a:lnTo>
                <a:lnTo>
                  <a:pt x="1233" y="278"/>
                </a:lnTo>
                <a:lnTo>
                  <a:pt x="1229" y="272"/>
                </a:lnTo>
                <a:lnTo>
                  <a:pt x="1225" y="269"/>
                </a:lnTo>
                <a:lnTo>
                  <a:pt x="1219" y="265"/>
                </a:lnTo>
                <a:lnTo>
                  <a:pt x="1213" y="262"/>
                </a:lnTo>
                <a:lnTo>
                  <a:pt x="1201" y="257"/>
                </a:lnTo>
                <a:lnTo>
                  <a:pt x="1188" y="253"/>
                </a:lnTo>
                <a:lnTo>
                  <a:pt x="1182" y="251"/>
                </a:lnTo>
                <a:lnTo>
                  <a:pt x="1178" y="247"/>
                </a:lnTo>
                <a:lnTo>
                  <a:pt x="1173" y="244"/>
                </a:lnTo>
                <a:lnTo>
                  <a:pt x="1170" y="239"/>
                </a:lnTo>
                <a:lnTo>
                  <a:pt x="1167" y="233"/>
                </a:lnTo>
                <a:lnTo>
                  <a:pt x="1167" y="226"/>
                </a:lnTo>
                <a:lnTo>
                  <a:pt x="1167" y="226"/>
                </a:lnTo>
                <a:lnTo>
                  <a:pt x="1166" y="213"/>
                </a:lnTo>
                <a:lnTo>
                  <a:pt x="1167" y="207"/>
                </a:lnTo>
                <a:lnTo>
                  <a:pt x="1171" y="200"/>
                </a:lnTo>
                <a:lnTo>
                  <a:pt x="1171" y="200"/>
                </a:lnTo>
                <a:lnTo>
                  <a:pt x="1153" y="203"/>
                </a:lnTo>
                <a:lnTo>
                  <a:pt x="1136" y="207"/>
                </a:lnTo>
                <a:lnTo>
                  <a:pt x="1129" y="210"/>
                </a:lnTo>
                <a:lnTo>
                  <a:pt x="1122" y="213"/>
                </a:lnTo>
                <a:lnTo>
                  <a:pt x="1118" y="217"/>
                </a:lnTo>
                <a:lnTo>
                  <a:pt x="1115" y="223"/>
                </a:lnTo>
                <a:lnTo>
                  <a:pt x="1115" y="223"/>
                </a:lnTo>
                <a:lnTo>
                  <a:pt x="1127" y="234"/>
                </a:lnTo>
                <a:lnTo>
                  <a:pt x="1135" y="245"/>
                </a:lnTo>
                <a:lnTo>
                  <a:pt x="1141" y="254"/>
                </a:lnTo>
                <a:lnTo>
                  <a:pt x="1143" y="261"/>
                </a:lnTo>
                <a:lnTo>
                  <a:pt x="1144" y="268"/>
                </a:lnTo>
                <a:lnTo>
                  <a:pt x="1143" y="271"/>
                </a:lnTo>
                <a:lnTo>
                  <a:pt x="1141" y="274"/>
                </a:lnTo>
                <a:lnTo>
                  <a:pt x="1135" y="275"/>
                </a:lnTo>
                <a:lnTo>
                  <a:pt x="1129" y="275"/>
                </a:lnTo>
                <a:lnTo>
                  <a:pt x="1121" y="272"/>
                </a:lnTo>
                <a:lnTo>
                  <a:pt x="1112" y="269"/>
                </a:lnTo>
                <a:lnTo>
                  <a:pt x="1102" y="264"/>
                </a:lnTo>
                <a:lnTo>
                  <a:pt x="1090" y="257"/>
                </a:lnTo>
                <a:lnTo>
                  <a:pt x="1079" y="249"/>
                </a:lnTo>
                <a:lnTo>
                  <a:pt x="1066" y="240"/>
                </a:lnTo>
                <a:lnTo>
                  <a:pt x="1053" y="230"/>
                </a:lnTo>
                <a:lnTo>
                  <a:pt x="1053" y="230"/>
                </a:lnTo>
                <a:lnTo>
                  <a:pt x="1046" y="239"/>
                </a:lnTo>
                <a:lnTo>
                  <a:pt x="1038" y="249"/>
                </a:lnTo>
                <a:lnTo>
                  <a:pt x="1034" y="255"/>
                </a:lnTo>
                <a:lnTo>
                  <a:pt x="1030" y="262"/>
                </a:lnTo>
                <a:lnTo>
                  <a:pt x="1028" y="269"/>
                </a:lnTo>
                <a:lnTo>
                  <a:pt x="1027" y="276"/>
                </a:lnTo>
                <a:lnTo>
                  <a:pt x="1027" y="284"/>
                </a:lnTo>
                <a:lnTo>
                  <a:pt x="1030" y="292"/>
                </a:lnTo>
                <a:lnTo>
                  <a:pt x="1035" y="301"/>
                </a:lnTo>
                <a:lnTo>
                  <a:pt x="1042" y="310"/>
                </a:lnTo>
                <a:lnTo>
                  <a:pt x="1052" y="320"/>
                </a:lnTo>
                <a:lnTo>
                  <a:pt x="1066" y="329"/>
                </a:lnTo>
                <a:lnTo>
                  <a:pt x="1083" y="339"/>
                </a:lnTo>
                <a:lnTo>
                  <a:pt x="1105" y="351"/>
                </a:lnTo>
                <a:lnTo>
                  <a:pt x="1105" y="351"/>
                </a:lnTo>
                <a:lnTo>
                  <a:pt x="1113" y="362"/>
                </a:lnTo>
                <a:lnTo>
                  <a:pt x="1120" y="375"/>
                </a:lnTo>
                <a:lnTo>
                  <a:pt x="1128" y="390"/>
                </a:lnTo>
                <a:lnTo>
                  <a:pt x="1134" y="405"/>
                </a:lnTo>
                <a:lnTo>
                  <a:pt x="1136" y="413"/>
                </a:lnTo>
                <a:lnTo>
                  <a:pt x="1137" y="420"/>
                </a:lnTo>
                <a:lnTo>
                  <a:pt x="1137" y="427"/>
                </a:lnTo>
                <a:lnTo>
                  <a:pt x="1135" y="433"/>
                </a:lnTo>
                <a:lnTo>
                  <a:pt x="1133" y="438"/>
                </a:lnTo>
                <a:lnTo>
                  <a:pt x="1127" y="443"/>
                </a:lnTo>
                <a:lnTo>
                  <a:pt x="1127" y="443"/>
                </a:lnTo>
                <a:lnTo>
                  <a:pt x="1119" y="437"/>
                </a:lnTo>
                <a:lnTo>
                  <a:pt x="1113" y="430"/>
                </a:lnTo>
                <a:lnTo>
                  <a:pt x="1107" y="423"/>
                </a:lnTo>
                <a:lnTo>
                  <a:pt x="1103" y="414"/>
                </a:lnTo>
                <a:lnTo>
                  <a:pt x="1092" y="396"/>
                </a:lnTo>
                <a:lnTo>
                  <a:pt x="1087" y="387"/>
                </a:lnTo>
                <a:lnTo>
                  <a:pt x="1079" y="379"/>
                </a:lnTo>
                <a:lnTo>
                  <a:pt x="1079" y="379"/>
                </a:lnTo>
                <a:lnTo>
                  <a:pt x="1069" y="379"/>
                </a:lnTo>
                <a:lnTo>
                  <a:pt x="1060" y="378"/>
                </a:lnTo>
                <a:lnTo>
                  <a:pt x="1052" y="375"/>
                </a:lnTo>
                <a:lnTo>
                  <a:pt x="1043" y="372"/>
                </a:lnTo>
                <a:lnTo>
                  <a:pt x="1036" y="368"/>
                </a:lnTo>
                <a:lnTo>
                  <a:pt x="1028" y="363"/>
                </a:lnTo>
                <a:lnTo>
                  <a:pt x="1015" y="354"/>
                </a:lnTo>
                <a:lnTo>
                  <a:pt x="1005" y="343"/>
                </a:lnTo>
                <a:lnTo>
                  <a:pt x="996" y="332"/>
                </a:lnTo>
                <a:lnTo>
                  <a:pt x="990" y="322"/>
                </a:lnTo>
                <a:lnTo>
                  <a:pt x="987" y="314"/>
                </a:lnTo>
                <a:lnTo>
                  <a:pt x="987" y="314"/>
                </a:lnTo>
                <a:lnTo>
                  <a:pt x="987" y="303"/>
                </a:lnTo>
                <a:lnTo>
                  <a:pt x="988" y="294"/>
                </a:lnTo>
                <a:lnTo>
                  <a:pt x="990" y="276"/>
                </a:lnTo>
                <a:lnTo>
                  <a:pt x="995" y="260"/>
                </a:lnTo>
                <a:lnTo>
                  <a:pt x="1001" y="244"/>
                </a:lnTo>
                <a:lnTo>
                  <a:pt x="1008" y="229"/>
                </a:lnTo>
                <a:lnTo>
                  <a:pt x="1016" y="214"/>
                </a:lnTo>
                <a:lnTo>
                  <a:pt x="1023" y="198"/>
                </a:lnTo>
                <a:lnTo>
                  <a:pt x="1031" y="181"/>
                </a:lnTo>
                <a:lnTo>
                  <a:pt x="1031" y="181"/>
                </a:lnTo>
                <a:lnTo>
                  <a:pt x="1033" y="173"/>
                </a:lnTo>
                <a:lnTo>
                  <a:pt x="1035" y="152"/>
                </a:lnTo>
                <a:lnTo>
                  <a:pt x="1036" y="135"/>
                </a:lnTo>
                <a:lnTo>
                  <a:pt x="1036" y="118"/>
                </a:lnTo>
                <a:lnTo>
                  <a:pt x="1035" y="99"/>
                </a:lnTo>
                <a:lnTo>
                  <a:pt x="1031" y="79"/>
                </a:lnTo>
                <a:lnTo>
                  <a:pt x="1031" y="79"/>
                </a:lnTo>
                <a:lnTo>
                  <a:pt x="1027" y="76"/>
                </a:lnTo>
                <a:lnTo>
                  <a:pt x="1023" y="73"/>
                </a:lnTo>
                <a:lnTo>
                  <a:pt x="1020" y="73"/>
                </a:lnTo>
                <a:lnTo>
                  <a:pt x="1016" y="73"/>
                </a:lnTo>
                <a:lnTo>
                  <a:pt x="1014" y="74"/>
                </a:lnTo>
                <a:lnTo>
                  <a:pt x="1011" y="77"/>
                </a:lnTo>
                <a:lnTo>
                  <a:pt x="1007" y="84"/>
                </a:lnTo>
                <a:lnTo>
                  <a:pt x="1004" y="93"/>
                </a:lnTo>
                <a:lnTo>
                  <a:pt x="1001" y="104"/>
                </a:lnTo>
                <a:lnTo>
                  <a:pt x="997" y="132"/>
                </a:lnTo>
                <a:lnTo>
                  <a:pt x="993" y="162"/>
                </a:lnTo>
                <a:lnTo>
                  <a:pt x="991" y="176"/>
                </a:lnTo>
                <a:lnTo>
                  <a:pt x="989" y="187"/>
                </a:lnTo>
                <a:lnTo>
                  <a:pt x="985" y="198"/>
                </a:lnTo>
                <a:lnTo>
                  <a:pt x="981" y="206"/>
                </a:lnTo>
                <a:lnTo>
                  <a:pt x="978" y="208"/>
                </a:lnTo>
                <a:lnTo>
                  <a:pt x="976" y="210"/>
                </a:lnTo>
                <a:lnTo>
                  <a:pt x="973" y="211"/>
                </a:lnTo>
                <a:lnTo>
                  <a:pt x="969" y="211"/>
                </a:lnTo>
                <a:lnTo>
                  <a:pt x="969" y="211"/>
                </a:lnTo>
                <a:lnTo>
                  <a:pt x="954" y="215"/>
                </a:lnTo>
                <a:lnTo>
                  <a:pt x="941" y="218"/>
                </a:lnTo>
                <a:lnTo>
                  <a:pt x="929" y="223"/>
                </a:lnTo>
                <a:lnTo>
                  <a:pt x="920" y="226"/>
                </a:lnTo>
                <a:lnTo>
                  <a:pt x="912" y="231"/>
                </a:lnTo>
                <a:lnTo>
                  <a:pt x="905" y="237"/>
                </a:lnTo>
                <a:lnTo>
                  <a:pt x="899" y="241"/>
                </a:lnTo>
                <a:lnTo>
                  <a:pt x="893" y="246"/>
                </a:lnTo>
                <a:lnTo>
                  <a:pt x="890" y="252"/>
                </a:lnTo>
                <a:lnTo>
                  <a:pt x="886" y="257"/>
                </a:lnTo>
                <a:lnTo>
                  <a:pt x="883" y="269"/>
                </a:lnTo>
                <a:lnTo>
                  <a:pt x="880" y="283"/>
                </a:lnTo>
                <a:lnTo>
                  <a:pt x="877" y="295"/>
                </a:lnTo>
                <a:lnTo>
                  <a:pt x="877" y="295"/>
                </a:lnTo>
                <a:lnTo>
                  <a:pt x="875" y="308"/>
                </a:lnTo>
                <a:lnTo>
                  <a:pt x="875" y="321"/>
                </a:lnTo>
                <a:lnTo>
                  <a:pt x="876" y="333"/>
                </a:lnTo>
                <a:lnTo>
                  <a:pt x="877" y="347"/>
                </a:lnTo>
                <a:lnTo>
                  <a:pt x="883" y="375"/>
                </a:lnTo>
                <a:lnTo>
                  <a:pt x="889" y="401"/>
                </a:lnTo>
                <a:lnTo>
                  <a:pt x="893" y="425"/>
                </a:lnTo>
                <a:lnTo>
                  <a:pt x="894" y="437"/>
                </a:lnTo>
                <a:lnTo>
                  <a:pt x="893" y="447"/>
                </a:lnTo>
                <a:lnTo>
                  <a:pt x="892" y="456"/>
                </a:lnTo>
                <a:lnTo>
                  <a:pt x="888" y="465"/>
                </a:lnTo>
                <a:lnTo>
                  <a:pt x="882" y="470"/>
                </a:lnTo>
                <a:lnTo>
                  <a:pt x="874" y="476"/>
                </a:lnTo>
                <a:lnTo>
                  <a:pt x="874" y="476"/>
                </a:lnTo>
                <a:lnTo>
                  <a:pt x="860" y="512"/>
                </a:lnTo>
                <a:lnTo>
                  <a:pt x="848" y="545"/>
                </a:lnTo>
                <a:lnTo>
                  <a:pt x="843" y="561"/>
                </a:lnTo>
                <a:lnTo>
                  <a:pt x="839" y="576"/>
                </a:lnTo>
                <a:lnTo>
                  <a:pt x="837" y="590"/>
                </a:lnTo>
                <a:lnTo>
                  <a:pt x="837" y="604"/>
                </a:lnTo>
                <a:lnTo>
                  <a:pt x="837" y="604"/>
                </a:lnTo>
                <a:lnTo>
                  <a:pt x="836" y="627"/>
                </a:lnTo>
                <a:lnTo>
                  <a:pt x="836" y="646"/>
                </a:lnTo>
                <a:lnTo>
                  <a:pt x="837" y="654"/>
                </a:lnTo>
                <a:lnTo>
                  <a:pt x="838" y="661"/>
                </a:lnTo>
                <a:lnTo>
                  <a:pt x="840" y="668"/>
                </a:lnTo>
                <a:lnTo>
                  <a:pt x="844" y="673"/>
                </a:lnTo>
                <a:lnTo>
                  <a:pt x="850" y="676"/>
                </a:lnTo>
                <a:lnTo>
                  <a:pt x="857" y="679"/>
                </a:lnTo>
                <a:lnTo>
                  <a:pt x="865" y="680"/>
                </a:lnTo>
                <a:lnTo>
                  <a:pt x="875" y="680"/>
                </a:lnTo>
                <a:lnTo>
                  <a:pt x="888" y="679"/>
                </a:lnTo>
                <a:lnTo>
                  <a:pt x="904" y="676"/>
                </a:lnTo>
                <a:lnTo>
                  <a:pt x="922" y="673"/>
                </a:lnTo>
                <a:lnTo>
                  <a:pt x="943" y="667"/>
                </a:lnTo>
                <a:lnTo>
                  <a:pt x="943" y="667"/>
                </a:lnTo>
                <a:lnTo>
                  <a:pt x="952" y="669"/>
                </a:lnTo>
                <a:lnTo>
                  <a:pt x="961" y="673"/>
                </a:lnTo>
                <a:lnTo>
                  <a:pt x="969" y="677"/>
                </a:lnTo>
                <a:lnTo>
                  <a:pt x="977" y="682"/>
                </a:lnTo>
                <a:lnTo>
                  <a:pt x="984" y="688"/>
                </a:lnTo>
                <a:lnTo>
                  <a:pt x="991" y="695"/>
                </a:lnTo>
                <a:lnTo>
                  <a:pt x="997" y="702"/>
                </a:lnTo>
                <a:lnTo>
                  <a:pt x="1003" y="710"/>
                </a:lnTo>
                <a:lnTo>
                  <a:pt x="1007" y="719"/>
                </a:lnTo>
                <a:lnTo>
                  <a:pt x="1012" y="727"/>
                </a:lnTo>
                <a:lnTo>
                  <a:pt x="1020" y="748"/>
                </a:lnTo>
                <a:lnTo>
                  <a:pt x="1027" y="768"/>
                </a:lnTo>
                <a:lnTo>
                  <a:pt x="1031" y="791"/>
                </a:lnTo>
                <a:lnTo>
                  <a:pt x="1031" y="791"/>
                </a:lnTo>
                <a:lnTo>
                  <a:pt x="1033" y="802"/>
                </a:lnTo>
                <a:lnTo>
                  <a:pt x="1033" y="811"/>
                </a:lnTo>
                <a:lnTo>
                  <a:pt x="1031" y="819"/>
                </a:lnTo>
                <a:lnTo>
                  <a:pt x="1029" y="825"/>
                </a:lnTo>
                <a:lnTo>
                  <a:pt x="1027" y="830"/>
                </a:lnTo>
                <a:lnTo>
                  <a:pt x="1023" y="835"/>
                </a:lnTo>
                <a:lnTo>
                  <a:pt x="1014" y="842"/>
                </a:lnTo>
                <a:lnTo>
                  <a:pt x="1005" y="848"/>
                </a:lnTo>
                <a:lnTo>
                  <a:pt x="996" y="855"/>
                </a:lnTo>
                <a:lnTo>
                  <a:pt x="992" y="858"/>
                </a:lnTo>
                <a:lnTo>
                  <a:pt x="988" y="864"/>
                </a:lnTo>
                <a:lnTo>
                  <a:pt x="985" y="870"/>
                </a:lnTo>
                <a:lnTo>
                  <a:pt x="983" y="876"/>
                </a:lnTo>
                <a:lnTo>
                  <a:pt x="983" y="876"/>
                </a:lnTo>
                <a:lnTo>
                  <a:pt x="984" y="885"/>
                </a:lnTo>
                <a:lnTo>
                  <a:pt x="987" y="893"/>
                </a:lnTo>
                <a:lnTo>
                  <a:pt x="990" y="901"/>
                </a:lnTo>
                <a:lnTo>
                  <a:pt x="995" y="908"/>
                </a:lnTo>
                <a:lnTo>
                  <a:pt x="1000" y="914"/>
                </a:lnTo>
                <a:lnTo>
                  <a:pt x="1007" y="921"/>
                </a:lnTo>
                <a:lnTo>
                  <a:pt x="1022" y="932"/>
                </a:lnTo>
                <a:lnTo>
                  <a:pt x="1037" y="941"/>
                </a:lnTo>
                <a:lnTo>
                  <a:pt x="1050" y="949"/>
                </a:lnTo>
                <a:lnTo>
                  <a:pt x="1058" y="956"/>
                </a:lnTo>
                <a:lnTo>
                  <a:pt x="1060" y="958"/>
                </a:lnTo>
                <a:lnTo>
                  <a:pt x="1060" y="960"/>
                </a:lnTo>
                <a:lnTo>
                  <a:pt x="1060" y="960"/>
                </a:lnTo>
                <a:lnTo>
                  <a:pt x="1052" y="960"/>
                </a:lnTo>
                <a:lnTo>
                  <a:pt x="1044" y="960"/>
                </a:lnTo>
                <a:lnTo>
                  <a:pt x="1028" y="957"/>
                </a:lnTo>
                <a:lnTo>
                  <a:pt x="1012" y="952"/>
                </a:lnTo>
                <a:lnTo>
                  <a:pt x="998" y="944"/>
                </a:lnTo>
                <a:lnTo>
                  <a:pt x="987" y="936"/>
                </a:lnTo>
                <a:lnTo>
                  <a:pt x="981" y="931"/>
                </a:lnTo>
                <a:lnTo>
                  <a:pt x="977" y="925"/>
                </a:lnTo>
                <a:lnTo>
                  <a:pt x="974" y="919"/>
                </a:lnTo>
                <a:lnTo>
                  <a:pt x="970" y="913"/>
                </a:lnTo>
                <a:lnTo>
                  <a:pt x="969" y="908"/>
                </a:lnTo>
                <a:lnTo>
                  <a:pt x="969" y="902"/>
                </a:lnTo>
                <a:lnTo>
                  <a:pt x="969" y="902"/>
                </a:lnTo>
                <a:lnTo>
                  <a:pt x="969" y="889"/>
                </a:lnTo>
                <a:lnTo>
                  <a:pt x="970" y="878"/>
                </a:lnTo>
                <a:lnTo>
                  <a:pt x="974" y="866"/>
                </a:lnTo>
                <a:lnTo>
                  <a:pt x="977" y="853"/>
                </a:lnTo>
                <a:lnTo>
                  <a:pt x="988" y="826"/>
                </a:lnTo>
                <a:lnTo>
                  <a:pt x="1001" y="791"/>
                </a:lnTo>
                <a:lnTo>
                  <a:pt x="1001" y="791"/>
                </a:lnTo>
                <a:lnTo>
                  <a:pt x="996" y="786"/>
                </a:lnTo>
                <a:lnTo>
                  <a:pt x="990" y="779"/>
                </a:lnTo>
                <a:lnTo>
                  <a:pt x="985" y="772"/>
                </a:lnTo>
                <a:lnTo>
                  <a:pt x="981" y="764"/>
                </a:lnTo>
                <a:lnTo>
                  <a:pt x="974" y="748"/>
                </a:lnTo>
                <a:lnTo>
                  <a:pt x="966" y="733"/>
                </a:lnTo>
                <a:lnTo>
                  <a:pt x="960" y="725"/>
                </a:lnTo>
                <a:lnTo>
                  <a:pt x="955" y="719"/>
                </a:lnTo>
                <a:lnTo>
                  <a:pt x="949" y="713"/>
                </a:lnTo>
                <a:lnTo>
                  <a:pt x="941" y="708"/>
                </a:lnTo>
                <a:lnTo>
                  <a:pt x="932" y="705"/>
                </a:lnTo>
                <a:lnTo>
                  <a:pt x="922" y="703"/>
                </a:lnTo>
                <a:lnTo>
                  <a:pt x="909" y="702"/>
                </a:lnTo>
                <a:lnTo>
                  <a:pt x="896" y="703"/>
                </a:lnTo>
                <a:lnTo>
                  <a:pt x="896" y="703"/>
                </a:lnTo>
                <a:lnTo>
                  <a:pt x="884" y="705"/>
                </a:lnTo>
                <a:lnTo>
                  <a:pt x="874" y="707"/>
                </a:lnTo>
                <a:lnTo>
                  <a:pt x="865" y="712"/>
                </a:lnTo>
                <a:lnTo>
                  <a:pt x="857" y="717"/>
                </a:lnTo>
                <a:lnTo>
                  <a:pt x="850" y="722"/>
                </a:lnTo>
                <a:lnTo>
                  <a:pt x="844" y="729"/>
                </a:lnTo>
                <a:lnTo>
                  <a:pt x="839" y="737"/>
                </a:lnTo>
                <a:lnTo>
                  <a:pt x="836" y="746"/>
                </a:lnTo>
                <a:lnTo>
                  <a:pt x="833" y="758"/>
                </a:lnTo>
                <a:lnTo>
                  <a:pt x="832" y="771"/>
                </a:lnTo>
                <a:lnTo>
                  <a:pt x="831" y="786"/>
                </a:lnTo>
                <a:lnTo>
                  <a:pt x="831" y="802"/>
                </a:lnTo>
                <a:lnTo>
                  <a:pt x="835" y="840"/>
                </a:lnTo>
                <a:lnTo>
                  <a:pt x="840" y="887"/>
                </a:lnTo>
                <a:lnTo>
                  <a:pt x="840" y="887"/>
                </a:lnTo>
                <a:lnTo>
                  <a:pt x="816" y="900"/>
                </a:lnTo>
                <a:lnTo>
                  <a:pt x="800" y="909"/>
                </a:lnTo>
                <a:lnTo>
                  <a:pt x="790" y="917"/>
                </a:lnTo>
                <a:lnTo>
                  <a:pt x="783" y="924"/>
                </a:lnTo>
                <a:lnTo>
                  <a:pt x="778" y="931"/>
                </a:lnTo>
                <a:lnTo>
                  <a:pt x="776" y="939"/>
                </a:lnTo>
                <a:lnTo>
                  <a:pt x="773" y="948"/>
                </a:lnTo>
                <a:lnTo>
                  <a:pt x="767" y="960"/>
                </a:lnTo>
                <a:lnTo>
                  <a:pt x="767" y="960"/>
                </a:lnTo>
                <a:lnTo>
                  <a:pt x="756" y="977"/>
                </a:lnTo>
                <a:lnTo>
                  <a:pt x="746" y="989"/>
                </a:lnTo>
                <a:lnTo>
                  <a:pt x="736" y="998"/>
                </a:lnTo>
                <a:lnTo>
                  <a:pt x="725" y="1005"/>
                </a:lnTo>
                <a:lnTo>
                  <a:pt x="715" y="1010"/>
                </a:lnTo>
                <a:lnTo>
                  <a:pt x="706" y="1013"/>
                </a:lnTo>
                <a:lnTo>
                  <a:pt x="695" y="1016"/>
                </a:lnTo>
                <a:lnTo>
                  <a:pt x="686" y="1018"/>
                </a:lnTo>
                <a:lnTo>
                  <a:pt x="669" y="1021"/>
                </a:lnTo>
                <a:lnTo>
                  <a:pt x="661" y="1024"/>
                </a:lnTo>
                <a:lnTo>
                  <a:pt x="654" y="1028"/>
                </a:lnTo>
                <a:lnTo>
                  <a:pt x="647" y="1034"/>
                </a:lnTo>
                <a:lnTo>
                  <a:pt x="640" y="1042"/>
                </a:lnTo>
                <a:lnTo>
                  <a:pt x="636" y="1054"/>
                </a:lnTo>
                <a:lnTo>
                  <a:pt x="631" y="1068"/>
                </a:lnTo>
                <a:lnTo>
                  <a:pt x="631" y="1068"/>
                </a:lnTo>
                <a:lnTo>
                  <a:pt x="621" y="1057"/>
                </a:lnTo>
                <a:lnTo>
                  <a:pt x="609" y="1049"/>
                </a:lnTo>
                <a:lnTo>
                  <a:pt x="599" y="1042"/>
                </a:lnTo>
                <a:lnTo>
                  <a:pt x="587" y="1038"/>
                </a:lnTo>
                <a:lnTo>
                  <a:pt x="576" y="1033"/>
                </a:lnTo>
                <a:lnTo>
                  <a:pt x="565" y="1030"/>
                </a:lnTo>
                <a:lnTo>
                  <a:pt x="544" y="1024"/>
                </a:lnTo>
                <a:lnTo>
                  <a:pt x="526" y="1019"/>
                </a:lnTo>
                <a:lnTo>
                  <a:pt x="518" y="1016"/>
                </a:lnTo>
                <a:lnTo>
                  <a:pt x="511" y="1012"/>
                </a:lnTo>
                <a:lnTo>
                  <a:pt x="506" y="1008"/>
                </a:lnTo>
                <a:lnTo>
                  <a:pt x="502" y="1002"/>
                </a:lnTo>
                <a:lnTo>
                  <a:pt x="500" y="995"/>
                </a:lnTo>
                <a:lnTo>
                  <a:pt x="499" y="986"/>
                </a:lnTo>
                <a:lnTo>
                  <a:pt x="499" y="986"/>
                </a:lnTo>
                <a:lnTo>
                  <a:pt x="497" y="981"/>
                </a:lnTo>
                <a:lnTo>
                  <a:pt x="495" y="977"/>
                </a:lnTo>
                <a:lnTo>
                  <a:pt x="489" y="966"/>
                </a:lnTo>
                <a:lnTo>
                  <a:pt x="481" y="957"/>
                </a:lnTo>
                <a:lnTo>
                  <a:pt x="476" y="949"/>
                </a:lnTo>
                <a:lnTo>
                  <a:pt x="473" y="946"/>
                </a:lnTo>
                <a:lnTo>
                  <a:pt x="472" y="942"/>
                </a:lnTo>
                <a:lnTo>
                  <a:pt x="473" y="940"/>
                </a:lnTo>
                <a:lnTo>
                  <a:pt x="476" y="937"/>
                </a:lnTo>
                <a:lnTo>
                  <a:pt x="480" y="936"/>
                </a:lnTo>
                <a:lnTo>
                  <a:pt x="487" y="935"/>
                </a:lnTo>
                <a:lnTo>
                  <a:pt x="496" y="934"/>
                </a:lnTo>
                <a:lnTo>
                  <a:pt x="510" y="935"/>
                </a:lnTo>
                <a:lnTo>
                  <a:pt x="510" y="935"/>
                </a:lnTo>
                <a:lnTo>
                  <a:pt x="517" y="936"/>
                </a:lnTo>
                <a:lnTo>
                  <a:pt x="523" y="940"/>
                </a:lnTo>
                <a:lnTo>
                  <a:pt x="529" y="944"/>
                </a:lnTo>
                <a:lnTo>
                  <a:pt x="532" y="949"/>
                </a:lnTo>
                <a:lnTo>
                  <a:pt x="535" y="956"/>
                </a:lnTo>
                <a:lnTo>
                  <a:pt x="538" y="963"/>
                </a:lnTo>
                <a:lnTo>
                  <a:pt x="544" y="978"/>
                </a:lnTo>
                <a:lnTo>
                  <a:pt x="550" y="993"/>
                </a:lnTo>
                <a:lnTo>
                  <a:pt x="554" y="1000"/>
                </a:lnTo>
                <a:lnTo>
                  <a:pt x="560" y="1007"/>
                </a:lnTo>
                <a:lnTo>
                  <a:pt x="565" y="1011"/>
                </a:lnTo>
                <a:lnTo>
                  <a:pt x="573" y="1016"/>
                </a:lnTo>
                <a:lnTo>
                  <a:pt x="583" y="1018"/>
                </a:lnTo>
                <a:lnTo>
                  <a:pt x="594" y="1019"/>
                </a:lnTo>
                <a:lnTo>
                  <a:pt x="594" y="1019"/>
                </a:lnTo>
                <a:lnTo>
                  <a:pt x="603" y="1017"/>
                </a:lnTo>
                <a:lnTo>
                  <a:pt x="613" y="1012"/>
                </a:lnTo>
                <a:lnTo>
                  <a:pt x="621" y="1007"/>
                </a:lnTo>
                <a:lnTo>
                  <a:pt x="629" y="997"/>
                </a:lnTo>
                <a:lnTo>
                  <a:pt x="637" y="988"/>
                </a:lnTo>
                <a:lnTo>
                  <a:pt x="646" y="977"/>
                </a:lnTo>
                <a:lnTo>
                  <a:pt x="662" y="950"/>
                </a:lnTo>
                <a:lnTo>
                  <a:pt x="680" y="921"/>
                </a:lnTo>
                <a:lnTo>
                  <a:pt x="690" y="908"/>
                </a:lnTo>
                <a:lnTo>
                  <a:pt x="700" y="893"/>
                </a:lnTo>
                <a:lnTo>
                  <a:pt x="712" y="879"/>
                </a:lnTo>
                <a:lnTo>
                  <a:pt x="724" y="866"/>
                </a:lnTo>
                <a:lnTo>
                  <a:pt x="737" y="853"/>
                </a:lnTo>
                <a:lnTo>
                  <a:pt x="752" y="842"/>
                </a:lnTo>
                <a:lnTo>
                  <a:pt x="752" y="842"/>
                </a:lnTo>
                <a:lnTo>
                  <a:pt x="756" y="824"/>
                </a:lnTo>
                <a:lnTo>
                  <a:pt x="761" y="810"/>
                </a:lnTo>
                <a:lnTo>
                  <a:pt x="768" y="799"/>
                </a:lnTo>
                <a:lnTo>
                  <a:pt x="774" y="792"/>
                </a:lnTo>
                <a:lnTo>
                  <a:pt x="781" y="788"/>
                </a:lnTo>
                <a:lnTo>
                  <a:pt x="787" y="786"/>
                </a:lnTo>
                <a:lnTo>
                  <a:pt x="799" y="781"/>
                </a:lnTo>
                <a:lnTo>
                  <a:pt x="802" y="779"/>
                </a:lnTo>
                <a:lnTo>
                  <a:pt x="805" y="775"/>
                </a:lnTo>
                <a:lnTo>
                  <a:pt x="806" y="769"/>
                </a:lnTo>
                <a:lnTo>
                  <a:pt x="805" y="760"/>
                </a:lnTo>
                <a:lnTo>
                  <a:pt x="800" y="748"/>
                </a:lnTo>
                <a:lnTo>
                  <a:pt x="793" y="732"/>
                </a:lnTo>
                <a:lnTo>
                  <a:pt x="770" y="682"/>
                </a:lnTo>
                <a:lnTo>
                  <a:pt x="770" y="682"/>
                </a:lnTo>
                <a:lnTo>
                  <a:pt x="768" y="675"/>
                </a:lnTo>
                <a:lnTo>
                  <a:pt x="766" y="667"/>
                </a:lnTo>
                <a:lnTo>
                  <a:pt x="762" y="652"/>
                </a:lnTo>
                <a:lnTo>
                  <a:pt x="761" y="635"/>
                </a:lnTo>
                <a:lnTo>
                  <a:pt x="762" y="618"/>
                </a:lnTo>
                <a:lnTo>
                  <a:pt x="764" y="598"/>
                </a:lnTo>
                <a:lnTo>
                  <a:pt x="769" y="578"/>
                </a:lnTo>
                <a:lnTo>
                  <a:pt x="775" y="559"/>
                </a:lnTo>
                <a:lnTo>
                  <a:pt x="781" y="538"/>
                </a:lnTo>
                <a:lnTo>
                  <a:pt x="789" y="519"/>
                </a:lnTo>
                <a:lnTo>
                  <a:pt x="797" y="499"/>
                </a:lnTo>
                <a:lnTo>
                  <a:pt x="813" y="461"/>
                </a:lnTo>
                <a:lnTo>
                  <a:pt x="830" y="427"/>
                </a:lnTo>
                <a:lnTo>
                  <a:pt x="844" y="398"/>
                </a:lnTo>
                <a:lnTo>
                  <a:pt x="844" y="398"/>
                </a:lnTo>
                <a:lnTo>
                  <a:pt x="850" y="386"/>
                </a:lnTo>
                <a:lnTo>
                  <a:pt x="852" y="376"/>
                </a:lnTo>
                <a:lnTo>
                  <a:pt x="853" y="367"/>
                </a:lnTo>
                <a:lnTo>
                  <a:pt x="853" y="359"/>
                </a:lnTo>
                <a:lnTo>
                  <a:pt x="851" y="352"/>
                </a:lnTo>
                <a:lnTo>
                  <a:pt x="848" y="346"/>
                </a:lnTo>
                <a:lnTo>
                  <a:pt x="840" y="335"/>
                </a:lnTo>
                <a:lnTo>
                  <a:pt x="833" y="322"/>
                </a:lnTo>
                <a:lnTo>
                  <a:pt x="830" y="315"/>
                </a:lnTo>
                <a:lnTo>
                  <a:pt x="827" y="307"/>
                </a:lnTo>
                <a:lnTo>
                  <a:pt x="825" y="297"/>
                </a:lnTo>
                <a:lnTo>
                  <a:pt x="825" y="286"/>
                </a:lnTo>
                <a:lnTo>
                  <a:pt x="827" y="274"/>
                </a:lnTo>
                <a:lnTo>
                  <a:pt x="830" y="259"/>
                </a:lnTo>
                <a:lnTo>
                  <a:pt x="830" y="259"/>
                </a:lnTo>
                <a:lnTo>
                  <a:pt x="833" y="246"/>
                </a:lnTo>
                <a:lnTo>
                  <a:pt x="838" y="237"/>
                </a:lnTo>
                <a:lnTo>
                  <a:pt x="843" y="229"/>
                </a:lnTo>
                <a:lnTo>
                  <a:pt x="847" y="223"/>
                </a:lnTo>
                <a:lnTo>
                  <a:pt x="853" y="218"/>
                </a:lnTo>
                <a:lnTo>
                  <a:pt x="858" y="215"/>
                </a:lnTo>
                <a:lnTo>
                  <a:pt x="868" y="209"/>
                </a:lnTo>
                <a:lnTo>
                  <a:pt x="874" y="206"/>
                </a:lnTo>
                <a:lnTo>
                  <a:pt x="878" y="201"/>
                </a:lnTo>
                <a:lnTo>
                  <a:pt x="884" y="195"/>
                </a:lnTo>
                <a:lnTo>
                  <a:pt x="890" y="188"/>
                </a:lnTo>
                <a:lnTo>
                  <a:pt x="894" y="179"/>
                </a:lnTo>
                <a:lnTo>
                  <a:pt x="900" y="167"/>
                </a:lnTo>
                <a:lnTo>
                  <a:pt x="905" y="153"/>
                </a:lnTo>
                <a:lnTo>
                  <a:pt x="909" y="134"/>
                </a:lnTo>
                <a:lnTo>
                  <a:pt x="909" y="134"/>
                </a:lnTo>
                <a:lnTo>
                  <a:pt x="913" y="115"/>
                </a:lnTo>
                <a:lnTo>
                  <a:pt x="913" y="107"/>
                </a:lnTo>
                <a:lnTo>
                  <a:pt x="913" y="100"/>
                </a:lnTo>
                <a:lnTo>
                  <a:pt x="912" y="93"/>
                </a:lnTo>
                <a:lnTo>
                  <a:pt x="911" y="86"/>
                </a:lnTo>
                <a:lnTo>
                  <a:pt x="907" y="80"/>
                </a:lnTo>
                <a:lnTo>
                  <a:pt x="904" y="76"/>
                </a:lnTo>
                <a:lnTo>
                  <a:pt x="900" y="70"/>
                </a:lnTo>
                <a:lnTo>
                  <a:pt x="894" y="65"/>
                </a:lnTo>
                <a:lnTo>
                  <a:pt x="881" y="56"/>
                </a:lnTo>
                <a:lnTo>
                  <a:pt x="862" y="48"/>
                </a:lnTo>
                <a:lnTo>
                  <a:pt x="840" y="39"/>
                </a:lnTo>
                <a:lnTo>
                  <a:pt x="840" y="39"/>
                </a:lnTo>
                <a:lnTo>
                  <a:pt x="829" y="33"/>
                </a:lnTo>
                <a:lnTo>
                  <a:pt x="820" y="27"/>
                </a:lnTo>
                <a:lnTo>
                  <a:pt x="804" y="16"/>
                </a:lnTo>
                <a:lnTo>
                  <a:pt x="791" y="7"/>
                </a:lnTo>
                <a:lnTo>
                  <a:pt x="785" y="3"/>
                </a:lnTo>
                <a:lnTo>
                  <a:pt x="781" y="1"/>
                </a:lnTo>
                <a:lnTo>
                  <a:pt x="776" y="0"/>
                </a:lnTo>
                <a:lnTo>
                  <a:pt x="771" y="0"/>
                </a:lnTo>
                <a:lnTo>
                  <a:pt x="767" y="1"/>
                </a:lnTo>
                <a:lnTo>
                  <a:pt x="761" y="4"/>
                </a:lnTo>
                <a:lnTo>
                  <a:pt x="756" y="10"/>
                </a:lnTo>
                <a:lnTo>
                  <a:pt x="751" y="17"/>
                </a:lnTo>
                <a:lnTo>
                  <a:pt x="737" y="39"/>
                </a:lnTo>
                <a:lnTo>
                  <a:pt x="737" y="39"/>
                </a:lnTo>
                <a:lnTo>
                  <a:pt x="735" y="43"/>
                </a:lnTo>
                <a:lnTo>
                  <a:pt x="731" y="53"/>
                </a:lnTo>
                <a:lnTo>
                  <a:pt x="722" y="76"/>
                </a:lnTo>
                <a:lnTo>
                  <a:pt x="709" y="106"/>
                </a:lnTo>
                <a:lnTo>
                  <a:pt x="701" y="120"/>
                </a:lnTo>
                <a:lnTo>
                  <a:pt x="692" y="137"/>
                </a:lnTo>
                <a:lnTo>
                  <a:pt x="682" y="153"/>
                </a:lnTo>
                <a:lnTo>
                  <a:pt x="670" y="168"/>
                </a:lnTo>
                <a:lnTo>
                  <a:pt x="657" y="183"/>
                </a:lnTo>
                <a:lnTo>
                  <a:pt x="642" y="195"/>
                </a:lnTo>
                <a:lnTo>
                  <a:pt x="634" y="201"/>
                </a:lnTo>
                <a:lnTo>
                  <a:pt x="626" y="206"/>
                </a:lnTo>
                <a:lnTo>
                  <a:pt x="617" y="210"/>
                </a:lnTo>
                <a:lnTo>
                  <a:pt x="608" y="214"/>
                </a:lnTo>
                <a:lnTo>
                  <a:pt x="598" y="217"/>
                </a:lnTo>
                <a:lnTo>
                  <a:pt x="587" y="219"/>
                </a:lnTo>
                <a:lnTo>
                  <a:pt x="577" y="222"/>
                </a:lnTo>
                <a:lnTo>
                  <a:pt x="565" y="223"/>
                </a:lnTo>
                <a:lnTo>
                  <a:pt x="565" y="223"/>
                </a:lnTo>
                <a:lnTo>
                  <a:pt x="553" y="234"/>
                </a:lnTo>
                <a:lnTo>
                  <a:pt x="546" y="246"/>
                </a:lnTo>
                <a:lnTo>
                  <a:pt x="541" y="256"/>
                </a:lnTo>
                <a:lnTo>
                  <a:pt x="540" y="265"/>
                </a:lnTo>
                <a:lnTo>
                  <a:pt x="540" y="274"/>
                </a:lnTo>
                <a:lnTo>
                  <a:pt x="544" y="282"/>
                </a:lnTo>
                <a:lnTo>
                  <a:pt x="547" y="288"/>
                </a:lnTo>
                <a:lnTo>
                  <a:pt x="552" y="295"/>
                </a:lnTo>
                <a:lnTo>
                  <a:pt x="560" y="309"/>
                </a:lnTo>
                <a:lnTo>
                  <a:pt x="562" y="315"/>
                </a:lnTo>
                <a:lnTo>
                  <a:pt x="564" y="322"/>
                </a:lnTo>
                <a:lnTo>
                  <a:pt x="563" y="328"/>
                </a:lnTo>
                <a:lnTo>
                  <a:pt x="560" y="336"/>
                </a:lnTo>
                <a:lnTo>
                  <a:pt x="553" y="343"/>
                </a:lnTo>
                <a:lnTo>
                  <a:pt x="542" y="351"/>
                </a:lnTo>
                <a:lnTo>
                  <a:pt x="542" y="351"/>
                </a:lnTo>
                <a:lnTo>
                  <a:pt x="540" y="364"/>
                </a:lnTo>
                <a:lnTo>
                  <a:pt x="534" y="378"/>
                </a:lnTo>
                <a:lnTo>
                  <a:pt x="529" y="391"/>
                </a:lnTo>
                <a:lnTo>
                  <a:pt x="522" y="401"/>
                </a:lnTo>
                <a:lnTo>
                  <a:pt x="514" y="412"/>
                </a:lnTo>
                <a:lnTo>
                  <a:pt x="506" y="421"/>
                </a:lnTo>
                <a:lnTo>
                  <a:pt x="492" y="438"/>
                </a:lnTo>
                <a:lnTo>
                  <a:pt x="486" y="445"/>
                </a:lnTo>
                <a:lnTo>
                  <a:pt x="481" y="453"/>
                </a:lnTo>
                <a:lnTo>
                  <a:pt x="478" y="460"/>
                </a:lnTo>
                <a:lnTo>
                  <a:pt x="478" y="467"/>
                </a:lnTo>
                <a:lnTo>
                  <a:pt x="480" y="475"/>
                </a:lnTo>
                <a:lnTo>
                  <a:pt x="485" y="482"/>
                </a:lnTo>
                <a:lnTo>
                  <a:pt x="494" y="490"/>
                </a:lnTo>
                <a:lnTo>
                  <a:pt x="506" y="498"/>
                </a:lnTo>
                <a:lnTo>
                  <a:pt x="506" y="498"/>
                </a:lnTo>
                <a:lnTo>
                  <a:pt x="515" y="503"/>
                </a:lnTo>
                <a:lnTo>
                  <a:pt x="521" y="508"/>
                </a:lnTo>
                <a:lnTo>
                  <a:pt x="526" y="514"/>
                </a:lnTo>
                <a:lnTo>
                  <a:pt x="530" y="520"/>
                </a:lnTo>
                <a:lnTo>
                  <a:pt x="533" y="527"/>
                </a:lnTo>
                <a:lnTo>
                  <a:pt x="535" y="534"/>
                </a:lnTo>
                <a:lnTo>
                  <a:pt x="538" y="547"/>
                </a:lnTo>
                <a:lnTo>
                  <a:pt x="540" y="561"/>
                </a:lnTo>
                <a:lnTo>
                  <a:pt x="542" y="575"/>
                </a:lnTo>
                <a:lnTo>
                  <a:pt x="544" y="582"/>
                </a:lnTo>
                <a:lnTo>
                  <a:pt x="546" y="589"/>
                </a:lnTo>
                <a:lnTo>
                  <a:pt x="549" y="595"/>
                </a:lnTo>
                <a:lnTo>
                  <a:pt x="554" y="600"/>
                </a:lnTo>
                <a:lnTo>
                  <a:pt x="554" y="600"/>
                </a:lnTo>
                <a:lnTo>
                  <a:pt x="555" y="612"/>
                </a:lnTo>
                <a:lnTo>
                  <a:pt x="556" y="623"/>
                </a:lnTo>
                <a:lnTo>
                  <a:pt x="555" y="637"/>
                </a:lnTo>
                <a:lnTo>
                  <a:pt x="555" y="644"/>
                </a:lnTo>
                <a:lnTo>
                  <a:pt x="553" y="651"/>
                </a:lnTo>
                <a:lnTo>
                  <a:pt x="550" y="658"/>
                </a:lnTo>
                <a:lnTo>
                  <a:pt x="547" y="664"/>
                </a:lnTo>
                <a:lnTo>
                  <a:pt x="544" y="669"/>
                </a:lnTo>
                <a:lnTo>
                  <a:pt x="538" y="673"/>
                </a:lnTo>
                <a:lnTo>
                  <a:pt x="532" y="676"/>
                </a:lnTo>
                <a:lnTo>
                  <a:pt x="524" y="677"/>
                </a:lnTo>
                <a:lnTo>
                  <a:pt x="524" y="677"/>
                </a:lnTo>
                <a:lnTo>
                  <a:pt x="519" y="677"/>
                </a:lnTo>
                <a:lnTo>
                  <a:pt x="515" y="677"/>
                </a:lnTo>
                <a:lnTo>
                  <a:pt x="510" y="676"/>
                </a:lnTo>
                <a:lnTo>
                  <a:pt x="506" y="674"/>
                </a:lnTo>
                <a:lnTo>
                  <a:pt x="496" y="668"/>
                </a:lnTo>
                <a:lnTo>
                  <a:pt x="488" y="660"/>
                </a:lnTo>
                <a:lnTo>
                  <a:pt x="479" y="650"/>
                </a:lnTo>
                <a:lnTo>
                  <a:pt x="471" y="638"/>
                </a:lnTo>
                <a:lnTo>
                  <a:pt x="463" y="624"/>
                </a:lnTo>
                <a:lnTo>
                  <a:pt x="455" y="610"/>
                </a:lnTo>
                <a:lnTo>
                  <a:pt x="438" y="576"/>
                </a:lnTo>
                <a:lnTo>
                  <a:pt x="422" y="540"/>
                </a:lnTo>
                <a:lnTo>
                  <a:pt x="403" y="505"/>
                </a:lnTo>
                <a:lnTo>
                  <a:pt x="385" y="471"/>
                </a:lnTo>
                <a:lnTo>
                  <a:pt x="385" y="471"/>
                </a:lnTo>
                <a:lnTo>
                  <a:pt x="380" y="480"/>
                </a:lnTo>
                <a:lnTo>
                  <a:pt x="374" y="486"/>
                </a:lnTo>
                <a:lnTo>
                  <a:pt x="361" y="500"/>
                </a:lnTo>
                <a:lnTo>
                  <a:pt x="355" y="507"/>
                </a:lnTo>
                <a:lnTo>
                  <a:pt x="349" y="514"/>
                </a:lnTo>
                <a:lnTo>
                  <a:pt x="346" y="521"/>
                </a:lnTo>
                <a:lnTo>
                  <a:pt x="344" y="530"/>
                </a:lnTo>
                <a:lnTo>
                  <a:pt x="344" y="530"/>
                </a:lnTo>
                <a:lnTo>
                  <a:pt x="346" y="539"/>
                </a:lnTo>
                <a:lnTo>
                  <a:pt x="349" y="549"/>
                </a:lnTo>
                <a:lnTo>
                  <a:pt x="354" y="557"/>
                </a:lnTo>
                <a:lnTo>
                  <a:pt x="359" y="565"/>
                </a:lnTo>
                <a:lnTo>
                  <a:pt x="364" y="573"/>
                </a:lnTo>
                <a:lnTo>
                  <a:pt x="370" y="582"/>
                </a:lnTo>
                <a:lnTo>
                  <a:pt x="372" y="592"/>
                </a:lnTo>
                <a:lnTo>
                  <a:pt x="374" y="604"/>
                </a:lnTo>
                <a:lnTo>
                  <a:pt x="374" y="604"/>
                </a:lnTo>
                <a:lnTo>
                  <a:pt x="373" y="612"/>
                </a:lnTo>
                <a:lnTo>
                  <a:pt x="372" y="619"/>
                </a:lnTo>
                <a:lnTo>
                  <a:pt x="370" y="624"/>
                </a:lnTo>
                <a:lnTo>
                  <a:pt x="367" y="630"/>
                </a:lnTo>
                <a:lnTo>
                  <a:pt x="361" y="639"/>
                </a:lnTo>
                <a:lnTo>
                  <a:pt x="354" y="648"/>
                </a:lnTo>
                <a:lnTo>
                  <a:pt x="346" y="654"/>
                </a:lnTo>
                <a:lnTo>
                  <a:pt x="340" y="662"/>
                </a:lnTo>
                <a:lnTo>
                  <a:pt x="336" y="667"/>
                </a:lnTo>
                <a:lnTo>
                  <a:pt x="335" y="673"/>
                </a:lnTo>
                <a:lnTo>
                  <a:pt x="334" y="679"/>
                </a:lnTo>
                <a:lnTo>
                  <a:pt x="333" y="685"/>
                </a:lnTo>
                <a:lnTo>
                  <a:pt x="333" y="685"/>
                </a:lnTo>
                <a:lnTo>
                  <a:pt x="334" y="690"/>
                </a:lnTo>
                <a:lnTo>
                  <a:pt x="338" y="696"/>
                </a:lnTo>
                <a:lnTo>
                  <a:pt x="346" y="706"/>
                </a:lnTo>
                <a:lnTo>
                  <a:pt x="351" y="712"/>
                </a:lnTo>
                <a:lnTo>
                  <a:pt x="355" y="718"/>
                </a:lnTo>
                <a:lnTo>
                  <a:pt x="358" y="725"/>
                </a:lnTo>
                <a:lnTo>
                  <a:pt x="359" y="733"/>
                </a:lnTo>
                <a:lnTo>
                  <a:pt x="359" y="733"/>
                </a:lnTo>
                <a:lnTo>
                  <a:pt x="358" y="744"/>
                </a:lnTo>
                <a:lnTo>
                  <a:pt x="355" y="756"/>
                </a:lnTo>
                <a:lnTo>
                  <a:pt x="349" y="767"/>
                </a:lnTo>
                <a:lnTo>
                  <a:pt x="342" y="776"/>
                </a:lnTo>
                <a:lnTo>
                  <a:pt x="333" y="786"/>
                </a:lnTo>
                <a:lnTo>
                  <a:pt x="323" y="795"/>
                </a:lnTo>
                <a:lnTo>
                  <a:pt x="312" y="803"/>
                </a:lnTo>
                <a:lnTo>
                  <a:pt x="301" y="811"/>
                </a:lnTo>
                <a:lnTo>
                  <a:pt x="275" y="824"/>
                </a:lnTo>
                <a:lnTo>
                  <a:pt x="251" y="835"/>
                </a:lnTo>
                <a:lnTo>
                  <a:pt x="228" y="843"/>
                </a:lnTo>
                <a:lnTo>
                  <a:pt x="209" y="850"/>
                </a:lnTo>
                <a:lnTo>
                  <a:pt x="209" y="850"/>
                </a:lnTo>
                <a:lnTo>
                  <a:pt x="182" y="860"/>
                </a:lnTo>
                <a:lnTo>
                  <a:pt x="158" y="872"/>
                </a:lnTo>
                <a:lnTo>
                  <a:pt x="136" y="883"/>
                </a:lnTo>
                <a:lnTo>
                  <a:pt x="115" y="896"/>
                </a:lnTo>
                <a:lnTo>
                  <a:pt x="74" y="920"/>
                </a:lnTo>
                <a:lnTo>
                  <a:pt x="53" y="932"/>
                </a:lnTo>
                <a:lnTo>
                  <a:pt x="29" y="942"/>
                </a:lnTo>
                <a:lnTo>
                  <a:pt x="29" y="942"/>
                </a:lnTo>
                <a:lnTo>
                  <a:pt x="31" y="949"/>
                </a:lnTo>
                <a:lnTo>
                  <a:pt x="34" y="954"/>
                </a:lnTo>
                <a:lnTo>
                  <a:pt x="36" y="958"/>
                </a:lnTo>
                <a:lnTo>
                  <a:pt x="36" y="964"/>
                </a:lnTo>
                <a:lnTo>
                  <a:pt x="36" y="964"/>
                </a:lnTo>
                <a:lnTo>
                  <a:pt x="36" y="1019"/>
                </a:lnTo>
                <a:lnTo>
                  <a:pt x="36" y="1019"/>
                </a:lnTo>
                <a:lnTo>
                  <a:pt x="36" y="1026"/>
                </a:lnTo>
                <a:lnTo>
                  <a:pt x="35" y="1033"/>
                </a:lnTo>
                <a:lnTo>
                  <a:pt x="30" y="1046"/>
                </a:lnTo>
                <a:lnTo>
                  <a:pt x="25" y="1056"/>
                </a:lnTo>
                <a:lnTo>
                  <a:pt x="18" y="1066"/>
                </a:lnTo>
                <a:lnTo>
                  <a:pt x="12" y="1077"/>
                </a:lnTo>
                <a:lnTo>
                  <a:pt x="6" y="1087"/>
                </a:lnTo>
                <a:lnTo>
                  <a:pt x="2" y="1099"/>
                </a:lnTo>
                <a:lnTo>
                  <a:pt x="0" y="1104"/>
                </a:lnTo>
                <a:lnTo>
                  <a:pt x="0" y="1111"/>
                </a:lnTo>
                <a:lnTo>
                  <a:pt x="0" y="1111"/>
                </a:lnTo>
                <a:lnTo>
                  <a:pt x="0" y="1120"/>
                </a:lnTo>
                <a:lnTo>
                  <a:pt x="3" y="1127"/>
                </a:lnTo>
                <a:lnTo>
                  <a:pt x="6" y="1134"/>
                </a:lnTo>
                <a:lnTo>
                  <a:pt x="12" y="1140"/>
                </a:lnTo>
                <a:lnTo>
                  <a:pt x="17" y="1143"/>
                </a:lnTo>
                <a:lnTo>
                  <a:pt x="23" y="1147"/>
                </a:lnTo>
                <a:lnTo>
                  <a:pt x="29" y="1149"/>
                </a:lnTo>
                <a:lnTo>
                  <a:pt x="36" y="1152"/>
                </a:lnTo>
                <a:lnTo>
                  <a:pt x="36" y="1152"/>
                </a:lnTo>
                <a:lnTo>
                  <a:pt x="37" y="1157"/>
                </a:lnTo>
                <a:lnTo>
                  <a:pt x="37" y="1164"/>
                </a:lnTo>
                <a:lnTo>
                  <a:pt x="40" y="1169"/>
                </a:lnTo>
                <a:lnTo>
                  <a:pt x="42" y="1173"/>
                </a:lnTo>
                <a:lnTo>
                  <a:pt x="44" y="1177"/>
                </a:lnTo>
                <a:lnTo>
                  <a:pt x="48" y="1180"/>
                </a:lnTo>
                <a:lnTo>
                  <a:pt x="56" y="1186"/>
                </a:lnTo>
                <a:lnTo>
                  <a:pt x="65" y="1188"/>
                </a:lnTo>
                <a:lnTo>
                  <a:pt x="75" y="1191"/>
                </a:lnTo>
                <a:lnTo>
                  <a:pt x="87" y="1192"/>
                </a:lnTo>
                <a:lnTo>
                  <a:pt x="98" y="1192"/>
                </a:lnTo>
                <a:lnTo>
                  <a:pt x="98" y="1192"/>
                </a:lnTo>
                <a:lnTo>
                  <a:pt x="190" y="1192"/>
                </a:lnTo>
                <a:lnTo>
                  <a:pt x="190" y="1192"/>
                </a:lnTo>
                <a:lnTo>
                  <a:pt x="195" y="1192"/>
                </a:lnTo>
                <a:lnTo>
                  <a:pt x="199" y="1193"/>
                </a:lnTo>
                <a:lnTo>
                  <a:pt x="203" y="1195"/>
                </a:lnTo>
                <a:lnTo>
                  <a:pt x="206" y="1198"/>
                </a:lnTo>
                <a:lnTo>
                  <a:pt x="213" y="1203"/>
                </a:lnTo>
                <a:lnTo>
                  <a:pt x="218" y="1211"/>
                </a:lnTo>
                <a:lnTo>
                  <a:pt x="221" y="1221"/>
                </a:lnTo>
                <a:lnTo>
                  <a:pt x="225" y="1231"/>
                </a:lnTo>
                <a:lnTo>
                  <a:pt x="229" y="1254"/>
                </a:lnTo>
                <a:lnTo>
                  <a:pt x="235" y="1277"/>
                </a:lnTo>
                <a:lnTo>
                  <a:pt x="239" y="1287"/>
                </a:lnTo>
                <a:lnTo>
                  <a:pt x="243" y="1297"/>
                </a:lnTo>
                <a:lnTo>
                  <a:pt x="248" y="1305"/>
                </a:lnTo>
                <a:lnTo>
                  <a:pt x="255" y="1311"/>
                </a:lnTo>
                <a:lnTo>
                  <a:pt x="259" y="1314"/>
                </a:lnTo>
                <a:lnTo>
                  <a:pt x="264" y="1315"/>
                </a:lnTo>
                <a:lnTo>
                  <a:pt x="269" y="1316"/>
                </a:lnTo>
                <a:lnTo>
                  <a:pt x="274" y="1316"/>
                </a:lnTo>
                <a:lnTo>
                  <a:pt x="274" y="1316"/>
                </a:lnTo>
                <a:lnTo>
                  <a:pt x="281" y="1316"/>
                </a:lnTo>
                <a:lnTo>
                  <a:pt x="288" y="1314"/>
                </a:lnTo>
                <a:lnTo>
                  <a:pt x="300" y="1309"/>
                </a:lnTo>
                <a:lnTo>
                  <a:pt x="312" y="1302"/>
                </a:lnTo>
                <a:lnTo>
                  <a:pt x="319" y="1300"/>
                </a:lnTo>
                <a:lnTo>
                  <a:pt x="326" y="1299"/>
                </a:lnTo>
                <a:lnTo>
                  <a:pt x="326" y="1299"/>
                </a:lnTo>
                <a:lnTo>
                  <a:pt x="329" y="1303"/>
                </a:lnTo>
                <a:lnTo>
                  <a:pt x="333" y="1307"/>
                </a:lnTo>
                <a:lnTo>
                  <a:pt x="338" y="1309"/>
                </a:lnTo>
                <a:lnTo>
                  <a:pt x="344" y="1309"/>
                </a:lnTo>
                <a:lnTo>
                  <a:pt x="344" y="1309"/>
                </a:lnTo>
                <a:lnTo>
                  <a:pt x="349" y="1309"/>
                </a:lnTo>
                <a:lnTo>
                  <a:pt x="354" y="1307"/>
                </a:lnTo>
                <a:lnTo>
                  <a:pt x="362" y="1300"/>
                </a:lnTo>
                <a:lnTo>
                  <a:pt x="370" y="1294"/>
                </a:lnTo>
                <a:lnTo>
                  <a:pt x="373" y="1292"/>
                </a:lnTo>
                <a:lnTo>
                  <a:pt x="378" y="1291"/>
                </a:lnTo>
                <a:lnTo>
                  <a:pt x="378" y="1291"/>
                </a:lnTo>
                <a:lnTo>
                  <a:pt x="385" y="1293"/>
                </a:lnTo>
                <a:lnTo>
                  <a:pt x="396" y="1299"/>
                </a:lnTo>
                <a:lnTo>
                  <a:pt x="410" y="1306"/>
                </a:lnTo>
                <a:lnTo>
                  <a:pt x="425" y="1315"/>
                </a:lnTo>
                <a:lnTo>
                  <a:pt x="439" y="1325"/>
                </a:lnTo>
                <a:lnTo>
                  <a:pt x="450" y="1334"/>
                </a:lnTo>
                <a:lnTo>
                  <a:pt x="460" y="1344"/>
                </a:lnTo>
                <a:lnTo>
                  <a:pt x="461" y="1347"/>
                </a:lnTo>
                <a:lnTo>
                  <a:pt x="462" y="1351"/>
                </a:lnTo>
                <a:lnTo>
                  <a:pt x="462" y="1351"/>
                </a:lnTo>
                <a:lnTo>
                  <a:pt x="462" y="1379"/>
                </a:lnTo>
                <a:lnTo>
                  <a:pt x="462" y="1379"/>
                </a:lnTo>
                <a:lnTo>
                  <a:pt x="463" y="1390"/>
                </a:lnTo>
                <a:lnTo>
                  <a:pt x="466" y="1401"/>
                </a:lnTo>
                <a:lnTo>
                  <a:pt x="471" y="1415"/>
                </a:lnTo>
                <a:lnTo>
                  <a:pt x="477" y="1427"/>
                </a:lnTo>
                <a:lnTo>
                  <a:pt x="477" y="1427"/>
                </a:lnTo>
                <a:lnTo>
                  <a:pt x="480" y="1432"/>
                </a:lnTo>
                <a:lnTo>
                  <a:pt x="484" y="1438"/>
                </a:lnTo>
                <a:lnTo>
                  <a:pt x="487" y="1450"/>
                </a:lnTo>
                <a:lnTo>
                  <a:pt x="489" y="1461"/>
                </a:lnTo>
                <a:lnTo>
                  <a:pt x="492" y="1473"/>
                </a:lnTo>
                <a:lnTo>
                  <a:pt x="494" y="1483"/>
                </a:lnTo>
                <a:lnTo>
                  <a:pt x="496" y="1493"/>
                </a:lnTo>
                <a:lnTo>
                  <a:pt x="502" y="1502"/>
                </a:lnTo>
                <a:lnTo>
                  <a:pt x="506" y="1507"/>
                </a:lnTo>
                <a:lnTo>
                  <a:pt x="510" y="1512"/>
                </a:lnTo>
                <a:lnTo>
                  <a:pt x="510" y="1512"/>
                </a:lnTo>
                <a:lnTo>
                  <a:pt x="579" y="1512"/>
                </a:lnTo>
                <a:lnTo>
                  <a:pt x="579" y="1512"/>
                </a:lnTo>
                <a:lnTo>
                  <a:pt x="579" y="1512"/>
                </a:lnTo>
                <a:lnTo>
                  <a:pt x="595" y="1529"/>
                </a:lnTo>
                <a:lnTo>
                  <a:pt x="609" y="1545"/>
                </a:lnTo>
                <a:lnTo>
                  <a:pt x="624" y="1559"/>
                </a:lnTo>
                <a:lnTo>
                  <a:pt x="632" y="1565"/>
                </a:lnTo>
                <a:lnTo>
                  <a:pt x="642" y="1570"/>
                </a:lnTo>
                <a:lnTo>
                  <a:pt x="642" y="1570"/>
                </a:lnTo>
                <a:lnTo>
                  <a:pt x="649" y="1574"/>
                </a:lnTo>
                <a:lnTo>
                  <a:pt x="659" y="1577"/>
                </a:lnTo>
                <a:lnTo>
                  <a:pt x="677" y="1583"/>
                </a:lnTo>
                <a:lnTo>
                  <a:pt x="698" y="1588"/>
                </a:lnTo>
                <a:lnTo>
                  <a:pt x="718" y="1591"/>
                </a:lnTo>
                <a:lnTo>
                  <a:pt x="758" y="1598"/>
                </a:lnTo>
                <a:lnTo>
                  <a:pt x="775" y="1603"/>
                </a:lnTo>
                <a:lnTo>
                  <a:pt x="789" y="1607"/>
                </a:lnTo>
                <a:lnTo>
                  <a:pt x="789" y="1607"/>
                </a:lnTo>
                <a:lnTo>
                  <a:pt x="800" y="1614"/>
                </a:lnTo>
                <a:lnTo>
                  <a:pt x="809" y="1621"/>
                </a:lnTo>
                <a:lnTo>
                  <a:pt x="817" y="1629"/>
                </a:lnTo>
                <a:lnTo>
                  <a:pt x="825" y="1637"/>
                </a:lnTo>
                <a:lnTo>
                  <a:pt x="838" y="1656"/>
                </a:lnTo>
                <a:lnTo>
                  <a:pt x="851" y="1673"/>
                </a:lnTo>
                <a:lnTo>
                  <a:pt x="857" y="1681"/>
                </a:lnTo>
                <a:lnTo>
                  <a:pt x="863" y="1689"/>
                </a:lnTo>
                <a:lnTo>
                  <a:pt x="871" y="1696"/>
                </a:lnTo>
                <a:lnTo>
                  <a:pt x="880" y="1702"/>
                </a:lnTo>
                <a:lnTo>
                  <a:pt x="890" y="1706"/>
                </a:lnTo>
                <a:lnTo>
                  <a:pt x="900" y="1710"/>
                </a:lnTo>
                <a:lnTo>
                  <a:pt x="914" y="1713"/>
                </a:lnTo>
                <a:lnTo>
                  <a:pt x="928" y="1713"/>
                </a:lnTo>
                <a:lnTo>
                  <a:pt x="928" y="1713"/>
                </a:lnTo>
                <a:lnTo>
                  <a:pt x="947" y="1714"/>
                </a:lnTo>
                <a:lnTo>
                  <a:pt x="965" y="1718"/>
                </a:lnTo>
                <a:lnTo>
                  <a:pt x="983" y="1720"/>
                </a:lnTo>
                <a:lnTo>
                  <a:pt x="1001" y="1721"/>
                </a:lnTo>
                <a:lnTo>
                  <a:pt x="1001" y="1721"/>
                </a:lnTo>
                <a:lnTo>
                  <a:pt x="1010" y="1720"/>
                </a:lnTo>
                <a:lnTo>
                  <a:pt x="1016" y="1719"/>
                </a:lnTo>
                <a:lnTo>
                  <a:pt x="1022" y="1715"/>
                </a:lnTo>
                <a:lnTo>
                  <a:pt x="1028" y="1711"/>
                </a:lnTo>
                <a:lnTo>
                  <a:pt x="1034" y="1706"/>
                </a:lnTo>
                <a:lnTo>
                  <a:pt x="1038" y="1702"/>
                </a:lnTo>
                <a:lnTo>
                  <a:pt x="1048" y="1690"/>
                </a:lnTo>
                <a:lnTo>
                  <a:pt x="1056" y="1679"/>
                </a:lnTo>
                <a:lnTo>
                  <a:pt x="1065" y="1668"/>
                </a:lnTo>
                <a:lnTo>
                  <a:pt x="1071" y="1665"/>
                </a:lnTo>
                <a:lnTo>
                  <a:pt x="1076" y="1661"/>
                </a:lnTo>
                <a:lnTo>
                  <a:pt x="1083" y="1659"/>
                </a:lnTo>
                <a:lnTo>
                  <a:pt x="1090" y="1659"/>
                </a:lnTo>
                <a:lnTo>
                  <a:pt x="1090" y="1659"/>
                </a:lnTo>
                <a:lnTo>
                  <a:pt x="1095" y="1659"/>
                </a:lnTo>
                <a:lnTo>
                  <a:pt x="1099" y="1660"/>
                </a:lnTo>
                <a:lnTo>
                  <a:pt x="1103" y="1662"/>
                </a:lnTo>
                <a:lnTo>
                  <a:pt x="1107" y="1666"/>
                </a:lnTo>
                <a:lnTo>
                  <a:pt x="1114" y="1673"/>
                </a:lnTo>
                <a:lnTo>
                  <a:pt x="1120" y="1682"/>
                </a:lnTo>
                <a:lnTo>
                  <a:pt x="1132" y="1700"/>
                </a:lnTo>
                <a:lnTo>
                  <a:pt x="1136" y="1707"/>
                </a:lnTo>
                <a:lnTo>
                  <a:pt x="1142" y="1713"/>
                </a:lnTo>
                <a:lnTo>
                  <a:pt x="1142" y="1713"/>
                </a:lnTo>
                <a:lnTo>
                  <a:pt x="1145" y="1718"/>
                </a:lnTo>
                <a:lnTo>
                  <a:pt x="1149" y="1721"/>
                </a:lnTo>
                <a:lnTo>
                  <a:pt x="1152" y="1722"/>
                </a:lnTo>
                <a:lnTo>
                  <a:pt x="1156" y="1723"/>
                </a:lnTo>
                <a:lnTo>
                  <a:pt x="1163" y="1725"/>
                </a:lnTo>
                <a:lnTo>
                  <a:pt x="1170" y="1722"/>
                </a:lnTo>
                <a:lnTo>
                  <a:pt x="1184" y="1717"/>
                </a:lnTo>
                <a:lnTo>
                  <a:pt x="1193" y="1715"/>
                </a:lnTo>
                <a:lnTo>
                  <a:pt x="1196" y="1717"/>
                </a:lnTo>
                <a:lnTo>
                  <a:pt x="1201" y="1717"/>
                </a:lnTo>
                <a:lnTo>
                  <a:pt x="1201" y="1717"/>
                </a:lnTo>
                <a:lnTo>
                  <a:pt x="1207" y="1721"/>
                </a:lnTo>
                <a:lnTo>
                  <a:pt x="1213" y="1727"/>
                </a:lnTo>
                <a:lnTo>
                  <a:pt x="1217" y="1733"/>
                </a:lnTo>
                <a:lnTo>
                  <a:pt x="1220" y="1740"/>
                </a:lnTo>
                <a:lnTo>
                  <a:pt x="1225" y="1751"/>
                </a:lnTo>
                <a:lnTo>
                  <a:pt x="1228" y="1757"/>
                </a:lnTo>
                <a:lnTo>
                  <a:pt x="1234" y="1761"/>
                </a:lnTo>
                <a:lnTo>
                  <a:pt x="1234" y="1761"/>
                </a:lnTo>
                <a:lnTo>
                  <a:pt x="1240" y="1765"/>
                </a:lnTo>
                <a:lnTo>
                  <a:pt x="1247" y="1768"/>
                </a:lnTo>
                <a:lnTo>
                  <a:pt x="1252" y="1769"/>
                </a:lnTo>
                <a:lnTo>
                  <a:pt x="1259" y="1769"/>
                </a:lnTo>
                <a:lnTo>
                  <a:pt x="1272" y="1769"/>
                </a:lnTo>
                <a:lnTo>
                  <a:pt x="1278" y="1771"/>
                </a:lnTo>
                <a:lnTo>
                  <a:pt x="1285" y="1772"/>
                </a:lnTo>
                <a:lnTo>
                  <a:pt x="1285" y="1772"/>
                </a:lnTo>
                <a:lnTo>
                  <a:pt x="1291" y="1775"/>
                </a:lnTo>
                <a:lnTo>
                  <a:pt x="1297" y="1780"/>
                </a:lnTo>
                <a:lnTo>
                  <a:pt x="1306" y="1789"/>
                </a:lnTo>
                <a:lnTo>
                  <a:pt x="1317" y="1798"/>
                </a:lnTo>
                <a:lnTo>
                  <a:pt x="1323" y="1802"/>
                </a:lnTo>
                <a:lnTo>
                  <a:pt x="1328" y="1805"/>
                </a:lnTo>
                <a:lnTo>
                  <a:pt x="1328" y="1805"/>
                </a:lnTo>
                <a:lnTo>
                  <a:pt x="1328" y="1805"/>
                </a:lnTo>
                <a:lnTo>
                  <a:pt x="1328" y="1805"/>
                </a:lnTo>
                <a:close/>
              </a:path>
            </a:pathLst>
          </a:custGeom>
          <a:solidFill>
            <a:srgbClr val="FFFF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39" name="Freeform 134"/>
          <p:cNvSpPr>
            <a:spLocks/>
          </p:cNvSpPr>
          <p:nvPr/>
        </p:nvSpPr>
        <p:spPr bwMode="auto">
          <a:xfrm>
            <a:off x="2416175" y="2932113"/>
            <a:ext cx="1023938" cy="677862"/>
          </a:xfrm>
          <a:custGeom>
            <a:avLst/>
            <a:gdLst/>
            <a:ahLst/>
            <a:cxnLst>
              <a:cxn ang="0">
                <a:pos x="1175" y="663"/>
              </a:cxn>
              <a:cxn ang="0">
                <a:pos x="1042" y="755"/>
              </a:cxn>
              <a:cxn ang="0">
                <a:pos x="958" y="779"/>
              </a:cxn>
              <a:cxn ang="0">
                <a:pos x="664" y="642"/>
              </a:cxn>
              <a:cxn ang="0">
                <a:pos x="508" y="528"/>
              </a:cxn>
              <a:cxn ang="0">
                <a:pos x="453" y="501"/>
              </a:cxn>
              <a:cxn ang="0">
                <a:pos x="337" y="524"/>
              </a:cxn>
              <a:cxn ang="0">
                <a:pos x="217" y="519"/>
              </a:cxn>
              <a:cxn ang="0">
                <a:pos x="171" y="494"/>
              </a:cxn>
              <a:cxn ang="0">
                <a:pos x="116" y="508"/>
              </a:cxn>
              <a:cxn ang="0">
                <a:pos x="85" y="451"/>
              </a:cxn>
              <a:cxn ang="0">
                <a:pos x="16" y="357"/>
              </a:cxn>
              <a:cxn ang="0">
                <a:pos x="9" y="290"/>
              </a:cxn>
              <a:cxn ang="0">
                <a:pos x="37" y="282"/>
              </a:cxn>
              <a:cxn ang="0">
                <a:pos x="67" y="236"/>
              </a:cxn>
              <a:cxn ang="0">
                <a:pos x="45" y="188"/>
              </a:cxn>
              <a:cxn ang="0">
                <a:pos x="85" y="142"/>
              </a:cxn>
              <a:cxn ang="0">
                <a:pos x="162" y="80"/>
              </a:cxn>
              <a:cxn ang="0">
                <a:pos x="164" y="6"/>
              </a:cxn>
              <a:cxn ang="0">
                <a:pos x="205" y="42"/>
              </a:cxn>
              <a:cxn ang="0">
                <a:pos x="263" y="124"/>
              </a:cxn>
              <a:cxn ang="0">
                <a:pos x="256" y="205"/>
              </a:cxn>
              <a:cxn ang="0">
                <a:pos x="195" y="200"/>
              </a:cxn>
              <a:cxn ang="0">
                <a:pos x="140" y="200"/>
              </a:cxn>
              <a:cxn ang="0">
                <a:pos x="117" y="230"/>
              </a:cxn>
              <a:cxn ang="0">
                <a:pos x="129" y="326"/>
              </a:cxn>
              <a:cxn ang="0">
                <a:pos x="183" y="374"/>
              </a:cxn>
              <a:cxn ang="0">
                <a:pos x="230" y="330"/>
              </a:cxn>
              <a:cxn ang="0">
                <a:pos x="316" y="288"/>
              </a:cxn>
              <a:cxn ang="0">
                <a:pos x="450" y="296"/>
              </a:cxn>
              <a:cxn ang="0">
                <a:pos x="549" y="320"/>
              </a:cxn>
              <a:cxn ang="0">
                <a:pos x="577" y="325"/>
              </a:cxn>
              <a:cxn ang="0">
                <a:pos x="676" y="291"/>
              </a:cxn>
              <a:cxn ang="0">
                <a:pos x="686" y="310"/>
              </a:cxn>
              <a:cxn ang="0">
                <a:pos x="633" y="345"/>
              </a:cxn>
              <a:cxn ang="0">
                <a:pos x="594" y="364"/>
              </a:cxn>
              <a:cxn ang="0">
                <a:pos x="629" y="393"/>
              </a:cxn>
              <a:cxn ang="0">
                <a:pos x="667" y="418"/>
              </a:cxn>
              <a:cxn ang="0">
                <a:pos x="709" y="408"/>
              </a:cxn>
              <a:cxn ang="0">
                <a:pos x="809" y="433"/>
              </a:cxn>
              <a:cxn ang="0">
                <a:pos x="933" y="418"/>
              </a:cxn>
              <a:cxn ang="0">
                <a:pos x="936" y="459"/>
              </a:cxn>
              <a:cxn ang="0">
                <a:pos x="901" y="496"/>
              </a:cxn>
              <a:cxn ang="0">
                <a:pos x="910" y="543"/>
              </a:cxn>
              <a:cxn ang="0">
                <a:pos x="946" y="519"/>
              </a:cxn>
              <a:cxn ang="0">
                <a:pos x="957" y="478"/>
              </a:cxn>
              <a:cxn ang="0">
                <a:pos x="1017" y="485"/>
              </a:cxn>
              <a:cxn ang="0">
                <a:pos x="1023" y="421"/>
              </a:cxn>
              <a:cxn ang="0">
                <a:pos x="1017" y="365"/>
              </a:cxn>
              <a:cxn ang="0">
                <a:pos x="1060" y="344"/>
              </a:cxn>
              <a:cxn ang="0">
                <a:pos x="1110" y="380"/>
              </a:cxn>
              <a:cxn ang="0">
                <a:pos x="1230" y="460"/>
              </a:cxn>
              <a:cxn ang="0">
                <a:pos x="1241" y="513"/>
              </a:cxn>
              <a:cxn ang="0">
                <a:pos x="1213" y="566"/>
              </a:cxn>
              <a:cxn ang="0">
                <a:pos x="1241" y="631"/>
              </a:cxn>
              <a:cxn ang="0">
                <a:pos x="1237" y="649"/>
              </a:cxn>
            </a:cxnLst>
            <a:rect l="0" t="0" r="r" b="b"/>
            <a:pathLst>
              <a:path w="1252" h="779">
                <a:moveTo>
                  <a:pt x="1237" y="649"/>
                </a:moveTo>
                <a:lnTo>
                  <a:pt x="1237" y="649"/>
                </a:lnTo>
                <a:lnTo>
                  <a:pt x="1225" y="650"/>
                </a:lnTo>
                <a:lnTo>
                  <a:pt x="1215" y="651"/>
                </a:lnTo>
                <a:lnTo>
                  <a:pt x="1205" y="654"/>
                </a:lnTo>
                <a:lnTo>
                  <a:pt x="1194" y="656"/>
                </a:lnTo>
                <a:lnTo>
                  <a:pt x="1175" y="663"/>
                </a:lnTo>
                <a:lnTo>
                  <a:pt x="1156" y="672"/>
                </a:lnTo>
                <a:lnTo>
                  <a:pt x="1139" y="683"/>
                </a:lnTo>
                <a:lnTo>
                  <a:pt x="1123" y="694"/>
                </a:lnTo>
                <a:lnTo>
                  <a:pt x="1091" y="719"/>
                </a:lnTo>
                <a:lnTo>
                  <a:pt x="1075" y="732"/>
                </a:lnTo>
                <a:lnTo>
                  <a:pt x="1060" y="744"/>
                </a:lnTo>
                <a:lnTo>
                  <a:pt x="1042" y="755"/>
                </a:lnTo>
                <a:lnTo>
                  <a:pt x="1026" y="764"/>
                </a:lnTo>
                <a:lnTo>
                  <a:pt x="1008" y="771"/>
                </a:lnTo>
                <a:lnTo>
                  <a:pt x="999" y="775"/>
                </a:lnTo>
                <a:lnTo>
                  <a:pt x="989" y="777"/>
                </a:lnTo>
                <a:lnTo>
                  <a:pt x="979" y="778"/>
                </a:lnTo>
                <a:lnTo>
                  <a:pt x="969" y="779"/>
                </a:lnTo>
                <a:lnTo>
                  <a:pt x="958" y="779"/>
                </a:lnTo>
                <a:lnTo>
                  <a:pt x="948" y="778"/>
                </a:lnTo>
                <a:lnTo>
                  <a:pt x="948" y="778"/>
                </a:lnTo>
                <a:lnTo>
                  <a:pt x="928" y="770"/>
                </a:lnTo>
                <a:lnTo>
                  <a:pt x="893" y="754"/>
                </a:lnTo>
                <a:lnTo>
                  <a:pt x="785" y="702"/>
                </a:lnTo>
                <a:lnTo>
                  <a:pt x="724" y="672"/>
                </a:lnTo>
                <a:lnTo>
                  <a:pt x="664" y="642"/>
                </a:lnTo>
                <a:lnTo>
                  <a:pt x="611" y="615"/>
                </a:lnTo>
                <a:lnTo>
                  <a:pt x="569" y="591"/>
                </a:lnTo>
                <a:lnTo>
                  <a:pt x="569" y="591"/>
                </a:lnTo>
                <a:lnTo>
                  <a:pt x="560" y="585"/>
                </a:lnTo>
                <a:lnTo>
                  <a:pt x="552" y="578"/>
                </a:lnTo>
                <a:lnTo>
                  <a:pt x="537" y="562"/>
                </a:lnTo>
                <a:lnTo>
                  <a:pt x="508" y="528"/>
                </a:lnTo>
                <a:lnTo>
                  <a:pt x="501" y="521"/>
                </a:lnTo>
                <a:lnTo>
                  <a:pt x="493" y="515"/>
                </a:lnTo>
                <a:lnTo>
                  <a:pt x="487" y="509"/>
                </a:lnTo>
                <a:lnTo>
                  <a:pt x="478" y="504"/>
                </a:lnTo>
                <a:lnTo>
                  <a:pt x="470" y="502"/>
                </a:lnTo>
                <a:lnTo>
                  <a:pt x="462" y="500"/>
                </a:lnTo>
                <a:lnTo>
                  <a:pt x="453" y="501"/>
                </a:lnTo>
                <a:lnTo>
                  <a:pt x="444" y="503"/>
                </a:lnTo>
                <a:lnTo>
                  <a:pt x="444" y="503"/>
                </a:lnTo>
                <a:lnTo>
                  <a:pt x="423" y="510"/>
                </a:lnTo>
                <a:lnTo>
                  <a:pt x="403" y="516"/>
                </a:lnTo>
                <a:lnTo>
                  <a:pt x="382" y="519"/>
                </a:lnTo>
                <a:lnTo>
                  <a:pt x="360" y="521"/>
                </a:lnTo>
                <a:lnTo>
                  <a:pt x="337" y="524"/>
                </a:lnTo>
                <a:lnTo>
                  <a:pt x="314" y="524"/>
                </a:lnTo>
                <a:lnTo>
                  <a:pt x="264" y="525"/>
                </a:lnTo>
                <a:lnTo>
                  <a:pt x="264" y="525"/>
                </a:lnTo>
                <a:lnTo>
                  <a:pt x="251" y="524"/>
                </a:lnTo>
                <a:lnTo>
                  <a:pt x="239" y="524"/>
                </a:lnTo>
                <a:lnTo>
                  <a:pt x="228" y="521"/>
                </a:lnTo>
                <a:lnTo>
                  <a:pt x="217" y="519"/>
                </a:lnTo>
                <a:lnTo>
                  <a:pt x="208" y="515"/>
                </a:lnTo>
                <a:lnTo>
                  <a:pt x="200" y="509"/>
                </a:lnTo>
                <a:lnTo>
                  <a:pt x="193" y="502"/>
                </a:lnTo>
                <a:lnTo>
                  <a:pt x="187" y="492"/>
                </a:lnTo>
                <a:lnTo>
                  <a:pt x="187" y="492"/>
                </a:lnTo>
                <a:lnTo>
                  <a:pt x="179" y="493"/>
                </a:lnTo>
                <a:lnTo>
                  <a:pt x="171" y="494"/>
                </a:lnTo>
                <a:lnTo>
                  <a:pt x="156" y="501"/>
                </a:lnTo>
                <a:lnTo>
                  <a:pt x="140" y="507"/>
                </a:lnTo>
                <a:lnTo>
                  <a:pt x="133" y="509"/>
                </a:lnTo>
                <a:lnTo>
                  <a:pt x="125" y="510"/>
                </a:lnTo>
                <a:lnTo>
                  <a:pt x="125" y="510"/>
                </a:lnTo>
                <a:lnTo>
                  <a:pt x="121" y="509"/>
                </a:lnTo>
                <a:lnTo>
                  <a:pt x="116" y="508"/>
                </a:lnTo>
                <a:lnTo>
                  <a:pt x="113" y="507"/>
                </a:lnTo>
                <a:lnTo>
                  <a:pt x="109" y="504"/>
                </a:lnTo>
                <a:lnTo>
                  <a:pt x="103" y="497"/>
                </a:lnTo>
                <a:lnTo>
                  <a:pt x="99" y="489"/>
                </a:lnTo>
                <a:lnTo>
                  <a:pt x="92" y="470"/>
                </a:lnTo>
                <a:lnTo>
                  <a:pt x="88" y="459"/>
                </a:lnTo>
                <a:lnTo>
                  <a:pt x="85" y="451"/>
                </a:lnTo>
                <a:lnTo>
                  <a:pt x="85" y="451"/>
                </a:lnTo>
                <a:lnTo>
                  <a:pt x="80" y="441"/>
                </a:lnTo>
                <a:lnTo>
                  <a:pt x="75" y="432"/>
                </a:lnTo>
                <a:lnTo>
                  <a:pt x="62" y="414"/>
                </a:lnTo>
                <a:lnTo>
                  <a:pt x="35" y="383"/>
                </a:lnTo>
                <a:lnTo>
                  <a:pt x="22" y="366"/>
                </a:lnTo>
                <a:lnTo>
                  <a:pt x="16" y="357"/>
                </a:lnTo>
                <a:lnTo>
                  <a:pt x="11" y="348"/>
                </a:lnTo>
                <a:lnTo>
                  <a:pt x="7" y="336"/>
                </a:lnTo>
                <a:lnTo>
                  <a:pt x="3" y="325"/>
                </a:lnTo>
                <a:lnTo>
                  <a:pt x="1" y="311"/>
                </a:lnTo>
                <a:lnTo>
                  <a:pt x="0" y="297"/>
                </a:lnTo>
                <a:lnTo>
                  <a:pt x="0" y="297"/>
                </a:lnTo>
                <a:lnTo>
                  <a:pt x="9" y="290"/>
                </a:lnTo>
                <a:lnTo>
                  <a:pt x="16" y="286"/>
                </a:lnTo>
                <a:lnTo>
                  <a:pt x="23" y="283"/>
                </a:lnTo>
                <a:lnTo>
                  <a:pt x="27" y="282"/>
                </a:lnTo>
                <a:lnTo>
                  <a:pt x="34" y="283"/>
                </a:lnTo>
                <a:lnTo>
                  <a:pt x="37" y="283"/>
                </a:lnTo>
                <a:lnTo>
                  <a:pt x="37" y="282"/>
                </a:lnTo>
                <a:lnTo>
                  <a:pt x="37" y="282"/>
                </a:lnTo>
                <a:lnTo>
                  <a:pt x="52" y="271"/>
                </a:lnTo>
                <a:lnTo>
                  <a:pt x="61" y="261"/>
                </a:lnTo>
                <a:lnTo>
                  <a:pt x="64" y="257"/>
                </a:lnTo>
                <a:lnTo>
                  <a:pt x="67" y="252"/>
                </a:lnTo>
                <a:lnTo>
                  <a:pt x="68" y="248"/>
                </a:lnTo>
                <a:lnTo>
                  <a:pt x="68" y="243"/>
                </a:lnTo>
                <a:lnTo>
                  <a:pt x="67" y="236"/>
                </a:lnTo>
                <a:lnTo>
                  <a:pt x="64" y="228"/>
                </a:lnTo>
                <a:lnTo>
                  <a:pt x="60" y="221"/>
                </a:lnTo>
                <a:lnTo>
                  <a:pt x="55" y="214"/>
                </a:lnTo>
                <a:lnTo>
                  <a:pt x="50" y="206"/>
                </a:lnTo>
                <a:lnTo>
                  <a:pt x="47" y="199"/>
                </a:lnTo>
                <a:lnTo>
                  <a:pt x="45" y="191"/>
                </a:lnTo>
                <a:lnTo>
                  <a:pt x="45" y="188"/>
                </a:lnTo>
                <a:lnTo>
                  <a:pt x="45" y="183"/>
                </a:lnTo>
                <a:lnTo>
                  <a:pt x="46" y="179"/>
                </a:lnTo>
                <a:lnTo>
                  <a:pt x="48" y="174"/>
                </a:lnTo>
                <a:lnTo>
                  <a:pt x="52" y="169"/>
                </a:lnTo>
                <a:lnTo>
                  <a:pt x="55" y="165"/>
                </a:lnTo>
                <a:lnTo>
                  <a:pt x="68" y="154"/>
                </a:lnTo>
                <a:lnTo>
                  <a:pt x="85" y="142"/>
                </a:lnTo>
                <a:lnTo>
                  <a:pt x="85" y="142"/>
                </a:lnTo>
                <a:lnTo>
                  <a:pt x="119" y="120"/>
                </a:lnTo>
                <a:lnTo>
                  <a:pt x="132" y="111"/>
                </a:lnTo>
                <a:lnTo>
                  <a:pt x="142" y="101"/>
                </a:lnTo>
                <a:lnTo>
                  <a:pt x="151" y="95"/>
                </a:lnTo>
                <a:lnTo>
                  <a:pt x="157" y="86"/>
                </a:lnTo>
                <a:lnTo>
                  <a:pt x="162" y="80"/>
                </a:lnTo>
                <a:lnTo>
                  <a:pt x="164" y="73"/>
                </a:lnTo>
                <a:lnTo>
                  <a:pt x="167" y="66"/>
                </a:lnTo>
                <a:lnTo>
                  <a:pt x="167" y="59"/>
                </a:lnTo>
                <a:lnTo>
                  <a:pt x="167" y="45"/>
                </a:lnTo>
                <a:lnTo>
                  <a:pt x="165" y="28"/>
                </a:lnTo>
                <a:lnTo>
                  <a:pt x="164" y="6"/>
                </a:lnTo>
                <a:lnTo>
                  <a:pt x="164" y="6"/>
                </a:lnTo>
                <a:lnTo>
                  <a:pt x="165" y="2"/>
                </a:lnTo>
                <a:lnTo>
                  <a:pt x="167" y="0"/>
                </a:lnTo>
                <a:lnTo>
                  <a:pt x="169" y="0"/>
                </a:lnTo>
                <a:lnTo>
                  <a:pt x="172" y="2"/>
                </a:lnTo>
                <a:lnTo>
                  <a:pt x="180" y="12"/>
                </a:lnTo>
                <a:lnTo>
                  <a:pt x="191" y="26"/>
                </a:lnTo>
                <a:lnTo>
                  <a:pt x="205" y="42"/>
                </a:lnTo>
                <a:lnTo>
                  <a:pt x="220" y="59"/>
                </a:lnTo>
                <a:lnTo>
                  <a:pt x="236" y="75"/>
                </a:lnTo>
                <a:lnTo>
                  <a:pt x="244" y="82"/>
                </a:lnTo>
                <a:lnTo>
                  <a:pt x="253" y="88"/>
                </a:lnTo>
                <a:lnTo>
                  <a:pt x="253" y="88"/>
                </a:lnTo>
                <a:lnTo>
                  <a:pt x="259" y="104"/>
                </a:lnTo>
                <a:lnTo>
                  <a:pt x="263" y="124"/>
                </a:lnTo>
                <a:lnTo>
                  <a:pt x="266" y="147"/>
                </a:lnTo>
                <a:lnTo>
                  <a:pt x="267" y="159"/>
                </a:lnTo>
                <a:lnTo>
                  <a:pt x="267" y="170"/>
                </a:lnTo>
                <a:lnTo>
                  <a:pt x="266" y="181"/>
                </a:lnTo>
                <a:lnTo>
                  <a:pt x="263" y="190"/>
                </a:lnTo>
                <a:lnTo>
                  <a:pt x="261" y="199"/>
                </a:lnTo>
                <a:lnTo>
                  <a:pt x="256" y="205"/>
                </a:lnTo>
                <a:lnTo>
                  <a:pt x="252" y="211"/>
                </a:lnTo>
                <a:lnTo>
                  <a:pt x="245" y="213"/>
                </a:lnTo>
                <a:lnTo>
                  <a:pt x="237" y="214"/>
                </a:lnTo>
                <a:lnTo>
                  <a:pt x="228" y="212"/>
                </a:lnTo>
                <a:lnTo>
                  <a:pt x="228" y="212"/>
                </a:lnTo>
                <a:lnTo>
                  <a:pt x="210" y="205"/>
                </a:lnTo>
                <a:lnTo>
                  <a:pt x="195" y="200"/>
                </a:lnTo>
                <a:lnTo>
                  <a:pt x="183" y="197"/>
                </a:lnTo>
                <a:lnTo>
                  <a:pt x="172" y="195"/>
                </a:lnTo>
                <a:lnTo>
                  <a:pt x="163" y="195"/>
                </a:lnTo>
                <a:lnTo>
                  <a:pt x="155" y="195"/>
                </a:lnTo>
                <a:lnTo>
                  <a:pt x="149" y="196"/>
                </a:lnTo>
                <a:lnTo>
                  <a:pt x="145" y="198"/>
                </a:lnTo>
                <a:lnTo>
                  <a:pt x="140" y="200"/>
                </a:lnTo>
                <a:lnTo>
                  <a:pt x="137" y="204"/>
                </a:lnTo>
                <a:lnTo>
                  <a:pt x="130" y="210"/>
                </a:lnTo>
                <a:lnTo>
                  <a:pt x="123" y="215"/>
                </a:lnTo>
                <a:lnTo>
                  <a:pt x="118" y="218"/>
                </a:lnTo>
                <a:lnTo>
                  <a:pt x="114" y="220"/>
                </a:lnTo>
                <a:lnTo>
                  <a:pt x="114" y="220"/>
                </a:lnTo>
                <a:lnTo>
                  <a:pt x="117" y="230"/>
                </a:lnTo>
                <a:lnTo>
                  <a:pt x="122" y="241"/>
                </a:lnTo>
                <a:lnTo>
                  <a:pt x="125" y="256"/>
                </a:lnTo>
                <a:lnTo>
                  <a:pt x="129" y="272"/>
                </a:lnTo>
                <a:lnTo>
                  <a:pt x="131" y="290"/>
                </a:lnTo>
                <a:lnTo>
                  <a:pt x="131" y="309"/>
                </a:lnTo>
                <a:lnTo>
                  <a:pt x="130" y="318"/>
                </a:lnTo>
                <a:lnTo>
                  <a:pt x="129" y="326"/>
                </a:lnTo>
                <a:lnTo>
                  <a:pt x="129" y="326"/>
                </a:lnTo>
                <a:lnTo>
                  <a:pt x="138" y="334"/>
                </a:lnTo>
                <a:lnTo>
                  <a:pt x="147" y="344"/>
                </a:lnTo>
                <a:lnTo>
                  <a:pt x="165" y="363"/>
                </a:lnTo>
                <a:lnTo>
                  <a:pt x="175" y="370"/>
                </a:lnTo>
                <a:lnTo>
                  <a:pt x="179" y="372"/>
                </a:lnTo>
                <a:lnTo>
                  <a:pt x="183" y="374"/>
                </a:lnTo>
                <a:lnTo>
                  <a:pt x="187" y="374"/>
                </a:lnTo>
                <a:lnTo>
                  <a:pt x="191" y="373"/>
                </a:lnTo>
                <a:lnTo>
                  <a:pt x="194" y="371"/>
                </a:lnTo>
                <a:lnTo>
                  <a:pt x="198" y="367"/>
                </a:lnTo>
                <a:lnTo>
                  <a:pt x="198" y="367"/>
                </a:lnTo>
                <a:lnTo>
                  <a:pt x="214" y="347"/>
                </a:lnTo>
                <a:lnTo>
                  <a:pt x="230" y="330"/>
                </a:lnTo>
                <a:lnTo>
                  <a:pt x="244" y="317"/>
                </a:lnTo>
                <a:lnTo>
                  <a:pt x="256" y="306"/>
                </a:lnTo>
                <a:lnTo>
                  <a:pt x="269" y="298"/>
                </a:lnTo>
                <a:lnTo>
                  <a:pt x="282" y="294"/>
                </a:lnTo>
                <a:lnTo>
                  <a:pt x="293" y="290"/>
                </a:lnTo>
                <a:lnTo>
                  <a:pt x="305" y="288"/>
                </a:lnTo>
                <a:lnTo>
                  <a:pt x="316" y="288"/>
                </a:lnTo>
                <a:lnTo>
                  <a:pt x="329" y="288"/>
                </a:lnTo>
                <a:lnTo>
                  <a:pt x="355" y="291"/>
                </a:lnTo>
                <a:lnTo>
                  <a:pt x="386" y="295"/>
                </a:lnTo>
                <a:lnTo>
                  <a:pt x="404" y="296"/>
                </a:lnTo>
                <a:lnTo>
                  <a:pt x="422" y="297"/>
                </a:lnTo>
                <a:lnTo>
                  <a:pt x="422" y="297"/>
                </a:lnTo>
                <a:lnTo>
                  <a:pt x="450" y="296"/>
                </a:lnTo>
                <a:lnTo>
                  <a:pt x="482" y="295"/>
                </a:lnTo>
                <a:lnTo>
                  <a:pt x="513" y="292"/>
                </a:lnTo>
                <a:lnTo>
                  <a:pt x="536" y="289"/>
                </a:lnTo>
                <a:lnTo>
                  <a:pt x="536" y="289"/>
                </a:lnTo>
                <a:lnTo>
                  <a:pt x="541" y="302"/>
                </a:lnTo>
                <a:lnTo>
                  <a:pt x="544" y="312"/>
                </a:lnTo>
                <a:lnTo>
                  <a:pt x="549" y="320"/>
                </a:lnTo>
                <a:lnTo>
                  <a:pt x="553" y="326"/>
                </a:lnTo>
                <a:lnTo>
                  <a:pt x="558" y="329"/>
                </a:lnTo>
                <a:lnTo>
                  <a:pt x="561" y="332"/>
                </a:lnTo>
                <a:lnTo>
                  <a:pt x="566" y="332"/>
                </a:lnTo>
                <a:lnTo>
                  <a:pt x="569" y="330"/>
                </a:lnTo>
                <a:lnTo>
                  <a:pt x="574" y="328"/>
                </a:lnTo>
                <a:lnTo>
                  <a:pt x="577" y="325"/>
                </a:lnTo>
                <a:lnTo>
                  <a:pt x="585" y="315"/>
                </a:lnTo>
                <a:lnTo>
                  <a:pt x="592" y="303"/>
                </a:lnTo>
                <a:lnTo>
                  <a:pt x="598" y="289"/>
                </a:lnTo>
                <a:lnTo>
                  <a:pt x="598" y="289"/>
                </a:lnTo>
                <a:lnTo>
                  <a:pt x="657" y="289"/>
                </a:lnTo>
                <a:lnTo>
                  <a:pt x="657" y="289"/>
                </a:lnTo>
                <a:lnTo>
                  <a:pt x="676" y="291"/>
                </a:lnTo>
                <a:lnTo>
                  <a:pt x="689" y="294"/>
                </a:lnTo>
                <a:lnTo>
                  <a:pt x="698" y="296"/>
                </a:lnTo>
                <a:lnTo>
                  <a:pt x="702" y="298"/>
                </a:lnTo>
                <a:lnTo>
                  <a:pt x="702" y="299"/>
                </a:lnTo>
                <a:lnTo>
                  <a:pt x="702" y="301"/>
                </a:lnTo>
                <a:lnTo>
                  <a:pt x="698" y="303"/>
                </a:lnTo>
                <a:lnTo>
                  <a:pt x="686" y="310"/>
                </a:lnTo>
                <a:lnTo>
                  <a:pt x="667" y="318"/>
                </a:lnTo>
                <a:lnTo>
                  <a:pt x="658" y="322"/>
                </a:lnTo>
                <a:lnTo>
                  <a:pt x="649" y="327"/>
                </a:lnTo>
                <a:lnTo>
                  <a:pt x="642" y="333"/>
                </a:lnTo>
                <a:lnTo>
                  <a:pt x="635" y="339"/>
                </a:lnTo>
                <a:lnTo>
                  <a:pt x="634" y="342"/>
                </a:lnTo>
                <a:lnTo>
                  <a:pt x="633" y="345"/>
                </a:lnTo>
                <a:lnTo>
                  <a:pt x="632" y="349"/>
                </a:lnTo>
                <a:lnTo>
                  <a:pt x="632" y="352"/>
                </a:lnTo>
                <a:lnTo>
                  <a:pt x="632" y="352"/>
                </a:lnTo>
                <a:lnTo>
                  <a:pt x="610" y="357"/>
                </a:lnTo>
                <a:lnTo>
                  <a:pt x="603" y="359"/>
                </a:lnTo>
                <a:lnTo>
                  <a:pt x="597" y="362"/>
                </a:lnTo>
                <a:lnTo>
                  <a:pt x="594" y="364"/>
                </a:lnTo>
                <a:lnTo>
                  <a:pt x="591" y="367"/>
                </a:lnTo>
                <a:lnTo>
                  <a:pt x="591" y="370"/>
                </a:lnTo>
                <a:lnTo>
                  <a:pt x="592" y="373"/>
                </a:lnTo>
                <a:lnTo>
                  <a:pt x="596" y="376"/>
                </a:lnTo>
                <a:lnTo>
                  <a:pt x="600" y="379"/>
                </a:lnTo>
                <a:lnTo>
                  <a:pt x="612" y="386"/>
                </a:lnTo>
                <a:lnTo>
                  <a:pt x="629" y="393"/>
                </a:lnTo>
                <a:lnTo>
                  <a:pt x="650" y="399"/>
                </a:lnTo>
                <a:lnTo>
                  <a:pt x="650" y="399"/>
                </a:lnTo>
                <a:lnTo>
                  <a:pt x="653" y="402"/>
                </a:lnTo>
                <a:lnTo>
                  <a:pt x="657" y="404"/>
                </a:lnTo>
                <a:lnTo>
                  <a:pt x="661" y="410"/>
                </a:lnTo>
                <a:lnTo>
                  <a:pt x="665" y="416"/>
                </a:lnTo>
                <a:lnTo>
                  <a:pt x="667" y="418"/>
                </a:lnTo>
                <a:lnTo>
                  <a:pt x="669" y="420"/>
                </a:lnTo>
                <a:lnTo>
                  <a:pt x="674" y="421"/>
                </a:lnTo>
                <a:lnTo>
                  <a:pt x="678" y="421"/>
                </a:lnTo>
                <a:lnTo>
                  <a:pt x="683" y="420"/>
                </a:lnTo>
                <a:lnTo>
                  <a:pt x="690" y="418"/>
                </a:lnTo>
                <a:lnTo>
                  <a:pt x="698" y="413"/>
                </a:lnTo>
                <a:lnTo>
                  <a:pt x="709" y="408"/>
                </a:lnTo>
                <a:lnTo>
                  <a:pt x="735" y="389"/>
                </a:lnTo>
                <a:lnTo>
                  <a:pt x="735" y="389"/>
                </a:lnTo>
                <a:lnTo>
                  <a:pt x="758" y="408"/>
                </a:lnTo>
                <a:lnTo>
                  <a:pt x="780" y="420"/>
                </a:lnTo>
                <a:lnTo>
                  <a:pt x="789" y="426"/>
                </a:lnTo>
                <a:lnTo>
                  <a:pt x="798" y="431"/>
                </a:lnTo>
                <a:lnTo>
                  <a:pt x="809" y="433"/>
                </a:lnTo>
                <a:lnTo>
                  <a:pt x="819" y="435"/>
                </a:lnTo>
                <a:lnTo>
                  <a:pt x="829" y="436"/>
                </a:lnTo>
                <a:lnTo>
                  <a:pt x="840" y="436"/>
                </a:lnTo>
                <a:lnTo>
                  <a:pt x="852" y="435"/>
                </a:lnTo>
                <a:lnTo>
                  <a:pt x="865" y="434"/>
                </a:lnTo>
                <a:lnTo>
                  <a:pt x="895" y="427"/>
                </a:lnTo>
                <a:lnTo>
                  <a:pt x="933" y="418"/>
                </a:lnTo>
                <a:lnTo>
                  <a:pt x="933" y="418"/>
                </a:lnTo>
                <a:lnTo>
                  <a:pt x="938" y="428"/>
                </a:lnTo>
                <a:lnTo>
                  <a:pt x="941" y="436"/>
                </a:lnTo>
                <a:lnTo>
                  <a:pt x="942" y="443"/>
                </a:lnTo>
                <a:lnTo>
                  <a:pt x="941" y="449"/>
                </a:lnTo>
                <a:lnTo>
                  <a:pt x="940" y="455"/>
                </a:lnTo>
                <a:lnTo>
                  <a:pt x="936" y="459"/>
                </a:lnTo>
                <a:lnTo>
                  <a:pt x="933" y="464"/>
                </a:lnTo>
                <a:lnTo>
                  <a:pt x="928" y="467"/>
                </a:lnTo>
                <a:lnTo>
                  <a:pt x="919" y="474"/>
                </a:lnTo>
                <a:lnTo>
                  <a:pt x="910" y="481"/>
                </a:lnTo>
                <a:lnTo>
                  <a:pt x="905" y="486"/>
                </a:lnTo>
                <a:lnTo>
                  <a:pt x="903" y="490"/>
                </a:lnTo>
                <a:lnTo>
                  <a:pt x="901" y="496"/>
                </a:lnTo>
                <a:lnTo>
                  <a:pt x="900" y="503"/>
                </a:lnTo>
                <a:lnTo>
                  <a:pt x="900" y="503"/>
                </a:lnTo>
                <a:lnTo>
                  <a:pt x="900" y="516"/>
                </a:lnTo>
                <a:lnTo>
                  <a:pt x="901" y="526"/>
                </a:lnTo>
                <a:lnTo>
                  <a:pt x="903" y="534"/>
                </a:lnTo>
                <a:lnTo>
                  <a:pt x="907" y="540"/>
                </a:lnTo>
                <a:lnTo>
                  <a:pt x="910" y="543"/>
                </a:lnTo>
                <a:lnTo>
                  <a:pt x="916" y="544"/>
                </a:lnTo>
                <a:lnTo>
                  <a:pt x="920" y="543"/>
                </a:lnTo>
                <a:lnTo>
                  <a:pt x="926" y="541"/>
                </a:lnTo>
                <a:lnTo>
                  <a:pt x="932" y="538"/>
                </a:lnTo>
                <a:lnTo>
                  <a:pt x="936" y="533"/>
                </a:lnTo>
                <a:lnTo>
                  <a:pt x="941" y="527"/>
                </a:lnTo>
                <a:lnTo>
                  <a:pt x="946" y="519"/>
                </a:lnTo>
                <a:lnTo>
                  <a:pt x="948" y="511"/>
                </a:lnTo>
                <a:lnTo>
                  <a:pt x="949" y="503"/>
                </a:lnTo>
                <a:lnTo>
                  <a:pt x="949" y="494"/>
                </a:lnTo>
                <a:lnTo>
                  <a:pt x="948" y="483"/>
                </a:lnTo>
                <a:lnTo>
                  <a:pt x="948" y="483"/>
                </a:lnTo>
                <a:lnTo>
                  <a:pt x="951" y="480"/>
                </a:lnTo>
                <a:lnTo>
                  <a:pt x="957" y="478"/>
                </a:lnTo>
                <a:lnTo>
                  <a:pt x="963" y="478"/>
                </a:lnTo>
                <a:lnTo>
                  <a:pt x="970" y="479"/>
                </a:lnTo>
                <a:lnTo>
                  <a:pt x="985" y="483"/>
                </a:lnTo>
                <a:lnTo>
                  <a:pt x="1000" y="487"/>
                </a:lnTo>
                <a:lnTo>
                  <a:pt x="1005" y="488"/>
                </a:lnTo>
                <a:lnTo>
                  <a:pt x="1012" y="488"/>
                </a:lnTo>
                <a:lnTo>
                  <a:pt x="1017" y="485"/>
                </a:lnTo>
                <a:lnTo>
                  <a:pt x="1022" y="480"/>
                </a:lnTo>
                <a:lnTo>
                  <a:pt x="1024" y="472"/>
                </a:lnTo>
                <a:lnTo>
                  <a:pt x="1025" y="460"/>
                </a:lnTo>
                <a:lnTo>
                  <a:pt x="1024" y="444"/>
                </a:lnTo>
                <a:lnTo>
                  <a:pt x="1020" y="425"/>
                </a:lnTo>
                <a:lnTo>
                  <a:pt x="1020" y="425"/>
                </a:lnTo>
                <a:lnTo>
                  <a:pt x="1023" y="421"/>
                </a:lnTo>
                <a:lnTo>
                  <a:pt x="1024" y="417"/>
                </a:lnTo>
                <a:lnTo>
                  <a:pt x="1023" y="406"/>
                </a:lnTo>
                <a:lnTo>
                  <a:pt x="1022" y="396"/>
                </a:lnTo>
                <a:lnTo>
                  <a:pt x="1019" y="387"/>
                </a:lnTo>
                <a:lnTo>
                  <a:pt x="1017" y="376"/>
                </a:lnTo>
                <a:lnTo>
                  <a:pt x="1016" y="368"/>
                </a:lnTo>
                <a:lnTo>
                  <a:pt x="1017" y="365"/>
                </a:lnTo>
                <a:lnTo>
                  <a:pt x="1018" y="362"/>
                </a:lnTo>
                <a:lnTo>
                  <a:pt x="1020" y="358"/>
                </a:lnTo>
                <a:lnTo>
                  <a:pt x="1025" y="356"/>
                </a:lnTo>
                <a:lnTo>
                  <a:pt x="1025" y="356"/>
                </a:lnTo>
                <a:lnTo>
                  <a:pt x="1035" y="351"/>
                </a:lnTo>
                <a:lnTo>
                  <a:pt x="1046" y="348"/>
                </a:lnTo>
                <a:lnTo>
                  <a:pt x="1060" y="344"/>
                </a:lnTo>
                <a:lnTo>
                  <a:pt x="1069" y="344"/>
                </a:lnTo>
                <a:lnTo>
                  <a:pt x="1071" y="344"/>
                </a:lnTo>
                <a:lnTo>
                  <a:pt x="1071" y="344"/>
                </a:lnTo>
                <a:lnTo>
                  <a:pt x="1079" y="355"/>
                </a:lnTo>
                <a:lnTo>
                  <a:pt x="1088" y="364"/>
                </a:lnTo>
                <a:lnTo>
                  <a:pt x="1099" y="372"/>
                </a:lnTo>
                <a:lnTo>
                  <a:pt x="1110" y="380"/>
                </a:lnTo>
                <a:lnTo>
                  <a:pt x="1133" y="395"/>
                </a:lnTo>
                <a:lnTo>
                  <a:pt x="1157" y="409"/>
                </a:lnTo>
                <a:lnTo>
                  <a:pt x="1180" y="421"/>
                </a:lnTo>
                <a:lnTo>
                  <a:pt x="1203" y="436"/>
                </a:lnTo>
                <a:lnTo>
                  <a:pt x="1213" y="443"/>
                </a:lnTo>
                <a:lnTo>
                  <a:pt x="1222" y="451"/>
                </a:lnTo>
                <a:lnTo>
                  <a:pt x="1230" y="460"/>
                </a:lnTo>
                <a:lnTo>
                  <a:pt x="1237" y="470"/>
                </a:lnTo>
                <a:lnTo>
                  <a:pt x="1237" y="470"/>
                </a:lnTo>
                <a:lnTo>
                  <a:pt x="1245" y="485"/>
                </a:lnTo>
                <a:lnTo>
                  <a:pt x="1252" y="498"/>
                </a:lnTo>
                <a:lnTo>
                  <a:pt x="1252" y="498"/>
                </a:lnTo>
                <a:lnTo>
                  <a:pt x="1247" y="507"/>
                </a:lnTo>
                <a:lnTo>
                  <a:pt x="1241" y="513"/>
                </a:lnTo>
                <a:lnTo>
                  <a:pt x="1228" y="527"/>
                </a:lnTo>
                <a:lnTo>
                  <a:pt x="1222" y="534"/>
                </a:lnTo>
                <a:lnTo>
                  <a:pt x="1216" y="541"/>
                </a:lnTo>
                <a:lnTo>
                  <a:pt x="1213" y="548"/>
                </a:lnTo>
                <a:lnTo>
                  <a:pt x="1211" y="557"/>
                </a:lnTo>
                <a:lnTo>
                  <a:pt x="1211" y="557"/>
                </a:lnTo>
                <a:lnTo>
                  <a:pt x="1213" y="566"/>
                </a:lnTo>
                <a:lnTo>
                  <a:pt x="1216" y="576"/>
                </a:lnTo>
                <a:lnTo>
                  <a:pt x="1221" y="584"/>
                </a:lnTo>
                <a:lnTo>
                  <a:pt x="1226" y="592"/>
                </a:lnTo>
                <a:lnTo>
                  <a:pt x="1231" y="600"/>
                </a:lnTo>
                <a:lnTo>
                  <a:pt x="1237" y="609"/>
                </a:lnTo>
                <a:lnTo>
                  <a:pt x="1239" y="619"/>
                </a:lnTo>
                <a:lnTo>
                  <a:pt x="1241" y="631"/>
                </a:lnTo>
                <a:lnTo>
                  <a:pt x="1241" y="631"/>
                </a:lnTo>
                <a:lnTo>
                  <a:pt x="1240" y="639"/>
                </a:lnTo>
                <a:lnTo>
                  <a:pt x="1239" y="646"/>
                </a:lnTo>
                <a:lnTo>
                  <a:pt x="1236" y="651"/>
                </a:lnTo>
                <a:lnTo>
                  <a:pt x="1233" y="657"/>
                </a:lnTo>
                <a:lnTo>
                  <a:pt x="1233" y="657"/>
                </a:lnTo>
                <a:lnTo>
                  <a:pt x="1237" y="649"/>
                </a:lnTo>
                <a:lnTo>
                  <a:pt x="1237" y="64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0" name="Freeform 135"/>
          <p:cNvSpPr>
            <a:spLocks/>
          </p:cNvSpPr>
          <p:nvPr/>
        </p:nvSpPr>
        <p:spPr bwMode="auto">
          <a:xfrm>
            <a:off x="7142163" y="736600"/>
            <a:ext cx="1152525" cy="1608138"/>
          </a:xfrm>
          <a:custGeom>
            <a:avLst/>
            <a:gdLst/>
            <a:ahLst/>
            <a:cxnLst>
              <a:cxn ang="0">
                <a:pos x="672" y="1636"/>
              </a:cxn>
              <a:cxn ang="0">
                <a:pos x="714" y="1590"/>
              </a:cxn>
              <a:cxn ang="0">
                <a:pos x="805" y="1495"/>
              </a:cxn>
              <a:cxn ang="0">
                <a:pos x="957" y="1401"/>
              </a:cxn>
              <a:cxn ang="0">
                <a:pos x="1008" y="1419"/>
              </a:cxn>
              <a:cxn ang="0">
                <a:pos x="1066" y="1488"/>
              </a:cxn>
              <a:cxn ang="0">
                <a:pos x="1205" y="1440"/>
              </a:cxn>
              <a:cxn ang="0">
                <a:pos x="1237" y="1332"/>
              </a:cxn>
              <a:cxn ang="0">
                <a:pos x="1273" y="1201"/>
              </a:cxn>
              <a:cxn ang="0">
                <a:pos x="1339" y="1189"/>
              </a:cxn>
              <a:cxn ang="0">
                <a:pos x="1326" y="975"/>
              </a:cxn>
              <a:cxn ang="0">
                <a:pos x="1410" y="867"/>
              </a:cxn>
              <a:cxn ang="0">
                <a:pos x="1380" y="802"/>
              </a:cxn>
              <a:cxn ang="0">
                <a:pos x="1245" y="797"/>
              </a:cxn>
              <a:cxn ang="0">
                <a:pos x="1066" y="863"/>
              </a:cxn>
              <a:cxn ang="0">
                <a:pos x="984" y="898"/>
              </a:cxn>
              <a:cxn ang="0">
                <a:pos x="1021" y="834"/>
              </a:cxn>
              <a:cxn ang="0">
                <a:pos x="1073" y="739"/>
              </a:cxn>
              <a:cxn ang="0">
                <a:pos x="1019" y="626"/>
              </a:cxn>
              <a:cxn ang="0">
                <a:pos x="891" y="591"/>
              </a:cxn>
              <a:cxn ang="0">
                <a:pos x="897" y="540"/>
              </a:cxn>
              <a:cxn ang="0">
                <a:pos x="1015" y="517"/>
              </a:cxn>
              <a:cxn ang="0">
                <a:pos x="1015" y="419"/>
              </a:cxn>
              <a:cxn ang="0">
                <a:pos x="1106" y="403"/>
              </a:cxn>
              <a:cxn ang="0">
                <a:pos x="1175" y="326"/>
              </a:cxn>
              <a:cxn ang="0">
                <a:pos x="1262" y="254"/>
              </a:cxn>
              <a:cxn ang="0">
                <a:pos x="1221" y="212"/>
              </a:cxn>
              <a:cxn ang="0">
                <a:pos x="1140" y="168"/>
              </a:cxn>
              <a:cxn ang="0">
                <a:pos x="1062" y="181"/>
              </a:cxn>
              <a:cxn ang="0">
                <a:pos x="1088" y="82"/>
              </a:cxn>
              <a:cxn ang="0">
                <a:pos x="1022" y="0"/>
              </a:cxn>
              <a:cxn ang="0">
                <a:pos x="848" y="149"/>
              </a:cxn>
              <a:cxn ang="0">
                <a:pos x="928" y="219"/>
              </a:cxn>
              <a:cxn ang="0">
                <a:pos x="921" y="288"/>
              </a:cxn>
              <a:cxn ang="0">
                <a:pos x="800" y="262"/>
              </a:cxn>
              <a:cxn ang="0">
                <a:pos x="595" y="384"/>
              </a:cxn>
              <a:cxn ang="0">
                <a:pos x="317" y="610"/>
              </a:cxn>
              <a:cxn ang="0">
                <a:pos x="151" y="898"/>
              </a:cxn>
              <a:cxn ang="0">
                <a:pos x="217" y="959"/>
              </a:cxn>
              <a:cxn ang="0">
                <a:pos x="304" y="972"/>
              </a:cxn>
              <a:cxn ang="0">
                <a:pos x="300" y="1052"/>
              </a:cxn>
              <a:cxn ang="0">
                <a:pos x="225" y="1069"/>
              </a:cxn>
              <a:cxn ang="0">
                <a:pos x="133" y="1059"/>
              </a:cxn>
              <a:cxn ang="0">
                <a:pos x="122" y="1153"/>
              </a:cxn>
              <a:cxn ang="0">
                <a:pos x="33" y="1266"/>
              </a:cxn>
              <a:cxn ang="0">
                <a:pos x="4" y="1361"/>
              </a:cxn>
              <a:cxn ang="0">
                <a:pos x="51" y="1366"/>
              </a:cxn>
              <a:cxn ang="0">
                <a:pos x="162" y="1447"/>
              </a:cxn>
              <a:cxn ang="0">
                <a:pos x="135" y="1516"/>
              </a:cxn>
              <a:cxn ang="0">
                <a:pos x="92" y="1621"/>
              </a:cxn>
              <a:cxn ang="0">
                <a:pos x="94" y="1698"/>
              </a:cxn>
              <a:cxn ang="0">
                <a:pos x="126" y="1744"/>
              </a:cxn>
              <a:cxn ang="0">
                <a:pos x="214" y="1755"/>
              </a:cxn>
              <a:cxn ang="0">
                <a:pos x="277" y="1797"/>
              </a:cxn>
              <a:cxn ang="0">
                <a:pos x="326" y="1806"/>
              </a:cxn>
              <a:cxn ang="0">
                <a:pos x="397" y="1845"/>
              </a:cxn>
              <a:cxn ang="0">
                <a:pos x="488" y="1812"/>
              </a:cxn>
              <a:cxn ang="0">
                <a:pos x="560" y="1779"/>
              </a:cxn>
              <a:cxn ang="0">
                <a:pos x="654" y="1741"/>
              </a:cxn>
            </a:cxnLst>
            <a:rect l="0" t="0" r="r" b="b"/>
            <a:pathLst>
              <a:path w="1411" h="1845">
                <a:moveTo>
                  <a:pt x="666" y="1709"/>
                </a:moveTo>
                <a:lnTo>
                  <a:pt x="666" y="1709"/>
                </a:lnTo>
                <a:lnTo>
                  <a:pt x="663" y="1700"/>
                </a:lnTo>
                <a:lnTo>
                  <a:pt x="662" y="1692"/>
                </a:lnTo>
                <a:lnTo>
                  <a:pt x="662" y="1676"/>
                </a:lnTo>
                <a:lnTo>
                  <a:pt x="662" y="1676"/>
                </a:lnTo>
                <a:lnTo>
                  <a:pt x="663" y="1659"/>
                </a:lnTo>
                <a:lnTo>
                  <a:pt x="666" y="1646"/>
                </a:lnTo>
                <a:lnTo>
                  <a:pt x="667" y="1643"/>
                </a:lnTo>
                <a:lnTo>
                  <a:pt x="669" y="1639"/>
                </a:lnTo>
                <a:lnTo>
                  <a:pt x="672" y="1636"/>
                </a:lnTo>
                <a:lnTo>
                  <a:pt x="675" y="1634"/>
                </a:lnTo>
                <a:lnTo>
                  <a:pt x="682" y="1631"/>
                </a:lnTo>
                <a:lnTo>
                  <a:pt x="690" y="1628"/>
                </a:lnTo>
                <a:lnTo>
                  <a:pt x="699" y="1624"/>
                </a:lnTo>
                <a:lnTo>
                  <a:pt x="709" y="1617"/>
                </a:lnTo>
                <a:lnTo>
                  <a:pt x="709" y="1617"/>
                </a:lnTo>
                <a:lnTo>
                  <a:pt x="713" y="1614"/>
                </a:lnTo>
                <a:lnTo>
                  <a:pt x="715" y="1610"/>
                </a:lnTo>
                <a:lnTo>
                  <a:pt x="715" y="1605"/>
                </a:lnTo>
                <a:lnTo>
                  <a:pt x="715" y="1600"/>
                </a:lnTo>
                <a:lnTo>
                  <a:pt x="714" y="1590"/>
                </a:lnTo>
                <a:lnTo>
                  <a:pt x="715" y="1585"/>
                </a:lnTo>
                <a:lnTo>
                  <a:pt x="716" y="1580"/>
                </a:lnTo>
                <a:lnTo>
                  <a:pt x="716" y="1580"/>
                </a:lnTo>
                <a:lnTo>
                  <a:pt x="738" y="1563"/>
                </a:lnTo>
                <a:lnTo>
                  <a:pt x="758" y="1549"/>
                </a:lnTo>
                <a:lnTo>
                  <a:pt x="767" y="1541"/>
                </a:lnTo>
                <a:lnTo>
                  <a:pt x="775" y="1533"/>
                </a:lnTo>
                <a:lnTo>
                  <a:pt x="783" y="1524"/>
                </a:lnTo>
                <a:lnTo>
                  <a:pt x="790" y="1515"/>
                </a:lnTo>
                <a:lnTo>
                  <a:pt x="790" y="1515"/>
                </a:lnTo>
                <a:lnTo>
                  <a:pt x="805" y="1495"/>
                </a:lnTo>
                <a:lnTo>
                  <a:pt x="819" y="1479"/>
                </a:lnTo>
                <a:lnTo>
                  <a:pt x="835" y="1464"/>
                </a:lnTo>
                <a:lnTo>
                  <a:pt x="851" y="1453"/>
                </a:lnTo>
                <a:lnTo>
                  <a:pt x="869" y="1442"/>
                </a:lnTo>
                <a:lnTo>
                  <a:pt x="889" y="1434"/>
                </a:lnTo>
                <a:lnTo>
                  <a:pt x="911" y="1426"/>
                </a:lnTo>
                <a:lnTo>
                  <a:pt x="934" y="1419"/>
                </a:lnTo>
                <a:lnTo>
                  <a:pt x="934" y="1419"/>
                </a:lnTo>
                <a:lnTo>
                  <a:pt x="941" y="1417"/>
                </a:lnTo>
                <a:lnTo>
                  <a:pt x="946" y="1412"/>
                </a:lnTo>
                <a:lnTo>
                  <a:pt x="957" y="1401"/>
                </a:lnTo>
                <a:lnTo>
                  <a:pt x="962" y="1395"/>
                </a:lnTo>
                <a:lnTo>
                  <a:pt x="969" y="1391"/>
                </a:lnTo>
                <a:lnTo>
                  <a:pt x="976" y="1387"/>
                </a:lnTo>
                <a:lnTo>
                  <a:pt x="984" y="1386"/>
                </a:lnTo>
                <a:lnTo>
                  <a:pt x="984" y="1386"/>
                </a:lnTo>
                <a:lnTo>
                  <a:pt x="991" y="1387"/>
                </a:lnTo>
                <a:lnTo>
                  <a:pt x="996" y="1391"/>
                </a:lnTo>
                <a:lnTo>
                  <a:pt x="1000" y="1395"/>
                </a:lnTo>
                <a:lnTo>
                  <a:pt x="1004" y="1402"/>
                </a:lnTo>
                <a:lnTo>
                  <a:pt x="1006" y="1410"/>
                </a:lnTo>
                <a:lnTo>
                  <a:pt x="1008" y="1419"/>
                </a:lnTo>
                <a:lnTo>
                  <a:pt x="1013" y="1439"/>
                </a:lnTo>
                <a:lnTo>
                  <a:pt x="1018" y="1458"/>
                </a:lnTo>
                <a:lnTo>
                  <a:pt x="1020" y="1468"/>
                </a:lnTo>
                <a:lnTo>
                  <a:pt x="1025" y="1476"/>
                </a:lnTo>
                <a:lnTo>
                  <a:pt x="1029" y="1483"/>
                </a:lnTo>
                <a:lnTo>
                  <a:pt x="1035" y="1488"/>
                </a:lnTo>
                <a:lnTo>
                  <a:pt x="1043" y="1492"/>
                </a:lnTo>
                <a:lnTo>
                  <a:pt x="1051" y="1493"/>
                </a:lnTo>
                <a:lnTo>
                  <a:pt x="1051" y="1493"/>
                </a:lnTo>
                <a:lnTo>
                  <a:pt x="1058" y="1492"/>
                </a:lnTo>
                <a:lnTo>
                  <a:pt x="1066" y="1488"/>
                </a:lnTo>
                <a:lnTo>
                  <a:pt x="1074" y="1484"/>
                </a:lnTo>
                <a:lnTo>
                  <a:pt x="1082" y="1479"/>
                </a:lnTo>
                <a:lnTo>
                  <a:pt x="1106" y="1460"/>
                </a:lnTo>
                <a:lnTo>
                  <a:pt x="1106" y="1460"/>
                </a:lnTo>
                <a:lnTo>
                  <a:pt x="1114" y="1455"/>
                </a:lnTo>
                <a:lnTo>
                  <a:pt x="1123" y="1453"/>
                </a:lnTo>
                <a:lnTo>
                  <a:pt x="1143" y="1449"/>
                </a:lnTo>
                <a:lnTo>
                  <a:pt x="1165" y="1447"/>
                </a:lnTo>
                <a:lnTo>
                  <a:pt x="1186" y="1445"/>
                </a:lnTo>
                <a:lnTo>
                  <a:pt x="1196" y="1442"/>
                </a:lnTo>
                <a:lnTo>
                  <a:pt x="1205" y="1440"/>
                </a:lnTo>
                <a:lnTo>
                  <a:pt x="1213" y="1437"/>
                </a:lnTo>
                <a:lnTo>
                  <a:pt x="1220" y="1432"/>
                </a:lnTo>
                <a:lnTo>
                  <a:pt x="1226" y="1425"/>
                </a:lnTo>
                <a:lnTo>
                  <a:pt x="1230" y="1418"/>
                </a:lnTo>
                <a:lnTo>
                  <a:pt x="1234" y="1408"/>
                </a:lnTo>
                <a:lnTo>
                  <a:pt x="1235" y="1396"/>
                </a:lnTo>
                <a:lnTo>
                  <a:pt x="1235" y="1396"/>
                </a:lnTo>
                <a:lnTo>
                  <a:pt x="1235" y="1361"/>
                </a:lnTo>
                <a:lnTo>
                  <a:pt x="1235" y="1361"/>
                </a:lnTo>
                <a:lnTo>
                  <a:pt x="1235" y="1346"/>
                </a:lnTo>
                <a:lnTo>
                  <a:pt x="1237" y="1332"/>
                </a:lnTo>
                <a:lnTo>
                  <a:pt x="1241" y="1319"/>
                </a:lnTo>
                <a:lnTo>
                  <a:pt x="1245" y="1308"/>
                </a:lnTo>
                <a:lnTo>
                  <a:pt x="1255" y="1285"/>
                </a:lnTo>
                <a:lnTo>
                  <a:pt x="1259" y="1273"/>
                </a:lnTo>
                <a:lnTo>
                  <a:pt x="1264" y="1260"/>
                </a:lnTo>
                <a:lnTo>
                  <a:pt x="1264" y="1260"/>
                </a:lnTo>
                <a:lnTo>
                  <a:pt x="1266" y="1250"/>
                </a:lnTo>
                <a:lnTo>
                  <a:pt x="1267" y="1240"/>
                </a:lnTo>
                <a:lnTo>
                  <a:pt x="1270" y="1219"/>
                </a:lnTo>
                <a:lnTo>
                  <a:pt x="1271" y="1210"/>
                </a:lnTo>
                <a:lnTo>
                  <a:pt x="1273" y="1201"/>
                </a:lnTo>
                <a:lnTo>
                  <a:pt x="1277" y="1193"/>
                </a:lnTo>
                <a:lnTo>
                  <a:pt x="1283" y="1183"/>
                </a:lnTo>
                <a:lnTo>
                  <a:pt x="1283" y="1183"/>
                </a:lnTo>
                <a:lnTo>
                  <a:pt x="1296" y="1194"/>
                </a:lnTo>
                <a:lnTo>
                  <a:pt x="1303" y="1197"/>
                </a:lnTo>
                <a:lnTo>
                  <a:pt x="1308" y="1198"/>
                </a:lnTo>
                <a:lnTo>
                  <a:pt x="1312" y="1198"/>
                </a:lnTo>
                <a:lnTo>
                  <a:pt x="1312" y="1198"/>
                </a:lnTo>
                <a:lnTo>
                  <a:pt x="1320" y="1198"/>
                </a:lnTo>
                <a:lnTo>
                  <a:pt x="1326" y="1196"/>
                </a:lnTo>
                <a:lnTo>
                  <a:pt x="1339" y="1189"/>
                </a:lnTo>
                <a:lnTo>
                  <a:pt x="1344" y="1186"/>
                </a:lnTo>
                <a:lnTo>
                  <a:pt x="1351" y="1182"/>
                </a:lnTo>
                <a:lnTo>
                  <a:pt x="1358" y="1180"/>
                </a:lnTo>
                <a:lnTo>
                  <a:pt x="1367" y="1180"/>
                </a:lnTo>
                <a:lnTo>
                  <a:pt x="1367" y="1180"/>
                </a:lnTo>
                <a:lnTo>
                  <a:pt x="1357" y="1134"/>
                </a:lnTo>
                <a:lnTo>
                  <a:pt x="1347" y="1086"/>
                </a:lnTo>
                <a:lnTo>
                  <a:pt x="1338" y="1034"/>
                </a:lnTo>
                <a:lnTo>
                  <a:pt x="1327" y="982"/>
                </a:lnTo>
                <a:lnTo>
                  <a:pt x="1327" y="982"/>
                </a:lnTo>
                <a:lnTo>
                  <a:pt x="1326" y="975"/>
                </a:lnTo>
                <a:lnTo>
                  <a:pt x="1327" y="969"/>
                </a:lnTo>
                <a:lnTo>
                  <a:pt x="1331" y="962"/>
                </a:lnTo>
                <a:lnTo>
                  <a:pt x="1335" y="956"/>
                </a:lnTo>
                <a:lnTo>
                  <a:pt x="1349" y="942"/>
                </a:lnTo>
                <a:lnTo>
                  <a:pt x="1365" y="928"/>
                </a:lnTo>
                <a:lnTo>
                  <a:pt x="1381" y="912"/>
                </a:lnTo>
                <a:lnTo>
                  <a:pt x="1389" y="904"/>
                </a:lnTo>
                <a:lnTo>
                  <a:pt x="1396" y="895"/>
                </a:lnTo>
                <a:lnTo>
                  <a:pt x="1402" y="886"/>
                </a:lnTo>
                <a:lnTo>
                  <a:pt x="1407" y="876"/>
                </a:lnTo>
                <a:lnTo>
                  <a:pt x="1410" y="867"/>
                </a:lnTo>
                <a:lnTo>
                  <a:pt x="1411" y="857"/>
                </a:lnTo>
                <a:lnTo>
                  <a:pt x="1411" y="857"/>
                </a:lnTo>
                <a:lnTo>
                  <a:pt x="1411" y="851"/>
                </a:lnTo>
                <a:lnTo>
                  <a:pt x="1410" y="844"/>
                </a:lnTo>
                <a:lnTo>
                  <a:pt x="1408" y="837"/>
                </a:lnTo>
                <a:lnTo>
                  <a:pt x="1405" y="831"/>
                </a:lnTo>
                <a:lnTo>
                  <a:pt x="1402" y="824"/>
                </a:lnTo>
                <a:lnTo>
                  <a:pt x="1398" y="819"/>
                </a:lnTo>
                <a:lnTo>
                  <a:pt x="1393" y="813"/>
                </a:lnTo>
                <a:lnTo>
                  <a:pt x="1387" y="807"/>
                </a:lnTo>
                <a:lnTo>
                  <a:pt x="1380" y="802"/>
                </a:lnTo>
                <a:lnTo>
                  <a:pt x="1373" y="798"/>
                </a:lnTo>
                <a:lnTo>
                  <a:pt x="1365" y="794"/>
                </a:lnTo>
                <a:lnTo>
                  <a:pt x="1355" y="791"/>
                </a:lnTo>
                <a:lnTo>
                  <a:pt x="1346" y="790"/>
                </a:lnTo>
                <a:lnTo>
                  <a:pt x="1334" y="789"/>
                </a:lnTo>
                <a:lnTo>
                  <a:pt x="1321" y="789"/>
                </a:lnTo>
                <a:lnTo>
                  <a:pt x="1309" y="791"/>
                </a:lnTo>
                <a:lnTo>
                  <a:pt x="1309" y="791"/>
                </a:lnTo>
                <a:lnTo>
                  <a:pt x="1287" y="793"/>
                </a:lnTo>
                <a:lnTo>
                  <a:pt x="1266" y="796"/>
                </a:lnTo>
                <a:lnTo>
                  <a:pt x="1245" y="797"/>
                </a:lnTo>
                <a:lnTo>
                  <a:pt x="1227" y="797"/>
                </a:lnTo>
                <a:lnTo>
                  <a:pt x="1191" y="796"/>
                </a:lnTo>
                <a:lnTo>
                  <a:pt x="1174" y="796"/>
                </a:lnTo>
                <a:lnTo>
                  <a:pt x="1158" y="797"/>
                </a:lnTo>
                <a:lnTo>
                  <a:pt x="1143" y="800"/>
                </a:lnTo>
                <a:lnTo>
                  <a:pt x="1128" y="804"/>
                </a:lnTo>
                <a:lnTo>
                  <a:pt x="1114" y="811"/>
                </a:lnTo>
                <a:lnTo>
                  <a:pt x="1102" y="819"/>
                </a:lnTo>
                <a:lnTo>
                  <a:pt x="1089" y="830"/>
                </a:lnTo>
                <a:lnTo>
                  <a:pt x="1076" y="845"/>
                </a:lnTo>
                <a:lnTo>
                  <a:pt x="1066" y="863"/>
                </a:lnTo>
                <a:lnTo>
                  <a:pt x="1054" y="886"/>
                </a:lnTo>
                <a:lnTo>
                  <a:pt x="1054" y="886"/>
                </a:lnTo>
                <a:lnTo>
                  <a:pt x="1046" y="895"/>
                </a:lnTo>
                <a:lnTo>
                  <a:pt x="1037" y="901"/>
                </a:lnTo>
                <a:lnTo>
                  <a:pt x="1029" y="905"/>
                </a:lnTo>
                <a:lnTo>
                  <a:pt x="1020" y="907"/>
                </a:lnTo>
                <a:lnTo>
                  <a:pt x="1012" y="908"/>
                </a:lnTo>
                <a:lnTo>
                  <a:pt x="1004" y="907"/>
                </a:lnTo>
                <a:lnTo>
                  <a:pt x="997" y="905"/>
                </a:lnTo>
                <a:lnTo>
                  <a:pt x="990" y="901"/>
                </a:lnTo>
                <a:lnTo>
                  <a:pt x="984" y="898"/>
                </a:lnTo>
                <a:lnTo>
                  <a:pt x="981" y="892"/>
                </a:lnTo>
                <a:lnTo>
                  <a:pt x="977" y="888"/>
                </a:lnTo>
                <a:lnTo>
                  <a:pt x="976" y="881"/>
                </a:lnTo>
                <a:lnTo>
                  <a:pt x="976" y="875"/>
                </a:lnTo>
                <a:lnTo>
                  <a:pt x="978" y="869"/>
                </a:lnTo>
                <a:lnTo>
                  <a:pt x="983" y="862"/>
                </a:lnTo>
                <a:lnTo>
                  <a:pt x="989" y="857"/>
                </a:lnTo>
                <a:lnTo>
                  <a:pt x="989" y="857"/>
                </a:lnTo>
                <a:lnTo>
                  <a:pt x="997" y="851"/>
                </a:lnTo>
                <a:lnTo>
                  <a:pt x="1005" y="844"/>
                </a:lnTo>
                <a:lnTo>
                  <a:pt x="1021" y="834"/>
                </a:lnTo>
                <a:lnTo>
                  <a:pt x="1036" y="823"/>
                </a:lnTo>
                <a:lnTo>
                  <a:pt x="1050" y="813"/>
                </a:lnTo>
                <a:lnTo>
                  <a:pt x="1057" y="807"/>
                </a:lnTo>
                <a:lnTo>
                  <a:pt x="1061" y="800"/>
                </a:lnTo>
                <a:lnTo>
                  <a:pt x="1067" y="793"/>
                </a:lnTo>
                <a:lnTo>
                  <a:pt x="1071" y="785"/>
                </a:lnTo>
                <a:lnTo>
                  <a:pt x="1073" y="776"/>
                </a:lnTo>
                <a:lnTo>
                  <a:pt x="1074" y="765"/>
                </a:lnTo>
                <a:lnTo>
                  <a:pt x="1074" y="753"/>
                </a:lnTo>
                <a:lnTo>
                  <a:pt x="1073" y="739"/>
                </a:lnTo>
                <a:lnTo>
                  <a:pt x="1073" y="739"/>
                </a:lnTo>
                <a:lnTo>
                  <a:pt x="1071" y="722"/>
                </a:lnTo>
                <a:lnTo>
                  <a:pt x="1067" y="707"/>
                </a:lnTo>
                <a:lnTo>
                  <a:pt x="1064" y="693"/>
                </a:lnTo>
                <a:lnTo>
                  <a:pt x="1060" y="681"/>
                </a:lnTo>
                <a:lnTo>
                  <a:pt x="1056" y="669"/>
                </a:lnTo>
                <a:lnTo>
                  <a:pt x="1050" y="660"/>
                </a:lnTo>
                <a:lnTo>
                  <a:pt x="1044" y="651"/>
                </a:lnTo>
                <a:lnTo>
                  <a:pt x="1038" y="644"/>
                </a:lnTo>
                <a:lnTo>
                  <a:pt x="1033" y="637"/>
                </a:lnTo>
                <a:lnTo>
                  <a:pt x="1026" y="631"/>
                </a:lnTo>
                <a:lnTo>
                  <a:pt x="1019" y="626"/>
                </a:lnTo>
                <a:lnTo>
                  <a:pt x="1012" y="623"/>
                </a:lnTo>
                <a:lnTo>
                  <a:pt x="997" y="616"/>
                </a:lnTo>
                <a:lnTo>
                  <a:pt x="982" y="613"/>
                </a:lnTo>
                <a:lnTo>
                  <a:pt x="966" y="610"/>
                </a:lnTo>
                <a:lnTo>
                  <a:pt x="951" y="608"/>
                </a:lnTo>
                <a:lnTo>
                  <a:pt x="936" y="607"/>
                </a:lnTo>
                <a:lnTo>
                  <a:pt x="921" y="605"/>
                </a:lnTo>
                <a:lnTo>
                  <a:pt x="908" y="600"/>
                </a:lnTo>
                <a:lnTo>
                  <a:pt x="903" y="598"/>
                </a:lnTo>
                <a:lnTo>
                  <a:pt x="897" y="594"/>
                </a:lnTo>
                <a:lnTo>
                  <a:pt x="891" y="591"/>
                </a:lnTo>
                <a:lnTo>
                  <a:pt x="886" y="586"/>
                </a:lnTo>
                <a:lnTo>
                  <a:pt x="882" y="580"/>
                </a:lnTo>
                <a:lnTo>
                  <a:pt x="878" y="575"/>
                </a:lnTo>
                <a:lnTo>
                  <a:pt x="878" y="575"/>
                </a:lnTo>
                <a:lnTo>
                  <a:pt x="878" y="567"/>
                </a:lnTo>
                <a:lnTo>
                  <a:pt x="880" y="560"/>
                </a:lnTo>
                <a:lnTo>
                  <a:pt x="881" y="554"/>
                </a:lnTo>
                <a:lnTo>
                  <a:pt x="884" y="549"/>
                </a:lnTo>
                <a:lnTo>
                  <a:pt x="888" y="546"/>
                </a:lnTo>
                <a:lnTo>
                  <a:pt x="891" y="542"/>
                </a:lnTo>
                <a:lnTo>
                  <a:pt x="897" y="540"/>
                </a:lnTo>
                <a:lnTo>
                  <a:pt x="901" y="539"/>
                </a:lnTo>
                <a:lnTo>
                  <a:pt x="914" y="537"/>
                </a:lnTo>
                <a:lnTo>
                  <a:pt x="928" y="537"/>
                </a:lnTo>
                <a:lnTo>
                  <a:pt x="958" y="537"/>
                </a:lnTo>
                <a:lnTo>
                  <a:pt x="972" y="537"/>
                </a:lnTo>
                <a:lnTo>
                  <a:pt x="985" y="536"/>
                </a:lnTo>
                <a:lnTo>
                  <a:pt x="998" y="532"/>
                </a:lnTo>
                <a:lnTo>
                  <a:pt x="1003" y="529"/>
                </a:lnTo>
                <a:lnTo>
                  <a:pt x="1007" y="525"/>
                </a:lnTo>
                <a:lnTo>
                  <a:pt x="1012" y="522"/>
                </a:lnTo>
                <a:lnTo>
                  <a:pt x="1015" y="517"/>
                </a:lnTo>
                <a:lnTo>
                  <a:pt x="1018" y="510"/>
                </a:lnTo>
                <a:lnTo>
                  <a:pt x="1019" y="503"/>
                </a:lnTo>
                <a:lnTo>
                  <a:pt x="1019" y="495"/>
                </a:lnTo>
                <a:lnTo>
                  <a:pt x="1019" y="486"/>
                </a:lnTo>
                <a:lnTo>
                  <a:pt x="1018" y="476"/>
                </a:lnTo>
                <a:lnTo>
                  <a:pt x="1014" y="463"/>
                </a:lnTo>
                <a:lnTo>
                  <a:pt x="1014" y="463"/>
                </a:lnTo>
                <a:lnTo>
                  <a:pt x="1013" y="449"/>
                </a:lnTo>
                <a:lnTo>
                  <a:pt x="1013" y="438"/>
                </a:lnTo>
                <a:lnTo>
                  <a:pt x="1013" y="427"/>
                </a:lnTo>
                <a:lnTo>
                  <a:pt x="1015" y="419"/>
                </a:lnTo>
                <a:lnTo>
                  <a:pt x="1018" y="412"/>
                </a:lnTo>
                <a:lnTo>
                  <a:pt x="1020" y="408"/>
                </a:lnTo>
                <a:lnTo>
                  <a:pt x="1025" y="403"/>
                </a:lnTo>
                <a:lnTo>
                  <a:pt x="1028" y="401"/>
                </a:lnTo>
                <a:lnTo>
                  <a:pt x="1033" y="399"/>
                </a:lnTo>
                <a:lnTo>
                  <a:pt x="1038" y="399"/>
                </a:lnTo>
                <a:lnTo>
                  <a:pt x="1049" y="399"/>
                </a:lnTo>
                <a:lnTo>
                  <a:pt x="1069" y="401"/>
                </a:lnTo>
                <a:lnTo>
                  <a:pt x="1069" y="401"/>
                </a:lnTo>
                <a:lnTo>
                  <a:pt x="1090" y="403"/>
                </a:lnTo>
                <a:lnTo>
                  <a:pt x="1106" y="403"/>
                </a:lnTo>
                <a:lnTo>
                  <a:pt x="1120" y="402"/>
                </a:lnTo>
                <a:lnTo>
                  <a:pt x="1130" y="397"/>
                </a:lnTo>
                <a:lnTo>
                  <a:pt x="1138" y="393"/>
                </a:lnTo>
                <a:lnTo>
                  <a:pt x="1144" y="387"/>
                </a:lnTo>
                <a:lnTo>
                  <a:pt x="1150" y="380"/>
                </a:lnTo>
                <a:lnTo>
                  <a:pt x="1152" y="372"/>
                </a:lnTo>
                <a:lnTo>
                  <a:pt x="1158" y="356"/>
                </a:lnTo>
                <a:lnTo>
                  <a:pt x="1163" y="342"/>
                </a:lnTo>
                <a:lnTo>
                  <a:pt x="1166" y="335"/>
                </a:lnTo>
                <a:lnTo>
                  <a:pt x="1170" y="331"/>
                </a:lnTo>
                <a:lnTo>
                  <a:pt x="1175" y="326"/>
                </a:lnTo>
                <a:lnTo>
                  <a:pt x="1183" y="324"/>
                </a:lnTo>
                <a:lnTo>
                  <a:pt x="1183" y="324"/>
                </a:lnTo>
                <a:lnTo>
                  <a:pt x="1197" y="321"/>
                </a:lnTo>
                <a:lnTo>
                  <a:pt x="1209" y="317"/>
                </a:lnTo>
                <a:lnTo>
                  <a:pt x="1220" y="310"/>
                </a:lnTo>
                <a:lnTo>
                  <a:pt x="1229" y="303"/>
                </a:lnTo>
                <a:lnTo>
                  <a:pt x="1239" y="294"/>
                </a:lnTo>
                <a:lnTo>
                  <a:pt x="1245" y="285"/>
                </a:lnTo>
                <a:lnTo>
                  <a:pt x="1252" y="274"/>
                </a:lnTo>
                <a:lnTo>
                  <a:pt x="1258" y="264"/>
                </a:lnTo>
                <a:lnTo>
                  <a:pt x="1262" y="254"/>
                </a:lnTo>
                <a:lnTo>
                  <a:pt x="1265" y="244"/>
                </a:lnTo>
                <a:lnTo>
                  <a:pt x="1266" y="234"/>
                </a:lnTo>
                <a:lnTo>
                  <a:pt x="1267" y="225"/>
                </a:lnTo>
                <a:lnTo>
                  <a:pt x="1266" y="217"/>
                </a:lnTo>
                <a:lnTo>
                  <a:pt x="1264" y="209"/>
                </a:lnTo>
                <a:lnTo>
                  <a:pt x="1262" y="203"/>
                </a:lnTo>
                <a:lnTo>
                  <a:pt x="1257" y="200"/>
                </a:lnTo>
                <a:lnTo>
                  <a:pt x="1257" y="200"/>
                </a:lnTo>
                <a:lnTo>
                  <a:pt x="1237" y="208"/>
                </a:lnTo>
                <a:lnTo>
                  <a:pt x="1229" y="211"/>
                </a:lnTo>
                <a:lnTo>
                  <a:pt x="1221" y="212"/>
                </a:lnTo>
                <a:lnTo>
                  <a:pt x="1214" y="213"/>
                </a:lnTo>
                <a:lnTo>
                  <a:pt x="1207" y="213"/>
                </a:lnTo>
                <a:lnTo>
                  <a:pt x="1202" y="213"/>
                </a:lnTo>
                <a:lnTo>
                  <a:pt x="1196" y="212"/>
                </a:lnTo>
                <a:lnTo>
                  <a:pt x="1186" y="208"/>
                </a:lnTo>
                <a:lnTo>
                  <a:pt x="1178" y="203"/>
                </a:lnTo>
                <a:lnTo>
                  <a:pt x="1170" y="196"/>
                </a:lnTo>
                <a:lnTo>
                  <a:pt x="1163" y="188"/>
                </a:lnTo>
                <a:lnTo>
                  <a:pt x="1155" y="181"/>
                </a:lnTo>
                <a:lnTo>
                  <a:pt x="1148" y="174"/>
                </a:lnTo>
                <a:lnTo>
                  <a:pt x="1140" y="168"/>
                </a:lnTo>
                <a:lnTo>
                  <a:pt x="1129" y="164"/>
                </a:lnTo>
                <a:lnTo>
                  <a:pt x="1125" y="163"/>
                </a:lnTo>
                <a:lnTo>
                  <a:pt x="1119" y="163"/>
                </a:lnTo>
                <a:lnTo>
                  <a:pt x="1113" y="163"/>
                </a:lnTo>
                <a:lnTo>
                  <a:pt x="1106" y="164"/>
                </a:lnTo>
                <a:lnTo>
                  <a:pt x="1098" y="166"/>
                </a:lnTo>
                <a:lnTo>
                  <a:pt x="1091" y="168"/>
                </a:lnTo>
                <a:lnTo>
                  <a:pt x="1073" y="178"/>
                </a:lnTo>
                <a:lnTo>
                  <a:pt x="1073" y="178"/>
                </a:lnTo>
                <a:lnTo>
                  <a:pt x="1065" y="181"/>
                </a:lnTo>
                <a:lnTo>
                  <a:pt x="1062" y="181"/>
                </a:lnTo>
                <a:lnTo>
                  <a:pt x="1061" y="181"/>
                </a:lnTo>
                <a:lnTo>
                  <a:pt x="1060" y="180"/>
                </a:lnTo>
                <a:lnTo>
                  <a:pt x="1060" y="179"/>
                </a:lnTo>
                <a:lnTo>
                  <a:pt x="1062" y="173"/>
                </a:lnTo>
                <a:lnTo>
                  <a:pt x="1072" y="155"/>
                </a:lnTo>
                <a:lnTo>
                  <a:pt x="1077" y="143"/>
                </a:lnTo>
                <a:lnTo>
                  <a:pt x="1082" y="129"/>
                </a:lnTo>
                <a:lnTo>
                  <a:pt x="1087" y="114"/>
                </a:lnTo>
                <a:lnTo>
                  <a:pt x="1088" y="98"/>
                </a:lnTo>
                <a:lnTo>
                  <a:pt x="1089" y="90"/>
                </a:lnTo>
                <a:lnTo>
                  <a:pt x="1088" y="82"/>
                </a:lnTo>
                <a:lnTo>
                  <a:pt x="1087" y="73"/>
                </a:lnTo>
                <a:lnTo>
                  <a:pt x="1084" y="65"/>
                </a:lnTo>
                <a:lnTo>
                  <a:pt x="1081" y="57"/>
                </a:lnTo>
                <a:lnTo>
                  <a:pt x="1076" y="49"/>
                </a:lnTo>
                <a:lnTo>
                  <a:pt x="1071" y="40"/>
                </a:lnTo>
                <a:lnTo>
                  <a:pt x="1064" y="32"/>
                </a:lnTo>
                <a:lnTo>
                  <a:pt x="1056" y="23"/>
                </a:lnTo>
                <a:lnTo>
                  <a:pt x="1046" y="15"/>
                </a:lnTo>
                <a:lnTo>
                  <a:pt x="1035" y="9"/>
                </a:lnTo>
                <a:lnTo>
                  <a:pt x="1022" y="0"/>
                </a:lnTo>
                <a:lnTo>
                  <a:pt x="1022" y="0"/>
                </a:lnTo>
                <a:lnTo>
                  <a:pt x="988" y="20"/>
                </a:lnTo>
                <a:lnTo>
                  <a:pt x="955" y="38"/>
                </a:lnTo>
                <a:lnTo>
                  <a:pt x="939" y="46"/>
                </a:lnTo>
                <a:lnTo>
                  <a:pt x="924" y="56"/>
                </a:lnTo>
                <a:lnTo>
                  <a:pt x="911" y="66"/>
                </a:lnTo>
                <a:lnTo>
                  <a:pt x="897" y="76"/>
                </a:lnTo>
                <a:lnTo>
                  <a:pt x="885" y="88"/>
                </a:lnTo>
                <a:lnTo>
                  <a:pt x="874" y="101"/>
                </a:lnTo>
                <a:lnTo>
                  <a:pt x="865" y="116"/>
                </a:lnTo>
                <a:lnTo>
                  <a:pt x="855" y="132"/>
                </a:lnTo>
                <a:lnTo>
                  <a:pt x="848" y="149"/>
                </a:lnTo>
                <a:lnTo>
                  <a:pt x="844" y="170"/>
                </a:lnTo>
                <a:lnTo>
                  <a:pt x="840" y="193"/>
                </a:lnTo>
                <a:lnTo>
                  <a:pt x="838" y="218"/>
                </a:lnTo>
                <a:lnTo>
                  <a:pt x="838" y="218"/>
                </a:lnTo>
                <a:lnTo>
                  <a:pt x="848" y="216"/>
                </a:lnTo>
                <a:lnTo>
                  <a:pt x="860" y="213"/>
                </a:lnTo>
                <a:lnTo>
                  <a:pt x="875" y="212"/>
                </a:lnTo>
                <a:lnTo>
                  <a:pt x="892" y="212"/>
                </a:lnTo>
                <a:lnTo>
                  <a:pt x="909" y="214"/>
                </a:lnTo>
                <a:lnTo>
                  <a:pt x="919" y="217"/>
                </a:lnTo>
                <a:lnTo>
                  <a:pt x="928" y="219"/>
                </a:lnTo>
                <a:lnTo>
                  <a:pt x="936" y="224"/>
                </a:lnTo>
                <a:lnTo>
                  <a:pt x="945" y="228"/>
                </a:lnTo>
                <a:lnTo>
                  <a:pt x="945" y="228"/>
                </a:lnTo>
                <a:lnTo>
                  <a:pt x="943" y="261"/>
                </a:lnTo>
                <a:lnTo>
                  <a:pt x="941" y="271"/>
                </a:lnTo>
                <a:lnTo>
                  <a:pt x="939" y="275"/>
                </a:lnTo>
                <a:lnTo>
                  <a:pt x="937" y="279"/>
                </a:lnTo>
                <a:lnTo>
                  <a:pt x="934" y="282"/>
                </a:lnTo>
                <a:lnTo>
                  <a:pt x="930" y="285"/>
                </a:lnTo>
                <a:lnTo>
                  <a:pt x="927" y="287"/>
                </a:lnTo>
                <a:lnTo>
                  <a:pt x="921" y="288"/>
                </a:lnTo>
                <a:lnTo>
                  <a:pt x="907" y="290"/>
                </a:lnTo>
                <a:lnTo>
                  <a:pt x="890" y="290"/>
                </a:lnTo>
                <a:lnTo>
                  <a:pt x="890" y="290"/>
                </a:lnTo>
                <a:lnTo>
                  <a:pt x="883" y="290"/>
                </a:lnTo>
                <a:lnTo>
                  <a:pt x="877" y="288"/>
                </a:lnTo>
                <a:lnTo>
                  <a:pt x="863" y="282"/>
                </a:lnTo>
                <a:lnTo>
                  <a:pt x="850" y="275"/>
                </a:lnTo>
                <a:lnTo>
                  <a:pt x="832" y="269"/>
                </a:lnTo>
                <a:lnTo>
                  <a:pt x="822" y="265"/>
                </a:lnTo>
                <a:lnTo>
                  <a:pt x="812" y="263"/>
                </a:lnTo>
                <a:lnTo>
                  <a:pt x="800" y="262"/>
                </a:lnTo>
                <a:lnTo>
                  <a:pt x="787" y="262"/>
                </a:lnTo>
                <a:lnTo>
                  <a:pt x="774" y="263"/>
                </a:lnTo>
                <a:lnTo>
                  <a:pt x="759" y="265"/>
                </a:lnTo>
                <a:lnTo>
                  <a:pt x="743" y="270"/>
                </a:lnTo>
                <a:lnTo>
                  <a:pt x="724" y="275"/>
                </a:lnTo>
                <a:lnTo>
                  <a:pt x="724" y="275"/>
                </a:lnTo>
                <a:lnTo>
                  <a:pt x="700" y="301"/>
                </a:lnTo>
                <a:lnTo>
                  <a:pt x="676" y="324"/>
                </a:lnTo>
                <a:lnTo>
                  <a:pt x="649" y="345"/>
                </a:lnTo>
                <a:lnTo>
                  <a:pt x="623" y="365"/>
                </a:lnTo>
                <a:lnTo>
                  <a:pt x="595" y="384"/>
                </a:lnTo>
                <a:lnTo>
                  <a:pt x="569" y="402"/>
                </a:lnTo>
                <a:lnTo>
                  <a:pt x="514" y="438"/>
                </a:lnTo>
                <a:lnTo>
                  <a:pt x="486" y="456"/>
                </a:lnTo>
                <a:lnTo>
                  <a:pt x="460" y="475"/>
                </a:lnTo>
                <a:lnTo>
                  <a:pt x="433" y="494"/>
                </a:lnTo>
                <a:lnTo>
                  <a:pt x="408" y="514"/>
                </a:lnTo>
                <a:lnTo>
                  <a:pt x="382" y="536"/>
                </a:lnTo>
                <a:lnTo>
                  <a:pt x="359" y="559"/>
                </a:lnTo>
                <a:lnTo>
                  <a:pt x="338" y="584"/>
                </a:lnTo>
                <a:lnTo>
                  <a:pt x="317" y="610"/>
                </a:lnTo>
                <a:lnTo>
                  <a:pt x="317" y="610"/>
                </a:lnTo>
                <a:lnTo>
                  <a:pt x="305" y="629"/>
                </a:lnTo>
                <a:lnTo>
                  <a:pt x="295" y="648"/>
                </a:lnTo>
                <a:lnTo>
                  <a:pt x="274" y="692"/>
                </a:lnTo>
                <a:lnTo>
                  <a:pt x="252" y="738"/>
                </a:lnTo>
                <a:lnTo>
                  <a:pt x="241" y="759"/>
                </a:lnTo>
                <a:lnTo>
                  <a:pt x="228" y="779"/>
                </a:lnTo>
                <a:lnTo>
                  <a:pt x="228" y="779"/>
                </a:lnTo>
                <a:lnTo>
                  <a:pt x="209" y="808"/>
                </a:lnTo>
                <a:lnTo>
                  <a:pt x="191" y="835"/>
                </a:lnTo>
                <a:lnTo>
                  <a:pt x="162" y="880"/>
                </a:lnTo>
                <a:lnTo>
                  <a:pt x="151" y="898"/>
                </a:lnTo>
                <a:lnTo>
                  <a:pt x="145" y="912"/>
                </a:lnTo>
                <a:lnTo>
                  <a:pt x="144" y="918"/>
                </a:lnTo>
                <a:lnTo>
                  <a:pt x="144" y="923"/>
                </a:lnTo>
                <a:lnTo>
                  <a:pt x="145" y="927"/>
                </a:lnTo>
                <a:lnTo>
                  <a:pt x="148" y="930"/>
                </a:lnTo>
                <a:lnTo>
                  <a:pt x="148" y="930"/>
                </a:lnTo>
                <a:lnTo>
                  <a:pt x="167" y="944"/>
                </a:lnTo>
                <a:lnTo>
                  <a:pt x="182" y="952"/>
                </a:lnTo>
                <a:lnTo>
                  <a:pt x="195" y="957"/>
                </a:lnTo>
                <a:lnTo>
                  <a:pt x="206" y="959"/>
                </a:lnTo>
                <a:lnTo>
                  <a:pt x="217" y="959"/>
                </a:lnTo>
                <a:lnTo>
                  <a:pt x="228" y="958"/>
                </a:lnTo>
                <a:lnTo>
                  <a:pt x="243" y="958"/>
                </a:lnTo>
                <a:lnTo>
                  <a:pt x="262" y="960"/>
                </a:lnTo>
                <a:lnTo>
                  <a:pt x="262" y="960"/>
                </a:lnTo>
                <a:lnTo>
                  <a:pt x="270" y="957"/>
                </a:lnTo>
                <a:lnTo>
                  <a:pt x="278" y="954"/>
                </a:lnTo>
                <a:lnTo>
                  <a:pt x="285" y="956"/>
                </a:lnTo>
                <a:lnTo>
                  <a:pt x="290" y="958"/>
                </a:lnTo>
                <a:lnTo>
                  <a:pt x="295" y="961"/>
                </a:lnTo>
                <a:lnTo>
                  <a:pt x="300" y="966"/>
                </a:lnTo>
                <a:lnTo>
                  <a:pt x="304" y="972"/>
                </a:lnTo>
                <a:lnTo>
                  <a:pt x="306" y="977"/>
                </a:lnTo>
                <a:lnTo>
                  <a:pt x="311" y="990"/>
                </a:lnTo>
                <a:lnTo>
                  <a:pt x="315" y="1003"/>
                </a:lnTo>
                <a:lnTo>
                  <a:pt x="317" y="1014"/>
                </a:lnTo>
                <a:lnTo>
                  <a:pt x="317" y="1014"/>
                </a:lnTo>
                <a:lnTo>
                  <a:pt x="312" y="1019"/>
                </a:lnTo>
                <a:lnTo>
                  <a:pt x="310" y="1022"/>
                </a:lnTo>
                <a:lnTo>
                  <a:pt x="308" y="1031"/>
                </a:lnTo>
                <a:lnTo>
                  <a:pt x="305" y="1041"/>
                </a:lnTo>
                <a:lnTo>
                  <a:pt x="302" y="1050"/>
                </a:lnTo>
                <a:lnTo>
                  <a:pt x="300" y="1052"/>
                </a:lnTo>
                <a:lnTo>
                  <a:pt x="296" y="1056"/>
                </a:lnTo>
                <a:lnTo>
                  <a:pt x="292" y="1057"/>
                </a:lnTo>
                <a:lnTo>
                  <a:pt x="286" y="1058"/>
                </a:lnTo>
                <a:lnTo>
                  <a:pt x="278" y="1058"/>
                </a:lnTo>
                <a:lnTo>
                  <a:pt x="269" y="1056"/>
                </a:lnTo>
                <a:lnTo>
                  <a:pt x="257" y="1052"/>
                </a:lnTo>
                <a:lnTo>
                  <a:pt x="243" y="1048"/>
                </a:lnTo>
                <a:lnTo>
                  <a:pt x="243" y="1048"/>
                </a:lnTo>
                <a:lnTo>
                  <a:pt x="237" y="1057"/>
                </a:lnTo>
                <a:lnTo>
                  <a:pt x="232" y="1064"/>
                </a:lnTo>
                <a:lnTo>
                  <a:pt x="225" y="1069"/>
                </a:lnTo>
                <a:lnTo>
                  <a:pt x="219" y="1073"/>
                </a:lnTo>
                <a:lnTo>
                  <a:pt x="212" y="1076"/>
                </a:lnTo>
                <a:lnTo>
                  <a:pt x="206" y="1079"/>
                </a:lnTo>
                <a:lnTo>
                  <a:pt x="199" y="1081"/>
                </a:lnTo>
                <a:lnTo>
                  <a:pt x="193" y="1081"/>
                </a:lnTo>
                <a:lnTo>
                  <a:pt x="185" y="1081"/>
                </a:lnTo>
                <a:lnTo>
                  <a:pt x="178" y="1079"/>
                </a:lnTo>
                <a:lnTo>
                  <a:pt x="163" y="1074"/>
                </a:lnTo>
                <a:lnTo>
                  <a:pt x="148" y="1067"/>
                </a:lnTo>
                <a:lnTo>
                  <a:pt x="133" y="1059"/>
                </a:lnTo>
                <a:lnTo>
                  <a:pt x="133" y="1059"/>
                </a:lnTo>
                <a:lnTo>
                  <a:pt x="127" y="1057"/>
                </a:lnTo>
                <a:lnTo>
                  <a:pt x="124" y="1056"/>
                </a:lnTo>
                <a:lnTo>
                  <a:pt x="121" y="1058"/>
                </a:lnTo>
                <a:lnTo>
                  <a:pt x="119" y="1061"/>
                </a:lnTo>
                <a:lnTo>
                  <a:pt x="119" y="1066"/>
                </a:lnTo>
                <a:lnTo>
                  <a:pt x="119" y="1072"/>
                </a:lnTo>
                <a:lnTo>
                  <a:pt x="120" y="1089"/>
                </a:lnTo>
                <a:lnTo>
                  <a:pt x="122" y="1109"/>
                </a:lnTo>
                <a:lnTo>
                  <a:pt x="124" y="1130"/>
                </a:lnTo>
                <a:lnTo>
                  <a:pt x="124" y="1142"/>
                </a:lnTo>
                <a:lnTo>
                  <a:pt x="122" y="1153"/>
                </a:lnTo>
                <a:lnTo>
                  <a:pt x="121" y="1165"/>
                </a:lnTo>
                <a:lnTo>
                  <a:pt x="118" y="1176"/>
                </a:lnTo>
                <a:lnTo>
                  <a:pt x="118" y="1176"/>
                </a:lnTo>
                <a:lnTo>
                  <a:pt x="114" y="1187"/>
                </a:lnTo>
                <a:lnTo>
                  <a:pt x="107" y="1197"/>
                </a:lnTo>
                <a:lnTo>
                  <a:pt x="101" y="1208"/>
                </a:lnTo>
                <a:lnTo>
                  <a:pt x="92" y="1216"/>
                </a:lnTo>
                <a:lnTo>
                  <a:pt x="73" y="1233"/>
                </a:lnTo>
                <a:lnTo>
                  <a:pt x="52" y="1249"/>
                </a:lnTo>
                <a:lnTo>
                  <a:pt x="43" y="1258"/>
                </a:lnTo>
                <a:lnTo>
                  <a:pt x="33" y="1266"/>
                </a:lnTo>
                <a:lnTo>
                  <a:pt x="25" y="1277"/>
                </a:lnTo>
                <a:lnTo>
                  <a:pt x="17" y="1287"/>
                </a:lnTo>
                <a:lnTo>
                  <a:pt x="10" y="1298"/>
                </a:lnTo>
                <a:lnTo>
                  <a:pt x="5" y="1311"/>
                </a:lnTo>
                <a:lnTo>
                  <a:pt x="2" y="1326"/>
                </a:lnTo>
                <a:lnTo>
                  <a:pt x="0" y="1341"/>
                </a:lnTo>
                <a:lnTo>
                  <a:pt x="0" y="1341"/>
                </a:lnTo>
                <a:lnTo>
                  <a:pt x="2" y="1349"/>
                </a:lnTo>
                <a:lnTo>
                  <a:pt x="2" y="1355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4" y="1361"/>
                </a:lnTo>
                <a:lnTo>
                  <a:pt x="11" y="1359"/>
                </a:lnTo>
                <a:lnTo>
                  <a:pt x="15" y="1359"/>
                </a:lnTo>
                <a:lnTo>
                  <a:pt x="23" y="1361"/>
                </a:lnTo>
                <a:lnTo>
                  <a:pt x="29" y="1363"/>
                </a:lnTo>
                <a:lnTo>
                  <a:pt x="34" y="1364"/>
                </a:lnTo>
                <a:lnTo>
                  <a:pt x="34" y="1364"/>
                </a:lnTo>
                <a:lnTo>
                  <a:pt x="42" y="1364"/>
                </a:lnTo>
                <a:lnTo>
                  <a:pt x="51" y="1366"/>
                </a:lnTo>
                <a:lnTo>
                  <a:pt x="60" y="1369"/>
                </a:lnTo>
                <a:lnTo>
                  <a:pt x="71" y="1372"/>
                </a:lnTo>
                <a:lnTo>
                  <a:pt x="92" y="1381"/>
                </a:lnTo>
                <a:lnTo>
                  <a:pt x="113" y="1393"/>
                </a:lnTo>
                <a:lnTo>
                  <a:pt x="124" y="1400"/>
                </a:lnTo>
                <a:lnTo>
                  <a:pt x="133" y="1407"/>
                </a:lnTo>
                <a:lnTo>
                  <a:pt x="141" y="1415"/>
                </a:lnTo>
                <a:lnTo>
                  <a:pt x="148" y="1423"/>
                </a:lnTo>
                <a:lnTo>
                  <a:pt x="153" y="1431"/>
                </a:lnTo>
                <a:lnTo>
                  <a:pt x="158" y="1439"/>
                </a:lnTo>
                <a:lnTo>
                  <a:pt x="162" y="1447"/>
                </a:lnTo>
                <a:lnTo>
                  <a:pt x="163" y="1455"/>
                </a:lnTo>
                <a:lnTo>
                  <a:pt x="163" y="1455"/>
                </a:lnTo>
                <a:lnTo>
                  <a:pt x="162" y="1468"/>
                </a:lnTo>
                <a:lnTo>
                  <a:pt x="159" y="1477"/>
                </a:lnTo>
                <a:lnTo>
                  <a:pt x="155" y="1485"/>
                </a:lnTo>
                <a:lnTo>
                  <a:pt x="151" y="1491"/>
                </a:lnTo>
                <a:lnTo>
                  <a:pt x="142" y="1500"/>
                </a:lnTo>
                <a:lnTo>
                  <a:pt x="138" y="1504"/>
                </a:lnTo>
                <a:lnTo>
                  <a:pt x="136" y="1511"/>
                </a:lnTo>
                <a:lnTo>
                  <a:pt x="136" y="1511"/>
                </a:lnTo>
                <a:lnTo>
                  <a:pt x="135" y="1516"/>
                </a:lnTo>
                <a:lnTo>
                  <a:pt x="134" y="1522"/>
                </a:lnTo>
                <a:lnTo>
                  <a:pt x="135" y="1531"/>
                </a:lnTo>
                <a:lnTo>
                  <a:pt x="137" y="1541"/>
                </a:lnTo>
                <a:lnTo>
                  <a:pt x="137" y="1546"/>
                </a:lnTo>
                <a:lnTo>
                  <a:pt x="136" y="1552"/>
                </a:lnTo>
                <a:lnTo>
                  <a:pt x="136" y="1552"/>
                </a:lnTo>
                <a:lnTo>
                  <a:pt x="134" y="1560"/>
                </a:lnTo>
                <a:lnTo>
                  <a:pt x="129" y="1567"/>
                </a:lnTo>
                <a:lnTo>
                  <a:pt x="121" y="1580"/>
                </a:lnTo>
                <a:lnTo>
                  <a:pt x="102" y="1607"/>
                </a:lnTo>
                <a:lnTo>
                  <a:pt x="92" y="1621"/>
                </a:lnTo>
                <a:lnTo>
                  <a:pt x="84" y="1634"/>
                </a:lnTo>
                <a:lnTo>
                  <a:pt x="82" y="1643"/>
                </a:lnTo>
                <a:lnTo>
                  <a:pt x="80" y="1651"/>
                </a:lnTo>
                <a:lnTo>
                  <a:pt x="79" y="1659"/>
                </a:lnTo>
                <a:lnTo>
                  <a:pt x="78" y="1668"/>
                </a:lnTo>
                <a:lnTo>
                  <a:pt x="78" y="1668"/>
                </a:lnTo>
                <a:lnTo>
                  <a:pt x="79" y="1678"/>
                </a:lnTo>
                <a:lnTo>
                  <a:pt x="80" y="1686"/>
                </a:lnTo>
                <a:lnTo>
                  <a:pt x="83" y="1692"/>
                </a:lnTo>
                <a:lnTo>
                  <a:pt x="88" y="1695"/>
                </a:lnTo>
                <a:lnTo>
                  <a:pt x="94" y="1698"/>
                </a:lnTo>
                <a:lnTo>
                  <a:pt x="101" y="1699"/>
                </a:lnTo>
                <a:lnTo>
                  <a:pt x="109" y="1699"/>
                </a:lnTo>
                <a:lnTo>
                  <a:pt x="118" y="1698"/>
                </a:lnTo>
                <a:lnTo>
                  <a:pt x="118" y="1698"/>
                </a:lnTo>
                <a:lnTo>
                  <a:pt x="120" y="1703"/>
                </a:lnTo>
                <a:lnTo>
                  <a:pt x="121" y="1708"/>
                </a:lnTo>
                <a:lnTo>
                  <a:pt x="122" y="1717"/>
                </a:lnTo>
                <a:lnTo>
                  <a:pt x="121" y="1735"/>
                </a:lnTo>
                <a:lnTo>
                  <a:pt x="121" y="1735"/>
                </a:lnTo>
                <a:lnTo>
                  <a:pt x="122" y="1739"/>
                </a:lnTo>
                <a:lnTo>
                  <a:pt x="126" y="1744"/>
                </a:lnTo>
                <a:lnTo>
                  <a:pt x="132" y="1750"/>
                </a:lnTo>
                <a:lnTo>
                  <a:pt x="138" y="1754"/>
                </a:lnTo>
                <a:lnTo>
                  <a:pt x="147" y="1758"/>
                </a:lnTo>
                <a:lnTo>
                  <a:pt x="156" y="1761"/>
                </a:lnTo>
                <a:lnTo>
                  <a:pt x="166" y="1763"/>
                </a:lnTo>
                <a:lnTo>
                  <a:pt x="176" y="1764"/>
                </a:lnTo>
                <a:lnTo>
                  <a:pt x="176" y="1764"/>
                </a:lnTo>
                <a:lnTo>
                  <a:pt x="183" y="1763"/>
                </a:lnTo>
                <a:lnTo>
                  <a:pt x="190" y="1762"/>
                </a:lnTo>
                <a:lnTo>
                  <a:pt x="203" y="1759"/>
                </a:lnTo>
                <a:lnTo>
                  <a:pt x="214" y="1755"/>
                </a:lnTo>
                <a:lnTo>
                  <a:pt x="221" y="1753"/>
                </a:lnTo>
                <a:lnTo>
                  <a:pt x="228" y="1753"/>
                </a:lnTo>
                <a:lnTo>
                  <a:pt x="228" y="1753"/>
                </a:lnTo>
                <a:lnTo>
                  <a:pt x="239" y="1754"/>
                </a:lnTo>
                <a:lnTo>
                  <a:pt x="247" y="1755"/>
                </a:lnTo>
                <a:lnTo>
                  <a:pt x="254" y="1759"/>
                </a:lnTo>
                <a:lnTo>
                  <a:pt x="259" y="1763"/>
                </a:lnTo>
                <a:lnTo>
                  <a:pt x="263" y="1768"/>
                </a:lnTo>
                <a:lnTo>
                  <a:pt x="266" y="1773"/>
                </a:lnTo>
                <a:lnTo>
                  <a:pt x="272" y="1785"/>
                </a:lnTo>
                <a:lnTo>
                  <a:pt x="277" y="1797"/>
                </a:lnTo>
                <a:lnTo>
                  <a:pt x="279" y="1802"/>
                </a:lnTo>
                <a:lnTo>
                  <a:pt x="281" y="1807"/>
                </a:lnTo>
                <a:lnTo>
                  <a:pt x="285" y="1812"/>
                </a:lnTo>
                <a:lnTo>
                  <a:pt x="289" y="1815"/>
                </a:lnTo>
                <a:lnTo>
                  <a:pt x="295" y="1819"/>
                </a:lnTo>
                <a:lnTo>
                  <a:pt x="302" y="1820"/>
                </a:lnTo>
                <a:lnTo>
                  <a:pt x="302" y="1820"/>
                </a:lnTo>
                <a:lnTo>
                  <a:pt x="308" y="1817"/>
                </a:lnTo>
                <a:lnTo>
                  <a:pt x="312" y="1816"/>
                </a:lnTo>
                <a:lnTo>
                  <a:pt x="320" y="1812"/>
                </a:lnTo>
                <a:lnTo>
                  <a:pt x="326" y="1806"/>
                </a:lnTo>
                <a:lnTo>
                  <a:pt x="335" y="1800"/>
                </a:lnTo>
                <a:lnTo>
                  <a:pt x="335" y="1800"/>
                </a:lnTo>
                <a:lnTo>
                  <a:pt x="342" y="1807"/>
                </a:lnTo>
                <a:lnTo>
                  <a:pt x="348" y="1814"/>
                </a:lnTo>
                <a:lnTo>
                  <a:pt x="361" y="1828"/>
                </a:lnTo>
                <a:lnTo>
                  <a:pt x="369" y="1835"/>
                </a:lnTo>
                <a:lnTo>
                  <a:pt x="377" y="1840"/>
                </a:lnTo>
                <a:lnTo>
                  <a:pt x="386" y="1844"/>
                </a:lnTo>
                <a:lnTo>
                  <a:pt x="392" y="1844"/>
                </a:lnTo>
                <a:lnTo>
                  <a:pt x="397" y="1845"/>
                </a:lnTo>
                <a:lnTo>
                  <a:pt x="397" y="1845"/>
                </a:lnTo>
                <a:lnTo>
                  <a:pt x="411" y="1844"/>
                </a:lnTo>
                <a:lnTo>
                  <a:pt x="422" y="1842"/>
                </a:lnTo>
                <a:lnTo>
                  <a:pt x="431" y="1837"/>
                </a:lnTo>
                <a:lnTo>
                  <a:pt x="438" y="1832"/>
                </a:lnTo>
                <a:lnTo>
                  <a:pt x="451" y="1822"/>
                </a:lnTo>
                <a:lnTo>
                  <a:pt x="458" y="1816"/>
                </a:lnTo>
                <a:lnTo>
                  <a:pt x="468" y="1812"/>
                </a:lnTo>
                <a:lnTo>
                  <a:pt x="468" y="1812"/>
                </a:lnTo>
                <a:lnTo>
                  <a:pt x="473" y="1811"/>
                </a:lnTo>
                <a:lnTo>
                  <a:pt x="478" y="1811"/>
                </a:lnTo>
                <a:lnTo>
                  <a:pt x="488" y="1812"/>
                </a:lnTo>
                <a:lnTo>
                  <a:pt x="499" y="1813"/>
                </a:lnTo>
                <a:lnTo>
                  <a:pt x="504" y="1813"/>
                </a:lnTo>
                <a:lnTo>
                  <a:pt x="511" y="1812"/>
                </a:lnTo>
                <a:lnTo>
                  <a:pt x="511" y="1812"/>
                </a:lnTo>
                <a:lnTo>
                  <a:pt x="517" y="1811"/>
                </a:lnTo>
                <a:lnTo>
                  <a:pt x="524" y="1807"/>
                </a:lnTo>
                <a:lnTo>
                  <a:pt x="531" y="1802"/>
                </a:lnTo>
                <a:lnTo>
                  <a:pt x="538" y="1797"/>
                </a:lnTo>
                <a:lnTo>
                  <a:pt x="550" y="1785"/>
                </a:lnTo>
                <a:lnTo>
                  <a:pt x="555" y="1782"/>
                </a:lnTo>
                <a:lnTo>
                  <a:pt x="560" y="1779"/>
                </a:lnTo>
                <a:lnTo>
                  <a:pt x="560" y="1779"/>
                </a:lnTo>
                <a:lnTo>
                  <a:pt x="565" y="1775"/>
                </a:lnTo>
                <a:lnTo>
                  <a:pt x="572" y="1771"/>
                </a:lnTo>
                <a:lnTo>
                  <a:pt x="585" y="1767"/>
                </a:lnTo>
                <a:lnTo>
                  <a:pt x="596" y="1763"/>
                </a:lnTo>
                <a:lnTo>
                  <a:pt x="608" y="1762"/>
                </a:lnTo>
                <a:lnTo>
                  <a:pt x="619" y="1760"/>
                </a:lnTo>
                <a:lnTo>
                  <a:pt x="631" y="1756"/>
                </a:lnTo>
                <a:lnTo>
                  <a:pt x="642" y="1751"/>
                </a:lnTo>
                <a:lnTo>
                  <a:pt x="648" y="1747"/>
                </a:lnTo>
                <a:lnTo>
                  <a:pt x="654" y="1741"/>
                </a:lnTo>
                <a:lnTo>
                  <a:pt x="654" y="1741"/>
                </a:lnTo>
                <a:lnTo>
                  <a:pt x="657" y="1739"/>
                </a:lnTo>
                <a:lnTo>
                  <a:pt x="661" y="1736"/>
                </a:lnTo>
                <a:lnTo>
                  <a:pt x="662" y="1733"/>
                </a:lnTo>
                <a:lnTo>
                  <a:pt x="662" y="1730"/>
                </a:lnTo>
                <a:lnTo>
                  <a:pt x="662" y="1721"/>
                </a:lnTo>
                <a:lnTo>
                  <a:pt x="662" y="1709"/>
                </a:lnTo>
                <a:lnTo>
                  <a:pt x="662" y="1709"/>
                </a:lnTo>
                <a:lnTo>
                  <a:pt x="666" y="1709"/>
                </a:lnTo>
                <a:lnTo>
                  <a:pt x="666" y="1709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1" name="Freeform 136"/>
          <p:cNvSpPr>
            <a:spLocks/>
          </p:cNvSpPr>
          <p:nvPr/>
        </p:nvSpPr>
        <p:spPr bwMode="auto">
          <a:xfrm>
            <a:off x="7681913" y="1763713"/>
            <a:ext cx="769937" cy="1524000"/>
          </a:xfrm>
          <a:custGeom>
            <a:avLst/>
            <a:gdLst/>
            <a:ahLst/>
            <a:cxnLst>
              <a:cxn ang="0">
                <a:pos x="892" y="1656"/>
              </a:cxn>
              <a:cxn ang="0">
                <a:pos x="897" y="1590"/>
              </a:cxn>
              <a:cxn ang="0">
                <a:pos x="864" y="1476"/>
              </a:cxn>
              <a:cxn ang="0">
                <a:pos x="882" y="1404"/>
              </a:cxn>
              <a:cxn ang="0">
                <a:pos x="835" y="1303"/>
              </a:cxn>
              <a:cxn ang="0">
                <a:pos x="832" y="1247"/>
              </a:cxn>
              <a:cxn ang="0">
                <a:pos x="902" y="1193"/>
              </a:cxn>
              <a:cxn ang="0">
                <a:pos x="938" y="1114"/>
              </a:cxn>
              <a:cxn ang="0">
                <a:pos x="915" y="1049"/>
              </a:cxn>
              <a:cxn ang="0">
                <a:pos x="876" y="1056"/>
              </a:cxn>
              <a:cxn ang="0">
                <a:pos x="866" y="1103"/>
              </a:cxn>
              <a:cxn ang="0">
                <a:pos x="849" y="1139"/>
              </a:cxn>
              <a:cxn ang="0">
                <a:pos x="784" y="1064"/>
              </a:cxn>
              <a:cxn ang="0">
                <a:pos x="651" y="868"/>
              </a:cxn>
              <a:cxn ang="0">
                <a:pos x="640" y="815"/>
              </a:cxn>
              <a:cxn ang="0">
                <a:pos x="697" y="782"/>
              </a:cxn>
              <a:cxn ang="0">
                <a:pos x="666" y="650"/>
              </a:cxn>
              <a:cxn ang="0">
                <a:pos x="691" y="652"/>
              </a:cxn>
              <a:cxn ang="0">
                <a:pos x="743" y="702"/>
              </a:cxn>
              <a:cxn ang="0">
                <a:pos x="736" y="650"/>
              </a:cxn>
              <a:cxn ang="0">
                <a:pos x="696" y="558"/>
              </a:cxn>
              <a:cxn ang="0">
                <a:pos x="732" y="459"/>
              </a:cxn>
              <a:cxn ang="0">
                <a:pos x="817" y="422"/>
              </a:cxn>
              <a:cxn ang="0">
                <a:pos x="861" y="415"/>
              </a:cxn>
              <a:cxn ang="0">
                <a:pos x="751" y="151"/>
              </a:cxn>
              <a:cxn ang="0">
                <a:pos x="666" y="16"/>
              </a:cxn>
              <a:cxn ang="0">
                <a:pos x="622" y="3"/>
              </a:cxn>
              <a:cxn ang="0">
                <a:pos x="603" y="80"/>
              </a:cxn>
              <a:cxn ang="0">
                <a:pos x="574" y="181"/>
              </a:cxn>
              <a:cxn ang="0">
                <a:pos x="544" y="260"/>
              </a:cxn>
              <a:cxn ang="0">
                <a:pos x="445" y="280"/>
              </a:cxn>
              <a:cxn ang="0">
                <a:pos x="374" y="308"/>
              </a:cxn>
              <a:cxn ang="0">
                <a:pos x="343" y="222"/>
              </a:cxn>
              <a:cxn ang="0">
                <a:pos x="303" y="214"/>
              </a:cxn>
              <a:cxn ang="0">
                <a:pos x="210" y="262"/>
              </a:cxn>
              <a:cxn ang="0">
                <a:pos x="114" y="353"/>
              </a:cxn>
              <a:cxn ang="0">
                <a:pos x="54" y="420"/>
              </a:cxn>
              <a:cxn ang="0">
                <a:pos x="21" y="451"/>
              </a:cxn>
              <a:cxn ang="0">
                <a:pos x="1" y="496"/>
              </a:cxn>
              <a:cxn ang="0">
                <a:pos x="13" y="530"/>
              </a:cxn>
              <a:cxn ang="0">
                <a:pos x="67" y="548"/>
              </a:cxn>
              <a:cxn ang="0">
                <a:pos x="77" y="601"/>
              </a:cxn>
              <a:cxn ang="0">
                <a:pos x="184" y="662"/>
              </a:cxn>
              <a:cxn ang="0">
                <a:pos x="207" y="706"/>
              </a:cxn>
              <a:cxn ang="0">
                <a:pos x="278" y="721"/>
              </a:cxn>
              <a:cxn ang="0">
                <a:pos x="304" y="784"/>
              </a:cxn>
              <a:cxn ang="0">
                <a:pos x="331" y="775"/>
              </a:cxn>
              <a:cxn ang="0">
                <a:pos x="352" y="795"/>
              </a:cxn>
              <a:cxn ang="0">
                <a:pos x="388" y="781"/>
              </a:cxn>
              <a:cxn ang="0">
                <a:pos x="350" y="718"/>
              </a:cxn>
              <a:cxn ang="0">
                <a:pos x="285" y="662"/>
              </a:cxn>
              <a:cxn ang="0">
                <a:pos x="346" y="557"/>
              </a:cxn>
              <a:cxn ang="0">
                <a:pos x="354" y="604"/>
              </a:cxn>
              <a:cxn ang="0">
                <a:pos x="372" y="679"/>
              </a:cxn>
              <a:cxn ang="0">
                <a:pos x="491" y="770"/>
              </a:cxn>
              <a:cxn ang="0">
                <a:pos x="519" y="870"/>
              </a:cxn>
              <a:cxn ang="0">
                <a:pos x="543" y="1044"/>
              </a:cxn>
              <a:cxn ang="0">
                <a:pos x="636" y="1300"/>
              </a:cxn>
              <a:cxn ang="0">
                <a:pos x="637" y="1449"/>
              </a:cxn>
              <a:cxn ang="0">
                <a:pos x="677" y="1525"/>
              </a:cxn>
              <a:cxn ang="0">
                <a:pos x="710" y="1605"/>
              </a:cxn>
              <a:cxn ang="0">
                <a:pos x="802" y="1748"/>
              </a:cxn>
            </a:cxnLst>
            <a:rect l="0" t="0" r="r" b="b"/>
            <a:pathLst>
              <a:path w="941" h="1748">
                <a:moveTo>
                  <a:pt x="824" y="1737"/>
                </a:moveTo>
                <a:lnTo>
                  <a:pt x="824" y="1737"/>
                </a:lnTo>
                <a:lnTo>
                  <a:pt x="834" y="1728"/>
                </a:lnTo>
                <a:lnTo>
                  <a:pt x="847" y="1717"/>
                </a:lnTo>
                <a:lnTo>
                  <a:pt x="859" y="1703"/>
                </a:lnTo>
                <a:lnTo>
                  <a:pt x="872" y="1688"/>
                </a:lnTo>
                <a:lnTo>
                  <a:pt x="884" y="1672"/>
                </a:lnTo>
                <a:lnTo>
                  <a:pt x="892" y="1656"/>
                </a:lnTo>
                <a:lnTo>
                  <a:pt x="896" y="1648"/>
                </a:lnTo>
                <a:lnTo>
                  <a:pt x="899" y="1640"/>
                </a:lnTo>
                <a:lnTo>
                  <a:pt x="900" y="1632"/>
                </a:lnTo>
                <a:lnTo>
                  <a:pt x="901" y="1624"/>
                </a:lnTo>
                <a:lnTo>
                  <a:pt x="901" y="1624"/>
                </a:lnTo>
                <a:lnTo>
                  <a:pt x="900" y="1612"/>
                </a:lnTo>
                <a:lnTo>
                  <a:pt x="899" y="1601"/>
                </a:lnTo>
                <a:lnTo>
                  <a:pt x="897" y="1590"/>
                </a:lnTo>
                <a:lnTo>
                  <a:pt x="895" y="1581"/>
                </a:lnTo>
                <a:lnTo>
                  <a:pt x="889" y="1563"/>
                </a:lnTo>
                <a:lnTo>
                  <a:pt x="882" y="1546"/>
                </a:lnTo>
                <a:lnTo>
                  <a:pt x="876" y="1530"/>
                </a:lnTo>
                <a:lnTo>
                  <a:pt x="870" y="1514"/>
                </a:lnTo>
                <a:lnTo>
                  <a:pt x="865" y="1496"/>
                </a:lnTo>
                <a:lnTo>
                  <a:pt x="864" y="1487"/>
                </a:lnTo>
                <a:lnTo>
                  <a:pt x="864" y="1476"/>
                </a:lnTo>
                <a:lnTo>
                  <a:pt x="864" y="1476"/>
                </a:lnTo>
                <a:lnTo>
                  <a:pt x="865" y="1467"/>
                </a:lnTo>
                <a:lnTo>
                  <a:pt x="868" y="1459"/>
                </a:lnTo>
                <a:lnTo>
                  <a:pt x="873" y="1442"/>
                </a:lnTo>
                <a:lnTo>
                  <a:pt x="879" y="1423"/>
                </a:lnTo>
                <a:lnTo>
                  <a:pt x="881" y="1414"/>
                </a:lnTo>
                <a:lnTo>
                  <a:pt x="882" y="1404"/>
                </a:lnTo>
                <a:lnTo>
                  <a:pt x="882" y="1404"/>
                </a:lnTo>
                <a:lnTo>
                  <a:pt x="881" y="1395"/>
                </a:lnTo>
                <a:lnTo>
                  <a:pt x="880" y="1387"/>
                </a:lnTo>
                <a:lnTo>
                  <a:pt x="878" y="1378"/>
                </a:lnTo>
                <a:lnTo>
                  <a:pt x="873" y="1370"/>
                </a:lnTo>
                <a:lnTo>
                  <a:pt x="865" y="1354"/>
                </a:lnTo>
                <a:lnTo>
                  <a:pt x="855" y="1337"/>
                </a:lnTo>
                <a:lnTo>
                  <a:pt x="845" y="1320"/>
                </a:lnTo>
                <a:lnTo>
                  <a:pt x="835" y="1303"/>
                </a:lnTo>
                <a:lnTo>
                  <a:pt x="832" y="1293"/>
                </a:lnTo>
                <a:lnTo>
                  <a:pt x="830" y="1284"/>
                </a:lnTo>
                <a:lnTo>
                  <a:pt x="827" y="1274"/>
                </a:lnTo>
                <a:lnTo>
                  <a:pt x="827" y="1263"/>
                </a:lnTo>
                <a:lnTo>
                  <a:pt x="827" y="1263"/>
                </a:lnTo>
                <a:lnTo>
                  <a:pt x="827" y="1258"/>
                </a:lnTo>
                <a:lnTo>
                  <a:pt x="830" y="1253"/>
                </a:lnTo>
                <a:lnTo>
                  <a:pt x="832" y="1247"/>
                </a:lnTo>
                <a:lnTo>
                  <a:pt x="834" y="1243"/>
                </a:lnTo>
                <a:lnTo>
                  <a:pt x="842" y="1235"/>
                </a:lnTo>
                <a:lnTo>
                  <a:pt x="851" y="1228"/>
                </a:lnTo>
                <a:lnTo>
                  <a:pt x="873" y="1214"/>
                </a:lnTo>
                <a:lnTo>
                  <a:pt x="885" y="1208"/>
                </a:lnTo>
                <a:lnTo>
                  <a:pt x="894" y="1201"/>
                </a:lnTo>
                <a:lnTo>
                  <a:pt x="894" y="1201"/>
                </a:lnTo>
                <a:lnTo>
                  <a:pt x="902" y="1193"/>
                </a:lnTo>
                <a:lnTo>
                  <a:pt x="910" y="1184"/>
                </a:lnTo>
                <a:lnTo>
                  <a:pt x="916" y="1174"/>
                </a:lnTo>
                <a:lnTo>
                  <a:pt x="922" y="1163"/>
                </a:lnTo>
                <a:lnTo>
                  <a:pt x="930" y="1138"/>
                </a:lnTo>
                <a:lnTo>
                  <a:pt x="938" y="1114"/>
                </a:lnTo>
                <a:lnTo>
                  <a:pt x="938" y="1114"/>
                </a:lnTo>
                <a:lnTo>
                  <a:pt x="941" y="1117"/>
                </a:lnTo>
                <a:lnTo>
                  <a:pt x="938" y="1114"/>
                </a:lnTo>
                <a:lnTo>
                  <a:pt x="938" y="1114"/>
                </a:lnTo>
                <a:lnTo>
                  <a:pt x="938" y="1114"/>
                </a:lnTo>
                <a:lnTo>
                  <a:pt x="932" y="1103"/>
                </a:lnTo>
                <a:lnTo>
                  <a:pt x="927" y="1091"/>
                </a:lnTo>
                <a:lnTo>
                  <a:pt x="923" y="1075"/>
                </a:lnTo>
                <a:lnTo>
                  <a:pt x="919" y="1055"/>
                </a:lnTo>
                <a:lnTo>
                  <a:pt x="919" y="1055"/>
                </a:lnTo>
                <a:lnTo>
                  <a:pt x="915" y="1049"/>
                </a:lnTo>
                <a:lnTo>
                  <a:pt x="910" y="1046"/>
                </a:lnTo>
                <a:lnTo>
                  <a:pt x="903" y="1042"/>
                </a:lnTo>
                <a:lnTo>
                  <a:pt x="899" y="1042"/>
                </a:lnTo>
                <a:lnTo>
                  <a:pt x="895" y="1042"/>
                </a:lnTo>
                <a:lnTo>
                  <a:pt x="891" y="1044"/>
                </a:lnTo>
                <a:lnTo>
                  <a:pt x="885" y="1047"/>
                </a:lnTo>
                <a:lnTo>
                  <a:pt x="880" y="1051"/>
                </a:lnTo>
                <a:lnTo>
                  <a:pt x="876" y="1056"/>
                </a:lnTo>
                <a:lnTo>
                  <a:pt x="870" y="1063"/>
                </a:lnTo>
                <a:lnTo>
                  <a:pt x="864" y="1072"/>
                </a:lnTo>
                <a:lnTo>
                  <a:pt x="864" y="1072"/>
                </a:lnTo>
                <a:lnTo>
                  <a:pt x="862" y="1077"/>
                </a:lnTo>
                <a:lnTo>
                  <a:pt x="862" y="1082"/>
                </a:lnTo>
                <a:lnTo>
                  <a:pt x="862" y="1086"/>
                </a:lnTo>
                <a:lnTo>
                  <a:pt x="863" y="1092"/>
                </a:lnTo>
                <a:lnTo>
                  <a:pt x="866" y="1103"/>
                </a:lnTo>
                <a:lnTo>
                  <a:pt x="871" y="1115"/>
                </a:lnTo>
                <a:lnTo>
                  <a:pt x="873" y="1126"/>
                </a:lnTo>
                <a:lnTo>
                  <a:pt x="872" y="1130"/>
                </a:lnTo>
                <a:lnTo>
                  <a:pt x="871" y="1135"/>
                </a:lnTo>
                <a:lnTo>
                  <a:pt x="869" y="1137"/>
                </a:lnTo>
                <a:lnTo>
                  <a:pt x="864" y="1139"/>
                </a:lnTo>
                <a:lnTo>
                  <a:pt x="858" y="1139"/>
                </a:lnTo>
                <a:lnTo>
                  <a:pt x="849" y="1139"/>
                </a:lnTo>
                <a:lnTo>
                  <a:pt x="849" y="1139"/>
                </a:lnTo>
                <a:lnTo>
                  <a:pt x="845" y="1137"/>
                </a:lnTo>
                <a:lnTo>
                  <a:pt x="840" y="1133"/>
                </a:lnTo>
                <a:lnTo>
                  <a:pt x="830" y="1125"/>
                </a:lnTo>
                <a:lnTo>
                  <a:pt x="819" y="1114"/>
                </a:lnTo>
                <a:lnTo>
                  <a:pt x="808" y="1100"/>
                </a:lnTo>
                <a:lnTo>
                  <a:pt x="796" y="1083"/>
                </a:lnTo>
                <a:lnTo>
                  <a:pt x="784" y="1064"/>
                </a:lnTo>
                <a:lnTo>
                  <a:pt x="757" y="1024"/>
                </a:lnTo>
                <a:lnTo>
                  <a:pt x="731" y="980"/>
                </a:lnTo>
                <a:lnTo>
                  <a:pt x="703" y="937"/>
                </a:lnTo>
                <a:lnTo>
                  <a:pt x="690" y="917"/>
                </a:lnTo>
                <a:lnTo>
                  <a:pt x="677" y="899"/>
                </a:lnTo>
                <a:lnTo>
                  <a:pt x="664" y="881"/>
                </a:lnTo>
                <a:lnTo>
                  <a:pt x="651" y="868"/>
                </a:lnTo>
                <a:lnTo>
                  <a:pt x="651" y="868"/>
                </a:lnTo>
                <a:lnTo>
                  <a:pt x="644" y="860"/>
                </a:lnTo>
                <a:lnTo>
                  <a:pt x="640" y="851"/>
                </a:lnTo>
                <a:lnTo>
                  <a:pt x="636" y="845"/>
                </a:lnTo>
                <a:lnTo>
                  <a:pt x="634" y="838"/>
                </a:lnTo>
                <a:lnTo>
                  <a:pt x="634" y="831"/>
                </a:lnTo>
                <a:lnTo>
                  <a:pt x="635" y="825"/>
                </a:lnTo>
                <a:lnTo>
                  <a:pt x="637" y="819"/>
                </a:lnTo>
                <a:lnTo>
                  <a:pt x="640" y="815"/>
                </a:lnTo>
                <a:lnTo>
                  <a:pt x="644" y="810"/>
                </a:lnTo>
                <a:lnTo>
                  <a:pt x="650" y="805"/>
                </a:lnTo>
                <a:lnTo>
                  <a:pt x="656" y="802"/>
                </a:lnTo>
                <a:lnTo>
                  <a:pt x="663" y="799"/>
                </a:lnTo>
                <a:lnTo>
                  <a:pt x="678" y="794"/>
                </a:lnTo>
                <a:lnTo>
                  <a:pt x="696" y="790"/>
                </a:lnTo>
                <a:lnTo>
                  <a:pt x="696" y="790"/>
                </a:lnTo>
                <a:lnTo>
                  <a:pt x="697" y="782"/>
                </a:lnTo>
                <a:lnTo>
                  <a:pt x="698" y="775"/>
                </a:lnTo>
                <a:lnTo>
                  <a:pt x="697" y="769"/>
                </a:lnTo>
                <a:lnTo>
                  <a:pt x="695" y="763"/>
                </a:lnTo>
                <a:lnTo>
                  <a:pt x="690" y="756"/>
                </a:lnTo>
                <a:lnTo>
                  <a:pt x="685" y="750"/>
                </a:lnTo>
                <a:lnTo>
                  <a:pt x="666" y="735"/>
                </a:lnTo>
                <a:lnTo>
                  <a:pt x="666" y="735"/>
                </a:lnTo>
                <a:lnTo>
                  <a:pt x="666" y="650"/>
                </a:lnTo>
                <a:lnTo>
                  <a:pt x="666" y="650"/>
                </a:lnTo>
                <a:lnTo>
                  <a:pt x="666" y="650"/>
                </a:lnTo>
                <a:lnTo>
                  <a:pt x="670" y="645"/>
                </a:lnTo>
                <a:lnTo>
                  <a:pt x="673" y="643"/>
                </a:lnTo>
                <a:lnTo>
                  <a:pt x="677" y="642"/>
                </a:lnTo>
                <a:lnTo>
                  <a:pt x="681" y="644"/>
                </a:lnTo>
                <a:lnTo>
                  <a:pt x="686" y="648"/>
                </a:lnTo>
                <a:lnTo>
                  <a:pt x="691" y="652"/>
                </a:lnTo>
                <a:lnTo>
                  <a:pt x="702" y="664"/>
                </a:lnTo>
                <a:lnTo>
                  <a:pt x="713" y="677"/>
                </a:lnTo>
                <a:lnTo>
                  <a:pt x="724" y="689"/>
                </a:lnTo>
                <a:lnTo>
                  <a:pt x="729" y="694"/>
                </a:lnTo>
                <a:lnTo>
                  <a:pt x="734" y="698"/>
                </a:lnTo>
                <a:lnTo>
                  <a:pt x="739" y="701"/>
                </a:lnTo>
                <a:lnTo>
                  <a:pt x="743" y="702"/>
                </a:lnTo>
                <a:lnTo>
                  <a:pt x="743" y="702"/>
                </a:lnTo>
                <a:lnTo>
                  <a:pt x="750" y="700"/>
                </a:lnTo>
                <a:lnTo>
                  <a:pt x="752" y="697"/>
                </a:lnTo>
                <a:lnTo>
                  <a:pt x="754" y="695"/>
                </a:lnTo>
                <a:lnTo>
                  <a:pt x="755" y="689"/>
                </a:lnTo>
                <a:lnTo>
                  <a:pt x="755" y="683"/>
                </a:lnTo>
                <a:lnTo>
                  <a:pt x="751" y="675"/>
                </a:lnTo>
                <a:lnTo>
                  <a:pt x="748" y="668"/>
                </a:lnTo>
                <a:lnTo>
                  <a:pt x="736" y="650"/>
                </a:lnTo>
                <a:lnTo>
                  <a:pt x="723" y="631"/>
                </a:lnTo>
                <a:lnTo>
                  <a:pt x="709" y="612"/>
                </a:lnTo>
                <a:lnTo>
                  <a:pt x="704" y="602"/>
                </a:lnTo>
                <a:lnTo>
                  <a:pt x="700" y="593"/>
                </a:lnTo>
                <a:lnTo>
                  <a:pt x="696" y="584"/>
                </a:lnTo>
                <a:lnTo>
                  <a:pt x="696" y="576"/>
                </a:lnTo>
                <a:lnTo>
                  <a:pt x="696" y="576"/>
                </a:lnTo>
                <a:lnTo>
                  <a:pt x="696" y="558"/>
                </a:lnTo>
                <a:lnTo>
                  <a:pt x="698" y="541"/>
                </a:lnTo>
                <a:lnTo>
                  <a:pt x="701" y="525"/>
                </a:lnTo>
                <a:lnTo>
                  <a:pt x="704" y="511"/>
                </a:lnTo>
                <a:lnTo>
                  <a:pt x="709" y="498"/>
                </a:lnTo>
                <a:lnTo>
                  <a:pt x="713" y="486"/>
                </a:lnTo>
                <a:lnTo>
                  <a:pt x="719" y="475"/>
                </a:lnTo>
                <a:lnTo>
                  <a:pt x="725" y="467"/>
                </a:lnTo>
                <a:lnTo>
                  <a:pt x="732" y="459"/>
                </a:lnTo>
                <a:lnTo>
                  <a:pt x="739" y="451"/>
                </a:lnTo>
                <a:lnTo>
                  <a:pt x="747" y="445"/>
                </a:lnTo>
                <a:lnTo>
                  <a:pt x="754" y="441"/>
                </a:lnTo>
                <a:lnTo>
                  <a:pt x="762" y="436"/>
                </a:lnTo>
                <a:lnTo>
                  <a:pt x="770" y="433"/>
                </a:lnTo>
                <a:lnTo>
                  <a:pt x="786" y="427"/>
                </a:lnTo>
                <a:lnTo>
                  <a:pt x="802" y="423"/>
                </a:lnTo>
                <a:lnTo>
                  <a:pt x="817" y="422"/>
                </a:lnTo>
                <a:lnTo>
                  <a:pt x="843" y="421"/>
                </a:lnTo>
                <a:lnTo>
                  <a:pt x="853" y="421"/>
                </a:lnTo>
                <a:lnTo>
                  <a:pt x="859" y="421"/>
                </a:lnTo>
                <a:lnTo>
                  <a:pt x="861" y="420"/>
                </a:lnTo>
                <a:lnTo>
                  <a:pt x="862" y="419"/>
                </a:lnTo>
                <a:lnTo>
                  <a:pt x="862" y="416"/>
                </a:lnTo>
                <a:lnTo>
                  <a:pt x="861" y="415"/>
                </a:lnTo>
                <a:lnTo>
                  <a:pt x="861" y="415"/>
                </a:lnTo>
                <a:lnTo>
                  <a:pt x="853" y="404"/>
                </a:lnTo>
                <a:lnTo>
                  <a:pt x="845" y="391"/>
                </a:lnTo>
                <a:lnTo>
                  <a:pt x="836" y="376"/>
                </a:lnTo>
                <a:lnTo>
                  <a:pt x="827" y="359"/>
                </a:lnTo>
                <a:lnTo>
                  <a:pt x="810" y="319"/>
                </a:lnTo>
                <a:lnTo>
                  <a:pt x="790" y="270"/>
                </a:lnTo>
                <a:lnTo>
                  <a:pt x="771" y="214"/>
                </a:lnTo>
                <a:lnTo>
                  <a:pt x="751" y="151"/>
                </a:lnTo>
                <a:lnTo>
                  <a:pt x="731" y="78"/>
                </a:lnTo>
                <a:lnTo>
                  <a:pt x="710" y="0"/>
                </a:lnTo>
                <a:lnTo>
                  <a:pt x="710" y="0"/>
                </a:lnTo>
                <a:lnTo>
                  <a:pt x="701" y="0"/>
                </a:lnTo>
                <a:lnTo>
                  <a:pt x="693" y="2"/>
                </a:lnTo>
                <a:lnTo>
                  <a:pt x="686" y="6"/>
                </a:lnTo>
                <a:lnTo>
                  <a:pt x="679" y="9"/>
                </a:lnTo>
                <a:lnTo>
                  <a:pt x="666" y="16"/>
                </a:lnTo>
                <a:lnTo>
                  <a:pt x="659" y="18"/>
                </a:lnTo>
                <a:lnTo>
                  <a:pt x="651" y="18"/>
                </a:lnTo>
                <a:lnTo>
                  <a:pt x="651" y="18"/>
                </a:lnTo>
                <a:lnTo>
                  <a:pt x="647" y="18"/>
                </a:lnTo>
                <a:lnTo>
                  <a:pt x="642" y="17"/>
                </a:lnTo>
                <a:lnTo>
                  <a:pt x="635" y="14"/>
                </a:lnTo>
                <a:lnTo>
                  <a:pt x="622" y="3"/>
                </a:lnTo>
                <a:lnTo>
                  <a:pt x="622" y="3"/>
                </a:lnTo>
                <a:lnTo>
                  <a:pt x="616" y="13"/>
                </a:lnTo>
                <a:lnTo>
                  <a:pt x="612" y="21"/>
                </a:lnTo>
                <a:lnTo>
                  <a:pt x="610" y="30"/>
                </a:lnTo>
                <a:lnTo>
                  <a:pt x="609" y="39"/>
                </a:lnTo>
                <a:lnTo>
                  <a:pt x="606" y="60"/>
                </a:lnTo>
                <a:lnTo>
                  <a:pt x="605" y="70"/>
                </a:lnTo>
                <a:lnTo>
                  <a:pt x="603" y="80"/>
                </a:lnTo>
                <a:lnTo>
                  <a:pt x="603" y="80"/>
                </a:lnTo>
                <a:lnTo>
                  <a:pt x="598" y="93"/>
                </a:lnTo>
                <a:lnTo>
                  <a:pt x="594" y="105"/>
                </a:lnTo>
                <a:lnTo>
                  <a:pt x="584" y="128"/>
                </a:lnTo>
                <a:lnTo>
                  <a:pt x="580" y="139"/>
                </a:lnTo>
                <a:lnTo>
                  <a:pt x="576" y="152"/>
                </a:lnTo>
                <a:lnTo>
                  <a:pt x="574" y="166"/>
                </a:lnTo>
                <a:lnTo>
                  <a:pt x="574" y="181"/>
                </a:lnTo>
                <a:lnTo>
                  <a:pt x="574" y="181"/>
                </a:lnTo>
                <a:lnTo>
                  <a:pt x="574" y="216"/>
                </a:lnTo>
                <a:lnTo>
                  <a:pt x="574" y="216"/>
                </a:lnTo>
                <a:lnTo>
                  <a:pt x="573" y="228"/>
                </a:lnTo>
                <a:lnTo>
                  <a:pt x="569" y="238"/>
                </a:lnTo>
                <a:lnTo>
                  <a:pt x="565" y="245"/>
                </a:lnTo>
                <a:lnTo>
                  <a:pt x="559" y="252"/>
                </a:lnTo>
                <a:lnTo>
                  <a:pt x="552" y="257"/>
                </a:lnTo>
                <a:lnTo>
                  <a:pt x="544" y="260"/>
                </a:lnTo>
                <a:lnTo>
                  <a:pt x="535" y="262"/>
                </a:lnTo>
                <a:lnTo>
                  <a:pt x="525" y="265"/>
                </a:lnTo>
                <a:lnTo>
                  <a:pt x="504" y="267"/>
                </a:lnTo>
                <a:lnTo>
                  <a:pt x="482" y="269"/>
                </a:lnTo>
                <a:lnTo>
                  <a:pt x="462" y="273"/>
                </a:lnTo>
                <a:lnTo>
                  <a:pt x="453" y="275"/>
                </a:lnTo>
                <a:lnTo>
                  <a:pt x="445" y="280"/>
                </a:lnTo>
                <a:lnTo>
                  <a:pt x="445" y="280"/>
                </a:lnTo>
                <a:lnTo>
                  <a:pt x="421" y="299"/>
                </a:lnTo>
                <a:lnTo>
                  <a:pt x="413" y="304"/>
                </a:lnTo>
                <a:lnTo>
                  <a:pt x="405" y="308"/>
                </a:lnTo>
                <a:lnTo>
                  <a:pt x="397" y="312"/>
                </a:lnTo>
                <a:lnTo>
                  <a:pt x="390" y="313"/>
                </a:lnTo>
                <a:lnTo>
                  <a:pt x="390" y="313"/>
                </a:lnTo>
                <a:lnTo>
                  <a:pt x="382" y="312"/>
                </a:lnTo>
                <a:lnTo>
                  <a:pt x="374" y="308"/>
                </a:lnTo>
                <a:lnTo>
                  <a:pt x="368" y="303"/>
                </a:lnTo>
                <a:lnTo>
                  <a:pt x="364" y="296"/>
                </a:lnTo>
                <a:lnTo>
                  <a:pt x="359" y="288"/>
                </a:lnTo>
                <a:lnTo>
                  <a:pt x="357" y="278"/>
                </a:lnTo>
                <a:lnTo>
                  <a:pt x="352" y="259"/>
                </a:lnTo>
                <a:lnTo>
                  <a:pt x="347" y="239"/>
                </a:lnTo>
                <a:lnTo>
                  <a:pt x="345" y="230"/>
                </a:lnTo>
                <a:lnTo>
                  <a:pt x="343" y="222"/>
                </a:lnTo>
                <a:lnTo>
                  <a:pt x="339" y="215"/>
                </a:lnTo>
                <a:lnTo>
                  <a:pt x="335" y="211"/>
                </a:lnTo>
                <a:lnTo>
                  <a:pt x="330" y="207"/>
                </a:lnTo>
                <a:lnTo>
                  <a:pt x="323" y="206"/>
                </a:lnTo>
                <a:lnTo>
                  <a:pt x="323" y="206"/>
                </a:lnTo>
                <a:lnTo>
                  <a:pt x="315" y="207"/>
                </a:lnTo>
                <a:lnTo>
                  <a:pt x="308" y="209"/>
                </a:lnTo>
                <a:lnTo>
                  <a:pt x="303" y="214"/>
                </a:lnTo>
                <a:lnTo>
                  <a:pt x="298" y="220"/>
                </a:lnTo>
                <a:lnTo>
                  <a:pt x="288" y="230"/>
                </a:lnTo>
                <a:lnTo>
                  <a:pt x="283" y="236"/>
                </a:lnTo>
                <a:lnTo>
                  <a:pt x="276" y="239"/>
                </a:lnTo>
                <a:lnTo>
                  <a:pt x="276" y="239"/>
                </a:lnTo>
                <a:lnTo>
                  <a:pt x="253" y="246"/>
                </a:lnTo>
                <a:lnTo>
                  <a:pt x="231" y="254"/>
                </a:lnTo>
                <a:lnTo>
                  <a:pt x="210" y="262"/>
                </a:lnTo>
                <a:lnTo>
                  <a:pt x="192" y="273"/>
                </a:lnTo>
                <a:lnTo>
                  <a:pt x="175" y="284"/>
                </a:lnTo>
                <a:lnTo>
                  <a:pt x="159" y="299"/>
                </a:lnTo>
                <a:lnTo>
                  <a:pt x="144" y="315"/>
                </a:lnTo>
                <a:lnTo>
                  <a:pt x="129" y="335"/>
                </a:lnTo>
                <a:lnTo>
                  <a:pt x="129" y="335"/>
                </a:lnTo>
                <a:lnTo>
                  <a:pt x="122" y="344"/>
                </a:lnTo>
                <a:lnTo>
                  <a:pt x="114" y="353"/>
                </a:lnTo>
                <a:lnTo>
                  <a:pt x="106" y="361"/>
                </a:lnTo>
                <a:lnTo>
                  <a:pt x="97" y="369"/>
                </a:lnTo>
                <a:lnTo>
                  <a:pt x="77" y="383"/>
                </a:lnTo>
                <a:lnTo>
                  <a:pt x="55" y="400"/>
                </a:lnTo>
                <a:lnTo>
                  <a:pt x="55" y="400"/>
                </a:lnTo>
                <a:lnTo>
                  <a:pt x="54" y="405"/>
                </a:lnTo>
                <a:lnTo>
                  <a:pt x="53" y="410"/>
                </a:lnTo>
                <a:lnTo>
                  <a:pt x="54" y="420"/>
                </a:lnTo>
                <a:lnTo>
                  <a:pt x="54" y="425"/>
                </a:lnTo>
                <a:lnTo>
                  <a:pt x="54" y="430"/>
                </a:lnTo>
                <a:lnTo>
                  <a:pt x="52" y="434"/>
                </a:lnTo>
                <a:lnTo>
                  <a:pt x="48" y="437"/>
                </a:lnTo>
                <a:lnTo>
                  <a:pt x="48" y="437"/>
                </a:lnTo>
                <a:lnTo>
                  <a:pt x="38" y="444"/>
                </a:lnTo>
                <a:lnTo>
                  <a:pt x="29" y="448"/>
                </a:lnTo>
                <a:lnTo>
                  <a:pt x="21" y="451"/>
                </a:lnTo>
                <a:lnTo>
                  <a:pt x="14" y="454"/>
                </a:lnTo>
                <a:lnTo>
                  <a:pt x="11" y="456"/>
                </a:lnTo>
                <a:lnTo>
                  <a:pt x="8" y="459"/>
                </a:lnTo>
                <a:lnTo>
                  <a:pt x="6" y="463"/>
                </a:lnTo>
                <a:lnTo>
                  <a:pt x="5" y="466"/>
                </a:lnTo>
                <a:lnTo>
                  <a:pt x="2" y="479"/>
                </a:lnTo>
                <a:lnTo>
                  <a:pt x="1" y="496"/>
                </a:lnTo>
                <a:lnTo>
                  <a:pt x="1" y="496"/>
                </a:lnTo>
                <a:lnTo>
                  <a:pt x="1" y="505"/>
                </a:lnTo>
                <a:lnTo>
                  <a:pt x="0" y="514"/>
                </a:lnTo>
                <a:lnTo>
                  <a:pt x="0" y="522"/>
                </a:lnTo>
                <a:lnTo>
                  <a:pt x="0" y="526"/>
                </a:lnTo>
                <a:lnTo>
                  <a:pt x="1" y="529"/>
                </a:lnTo>
                <a:lnTo>
                  <a:pt x="1" y="529"/>
                </a:lnTo>
                <a:lnTo>
                  <a:pt x="6" y="530"/>
                </a:lnTo>
                <a:lnTo>
                  <a:pt x="13" y="530"/>
                </a:lnTo>
                <a:lnTo>
                  <a:pt x="26" y="530"/>
                </a:lnTo>
                <a:lnTo>
                  <a:pt x="42" y="530"/>
                </a:lnTo>
                <a:lnTo>
                  <a:pt x="55" y="533"/>
                </a:lnTo>
                <a:lnTo>
                  <a:pt x="55" y="533"/>
                </a:lnTo>
                <a:lnTo>
                  <a:pt x="59" y="534"/>
                </a:lnTo>
                <a:lnTo>
                  <a:pt x="61" y="536"/>
                </a:lnTo>
                <a:lnTo>
                  <a:pt x="64" y="541"/>
                </a:lnTo>
                <a:lnTo>
                  <a:pt x="67" y="548"/>
                </a:lnTo>
                <a:lnTo>
                  <a:pt x="67" y="555"/>
                </a:lnTo>
                <a:lnTo>
                  <a:pt x="64" y="570"/>
                </a:lnTo>
                <a:lnTo>
                  <a:pt x="63" y="584"/>
                </a:lnTo>
                <a:lnTo>
                  <a:pt x="63" y="584"/>
                </a:lnTo>
                <a:lnTo>
                  <a:pt x="64" y="588"/>
                </a:lnTo>
                <a:lnTo>
                  <a:pt x="65" y="591"/>
                </a:lnTo>
                <a:lnTo>
                  <a:pt x="70" y="597"/>
                </a:lnTo>
                <a:lnTo>
                  <a:pt x="77" y="601"/>
                </a:lnTo>
                <a:lnTo>
                  <a:pt x="84" y="603"/>
                </a:lnTo>
                <a:lnTo>
                  <a:pt x="92" y="605"/>
                </a:lnTo>
                <a:lnTo>
                  <a:pt x="101" y="605"/>
                </a:lnTo>
                <a:lnTo>
                  <a:pt x="118" y="606"/>
                </a:lnTo>
                <a:lnTo>
                  <a:pt x="118" y="606"/>
                </a:lnTo>
                <a:lnTo>
                  <a:pt x="184" y="662"/>
                </a:lnTo>
                <a:lnTo>
                  <a:pt x="184" y="662"/>
                </a:lnTo>
                <a:lnTo>
                  <a:pt x="184" y="662"/>
                </a:lnTo>
                <a:lnTo>
                  <a:pt x="185" y="672"/>
                </a:lnTo>
                <a:lnTo>
                  <a:pt x="186" y="680"/>
                </a:lnTo>
                <a:lnTo>
                  <a:pt x="187" y="687"/>
                </a:lnTo>
                <a:lnTo>
                  <a:pt x="190" y="693"/>
                </a:lnTo>
                <a:lnTo>
                  <a:pt x="193" y="697"/>
                </a:lnTo>
                <a:lnTo>
                  <a:pt x="197" y="702"/>
                </a:lnTo>
                <a:lnTo>
                  <a:pt x="201" y="704"/>
                </a:lnTo>
                <a:lnTo>
                  <a:pt x="207" y="706"/>
                </a:lnTo>
                <a:lnTo>
                  <a:pt x="217" y="709"/>
                </a:lnTo>
                <a:lnTo>
                  <a:pt x="231" y="710"/>
                </a:lnTo>
                <a:lnTo>
                  <a:pt x="245" y="711"/>
                </a:lnTo>
                <a:lnTo>
                  <a:pt x="261" y="713"/>
                </a:lnTo>
                <a:lnTo>
                  <a:pt x="261" y="713"/>
                </a:lnTo>
                <a:lnTo>
                  <a:pt x="268" y="715"/>
                </a:lnTo>
                <a:lnTo>
                  <a:pt x="274" y="717"/>
                </a:lnTo>
                <a:lnTo>
                  <a:pt x="278" y="721"/>
                </a:lnTo>
                <a:lnTo>
                  <a:pt x="282" y="726"/>
                </a:lnTo>
                <a:lnTo>
                  <a:pt x="285" y="732"/>
                </a:lnTo>
                <a:lnTo>
                  <a:pt x="288" y="738"/>
                </a:lnTo>
                <a:lnTo>
                  <a:pt x="292" y="751"/>
                </a:lnTo>
                <a:lnTo>
                  <a:pt x="296" y="764"/>
                </a:lnTo>
                <a:lnTo>
                  <a:pt x="299" y="775"/>
                </a:lnTo>
                <a:lnTo>
                  <a:pt x="301" y="780"/>
                </a:lnTo>
                <a:lnTo>
                  <a:pt x="304" y="784"/>
                </a:lnTo>
                <a:lnTo>
                  <a:pt x="306" y="786"/>
                </a:lnTo>
                <a:lnTo>
                  <a:pt x="309" y="787"/>
                </a:lnTo>
                <a:lnTo>
                  <a:pt x="309" y="787"/>
                </a:lnTo>
                <a:lnTo>
                  <a:pt x="314" y="786"/>
                </a:lnTo>
                <a:lnTo>
                  <a:pt x="317" y="785"/>
                </a:lnTo>
                <a:lnTo>
                  <a:pt x="323" y="781"/>
                </a:lnTo>
                <a:lnTo>
                  <a:pt x="328" y="777"/>
                </a:lnTo>
                <a:lnTo>
                  <a:pt x="331" y="775"/>
                </a:lnTo>
                <a:lnTo>
                  <a:pt x="335" y="775"/>
                </a:lnTo>
                <a:lnTo>
                  <a:pt x="335" y="775"/>
                </a:lnTo>
                <a:lnTo>
                  <a:pt x="336" y="779"/>
                </a:lnTo>
                <a:lnTo>
                  <a:pt x="337" y="784"/>
                </a:lnTo>
                <a:lnTo>
                  <a:pt x="341" y="787"/>
                </a:lnTo>
                <a:lnTo>
                  <a:pt x="344" y="790"/>
                </a:lnTo>
                <a:lnTo>
                  <a:pt x="347" y="793"/>
                </a:lnTo>
                <a:lnTo>
                  <a:pt x="352" y="795"/>
                </a:lnTo>
                <a:lnTo>
                  <a:pt x="357" y="796"/>
                </a:lnTo>
                <a:lnTo>
                  <a:pt x="361" y="797"/>
                </a:lnTo>
                <a:lnTo>
                  <a:pt x="361" y="797"/>
                </a:lnTo>
                <a:lnTo>
                  <a:pt x="366" y="796"/>
                </a:lnTo>
                <a:lnTo>
                  <a:pt x="372" y="795"/>
                </a:lnTo>
                <a:lnTo>
                  <a:pt x="376" y="792"/>
                </a:lnTo>
                <a:lnTo>
                  <a:pt x="381" y="789"/>
                </a:lnTo>
                <a:lnTo>
                  <a:pt x="388" y="781"/>
                </a:lnTo>
                <a:lnTo>
                  <a:pt x="393" y="775"/>
                </a:lnTo>
                <a:lnTo>
                  <a:pt x="393" y="775"/>
                </a:lnTo>
                <a:lnTo>
                  <a:pt x="389" y="764"/>
                </a:lnTo>
                <a:lnTo>
                  <a:pt x="383" y="754"/>
                </a:lnTo>
                <a:lnTo>
                  <a:pt x="376" y="743"/>
                </a:lnTo>
                <a:lnTo>
                  <a:pt x="367" y="734"/>
                </a:lnTo>
                <a:lnTo>
                  <a:pt x="359" y="725"/>
                </a:lnTo>
                <a:lnTo>
                  <a:pt x="350" y="718"/>
                </a:lnTo>
                <a:lnTo>
                  <a:pt x="330" y="703"/>
                </a:lnTo>
                <a:lnTo>
                  <a:pt x="313" y="693"/>
                </a:lnTo>
                <a:lnTo>
                  <a:pt x="298" y="685"/>
                </a:lnTo>
                <a:lnTo>
                  <a:pt x="288" y="679"/>
                </a:lnTo>
                <a:lnTo>
                  <a:pt x="284" y="675"/>
                </a:lnTo>
                <a:lnTo>
                  <a:pt x="284" y="675"/>
                </a:lnTo>
                <a:lnTo>
                  <a:pt x="284" y="670"/>
                </a:lnTo>
                <a:lnTo>
                  <a:pt x="285" y="662"/>
                </a:lnTo>
                <a:lnTo>
                  <a:pt x="291" y="643"/>
                </a:lnTo>
                <a:lnTo>
                  <a:pt x="299" y="621"/>
                </a:lnTo>
                <a:lnTo>
                  <a:pt x="309" y="599"/>
                </a:lnTo>
                <a:lnTo>
                  <a:pt x="316" y="589"/>
                </a:lnTo>
                <a:lnTo>
                  <a:pt x="323" y="580"/>
                </a:lnTo>
                <a:lnTo>
                  <a:pt x="330" y="571"/>
                </a:lnTo>
                <a:lnTo>
                  <a:pt x="338" y="564"/>
                </a:lnTo>
                <a:lnTo>
                  <a:pt x="346" y="557"/>
                </a:lnTo>
                <a:lnTo>
                  <a:pt x="354" y="553"/>
                </a:lnTo>
                <a:lnTo>
                  <a:pt x="364" y="551"/>
                </a:lnTo>
                <a:lnTo>
                  <a:pt x="372" y="551"/>
                </a:lnTo>
                <a:lnTo>
                  <a:pt x="372" y="551"/>
                </a:lnTo>
                <a:lnTo>
                  <a:pt x="366" y="566"/>
                </a:lnTo>
                <a:lnTo>
                  <a:pt x="360" y="579"/>
                </a:lnTo>
                <a:lnTo>
                  <a:pt x="357" y="593"/>
                </a:lnTo>
                <a:lnTo>
                  <a:pt x="354" y="604"/>
                </a:lnTo>
                <a:lnTo>
                  <a:pt x="353" y="616"/>
                </a:lnTo>
                <a:lnTo>
                  <a:pt x="353" y="626"/>
                </a:lnTo>
                <a:lnTo>
                  <a:pt x="354" y="636"/>
                </a:lnTo>
                <a:lnTo>
                  <a:pt x="357" y="647"/>
                </a:lnTo>
                <a:lnTo>
                  <a:pt x="359" y="655"/>
                </a:lnTo>
                <a:lnTo>
                  <a:pt x="362" y="664"/>
                </a:lnTo>
                <a:lnTo>
                  <a:pt x="367" y="672"/>
                </a:lnTo>
                <a:lnTo>
                  <a:pt x="372" y="679"/>
                </a:lnTo>
                <a:lnTo>
                  <a:pt x="384" y="693"/>
                </a:lnTo>
                <a:lnTo>
                  <a:pt x="397" y="705"/>
                </a:lnTo>
                <a:lnTo>
                  <a:pt x="412" y="716"/>
                </a:lnTo>
                <a:lnTo>
                  <a:pt x="428" y="726"/>
                </a:lnTo>
                <a:lnTo>
                  <a:pt x="457" y="743"/>
                </a:lnTo>
                <a:lnTo>
                  <a:pt x="471" y="752"/>
                </a:lnTo>
                <a:lnTo>
                  <a:pt x="482" y="761"/>
                </a:lnTo>
                <a:lnTo>
                  <a:pt x="491" y="770"/>
                </a:lnTo>
                <a:lnTo>
                  <a:pt x="495" y="774"/>
                </a:lnTo>
                <a:lnTo>
                  <a:pt x="497" y="779"/>
                </a:lnTo>
                <a:lnTo>
                  <a:pt x="497" y="779"/>
                </a:lnTo>
                <a:lnTo>
                  <a:pt x="505" y="800"/>
                </a:lnTo>
                <a:lnTo>
                  <a:pt x="510" y="818"/>
                </a:lnTo>
                <a:lnTo>
                  <a:pt x="514" y="836"/>
                </a:lnTo>
                <a:lnTo>
                  <a:pt x="517" y="853"/>
                </a:lnTo>
                <a:lnTo>
                  <a:pt x="519" y="870"/>
                </a:lnTo>
                <a:lnTo>
                  <a:pt x="520" y="886"/>
                </a:lnTo>
                <a:lnTo>
                  <a:pt x="521" y="918"/>
                </a:lnTo>
                <a:lnTo>
                  <a:pt x="521" y="935"/>
                </a:lnTo>
                <a:lnTo>
                  <a:pt x="523" y="954"/>
                </a:lnTo>
                <a:lnTo>
                  <a:pt x="526" y="973"/>
                </a:lnTo>
                <a:lnTo>
                  <a:pt x="530" y="995"/>
                </a:lnTo>
                <a:lnTo>
                  <a:pt x="536" y="1018"/>
                </a:lnTo>
                <a:lnTo>
                  <a:pt x="543" y="1044"/>
                </a:lnTo>
                <a:lnTo>
                  <a:pt x="553" y="1071"/>
                </a:lnTo>
                <a:lnTo>
                  <a:pt x="567" y="1102"/>
                </a:lnTo>
                <a:lnTo>
                  <a:pt x="567" y="1102"/>
                </a:lnTo>
                <a:lnTo>
                  <a:pt x="575" y="1121"/>
                </a:lnTo>
                <a:lnTo>
                  <a:pt x="584" y="1143"/>
                </a:lnTo>
                <a:lnTo>
                  <a:pt x="603" y="1192"/>
                </a:lnTo>
                <a:lnTo>
                  <a:pt x="621" y="1246"/>
                </a:lnTo>
                <a:lnTo>
                  <a:pt x="636" y="1300"/>
                </a:lnTo>
                <a:lnTo>
                  <a:pt x="636" y="1300"/>
                </a:lnTo>
                <a:lnTo>
                  <a:pt x="644" y="1329"/>
                </a:lnTo>
                <a:lnTo>
                  <a:pt x="649" y="1354"/>
                </a:lnTo>
                <a:lnTo>
                  <a:pt x="650" y="1376"/>
                </a:lnTo>
                <a:lnTo>
                  <a:pt x="650" y="1396"/>
                </a:lnTo>
                <a:lnTo>
                  <a:pt x="648" y="1412"/>
                </a:lnTo>
                <a:lnTo>
                  <a:pt x="644" y="1426"/>
                </a:lnTo>
                <a:lnTo>
                  <a:pt x="637" y="1449"/>
                </a:lnTo>
                <a:lnTo>
                  <a:pt x="634" y="1458"/>
                </a:lnTo>
                <a:lnTo>
                  <a:pt x="633" y="1467"/>
                </a:lnTo>
                <a:lnTo>
                  <a:pt x="632" y="1475"/>
                </a:lnTo>
                <a:lnTo>
                  <a:pt x="634" y="1483"/>
                </a:lnTo>
                <a:lnTo>
                  <a:pt x="639" y="1492"/>
                </a:lnTo>
                <a:lnTo>
                  <a:pt x="648" y="1502"/>
                </a:lnTo>
                <a:lnTo>
                  <a:pt x="659" y="1512"/>
                </a:lnTo>
                <a:lnTo>
                  <a:pt x="677" y="1525"/>
                </a:lnTo>
                <a:lnTo>
                  <a:pt x="677" y="1525"/>
                </a:lnTo>
                <a:lnTo>
                  <a:pt x="686" y="1533"/>
                </a:lnTo>
                <a:lnTo>
                  <a:pt x="694" y="1541"/>
                </a:lnTo>
                <a:lnTo>
                  <a:pt x="698" y="1550"/>
                </a:lnTo>
                <a:lnTo>
                  <a:pt x="702" y="1559"/>
                </a:lnTo>
                <a:lnTo>
                  <a:pt x="704" y="1569"/>
                </a:lnTo>
                <a:lnTo>
                  <a:pt x="706" y="1580"/>
                </a:lnTo>
                <a:lnTo>
                  <a:pt x="710" y="1605"/>
                </a:lnTo>
                <a:lnTo>
                  <a:pt x="713" y="1619"/>
                </a:lnTo>
                <a:lnTo>
                  <a:pt x="718" y="1634"/>
                </a:lnTo>
                <a:lnTo>
                  <a:pt x="725" y="1649"/>
                </a:lnTo>
                <a:lnTo>
                  <a:pt x="733" y="1666"/>
                </a:lnTo>
                <a:lnTo>
                  <a:pt x="744" y="1685"/>
                </a:lnTo>
                <a:lnTo>
                  <a:pt x="761" y="1704"/>
                </a:lnTo>
                <a:lnTo>
                  <a:pt x="779" y="1726"/>
                </a:lnTo>
                <a:lnTo>
                  <a:pt x="802" y="1748"/>
                </a:lnTo>
                <a:lnTo>
                  <a:pt x="802" y="1748"/>
                </a:lnTo>
                <a:lnTo>
                  <a:pt x="824" y="1737"/>
                </a:lnTo>
                <a:lnTo>
                  <a:pt x="824" y="173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2" name="Freeform 137"/>
          <p:cNvSpPr>
            <a:spLocks/>
          </p:cNvSpPr>
          <p:nvPr/>
        </p:nvSpPr>
        <p:spPr bwMode="auto">
          <a:xfrm>
            <a:off x="7580313" y="5154613"/>
            <a:ext cx="309562" cy="288925"/>
          </a:xfrm>
          <a:custGeom>
            <a:avLst/>
            <a:gdLst/>
            <a:ahLst/>
            <a:cxnLst>
              <a:cxn ang="0">
                <a:pos x="371" y="41"/>
              </a:cxn>
              <a:cxn ang="0">
                <a:pos x="353" y="32"/>
              </a:cxn>
              <a:cxn ang="0">
                <a:pos x="338" y="47"/>
              </a:cxn>
              <a:cxn ang="0">
                <a:pos x="315" y="85"/>
              </a:cxn>
              <a:cxn ang="0">
                <a:pos x="272" y="178"/>
              </a:cxn>
              <a:cxn ang="0">
                <a:pos x="250" y="220"/>
              </a:cxn>
              <a:cxn ang="0">
                <a:pos x="215" y="268"/>
              </a:cxn>
              <a:cxn ang="0">
                <a:pos x="173" y="306"/>
              </a:cxn>
              <a:cxn ang="0">
                <a:pos x="133" y="329"/>
              </a:cxn>
              <a:cxn ang="0">
                <a:pos x="103" y="333"/>
              </a:cxn>
              <a:cxn ang="0">
                <a:pos x="88" y="327"/>
              </a:cxn>
              <a:cxn ang="0">
                <a:pos x="77" y="314"/>
              </a:cxn>
              <a:cxn ang="0">
                <a:pos x="61" y="284"/>
              </a:cxn>
              <a:cxn ang="0">
                <a:pos x="39" y="236"/>
              </a:cxn>
              <a:cxn ang="0">
                <a:pos x="26" y="221"/>
              </a:cxn>
              <a:cxn ang="0">
                <a:pos x="0" y="213"/>
              </a:cxn>
              <a:cxn ang="0">
                <a:pos x="15" y="189"/>
              </a:cxn>
              <a:cxn ang="0">
                <a:pos x="18" y="161"/>
              </a:cxn>
              <a:cxn ang="0">
                <a:pos x="19" y="135"/>
              </a:cxn>
              <a:cxn ang="0">
                <a:pos x="28" y="121"/>
              </a:cxn>
              <a:cxn ang="0">
                <a:pos x="39" y="107"/>
              </a:cxn>
              <a:cxn ang="0">
                <a:pos x="51" y="102"/>
              </a:cxn>
              <a:cxn ang="0">
                <a:pos x="59" y="101"/>
              </a:cxn>
              <a:cxn ang="0">
                <a:pos x="77" y="92"/>
              </a:cxn>
              <a:cxn ang="0">
                <a:pos x="77" y="56"/>
              </a:cxn>
              <a:cxn ang="0">
                <a:pos x="81" y="47"/>
              </a:cxn>
              <a:cxn ang="0">
                <a:pos x="94" y="45"/>
              </a:cxn>
              <a:cxn ang="0">
                <a:pos x="135" y="47"/>
              </a:cxn>
              <a:cxn ang="0">
                <a:pos x="141" y="45"/>
              </a:cxn>
              <a:cxn ang="0">
                <a:pos x="152" y="33"/>
              </a:cxn>
              <a:cxn ang="0">
                <a:pos x="171" y="33"/>
              </a:cxn>
              <a:cxn ang="0">
                <a:pos x="215" y="44"/>
              </a:cxn>
              <a:cxn ang="0">
                <a:pos x="260" y="54"/>
              </a:cxn>
              <a:cxn ang="0">
                <a:pos x="286" y="54"/>
              </a:cxn>
              <a:cxn ang="0">
                <a:pos x="302" y="43"/>
              </a:cxn>
              <a:cxn ang="0">
                <a:pos x="307" y="21"/>
              </a:cxn>
              <a:cxn ang="0">
                <a:pos x="309" y="8"/>
              </a:cxn>
              <a:cxn ang="0">
                <a:pos x="323" y="2"/>
              </a:cxn>
              <a:cxn ang="0">
                <a:pos x="356" y="1"/>
              </a:cxn>
              <a:cxn ang="0">
                <a:pos x="378" y="0"/>
              </a:cxn>
              <a:cxn ang="0">
                <a:pos x="378" y="16"/>
              </a:cxn>
              <a:cxn ang="0">
                <a:pos x="378" y="47"/>
              </a:cxn>
              <a:cxn ang="0">
                <a:pos x="375" y="47"/>
              </a:cxn>
            </a:cxnLst>
            <a:rect l="0" t="0" r="r" b="b"/>
            <a:pathLst>
              <a:path w="378" h="333">
                <a:moveTo>
                  <a:pt x="375" y="47"/>
                </a:moveTo>
                <a:lnTo>
                  <a:pt x="375" y="47"/>
                </a:lnTo>
                <a:lnTo>
                  <a:pt x="371" y="41"/>
                </a:lnTo>
                <a:lnTo>
                  <a:pt x="367" y="37"/>
                </a:lnTo>
                <a:lnTo>
                  <a:pt x="360" y="35"/>
                </a:lnTo>
                <a:lnTo>
                  <a:pt x="353" y="32"/>
                </a:lnTo>
                <a:lnTo>
                  <a:pt x="353" y="32"/>
                </a:lnTo>
                <a:lnTo>
                  <a:pt x="345" y="39"/>
                </a:lnTo>
                <a:lnTo>
                  <a:pt x="338" y="47"/>
                </a:lnTo>
                <a:lnTo>
                  <a:pt x="332" y="55"/>
                </a:lnTo>
                <a:lnTo>
                  <a:pt x="325" y="64"/>
                </a:lnTo>
                <a:lnTo>
                  <a:pt x="315" y="85"/>
                </a:lnTo>
                <a:lnTo>
                  <a:pt x="303" y="107"/>
                </a:lnTo>
                <a:lnTo>
                  <a:pt x="284" y="155"/>
                </a:lnTo>
                <a:lnTo>
                  <a:pt x="272" y="178"/>
                </a:lnTo>
                <a:lnTo>
                  <a:pt x="261" y="201"/>
                </a:lnTo>
                <a:lnTo>
                  <a:pt x="261" y="201"/>
                </a:lnTo>
                <a:lnTo>
                  <a:pt x="250" y="220"/>
                </a:lnTo>
                <a:lnTo>
                  <a:pt x="239" y="236"/>
                </a:lnTo>
                <a:lnTo>
                  <a:pt x="227" y="253"/>
                </a:lnTo>
                <a:lnTo>
                  <a:pt x="215" y="268"/>
                </a:lnTo>
                <a:lnTo>
                  <a:pt x="201" y="282"/>
                </a:lnTo>
                <a:lnTo>
                  <a:pt x="187" y="295"/>
                </a:lnTo>
                <a:lnTo>
                  <a:pt x="173" y="306"/>
                </a:lnTo>
                <a:lnTo>
                  <a:pt x="160" y="315"/>
                </a:lnTo>
                <a:lnTo>
                  <a:pt x="147" y="323"/>
                </a:lnTo>
                <a:lnTo>
                  <a:pt x="133" y="329"/>
                </a:lnTo>
                <a:lnTo>
                  <a:pt x="120" y="333"/>
                </a:lnTo>
                <a:lnTo>
                  <a:pt x="109" y="333"/>
                </a:lnTo>
                <a:lnTo>
                  <a:pt x="103" y="333"/>
                </a:lnTo>
                <a:lnTo>
                  <a:pt x="99" y="331"/>
                </a:lnTo>
                <a:lnTo>
                  <a:pt x="93" y="329"/>
                </a:lnTo>
                <a:lnTo>
                  <a:pt x="88" y="327"/>
                </a:lnTo>
                <a:lnTo>
                  <a:pt x="85" y="323"/>
                </a:lnTo>
                <a:lnTo>
                  <a:pt x="80" y="319"/>
                </a:lnTo>
                <a:lnTo>
                  <a:pt x="77" y="314"/>
                </a:lnTo>
                <a:lnTo>
                  <a:pt x="73" y="308"/>
                </a:lnTo>
                <a:lnTo>
                  <a:pt x="73" y="308"/>
                </a:lnTo>
                <a:lnTo>
                  <a:pt x="61" y="284"/>
                </a:lnTo>
                <a:lnTo>
                  <a:pt x="51" y="264"/>
                </a:lnTo>
                <a:lnTo>
                  <a:pt x="45" y="249"/>
                </a:lnTo>
                <a:lnTo>
                  <a:pt x="39" y="236"/>
                </a:lnTo>
                <a:lnTo>
                  <a:pt x="33" y="227"/>
                </a:lnTo>
                <a:lnTo>
                  <a:pt x="30" y="223"/>
                </a:lnTo>
                <a:lnTo>
                  <a:pt x="26" y="221"/>
                </a:lnTo>
                <a:lnTo>
                  <a:pt x="20" y="219"/>
                </a:lnTo>
                <a:lnTo>
                  <a:pt x="15" y="216"/>
                </a:lnTo>
                <a:lnTo>
                  <a:pt x="0" y="213"/>
                </a:lnTo>
                <a:lnTo>
                  <a:pt x="0" y="213"/>
                </a:lnTo>
                <a:lnTo>
                  <a:pt x="9" y="200"/>
                </a:lnTo>
                <a:lnTo>
                  <a:pt x="15" y="189"/>
                </a:lnTo>
                <a:lnTo>
                  <a:pt x="17" y="176"/>
                </a:lnTo>
                <a:lnTo>
                  <a:pt x="18" y="161"/>
                </a:lnTo>
                <a:lnTo>
                  <a:pt x="18" y="161"/>
                </a:lnTo>
                <a:lnTo>
                  <a:pt x="18" y="143"/>
                </a:lnTo>
                <a:lnTo>
                  <a:pt x="18" y="143"/>
                </a:lnTo>
                <a:lnTo>
                  <a:pt x="19" y="135"/>
                </a:lnTo>
                <a:lnTo>
                  <a:pt x="21" y="129"/>
                </a:lnTo>
                <a:lnTo>
                  <a:pt x="24" y="124"/>
                </a:lnTo>
                <a:lnTo>
                  <a:pt x="28" y="121"/>
                </a:lnTo>
                <a:lnTo>
                  <a:pt x="32" y="117"/>
                </a:lnTo>
                <a:lnTo>
                  <a:pt x="35" y="113"/>
                </a:lnTo>
                <a:lnTo>
                  <a:pt x="39" y="107"/>
                </a:lnTo>
                <a:lnTo>
                  <a:pt x="40" y="99"/>
                </a:lnTo>
                <a:lnTo>
                  <a:pt x="40" y="99"/>
                </a:lnTo>
                <a:lnTo>
                  <a:pt x="51" y="102"/>
                </a:lnTo>
                <a:lnTo>
                  <a:pt x="51" y="102"/>
                </a:lnTo>
                <a:lnTo>
                  <a:pt x="51" y="102"/>
                </a:lnTo>
                <a:lnTo>
                  <a:pt x="59" y="101"/>
                </a:lnTo>
                <a:lnTo>
                  <a:pt x="65" y="99"/>
                </a:lnTo>
                <a:lnTo>
                  <a:pt x="77" y="92"/>
                </a:lnTo>
                <a:lnTo>
                  <a:pt x="77" y="92"/>
                </a:lnTo>
                <a:lnTo>
                  <a:pt x="77" y="62"/>
                </a:lnTo>
                <a:lnTo>
                  <a:pt x="77" y="62"/>
                </a:lnTo>
                <a:lnTo>
                  <a:pt x="77" y="56"/>
                </a:lnTo>
                <a:lnTo>
                  <a:pt x="78" y="53"/>
                </a:lnTo>
                <a:lnTo>
                  <a:pt x="79" y="49"/>
                </a:lnTo>
                <a:lnTo>
                  <a:pt x="81" y="47"/>
                </a:lnTo>
                <a:lnTo>
                  <a:pt x="84" y="46"/>
                </a:lnTo>
                <a:lnTo>
                  <a:pt x="87" y="45"/>
                </a:lnTo>
                <a:lnTo>
                  <a:pt x="94" y="45"/>
                </a:lnTo>
                <a:lnTo>
                  <a:pt x="112" y="48"/>
                </a:lnTo>
                <a:lnTo>
                  <a:pt x="124" y="48"/>
                </a:lnTo>
                <a:lnTo>
                  <a:pt x="135" y="47"/>
                </a:lnTo>
                <a:lnTo>
                  <a:pt x="135" y="47"/>
                </a:lnTo>
                <a:lnTo>
                  <a:pt x="139" y="47"/>
                </a:lnTo>
                <a:lnTo>
                  <a:pt x="141" y="45"/>
                </a:lnTo>
                <a:lnTo>
                  <a:pt x="145" y="40"/>
                </a:lnTo>
                <a:lnTo>
                  <a:pt x="149" y="35"/>
                </a:lnTo>
                <a:lnTo>
                  <a:pt x="152" y="33"/>
                </a:lnTo>
                <a:lnTo>
                  <a:pt x="155" y="32"/>
                </a:lnTo>
                <a:lnTo>
                  <a:pt x="155" y="32"/>
                </a:lnTo>
                <a:lnTo>
                  <a:pt x="171" y="33"/>
                </a:lnTo>
                <a:lnTo>
                  <a:pt x="186" y="36"/>
                </a:lnTo>
                <a:lnTo>
                  <a:pt x="201" y="39"/>
                </a:lnTo>
                <a:lnTo>
                  <a:pt x="215" y="44"/>
                </a:lnTo>
                <a:lnTo>
                  <a:pt x="230" y="47"/>
                </a:lnTo>
                <a:lnTo>
                  <a:pt x="245" y="51"/>
                </a:lnTo>
                <a:lnTo>
                  <a:pt x="260" y="54"/>
                </a:lnTo>
                <a:lnTo>
                  <a:pt x="276" y="54"/>
                </a:lnTo>
                <a:lnTo>
                  <a:pt x="276" y="54"/>
                </a:lnTo>
                <a:lnTo>
                  <a:pt x="286" y="54"/>
                </a:lnTo>
                <a:lnTo>
                  <a:pt x="294" y="52"/>
                </a:lnTo>
                <a:lnTo>
                  <a:pt x="299" y="47"/>
                </a:lnTo>
                <a:lnTo>
                  <a:pt x="302" y="43"/>
                </a:lnTo>
                <a:lnTo>
                  <a:pt x="303" y="36"/>
                </a:lnTo>
                <a:lnTo>
                  <a:pt x="305" y="29"/>
                </a:lnTo>
                <a:lnTo>
                  <a:pt x="307" y="21"/>
                </a:lnTo>
                <a:lnTo>
                  <a:pt x="308" y="12"/>
                </a:lnTo>
                <a:lnTo>
                  <a:pt x="308" y="12"/>
                </a:lnTo>
                <a:lnTo>
                  <a:pt x="309" y="8"/>
                </a:lnTo>
                <a:lnTo>
                  <a:pt x="311" y="7"/>
                </a:lnTo>
                <a:lnTo>
                  <a:pt x="316" y="3"/>
                </a:lnTo>
                <a:lnTo>
                  <a:pt x="323" y="2"/>
                </a:lnTo>
                <a:lnTo>
                  <a:pt x="331" y="1"/>
                </a:lnTo>
                <a:lnTo>
                  <a:pt x="348" y="1"/>
                </a:lnTo>
                <a:lnTo>
                  <a:pt x="356" y="1"/>
                </a:lnTo>
                <a:lnTo>
                  <a:pt x="363" y="0"/>
                </a:lnTo>
                <a:lnTo>
                  <a:pt x="363" y="0"/>
                </a:lnTo>
                <a:lnTo>
                  <a:pt x="378" y="0"/>
                </a:lnTo>
                <a:lnTo>
                  <a:pt x="378" y="0"/>
                </a:lnTo>
                <a:lnTo>
                  <a:pt x="378" y="0"/>
                </a:lnTo>
                <a:lnTo>
                  <a:pt x="378" y="16"/>
                </a:lnTo>
                <a:lnTo>
                  <a:pt x="377" y="28"/>
                </a:lnTo>
                <a:lnTo>
                  <a:pt x="377" y="37"/>
                </a:lnTo>
                <a:lnTo>
                  <a:pt x="378" y="47"/>
                </a:lnTo>
                <a:lnTo>
                  <a:pt x="378" y="47"/>
                </a:lnTo>
                <a:lnTo>
                  <a:pt x="375" y="47"/>
                </a:lnTo>
                <a:lnTo>
                  <a:pt x="375" y="47"/>
                </a:lnTo>
                <a:lnTo>
                  <a:pt x="375" y="47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3" name="Freeform 138"/>
          <p:cNvSpPr>
            <a:spLocks/>
          </p:cNvSpPr>
          <p:nvPr/>
        </p:nvSpPr>
        <p:spPr bwMode="auto">
          <a:xfrm>
            <a:off x="4921250" y="4159250"/>
            <a:ext cx="1406525" cy="1758950"/>
          </a:xfrm>
          <a:custGeom>
            <a:avLst/>
            <a:gdLst/>
            <a:ahLst/>
            <a:cxnLst>
              <a:cxn ang="0">
                <a:pos x="1683" y="607"/>
              </a:cxn>
              <a:cxn ang="0">
                <a:pos x="1627" y="507"/>
              </a:cxn>
              <a:cxn ang="0">
                <a:pos x="1533" y="466"/>
              </a:cxn>
              <a:cxn ang="0">
                <a:pos x="1410" y="368"/>
              </a:cxn>
              <a:cxn ang="0">
                <a:pos x="1290" y="507"/>
              </a:cxn>
              <a:cxn ang="0">
                <a:pos x="1210" y="657"/>
              </a:cxn>
              <a:cxn ang="0">
                <a:pos x="1116" y="634"/>
              </a:cxn>
              <a:cxn ang="0">
                <a:pos x="970" y="718"/>
              </a:cxn>
              <a:cxn ang="0">
                <a:pos x="965" y="432"/>
              </a:cxn>
              <a:cxn ang="0">
                <a:pos x="878" y="305"/>
              </a:cxn>
              <a:cxn ang="0">
                <a:pos x="823" y="221"/>
              </a:cxn>
              <a:cxn ang="0">
                <a:pos x="739" y="77"/>
              </a:cxn>
              <a:cxn ang="0">
                <a:pos x="716" y="7"/>
              </a:cxn>
              <a:cxn ang="0">
                <a:pos x="599" y="78"/>
              </a:cxn>
              <a:cxn ang="0">
                <a:pos x="602" y="175"/>
              </a:cxn>
              <a:cxn ang="0">
                <a:pos x="647" y="268"/>
              </a:cxn>
              <a:cxn ang="0">
                <a:pos x="647" y="338"/>
              </a:cxn>
              <a:cxn ang="0">
                <a:pos x="610" y="424"/>
              </a:cxn>
              <a:cxn ang="0">
                <a:pos x="575" y="495"/>
              </a:cxn>
              <a:cxn ang="0">
                <a:pos x="639" y="628"/>
              </a:cxn>
              <a:cxn ang="0">
                <a:pos x="617" y="719"/>
              </a:cxn>
              <a:cxn ang="0">
                <a:pos x="660" y="786"/>
              </a:cxn>
              <a:cxn ang="0">
                <a:pos x="640" y="880"/>
              </a:cxn>
              <a:cxn ang="0">
                <a:pos x="511" y="817"/>
              </a:cxn>
              <a:cxn ang="0">
                <a:pos x="462" y="875"/>
              </a:cxn>
              <a:cxn ang="0">
                <a:pos x="419" y="958"/>
              </a:cxn>
              <a:cxn ang="0">
                <a:pos x="383" y="1007"/>
              </a:cxn>
              <a:cxn ang="0">
                <a:pos x="362" y="1119"/>
              </a:cxn>
              <a:cxn ang="0">
                <a:pos x="284" y="1033"/>
              </a:cxn>
              <a:cxn ang="0">
                <a:pos x="162" y="1095"/>
              </a:cxn>
              <a:cxn ang="0">
                <a:pos x="116" y="1223"/>
              </a:cxn>
              <a:cxn ang="0">
                <a:pos x="120" y="1348"/>
              </a:cxn>
              <a:cxn ang="0">
                <a:pos x="91" y="1461"/>
              </a:cxn>
              <a:cxn ang="0">
                <a:pos x="89" y="1565"/>
              </a:cxn>
              <a:cxn ang="0">
                <a:pos x="0" y="1637"/>
              </a:cxn>
              <a:cxn ang="0">
                <a:pos x="82" y="1727"/>
              </a:cxn>
              <a:cxn ang="0">
                <a:pos x="159" y="1742"/>
              </a:cxn>
              <a:cxn ang="0">
                <a:pos x="308" y="1785"/>
              </a:cxn>
              <a:cxn ang="0">
                <a:pos x="402" y="1737"/>
              </a:cxn>
              <a:cxn ang="0">
                <a:pos x="457" y="1808"/>
              </a:cxn>
              <a:cxn ang="0">
                <a:pos x="606" y="1869"/>
              </a:cxn>
              <a:cxn ang="0">
                <a:pos x="701" y="1920"/>
              </a:cxn>
              <a:cxn ang="0">
                <a:pos x="771" y="1968"/>
              </a:cxn>
              <a:cxn ang="0">
                <a:pos x="808" y="1999"/>
              </a:cxn>
              <a:cxn ang="0">
                <a:pos x="793" y="1949"/>
              </a:cxn>
              <a:cxn ang="0">
                <a:pos x="871" y="1858"/>
              </a:cxn>
              <a:cxn ang="0">
                <a:pos x="999" y="1645"/>
              </a:cxn>
              <a:cxn ang="0">
                <a:pos x="1032" y="1565"/>
              </a:cxn>
              <a:cxn ang="0">
                <a:pos x="1074" y="1322"/>
              </a:cxn>
              <a:cxn ang="0">
                <a:pos x="1072" y="1197"/>
              </a:cxn>
              <a:cxn ang="0">
                <a:pos x="1019" y="1117"/>
              </a:cxn>
              <a:cxn ang="0">
                <a:pos x="1098" y="1042"/>
              </a:cxn>
              <a:cxn ang="0">
                <a:pos x="1199" y="1015"/>
              </a:cxn>
              <a:cxn ang="0">
                <a:pos x="1266" y="983"/>
              </a:cxn>
              <a:cxn ang="0">
                <a:pos x="1340" y="992"/>
              </a:cxn>
              <a:cxn ang="0">
                <a:pos x="1415" y="991"/>
              </a:cxn>
              <a:cxn ang="0">
                <a:pos x="1492" y="880"/>
              </a:cxn>
              <a:cxn ang="0">
                <a:pos x="1575" y="881"/>
              </a:cxn>
              <a:cxn ang="0">
                <a:pos x="1672" y="827"/>
              </a:cxn>
              <a:cxn ang="0">
                <a:pos x="1612" y="748"/>
              </a:cxn>
            </a:cxnLst>
            <a:rect l="0" t="0" r="r" b="b"/>
            <a:pathLst>
              <a:path w="1719" h="2016">
                <a:moveTo>
                  <a:pt x="1598" y="724"/>
                </a:moveTo>
                <a:lnTo>
                  <a:pt x="1598" y="724"/>
                </a:lnTo>
                <a:lnTo>
                  <a:pt x="1598" y="625"/>
                </a:lnTo>
                <a:lnTo>
                  <a:pt x="1598" y="625"/>
                </a:lnTo>
                <a:lnTo>
                  <a:pt x="1599" y="620"/>
                </a:lnTo>
                <a:lnTo>
                  <a:pt x="1602" y="615"/>
                </a:lnTo>
                <a:lnTo>
                  <a:pt x="1605" y="613"/>
                </a:lnTo>
                <a:lnTo>
                  <a:pt x="1610" y="612"/>
                </a:lnTo>
                <a:lnTo>
                  <a:pt x="1618" y="610"/>
                </a:lnTo>
                <a:lnTo>
                  <a:pt x="1624" y="610"/>
                </a:lnTo>
                <a:lnTo>
                  <a:pt x="1624" y="610"/>
                </a:lnTo>
                <a:lnTo>
                  <a:pt x="1667" y="610"/>
                </a:lnTo>
                <a:lnTo>
                  <a:pt x="1667" y="610"/>
                </a:lnTo>
                <a:lnTo>
                  <a:pt x="1676" y="609"/>
                </a:lnTo>
                <a:lnTo>
                  <a:pt x="1683" y="607"/>
                </a:lnTo>
                <a:lnTo>
                  <a:pt x="1690" y="604"/>
                </a:lnTo>
                <a:lnTo>
                  <a:pt x="1696" y="600"/>
                </a:lnTo>
                <a:lnTo>
                  <a:pt x="1708" y="591"/>
                </a:lnTo>
                <a:lnTo>
                  <a:pt x="1719" y="580"/>
                </a:lnTo>
                <a:lnTo>
                  <a:pt x="1704" y="573"/>
                </a:lnTo>
                <a:lnTo>
                  <a:pt x="1704" y="573"/>
                </a:lnTo>
                <a:lnTo>
                  <a:pt x="1696" y="566"/>
                </a:lnTo>
                <a:lnTo>
                  <a:pt x="1686" y="559"/>
                </a:lnTo>
                <a:lnTo>
                  <a:pt x="1663" y="543"/>
                </a:lnTo>
                <a:lnTo>
                  <a:pt x="1651" y="534"/>
                </a:lnTo>
                <a:lnTo>
                  <a:pt x="1641" y="526"/>
                </a:lnTo>
                <a:lnTo>
                  <a:pt x="1633" y="516"/>
                </a:lnTo>
                <a:lnTo>
                  <a:pt x="1629" y="512"/>
                </a:lnTo>
                <a:lnTo>
                  <a:pt x="1627" y="507"/>
                </a:lnTo>
                <a:lnTo>
                  <a:pt x="1627" y="507"/>
                </a:lnTo>
                <a:lnTo>
                  <a:pt x="1624" y="495"/>
                </a:lnTo>
                <a:lnTo>
                  <a:pt x="1621" y="484"/>
                </a:lnTo>
                <a:lnTo>
                  <a:pt x="1617" y="465"/>
                </a:lnTo>
                <a:lnTo>
                  <a:pt x="1613" y="455"/>
                </a:lnTo>
                <a:lnTo>
                  <a:pt x="1609" y="447"/>
                </a:lnTo>
                <a:lnTo>
                  <a:pt x="1603" y="441"/>
                </a:lnTo>
                <a:lnTo>
                  <a:pt x="1594" y="434"/>
                </a:lnTo>
                <a:lnTo>
                  <a:pt x="1558" y="434"/>
                </a:lnTo>
                <a:lnTo>
                  <a:pt x="1558" y="434"/>
                </a:lnTo>
                <a:lnTo>
                  <a:pt x="1555" y="447"/>
                </a:lnTo>
                <a:lnTo>
                  <a:pt x="1552" y="453"/>
                </a:lnTo>
                <a:lnTo>
                  <a:pt x="1549" y="458"/>
                </a:lnTo>
                <a:lnTo>
                  <a:pt x="1545" y="461"/>
                </a:lnTo>
                <a:lnTo>
                  <a:pt x="1540" y="465"/>
                </a:lnTo>
                <a:lnTo>
                  <a:pt x="1533" y="466"/>
                </a:lnTo>
                <a:lnTo>
                  <a:pt x="1525" y="466"/>
                </a:lnTo>
                <a:lnTo>
                  <a:pt x="1525" y="466"/>
                </a:lnTo>
                <a:lnTo>
                  <a:pt x="1512" y="465"/>
                </a:lnTo>
                <a:lnTo>
                  <a:pt x="1503" y="462"/>
                </a:lnTo>
                <a:lnTo>
                  <a:pt x="1494" y="457"/>
                </a:lnTo>
                <a:lnTo>
                  <a:pt x="1487" y="451"/>
                </a:lnTo>
                <a:lnTo>
                  <a:pt x="1480" y="443"/>
                </a:lnTo>
                <a:lnTo>
                  <a:pt x="1474" y="435"/>
                </a:lnTo>
                <a:lnTo>
                  <a:pt x="1465" y="416"/>
                </a:lnTo>
                <a:lnTo>
                  <a:pt x="1453" y="399"/>
                </a:lnTo>
                <a:lnTo>
                  <a:pt x="1447" y="390"/>
                </a:lnTo>
                <a:lnTo>
                  <a:pt x="1441" y="383"/>
                </a:lnTo>
                <a:lnTo>
                  <a:pt x="1431" y="376"/>
                </a:lnTo>
                <a:lnTo>
                  <a:pt x="1422" y="371"/>
                </a:lnTo>
                <a:lnTo>
                  <a:pt x="1410" y="368"/>
                </a:lnTo>
                <a:lnTo>
                  <a:pt x="1396" y="368"/>
                </a:lnTo>
                <a:lnTo>
                  <a:pt x="1396" y="368"/>
                </a:lnTo>
                <a:lnTo>
                  <a:pt x="1375" y="368"/>
                </a:lnTo>
                <a:lnTo>
                  <a:pt x="1358" y="370"/>
                </a:lnTo>
                <a:lnTo>
                  <a:pt x="1344" y="374"/>
                </a:lnTo>
                <a:lnTo>
                  <a:pt x="1332" y="378"/>
                </a:lnTo>
                <a:lnTo>
                  <a:pt x="1323" y="384"/>
                </a:lnTo>
                <a:lnTo>
                  <a:pt x="1316" y="391"/>
                </a:lnTo>
                <a:lnTo>
                  <a:pt x="1311" y="399"/>
                </a:lnTo>
                <a:lnTo>
                  <a:pt x="1306" y="409"/>
                </a:lnTo>
                <a:lnTo>
                  <a:pt x="1303" y="420"/>
                </a:lnTo>
                <a:lnTo>
                  <a:pt x="1300" y="431"/>
                </a:lnTo>
                <a:lnTo>
                  <a:pt x="1297" y="459"/>
                </a:lnTo>
                <a:lnTo>
                  <a:pt x="1293" y="490"/>
                </a:lnTo>
                <a:lnTo>
                  <a:pt x="1290" y="507"/>
                </a:lnTo>
                <a:lnTo>
                  <a:pt x="1286" y="525"/>
                </a:lnTo>
                <a:lnTo>
                  <a:pt x="1286" y="525"/>
                </a:lnTo>
                <a:lnTo>
                  <a:pt x="1283" y="535"/>
                </a:lnTo>
                <a:lnTo>
                  <a:pt x="1279" y="544"/>
                </a:lnTo>
                <a:lnTo>
                  <a:pt x="1270" y="561"/>
                </a:lnTo>
                <a:lnTo>
                  <a:pt x="1259" y="577"/>
                </a:lnTo>
                <a:lnTo>
                  <a:pt x="1248" y="592"/>
                </a:lnTo>
                <a:lnTo>
                  <a:pt x="1237" y="607"/>
                </a:lnTo>
                <a:lnTo>
                  <a:pt x="1228" y="622"/>
                </a:lnTo>
                <a:lnTo>
                  <a:pt x="1223" y="630"/>
                </a:lnTo>
                <a:lnTo>
                  <a:pt x="1221" y="640"/>
                </a:lnTo>
                <a:lnTo>
                  <a:pt x="1217" y="648"/>
                </a:lnTo>
                <a:lnTo>
                  <a:pt x="1216" y="657"/>
                </a:lnTo>
                <a:lnTo>
                  <a:pt x="1216" y="657"/>
                </a:lnTo>
                <a:lnTo>
                  <a:pt x="1210" y="657"/>
                </a:lnTo>
                <a:lnTo>
                  <a:pt x="1205" y="656"/>
                </a:lnTo>
                <a:lnTo>
                  <a:pt x="1200" y="653"/>
                </a:lnTo>
                <a:lnTo>
                  <a:pt x="1195" y="651"/>
                </a:lnTo>
                <a:lnTo>
                  <a:pt x="1187" y="644"/>
                </a:lnTo>
                <a:lnTo>
                  <a:pt x="1181" y="637"/>
                </a:lnTo>
                <a:lnTo>
                  <a:pt x="1175" y="630"/>
                </a:lnTo>
                <a:lnTo>
                  <a:pt x="1169" y="623"/>
                </a:lnTo>
                <a:lnTo>
                  <a:pt x="1163" y="619"/>
                </a:lnTo>
                <a:lnTo>
                  <a:pt x="1160" y="618"/>
                </a:lnTo>
                <a:lnTo>
                  <a:pt x="1158" y="618"/>
                </a:lnTo>
                <a:lnTo>
                  <a:pt x="1158" y="618"/>
                </a:lnTo>
                <a:lnTo>
                  <a:pt x="1146" y="619"/>
                </a:lnTo>
                <a:lnTo>
                  <a:pt x="1136" y="622"/>
                </a:lnTo>
                <a:lnTo>
                  <a:pt x="1125" y="627"/>
                </a:lnTo>
                <a:lnTo>
                  <a:pt x="1116" y="634"/>
                </a:lnTo>
                <a:lnTo>
                  <a:pt x="1108" y="642"/>
                </a:lnTo>
                <a:lnTo>
                  <a:pt x="1099" y="651"/>
                </a:lnTo>
                <a:lnTo>
                  <a:pt x="1082" y="671"/>
                </a:lnTo>
                <a:lnTo>
                  <a:pt x="1064" y="690"/>
                </a:lnTo>
                <a:lnTo>
                  <a:pt x="1054" y="699"/>
                </a:lnTo>
                <a:lnTo>
                  <a:pt x="1045" y="707"/>
                </a:lnTo>
                <a:lnTo>
                  <a:pt x="1033" y="714"/>
                </a:lnTo>
                <a:lnTo>
                  <a:pt x="1022" y="719"/>
                </a:lnTo>
                <a:lnTo>
                  <a:pt x="1009" y="722"/>
                </a:lnTo>
                <a:lnTo>
                  <a:pt x="995" y="724"/>
                </a:lnTo>
                <a:lnTo>
                  <a:pt x="995" y="724"/>
                </a:lnTo>
                <a:lnTo>
                  <a:pt x="987" y="724"/>
                </a:lnTo>
                <a:lnTo>
                  <a:pt x="980" y="722"/>
                </a:lnTo>
                <a:lnTo>
                  <a:pt x="975" y="720"/>
                </a:lnTo>
                <a:lnTo>
                  <a:pt x="970" y="718"/>
                </a:lnTo>
                <a:lnTo>
                  <a:pt x="965" y="716"/>
                </a:lnTo>
                <a:lnTo>
                  <a:pt x="962" y="712"/>
                </a:lnTo>
                <a:lnTo>
                  <a:pt x="960" y="709"/>
                </a:lnTo>
                <a:lnTo>
                  <a:pt x="957" y="704"/>
                </a:lnTo>
                <a:lnTo>
                  <a:pt x="954" y="695"/>
                </a:lnTo>
                <a:lnTo>
                  <a:pt x="952" y="686"/>
                </a:lnTo>
                <a:lnTo>
                  <a:pt x="952" y="665"/>
                </a:lnTo>
                <a:lnTo>
                  <a:pt x="952" y="665"/>
                </a:lnTo>
                <a:lnTo>
                  <a:pt x="952" y="492"/>
                </a:lnTo>
                <a:lnTo>
                  <a:pt x="952" y="492"/>
                </a:lnTo>
                <a:lnTo>
                  <a:pt x="952" y="481"/>
                </a:lnTo>
                <a:lnTo>
                  <a:pt x="954" y="469"/>
                </a:lnTo>
                <a:lnTo>
                  <a:pt x="956" y="460"/>
                </a:lnTo>
                <a:lnTo>
                  <a:pt x="960" y="451"/>
                </a:lnTo>
                <a:lnTo>
                  <a:pt x="965" y="432"/>
                </a:lnTo>
                <a:lnTo>
                  <a:pt x="968" y="422"/>
                </a:lnTo>
                <a:lnTo>
                  <a:pt x="970" y="412"/>
                </a:lnTo>
                <a:lnTo>
                  <a:pt x="970" y="412"/>
                </a:lnTo>
                <a:lnTo>
                  <a:pt x="950" y="401"/>
                </a:lnTo>
                <a:lnTo>
                  <a:pt x="932" y="391"/>
                </a:lnTo>
                <a:lnTo>
                  <a:pt x="917" y="380"/>
                </a:lnTo>
                <a:lnTo>
                  <a:pt x="903" y="368"/>
                </a:lnTo>
                <a:lnTo>
                  <a:pt x="897" y="361"/>
                </a:lnTo>
                <a:lnTo>
                  <a:pt x="893" y="354"/>
                </a:lnTo>
                <a:lnTo>
                  <a:pt x="888" y="347"/>
                </a:lnTo>
                <a:lnTo>
                  <a:pt x="885" y="339"/>
                </a:lnTo>
                <a:lnTo>
                  <a:pt x="881" y="331"/>
                </a:lnTo>
                <a:lnTo>
                  <a:pt x="879" y="323"/>
                </a:lnTo>
                <a:lnTo>
                  <a:pt x="878" y="314"/>
                </a:lnTo>
                <a:lnTo>
                  <a:pt x="878" y="305"/>
                </a:lnTo>
                <a:lnTo>
                  <a:pt x="878" y="305"/>
                </a:lnTo>
                <a:lnTo>
                  <a:pt x="878" y="264"/>
                </a:lnTo>
                <a:lnTo>
                  <a:pt x="878" y="264"/>
                </a:lnTo>
                <a:lnTo>
                  <a:pt x="877" y="259"/>
                </a:lnTo>
                <a:lnTo>
                  <a:pt x="876" y="254"/>
                </a:lnTo>
                <a:lnTo>
                  <a:pt x="873" y="250"/>
                </a:lnTo>
                <a:lnTo>
                  <a:pt x="871" y="246"/>
                </a:lnTo>
                <a:lnTo>
                  <a:pt x="868" y="244"/>
                </a:lnTo>
                <a:lnTo>
                  <a:pt x="863" y="241"/>
                </a:lnTo>
                <a:lnTo>
                  <a:pt x="855" y="237"/>
                </a:lnTo>
                <a:lnTo>
                  <a:pt x="835" y="230"/>
                </a:lnTo>
                <a:lnTo>
                  <a:pt x="828" y="226"/>
                </a:lnTo>
                <a:lnTo>
                  <a:pt x="825" y="223"/>
                </a:lnTo>
                <a:lnTo>
                  <a:pt x="823" y="221"/>
                </a:lnTo>
                <a:lnTo>
                  <a:pt x="823" y="221"/>
                </a:lnTo>
                <a:lnTo>
                  <a:pt x="817" y="208"/>
                </a:lnTo>
                <a:lnTo>
                  <a:pt x="813" y="197"/>
                </a:lnTo>
                <a:lnTo>
                  <a:pt x="811" y="186"/>
                </a:lnTo>
                <a:lnTo>
                  <a:pt x="810" y="175"/>
                </a:lnTo>
                <a:lnTo>
                  <a:pt x="809" y="164"/>
                </a:lnTo>
                <a:lnTo>
                  <a:pt x="807" y="154"/>
                </a:lnTo>
                <a:lnTo>
                  <a:pt x="803" y="144"/>
                </a:lnTo>
                <a:lnTo>
                  <a:pt x="797" y="132"/>
                </a:lnTo>
                <a:lnTo>
                  <a:pt x="797" y="132"/>
                </a:lnTo>
                <a:lnTo>
                  <a:pt x="792" y="118"/>
                </a:lnTo>
                <a:lnTo>
                  <a:pt x="784" y="107"/>
                </a:lnTo>
                <a:lnTo>
                  <a:pt x="775" y="96"/>
                </a:lnTo>
                <a:lnTo>
                  <a:pt x="765" y="88"/>
                </a:lnTo>
                <a:lnTo>
                  <a:pt x="752" y="82"/>
                </a:lnTo>
                <a:lnTo>
                  <a:pt x="739" y="77"/>
                </a:lnTo>
                <a:lnTo>
                  <a:pt x="723" y="73"/>
                </a:lnTo>
                <a:lnTo>
                  <a:pt x="705" y="70"/>
                </a:lnTo>
                <a:lnTo>
                  <a:pt x="705" y="70"/>
                </a:lnTo>
                <a:lnTo>
                  <a:pt x="706" y="63"/>
                </a:lnTo>
                <a:lnTo>
                  <a:pt x="710" y="58"/>
                </a:lnTo>
                <a:lnTo>
                  <a:pt x="716" y="49"/>
                </a:lnTo>
                <a:lnTo>
                  <a:pt x="719" y="45"/>
                </a:lnTo>
                <a:lnTo>
                  <a:pt x="721" y="39"/>
                </a:lnTo>
                <a:lnTo>
                  <a:pt x="723" y="33"/>
                </a:lnTo>
                <a:lnTo>
                  <a:pt x="724" y="26"/>
                </a:lnTo>
                <a:lnTo>
                  <a:pt x="724" y="26"/>
                </a:lnTo>
                <a:lnTo>
                  <a:pt x="724" y="16"/>
                </a:lnTo>
                <a:lnTo>
                  <a:pt x="724" y="12"/>
                </a:lnTo>
                <a:lnTo>
                  <a:pt x="723" y="10"/>
                </a:lnTo>
                <a:lnTo>
                  <a:pt x="716" y="7"/>
                </a:lnTo>
                <a:lnTo>
                  <a:pt x="690" y="0"/>
                </a:lnTo>
                <a:lnTo>
                  <a:pt x="690" y="0"/>
                </a:lnTo>
                <a:lnTo>
                  <a:pt x="688" y="9"/>
                </a:lnTo>
                <a:lnTo>
                  <a:pt x="686" y="16"/>
                </a:lnTo>
                <a:lnTo>
                  <a:pt x="680" y="23"/>
                </a:lnTo>
                <a:lnTo>
                  <a:pt x="674" y="27"/>
                </a:lnTo>
                <a:lnTo>
                  <a:pt x="667" y="32"/>
                </a:lnTo>
                <a:lnTo>
                  <a:pt x="659" y="35"/>
                </a:lnTo>
                <a:lnTo>
                  <a:pt x="643" y="42"/>
                </a:lnTo>
                <a:lnTo>
                  <a:pt x="627" y="49"/>
                </a:lnTo>
                <a:lnTo>
                  <a:pt x="619" y="54"/>
                </a:lnTo>
                <a:lnTo>
                  <a:pt x="612" y="58"/>
                </a:lnTo>
                <a:lnTo>
                  <a:pt x="606" y="64"/>
                </a:lnTo>
                <a:lnTo>
                  <a:pt x="602" y="71"/>
                </a:lnTo>
                <a:lnTo>
                  <a:pt x="599" y="78"/>
                </a:lnTo>
                <a:lnTo>
                  <a:pt x="598" y="88"/>
                </a:lnTo>
                <a:lnTo>
                  <a:pt x="598" y="88"/>
                </a:lnTo>
                <a:lnTo>
                  <a:pt x="599" y="99"/>
                </a:lnTo>
                <a:lnTo>
                  <a:pt x="602" y="108"/>
                </a:lnTo>
                <a:lnTo>
                  <a:pt x="605" y="115"/>
                </a:lnTo>
                <a:lnTo>
                  <a:pt x="610" y="121"/>
                </a:lnTo>
                <a:lnTo>
                  <a:pt x="618" y="131"/>
                </a:lnTo>
                <a:lnTo>
                  <a:pt x="620" y="137"/>
                </a:lnTo>
                <a:lnTo>
                  <a:pt x="621" y="144"/>
                </a:lnTo>
                <a:lnTo>
                  <a:pt x="621" y="144"/>
                </a:lnTo>
                <a:lnTo>
                  <a:pt x="620" y="148"/>
                </a:lnTo>
                <a:lnTo>
                  <a:pt x="618" y="154"/>
                </a:lnTo>
                <a:lnTo>
                  <a:pt x="610" y="163"/>
                </a:lnTo>
                <a:lnTo>
                  <a:pt x="605" y="169"/>
                </a:lnTo>
                <a:lnTo>
                  <a:pt x="602" y="175"/>
                </a:lnTo>
                <a:lnTo>
                  <a:pt x="599" y="182"/>
                </a:lnTo>
                <a:lnTo>
                  <a:pt x="598" y="191"/>
                </a:lnTo>
                <a:lnTo>
                  <a:pt x="598" y="191"/>
                </a:lnTo>
                <a:lnTo>
                  <a:pt x="599" y="198"/>
                </a:lnTo>
                <a:lnTo>
                  <a:pt x="601" y="205"/>
                </a:lnTo>
                <a:lnTo>
                  <a:pt x="603" y="210"/>
                </a:lnTo>
                <a:lnTo>
                  <a:pt x="606" y="215"/>
                </a:lnTo>
                <a:lnTo>
                  <a:pt x="613" y="224"/>
                </a:lnTo>
                <a:lnTo>
                  <a:pt x="622" y="231"/>
                </a:lnTo>
                <a:lnTo>
                  <a:pt x="631" y="238"/>
                </a:lnTo>
                <a:lnTo>
                  <a:pt x="639" y="246"/>
                </a:lnTo>
                <a:lnTo>
                  <a:pt x="642" y="251"/>
                </a:lnTo>
                <a:lnTo>
                  <a:pt x="644" y="256"/>
                </a:lnTo>
                <a:lnTo>
                  <a:pt x="645" y="262"/>
                </a:lnTo>
                <a:lnTo>
                  <a:pt x="647" y="268"/>
                </a:lnTo>
                <a:lnTo>
                  <a:pt x="647" y="268"/>
                </a:lnTo>
                <a:lnTo>
                  <a:pt x="645" y="274"/>
                </a:lnTo>
                <a:lnTo>
                  <a:pt x="644" y="278"/>
                </a:lnTo>
                <a:lnTo>
                  <a:pt x="639" y="287"/>
                </a:lnTo>
                <a:lnTo>
                  <a:pt x="634" y="297"/>
                </a:lnTo>
                <a:lnTo>
                  <a:pt x="632" y="300"/>
                </a:lnTo>
                <a:lnTo>
                  <a:pt x="632" y="305"/>
                </a:lnTo>
                <a:lnTo>
                  <a:pt x="632" y="305"/>
                </a:lnTo>
                <a:lnTo>
                  <a:pt x="632" y="310"/>
                </a:lnTo>
                <a:lnTo>
                  <a:pt x="634" y="316"/>
                </a:lnTo>
                <a:lnTo>
                  <a:pt x="636" y="321"/>
                </a:lnTo>
                <a:lnTo>
                  <a:pt x="639" y="324"/>
                </a:lnTo>
                <a:lnTo>
                  <a:pt x="644" y="331"/>
                </a:lnTo>
                <a:lnTo>
                  <a:pt x="645" y="335"/>
                </a:lnTo>
                <a:lnTo>
                  <a:pt x="647" y="338"/>
                </a:lnTo>
                <a:lnTo>
                  <a:pt x="647" y="338"/>
                </a:lnTo>
                <a:lnTo>
                  <a:pt x="645" y="348"/>
                </a:lnTo>
                <a:lnTo>
                  <a:pt x="642" y="358"/>
                </a:lnTo>
                <a:lnTo>
                  <a:pt x="639" y="365"/>
                </a:lnTo>
                <a:lnTo>
                  <a:pt x="634" y="373"/>
                </a:lnTo>
                <a:lnTo>
                  <a:pt x="629" y="380"/>
                </a:lnTo>
                <a:lnTo>
                  <a:pt x="625" y="386"/>
                </a:lnTo>
                <a:lnTo>
                  <a:pt x="622" y="394"/>
                </a:lnTo>
                <a:lnTo>
                  <a:pt x="621" y="404"/>
                </a:lnTo>
                <a:lnTo>
                  <a:pt x="621" y="404"/>
                </a:lnTo>
                <a:lnTo>
                  <a:pt x="620" y="409"/>
                </a:lnTo>
                <a:lnTo>
                  <a:pt x="619" y="413"/>
                </a:lnTo>
                <a:lnTo>
                  <a:pt x="617" y="416"/>
                </a:lnTo>
                <a:lnTo>
                  <a:pt x="614" y="420"/>
                </a:lnTo>
                <a:lnTo>
                  <a:pt x="610" y="424"/>
                </a:lnTo>
                <a:lnTo>
                  <a:pt x="606" y="430"/>
                </a:lnTo>
                <a:lnTo>
                  <a:pt x="606" y="430"/>
                </a:lnTo>
                <a:lnTo>
                  <a:pt x="598" y="435"/>
                </a:lnTo>
                <a:lnTo>
                  <a:pt x="593" y="441"/>
                </a:lnTo>
                <a:lnTo>
                  <a:pt x="583" y="451"/>
                </a:lnTo>
                <a:lnTo>
                  <a:pt x="575" y="461"/>
                </a:lnTo>
                <a:lnTo>
                  <a:pt x="570" y="466"/>
                </a:lnTo>
                <a:lnTo>
                  <a:pt x="563" y="470"/>
                </a:lnTo>
                <a:lnTo>
                  <a:pt x="563" y="470"/>
                </a:lnTo>
                <a:lnTo>
                  <a:pt x="565" y="477"/>
                </a:lnTo>
                <a:lnTo>
                  <a:pt x="568" y="482"/>
                </a:lnTo>
                <a:lnTo>
                  <a:pt x="572" y="484"/>
                </a:lnTo>
                <a:lnTo>
                  <a:pt x="576" y="485"/>
                </a:lnTo>
                <a:lnTo>
                  <a:pt x="576" y="485"/>
                </a:lnTo>
                <a:lnTo>
                  <a:pt x="575" y="495"/>
                </a:lnTo>
                <a:lnTo>
                  <a:pt x="573" y="503"/>
                </a:lnTo>
                <a:lnTo>
                  <a:pt x="566" y="515"/>
                </a:lnTo>
                <a:lnTo>
                  <a:pt x="564" y="522"/>
                </a:lnTo>
                <a:lnTo>
                  <a:pt x="561" y="529"/>
                </a:lnTo>
                <a:lnTo>
                  <a:pt x="559" y="538"/>
                </a:lnTo>
                <a:lnTo>
                  <a:pt x="558" y="551"/>
                </a:lnTo>
                <a:lnTo>
                  <a:pt x="558" y="551"/>
                </a:lnTo>
                <a:lnTo>
                  <a:pt x="559" y="574"/>
                </a:lnTo>
                <a:lnTo>
                  <a:pt x="561" y="597"/>
                </a:lnTo>
                <a:lnTo>
                  <a:pt x="564" y="606"/>
                </a:lnTo>
                <a:lnTo>
                  <a:pt x="566" y="615"/>
                </a:lnTo>
                <a:lnTo>
                  <a:pt x="570" y="622"/>
                </a:lnTo>
                <a:lnTo>
                  <a:pt x="573" y="628"/>
                </a:lnTo>
                <a:lnTo>
                  <a:pt x="639" y="628"/>
                </a:lnTo>
                <a:lnTo>
                  <a:pt x="639" y="628"/>
                </a:lnTo>
                <a:lnTo>
                  <a:pt x="643" y="636"/>
                </a:lnTo>
                <a:lnTo>
                  <a:pt x="648" y="645"/>
                </a:lnTo>
                <a:lnTo>
                  <a:pt x="652" y="656"/>
                </a:lnTo>
                <a:lnTo>
                  <a:pt x="654" y="661"/>
                </a:lnTo>
                <a:lnTo>
                  <a:pt x="654" y="668"/>
                </a:lnTo>
                <a:lnTo>
                  <a:pt x="654" y="668"/>
                </a:lnTo>
                <a:lnTo>
                  <a:pt x="654" y="674"/>
                </a:lnTo>
                <a:lnTo>
                  <a:pt x="652" y="679"/>
                </a:lnTo>
                <a:lnTo>
                  <a:pt x="650" y="682"/>
                </a:lnTo>
                <a:lnTo>
                  <a:pt x="648" y="687"/>
                </a:lnTo>
                <a:lnTo>
                  <a:pt x="641" y="694"/>
                </a:lnTo>
                <a:lnTo>
                  <a:pt x="634" y="701"/>
                </a:lnTo>
                <a:lnTo>
                  <a:pt x="626" y="706"/>
                </a:lnTo>
                <a:lnTo>
                  <a:pt x="619" y="714"/>
                </a:lnTo>
                <a:lnTo>
                  <a:pt x="617" y="719"/>
                </a:lnTo>
                <a:lnTo>
                  <a:pt x="614" y="724"/>
                </a:lnTo>
                <a:lnTo>
                  <a:pt x="613" y="728"/>
                </a:lnTo>
                <a:lnTo>
                  <a:pt x="613" y="734"/>
                </a:lnTo>
                <a:lnTo>
                  <a:pt x="613" y="734"/>
                </a:lnTo>
                <a:lnTo>
                  <a:pt x="613" y="737"/>
                </a:lnTo>
                <a:lnTo>
                  <a:pt x="614" y="740"/>
                </a:lnTo>
                <a:lnTo>
                  <a:pt x="620" y="745"/>
                </a:lnTo>
                <a:lnTo>
                  <a:pt x="626" y="751"/>
                </a:lnTo>
                <a:lnTo>
                  <a:pt x="634" y="757"/>
                </a:lnTo>
                <a:lnTo>
                  <a:pt x="643" y="764"/>
                </a:lnTo>
                <a:lnTo>
                  <a:pt x="650" y="771"/>
                </a:lnTo>
                <a:lnTo>
                  <a:pt x="657" y="778"/>
                </a:lnTo>
                <a:lnTo>
                  <a:pt x="659" y="782"/>
                </a:lnTo>
                <a:lnTo>
                  <a:pt x="660" y="786"/>
                </a:lnTo>
                <a:lnTo>
                  <a:pt x="660" y="786"/>
                </a:lnTo>
                <a:lnTo>
                  <a:pt x="660" y="804"/>
                </a:lnTo>
                <a:lnTo>
                  <a:pt x="660" y="804"/>
                </a:lnTo>
                <a:lnTo>
                  <a:pt x="660" y="809"/>
                </a:lnTo>
                <a:lnTo>
                  <a:pt x="658" y="812"/>
                </a:lnTo>
                <a:lnTo>
                  <a:pt x="654" y="819"/>
                </a:lnTo>
                <a:lnTo>
                  <a:pt x="649" y="827"/>
                </a:lnTo>
                <a:lnTo>
                  <a:pt x="647" y="832"/>
                </a:lnTo>
                <a:lnTo>
                  <a:pt x="647" y="838"/>
                </a:lnTo>
                <a:lnTo>
                  <a:pt x="647" y="838"/>
                </a:lnTo>
                <a:lnTo>
                  <a:pt x="647" y="863"/>
                </a:lnTo>
                <a:lnTo>
                  <a:pt x="647" y="863"/>
                </a:lnTo>
                <a:lnTo>
                  <a:pt x="645" y="867"/>
                </a:lnTo>
                <a:lnTo>
                  <a:pt x="644" y="872"/>
                </a:lnTo>
                <a:lnTo>
                  <a:pt x="642" y="877"/>
                </a:lnTo>
                <a:lnTo>
                  <a:pt x="640" y="880"/>
                </a:lnTo>
                <a:lnTo>
                  <a:pt x="635" y="884"/>
                </a:lnTo>
                <a:lnTo>
                  <a:pt x="629" y="887"/>
                </a:lnTo>
                <a:lnTo>
                  <a:pt x="622" y="888"/>
                </a:lnTo>
                <a:lnTo>
                  <a:pt x="613" y="889"/>
                </a:lnTo>
                <a:lnTo>
                  <a:pt x="613" y="889"/>
                </a:lnTo>
                <a:lnTo>
                  <a:pt x="605" y="887"/>
                </a:lnTo>
                <a:lnTo>
                  <a:pt x="594" y="882"/>
                </a:lnTo>
                <a:lnTo>
                  <a:pt x="564" y="867"/>
                </a:lnTo>
                <a:lnTo>
                  <a:pt x="525" y="844"/>
                </a:lnTo>
                <a:lnTo>
                  <a:pt x="525" y="844"/>
                </a:lnTo>
                <a:lnTo>
                  <a:pt x="521" y="835"/>
                </a:lnTo>
                <a:lnTo>
                  <a:pt x="518" y="826"/>
                </a:lnTo>
                <a:lnTo>
                  <a:pt x="515" y="821"/>
                </a:lnTo>
                <a:lnTo>
                  <a:pt x="513" y="818"/>
                </a:lnTo>
                <a:lnTo>
                  <a:pt x="511" y="817"/>
                </a:lnTo>
                <a:lnTo>
                  <a:pt x="506" y="816"/>
                </a:lnTo>
                <a:lnTo>
                  <a:pt x="506" y="816"/>
                </a:lnTo>
                <a:lnTo>
                  <a:pt x="498" y="816"/>
                </a:lnTo>
                <a:lnTo>
                  <a:pt x="490" y="818"/>
                </a:lnTo>
                <a:lnTo>
                  <a:pt x="482" y="821"/>
                </a:lnTo>
                <a:lnTo>
                  <a:pt x="475" y="826"/>
                </a:lnTo>
                <a:lnTo>
                  <a:pt x="468" y="832"/>
                </a:lnTo>
                <a:lnTo>
                  <a:pt x="464" y="839"/>
                </a:lnTo>
                <a:lnTo>
                  <a:pt x="460" y="847"/>
                </a:lnTo>
                <a:lnTo>
                  <a:pt x="459" y="856"/>
                </a:lnTo>
                <a:lnTo>
                  <a:pt x="459" y="856"/>
                </a:lnTo>
                <a:lnTo>
                  <a:pt x="459" y="871"/>
                </a:lnTo>
                <a:lnTo>
                  <a:pt x="459" y="871"/>
                </a:lnTo>
                <a:lnTo>
                  <a:pt x="461" y="873"/>
                </a:lnTo>
                <a:lnTo>
                  <a:pt x="462" y="875"/>
                </a:lnTo>
                <a:lnTo>
                  <a:pt x="468" y="878"/>
                </a:lnTo>
                <a:lnTo>
                  <a:pt x="472" y="882"/>
                </a:lnTo>
                <a:lnTo>
                  <a:pt x="473" y="885"/>
                </a:lnTo>
                <a:lnTo>
                  <a:pt x="474" y="889"/>
                </a:lnTo>
                <a:lnTo>
                  <a:pt x="474" y="889"/>
                </a:lnTo>
                <a:lnTo>
                  <a:pt x="474" y="894"/>
                </a:lnTo>
                <a:lnTo>
                  <a:pt x="472" y="899"/>
                </a:lnTo>
                <a:lnTo>
                  <a:pt x="468" y="908"/>
                </a:lnTo>
                <a:lnTo>
                  <a:pt x="461" y="917"/>
                </a:lnTo>
                <a:lnTo>
                  <a:pt x="453" y="925"/>
                </a:lnTo>
                <a:lnTo>
                  <a:pt x="436" y="940"/>
                </a:lnTo>
                <a:lnTo>
                  <a:pt x="428" y="948"/>
                </a:lnTo>
                <a:lnTo>
                  <a:pt x="422" y="955"/>
                </a:lnTo>
                <a:lnTo>
                  <a:pt x="422" y="955"/>
                </a:lnTo>
                <a:lnTo>
                  <a:pt x="419" y="958"/>
                </a:lnTo>
                <a:lnTo>
                  <a:pt x="416" y="963"/>
                </a:lnTo>
                <a:lnTo>
                  <a:pt x="414" y="970"/>
                </a:lnTo>
                <a:lnTo>
                  <a:pt x="413" y="979"/>
                </a:lnTo>
                <a:lnTo>
                  <a:pt x="412" y="988"/>
                </a:lnTo>
                <a:lnTo>
                  <a:pt x="412" y="988"/>
                </a:lnTo>
                <a:lnTo>
                  <a:pt x="410" y="992"/>
                </a:lnTo>
                <a:lnTo>
                  <a:pt x="407" y="993"/>
                </a:lnTo>
                <a:lnTo>
                  <a:pt x="405" y="994"/>
                </a:lnTo>
                <a:lnTo>
                  <a:pt x="402" y="994"/>
                </a:lnTo>
                <a:lnTo>
                  <a:pt x="396" y="994"/>
                </a:lnTo>
                <a:lnTo>
                  <a:pt x="392" y="994"/>
                </a:lnTo>
                <a:lnTo>
                  <a:pt x="389" y="995"/>
                </a:lnTo>
                <a:lnTo>
                  <a:pt x="389" y="995"/>
                </a:lnTo>
                <a:lnTo>
                  <a:pt x="387" y="999"/>
                </a:lnTo>
                <a:lnTo>
                  <a:pt x="383" y="1007"/>
                </a:lnTo>
                <a:lnTo>
                  <a:pt x="377" y="1027"/>
                </a:lnTo>
                <a:lnTo>
                  <a:pt x="373" y="1050"/>
                </a:lnTo>
                <a:lnTo>
                  <a:pt x="370" y="1065"/>
                </a:lnTo>
                <a:lnTo>
                  <a:pt x="370" y="1065"/>
                </a:lnTo>
                <a:lnTo>
                  <a:pt x="372" y="1075"/>
                </a:lnTo>
                <a:lnTo>
                  <a:pt x="373" y="1083"/>
                </a:lnTo>
                <a:lnTo>
                  <a:pt x="376" y="1101"/>
                </a:lnTo>
                <a:lnTo>
                  <a:pt x="377" y="1109"/>
                </a:lnTo>
                <a:lnTo>
                  <a:pt x="377" y="1115"/>
                </a:lnTo>
                <a:lnTo>
                  <a:pt x="376" y="1117"/>
                </a:lnTo>
                <a:lnTo>
                  <a:pt x="375" y="1119"/>
                </a:lnTo>
                <a:lnTo>
                  <a:pt x="374" y="1121"/>
                </a:lnTo>
                <a:lnTo>
                  <a:pt x="370" y="1121"/>
                </a:lnTo>
                <a:lnTo>
                  <a:pt x="370" y="1121"/>
                </a:lnTo>
                <a:lnTo>
                  <a:pt x="362" y="1119"/>
                </a:lnTo>
                <a:lnTo>
                  <a:pt x="354" y="1117"/>
                </a:lnTo>
                <a:lnTo>
                  <a:pt x="349" y="1113"/>
                </a:lnTo>
                <a:lnTo>
                  <a:pt x="343" y="1107"/>
                </a:lnTo>
                <a:lnTo>
                  <a:pt x="339" y="1100"/>
                </a:lnTo>
                <a:lnTo>
                  <a:pt x="335" y="1093"/>
                </a:lnTo>
                <a:lnTo>
                  <a:pt x="329" y="1077"/>
                </a:lnTo>
                <a:lnTo>
                  <a:pt x="323" y="1061"/>
                </a:lnTo>
                <a:lnTo>
                  <a:pt x="320" y="1053"/>
                </a:lnTo>
                <a:lnTo>
                  <a:pt x="315" y="1046"/>
                </a:lnTo>
                <a:lnTo>
                  <a:pt x="311" y="1041"/>
                </a:lnTo>
                <a:lnTo>
                  <a:pt x="305" y="1037"/>
                </a:lnTo>
                <a:lnTo>
                  <a:pt x="298" y="1033"/>
                </a:lnTo>
                <a:lnTo>
                  <a:pt x="290" y="1032"/>
                </a:lnTo>
                <a:lnTo>
                  <a:pt x="290" y="1032"/>
                </a:lnTo>
                <a:lnTo>
                  <a:pt x="284" y="1033"/>
                </a:lnTo>
                <a:lnTo>
                  <a:pt x="280" y="1035"/>
                </a:lnTo>
                <a:lnTo>
                  <a:pt x="275" y="1038"/>
                </a:lnTo>
                <a:lnTo>
                  <a:pt x="271" y="1042"/>
                </a:lnTo>
                <a:lnTo>
                  <a:pt x="263" y="1053"/>
                </a:lnTo>
                <a:lnTo>
                  <a:pt x="255" y="1064"/>
                </a:lnTo>
                <a:lnTo>
                  <a:pt x="246" y="1075"/>
                </a:lnTo>
                <a:lnTo>
                  <a:pt x="242" y="1080"/>
                </a:lnTo>
                <a:lnTo>
                  <a:pt x="236" y="1085"/>
                </a:lnTo>
                <a:lnTo>
                  <a:pt x="230" y="1090"/>
                </a:lnTo>
                <a:lnTo>
                  <a:pt x="224" y="1092"/>
                </a:lnTo>
                <a:lnTo>
                  <a:pt x="217" y="1094"/>
                </a:lnTo>
                <a:lnTo>
                  <a:pt x="209" y="1095"/>
                </a:lnTo>
                <a:lnTo>
                  <a:pt x="209" y="1095"/>
                </a:lnTo>
                <a:lnTo>
                  <a:pt x="162" y="1095"/>
                </a:lnTo>
                <a:lnTo>
                  <a:pt x="162" y="1095"/>
                </a:lnTo>
                <a:lnTo>
                  <a:pt x="155" y="1095"/>
                </a:lnTo>
                <a:lnTo>
                  <a:pt x="150" y="1098"/>
                </a:lnTo>
                <a:lnTo>
                  <a:pt x="145" y="1100"/>
                </a:lnTo>
                <a:lnTo>
                  <a:pt x="139" y="1104"/>
                </a:lnTo>
                <a:lnTo>
                  <a:pt x="135" y="1109"/>
                </a:lnTo>
                <a:lnTo>
                  <a:pt x="131" y="1115"/>
                </a:lnTo>
                <a:lnTo>
                  <a:pt x="123" y="1129"/>
                </a:lnTo>
                <a:lnTo>
                  <a:pt x="117" y="1145"/>
                </a:lnTo>
                <a:lnTo>
                  <a:pt x="114" y="1163"/>
                </a:lnTo>
                <a:lnTo>
                  <a:pt x="110" y="1182"/>
                </a:lnTo>
                <a:lnTo>
                  <a:pt x="110" y="1201"/>
                </a:lnTo>
                <a:lnTo>
                  <a:pt x="110" y="1201"/>
                </a:lnTo>
                <a:lnTo>
                  <a:pt x="110" y="1207"/>
                </a:lnTo>
                <a:lnTo>
                  <a:pt x="112" y="1213"/>
                </a:lnTo>
                <a:lnTo>
                  <a:pt x="116" y="1223"/>
                </a:lnTo>
                <a:lnTo>
                  <a:pt x="123" y="1232"/>
                </a:lnTo>
                <a:lnTo>
                  <a:pt x="130" y="1241"/>
                </a:lnTo>
                <a:lnTo>
                  <a:pt x="138" y="1252"/>
                </a:lnTo>
                <a:lnTo>
                  <a:pt x="144" y="1262"/>
                </a:lnTo>
                <a:lnTo>
                  <a:pt x="147" y="1267"/>
                </a:lnTo>
                <a:lnTo>
                  <a:pt x="148" y="1272"/>
                </a:lnTo>
                <a:lnTo>
                  <a:pt x="150" y="1279"/>
                </a:lnTo>
                <a:lnTo>
                  <a:pt x="151" y="1286"/>
                </a:lnTo>
                <a:lnTo>
                  <a:pt x="151" y="1286"/>
                </a:lnTo>
                <a:lnTo>
                  <a:pt x="150" y="1297"/>
                </a:lnTo>
                <a:lnTo>
                  <a:pt x="146" y="1308"/>
                </a:lnTo>
                <a:lnTo>
                  <a:pt x="141" y="1320"/>
                </a:lnTo>
                <a:lnTo>
                  <a:pt x="136" y="1331"/>
                </a:lnTo>
                <a:lnTo>
                  <a:pt x="129" y="1340"/>
                </a:lnTo>
                <a:lnTo>
                  <a:pt x="120" y="1348"/>
                </a:lnTo>
                <a:lnTo>
                  <a:pt x="110" y="1355"/>
                </a:lnTo>
                <a:lnTo>
                  <a:pt x="99" y="1360"/>
                </a:lnTo>
                <a:lnTo>
                  <a:pt x="99" y="1360"/>
                </a:lnTo>
                <a:lnTo>
                  <a:pt x="98" y="1368"/>
                </a:lnTo>
                <a:lnTo>
                  <a:pt x="94" y="1376"/>
                </a:lnTo>
                <a:lnTo>
                  <a:pt x="86" y="1393"/>
                </a:lnTo>
                <a:lnTo>
                  <a:pt x="79" y="1407"/>
                </a:lnTo>
                <a:lnTo>
                  <a:pt x="78" y="1413"/>
                </a:lnTo>
                <a:lnTo>
                  <a:pt x="77" y="1419"/>
                </a:lnTo>
                <a:lnTo>
                  <a:pt x="77" y="1419"/>
                </a:lnTo>
                <a:lnTo>
                  <a:pt x="77" y="1424"/>
                </a:lnTo>
                <a:lnTo>
                  <a:pt x="79" y="1431"/>
                </a:lnTo>
                <a:lnTo>
                  <a:pt x="84" y="1443"/>
                </a:lnTo>
                <a:lnTo>
                  <a:pt x="90" y="1454"/>
                </a:lnTo>
                <a:lnTo>
                  <a:pt x="91" y="1461"/>
                </a:lnTo>
                <a:lnTo>
                  <a:pt x="92" y="1469"/>
                </a:lnTo>
                <a:lnTo>
                  <a:pt x="92" y="1469"/>
                </a:lnTo>
                <a:lnTo>
                  <a:pt x="91" y="1478"/>
                </a:lnTo>
                <a:lnTo>
                  <a:pt x="90" y="1487"/>
                </a:lnTo>
                <a:lnTo>
                  <a:pt x="84" y="1500"/>
                </a:lnTo>
                <a:lnTo>
                  <a:pt x="79" y="1512"/>
                </a:lnTo>
                <a:lnTo>
                  <a:pt x="77" y="1518"/>
                </a:lnTo>
                <a:lnTo>
                  <a:pt x="77" y="1524"/>
                </a:lnTo>
                <a:lnTo>
                  <a:pt x="77" y="1524"/>
                </a:lnTo>
                <a:lnTo>
                  <a:pt x="77" y="1530"/>
                </a:lnTo>
                <a:lnTo>
                  <a:pt x="78" y="1535"/>
                </a:lnTo>
                <a:lnTo>
                  <a:pt x="83" y="1545"/>
                </a:lnTo>
                <a:lnTo>
                  <a:pt x="86" y="1554"/>
                </a:lnTo>
                <a:lnTo>
                  <a:pt x="87" y="1560"/>
                </a:lnTo>
                <a:lnTo>
                  <a:pt x="89" y="1565"/>
                </a:lnTo>
                <a:lnTo>
                  <a:pt x="89" y="1565"/>
                </a:lnTo>
                <a:lnTo>
                  <a:pt x="87" y="1576"/>
                </a:lnTo>
                <a:lnTo>
                  <a:pt x="85" y="1584"/>
                </a:lnTo>
                <a:lnTo>
                  <a:pt x="82" y="1590"/>
                </a:lnTo>
                <a:lnTo>
                  <a:pt x="77" y="1594"/>
                </a:lnTo>
                <a:lnTo>
                  <a:pt x="71" y="1596"/>
                </a:lnTo>
                <a:lnTo>
                  <a:pt x="63" y="1598"/>
                </a:lnTo>
                <a:lnTo>
                  <a:pt x="44" y="1598"/>
                </a:lnTo>
                <a:lnTo>
                  <a:pt x="44" y="1598"/>
                </a:lnTo>
                <a:lnTo>
                  <a:pt x="40" y="1599"/>
                </a:lnTo>
                <a:lnTo>
                  <a:pt x="34" y="1604"/>
                </a:lnTo>
                <a:lnTo>
                  <a:pt x="19" y="1615"/>
                </a:lnTo>
                <a:lnTo>
                  <a:pt x="6" y="1628"/>
                </a:lnTo>
                <a:lnTo>
                  <a:pt x="1" y="1634"/>
                </a:lnTo>
                <a:lnTo>
                  <a:pt x="0" y="1637"/>
                </a:lnTo>
                <a:lnTo>
                  <a:pt x="0" y="1637"/>
                </a:lnTo>
                <a:lnTo>
                  <a:pt x="1" y="1641"/>
                </a:lnTo>
                <a:lnTo>
                  <a:pt x="2" y="1644"/>
                </a:lnTo>
                <a:lnTo>
                  <a:pt x="5" y="1648"/>
                </a:lnTo>
                <a:lnTo>
                  <a:pt x="8" y="1650"/>
                </a:lnTo>
                <a:lnTo>
                  <a:pt x="14" y="1653"/>
                </a:lnTo>
                <a:lnTo>
                  <a:pt x="18" y="1656"/>
                </a:lnTo>
                <a:lnTo>
                  <a:pt x="18" y="1656"/>
                </a:lnTo>
                <a:lnTo>
                  <a:pt x="26" y="1664"/>
                </a:lnTo>
                <a:lnTo>
                  <a:pt x="36" y="1674"/>
                </a:lnTo>
                <a:lnTo>
                  <a:pt x="54" y="1698"/>
                </a:lnTo>
                <a:lnTo>
                  <a:pt x="63" y="1710"/>
                </a:lnTo>
                <a:lnTo>
                  <a:pt x="72" y="1720"/>
                </a:lnTo>
                <a:lnTo>
                  <a:pt x="77" y="1725"/>
                </a:lnTo>
                <a:lnTo>
                  <a:pt x="82" y="1727"/>
                </a:lnTo>
                <a:lnTo>
                  <a:pt x="86" y="1729"/>
                </a:lnTo>
                <a:lnTo>
                  <a:pt x="92" y="1729"/>
                </a:lnTo>
                <a:lnTo>
                  <a:pt x="92" y="1729"/>
                </a:lnTo>
                <a:lnTo>
                  <a:pt x="95" y="1729"/>
                </a:lnTo>
                <a:lnTo>
                  <a:pt x="99" y="1728"/>
                </a:lnTo>
                <a:lnTo>
                  <a:pt x="106" y="1724"/>
                </a:lnTo>
                <a:lnTo>
                  <a:pt x="114" y="1720"/>
                </a:lnTo>
                <a:lnTo>
                  <a:pt x="117" y="1719"/>
                </a:lnTo>
                <a:lnTo>
                  <a:pt x="121" y="1719"/>
                </a:lnTo>
                <a:lnTo>
                  <a:pt x="121" y="1719"/>
                </a:lnTo>
                <a:lnTo>
                  <a:pt x="132" y="1719"/>
                </a:lnTo>
                <a:lnTo>
                  <a:pt x="140" y="1722"/>
                </a:lnTo>
                <a:lnTo>
                  <a:pt x="146" y="1726"/>
                </a:lnTo>
                <a:lnTo>
                  <a:pt x="151" y="1730"/>
                </a:lnTo>
                <a:lnTo>
                  <a:pt x="159" y="1742"/>
                </a:lnTo>
                <a:lnTo>
                  <a:pt x="162" y="1747"/>
                </a:lnTo>
                <a:lnTo>
                  <a:pt x="169" y="1751"/>
                </a:lnTo>
                <a:lnTo>
                  <a:pt x="169" y="1751"/>
                </a:lnTo>
                <a:lnTo>
                  <a:pt x="192" y="1766"/>
                </a:lnTo>
                <a:lnTo>
                  <a:pt x="216" y="1780"/>
                </a:lnTo>
                <a:lnTo>
                  <a:pt x="228" y="1787"/>
                </a:lnTo>
                <a:lnTo>
                  <a:pt x="242" y="1791"/>
                </a:lnTo>
                <a:lnTo>
                  <a:pt x="255" y="1795"/>
                </a:lnTo>
                <a:lnTo>
                  <a:pt x="271" y="1796"/>
                </a:lnTo>
                <a:lnTo>
                  <a:pt x="271" y="1796"/>
                </a:lnTo>
                <a:lnTo>
                  <a:pt x="283" y="1795"/>
                </a:lnTo>
                <a:lnTo>
                  <a:pt x="291" y="1791"/>
                </a:lnTo>
                <a:lnTo>
                  <a:pt x="299" y="1788"/>
                </a:lnTo>
                <a:lnTo>
                  <a:pt x="308" y="1785"/>
                </a:lnTo>
                <a:lnTo>
                  <a:pt x="308" y="1785"/>
                </a:lnTo>
                <a:lnTo>
                  <a:pt x="312" y="1789"/>
                </a:lnTo>
                <a:lnTo>
                  <a:pt x="315" y="1794"/>
                </a:lnTo>
                <a:lnTo>
                  <a:pt x="321" y="1797"/>
                </a:lnTo>
                <a:lnTo>
                  <a:pt x="326" y="1800"/>
                </a:lnTo>
                <a:lnTo>
                  <a:pt x="337" y="1802"/>
                </a:lnTo>
                <a:lnTo>
                  <a:pt x="349" y="1803"/>
                </a:lnTo>
                <a:lnTo>
                  <a:pt x="349" y="1803"/>
                </a:lnTo>
                <a:lnTo>
                  <a:pt x="355" y="1793"/>
                </a:lnTo>
                <a:lnTo>
                  <a:pt x="361" y="1782"/>
                </a:lnTo>
                <a:lnTo>
                  <a:pt x="373" y="1760"/>
                </a:lnTo>
                <a:lnTo>
                  <a:pt x="380" y="1751"/>
                </a:lnTo>
                <a:lnTo>
                  <a:pt x="387" y="1743"/>
                </a:lnTo>
                <a:lnTo>
                  <a:pt x="391" y="1741"/>
                </a:lnTo>
                <a:lnTo>
                  <a:pt x="396" y="1739"/>
                </a:lnTo>
                <a:lnTo>
                  <a:pt x="402" y="1737"/>
                </a:lnTo>
                <a:lnTo>
                  <a:pt x="407" y="1736"/>
                </a:lnTo>
                <a:lnTo>
                  <a:pt x="407" y="1736"/>
                </a:lnTo>
                <a:lnTo>
                  <a:pt x="412" y="1737"/>
                </a:lnTo>
                <a:lnTo>
                  <a:pt x="416" y="1739"/>
                </a:lnTo>
                <a:lnTo>
                  <a:pt x="420" y="1741"/>
                </a:lnTo>
                <a:lnTo>
                  <a:pt x="423" y="1744"/>
                </a:lnTo>
                <a:lnTo>
                  <a:pt x="427" y="1751"/>
                </a:lnTo>
                <a:lnTo>
                  <a:pt x="429" y="1760"/>
                </a:lnTo>
                <a:lnTo>
                  <a:pt x="434" y="1780"/>
                </a:lnTo>
                <a:lnTo>
                  <a:pt x="436" y="1789"/>
                </a:lnTo>
                <a:lnTo>
                  <a:pt x="438" y="1793"/>
                </a:lnTo>
                <a:lnTo>
                  <a:pt x="441" y="1796"/>
                </a:lnTo>
                <a:lnTo>
                  <a:pt x="441" y="1796"/>
                </a:lnTo>
                <a:lnTo>
                  <a:pt x="449" y="1803"/>
                </a:lnTo>
                <a:lnTo>
                  <a:pt x="457" y="1808"/>
                </a:lnTo>
                <a:lnTo>
                  <a:pt x="466" y="1812"/>
                </a:lnTo>
                <a:lnTo>
                  <a:pt x="475" y="1814"/>
                </a:lnTo>
                <a:lnTo>
                  <a:pt x="496" y="1819"/>
                </a:lnTo>
                <a:lnTo>
                  <a:pt x="507" y="1821"/>
                </a:lnTo>
                <a:lnTo>
                  <a:pt x="518" y="1825"/>
                </a:lnTo>
                <a:lnTo>
                  <a:pt x="518" y="1825"/>
                </a:lnTo>
                <a:lnTo>
                  <a:pt x="532" y="1831"/>
                </a:lnTo>
                <a:lnTo>
                  <a:pt x="543" y="1837"/>
                </a:lnTo>
                <a:lnTo>
                  <a:pt x="563" y="1852"/>
                </a:lnTo>
                <a:lnTo>
                  <a:pt x="571" y="1859"/>
                </a:lnTo>
                <a:lnTo>
                  <a:pt x="581" y="1864"/>
                </a:lnTo>
                <a:lnTo>
                  <a:pt x="593" y="1867"/>
                </a:lnTo>
                <a:lnTo>
                  <a:pt x="599" y="1869"/>
                </a:lnTo>
                <a:lnTo>
                  <a:pt x="606" y="1869"/>
                </a:lnTo>
                <a:lnTo>
                  <a:pt x="606" y="1869"/>
                </a:lnTo>
                <a:lnTo>
                  <a:pt x="612" y="1870"/>
                </a:lnTo>
                <a:lnTo>
                  <a:pt x="618" y="1872"/>
                </a:lnTo>
                <a:lnTo>
                  <a:pt x="621" y="1872"/>
                </a:lnTo>
                <a:lnTo>
                  <a:pt x="626" y="1872"/>
                </a:lnTo>
                <a:lnTo>
                  <a:pt x="631" y="1871"/>
                </a:lnTo>
                <a:lnTo>
                  <a:pt x="635" y="1869"/>
                </a:lnTo>
                <a:lnTo>
                  <a:pt x="635" y="1869"/>
                </a:lnTo>
                <a:lnTo>
                  <a:pt x="640" y="1874"/>
                </a:lnTo>
                <a:lnTo>
                  <a:pt x="643" y="1880"/>
                </a:lnTo>
                <a:lnTo>
                  <a:pt x="652" y="1888"/>
                </a:lnTo>
                <a:lnTo>
                  <a:pt x="662" y="1895"/>
                </a:lnTo>
                <a:lnTo>
                  <a:pt x="672" y="1900"/>
                </a:lnTo>
                <a:lnTo>
                  <a:pt x="682" y="1905"/>
                </a:lnTo>
                <a:lnTo>
                  <a:pt x="693" y="1912"/>
                </a:lnTo>
                <a:lnTo>
                  <a:pt x="701" y="1920"/>
                </a:lnTo>
                <a:lnTo>
                  <a:pt x="705" y="1926"/>
                </a:lnTo>
                <a:lnTo>
                  <a:pt x="709" y="1932"/>
                </a:lnTo>
                <a:lnTo>
                  <a:pt x="709" y="1932"/>
                </a:lnTo>
                <a:lnTo>
                  <a:pt x="713" y="1943"/>
                </a:lnTo>
                <a:lnTo>
                  <a:pt x="718" y="1955"/>
                </a:lnTo>
                <a:lnTo>
                  <a:pt x="721" y="1961"/>
                </a:lnTo>
                <a:lnTo>
                  <a:pt x="725" y="1965"/>
                </a:lnTo>
                <a:lnTo>
                  <a:pt x="731" y="1968"/>
                </a:lnTo>
                <a:lnTo>
                  <a:pt x="739" y="1969"/>
                </a:lnTo>
                <a:lnTo>
                  <a:pt x="739" y="1969"/>
                </a:lnTo>
                <a:lnTo>
                  <a:pt x="747" y="1968"/>
                </a:lnTo>
                <a:lnTo>
                  <a:pt x="755" y="1968"/>
                </a:lnTo>
                <a:lnTo>
                  <a:pt x="761" y="1966"/>
                </a:lnTo>
                <a:lnTo>
                  <a:pt x="766" y="1966"/>
                </a:lnTo>
                <a:lnTo>
                  <a:pt x="771" y="1968"/>
                </a:lnTo>
                <a:lnTo>
                  <a:pt x="775" y="1971"/>
                </a:lnTo>
                <a:lnTo>
                  <a:pt x="781" y="1978"/>
                </a:lnTo>
                <a:lnTo>
                  <a:pt x="786" y="1987"/>
                </a:lnTo>
                <a:lnTo>
                  <a:pt x="786" y="1987"/>
                </a:lnTo>
                <a:lnTo>
                  <a:pt x="789" y="1992"/>
                </a:lnTo>
                <a:lnTo>
                  <a:pt x="790" y="1997"/>
                </a:lnTo>
                <a:lnTo>
                  <a:pt x="789" y="2005"/>
                </a:lnTo>
                <a:lnTo>
                  <a:pt x="789" y="2009"/>
                </a:lnTo>
                <a:lnTo>
                  <a:pt x="790" y="2012"/>
                </a:lnTo>
                <a:lnTo>
                  <a:pt x="794" y="2015"/>
                </a:lnTo>
                <a:lnTo>
                  <a:pt x="801" y="2016"/>
                </a:lnTo>
                <a:lnTo>
                  <a:pt x="801" y="2016"/>
                </a:lnTo>
                <a:lnTo>
                  <a:pt x="802" y="2011"/>
                </a:lnTo>
                <a:lnTo>
                  <a:pt x="803" y="2007"/>
                </a:lnTo>
                <a:lnTo>
                  <a:pt x="808" y="1999"/>
                </a:lnTo>
                <a:lnTo>
                  <a:pt x="813" y="1993"/>
                </a:lnTo>
                <a:lnTo>
                  <a:pt x="820" y="1988"/>
                </a:lnTo>
                <a:lnTo>
                  <a:pt x="836" y="1981"/>
                </a:lnTo>
                <a:lnTo>
                  <a:pt x="845" y="1977"/>
                </a:lnTo>
                <a:lnTo>
                  <a:pt x="851" y="1972"/>
                </a:lnTo>
                <a:lnTo>
                  <a:pt x="851" y="1972"/>
                </a:lnTo>
                <a:lnTo>
                  <a:pt x="851" y="1965"/>
                </a:lnTo>
                <a:lnTo>
                  <a:pt x="850" y="1958"/>
                </a:lnTo>
                <a:lnTo>
                  <a:pt x="847" y="1947"/>
                </a:lnTo>
                <a:lnTo>
                  <a:pt x="847" y="1947"/>
                </a:lnTo>
                <a:lnTo>
                  <a:pt x="831" y="1949"/>
                </a:lnTo>
                <a:lnTo>
                  <a:pt x="816" y="1950"/>
                </a:lnTo>
                <a:lnTo>
                  <a:pt x="816" y="1950"/>
                </a:lnTo>
                <a:lnTo>
                  <a:pt x="801" y="1950"/>
                </a:lnTo>
                <a:lnTo>
                  <a:pt x="793" y="1949"/>
                </a:lnTo>
                <a:lnTo>
                  <a:pt x="785" y="1948"/>
                </a:lnTo>
                <a:lnTo>
                  <a:pt x="778" y="1946"/>
                </a:lnTo>
                <a:lnTo>
                  <a:pt x="773" y="1942"/>
                </a:lnTo>
                <a:lnTo>
                  <a:pt x="769" y="1938"/>
                </a:lnTo>
                <a:lnTo>
                  <a:pt x="769" y="1934"/>
                </a:lnTo>
                <a:lnTo>
                  <a:pt x="767" y="1932"/>
                </a:lnTo>
                <a:lnTo>
                  <a:pt x="767" y="1932"/>
                </a:lnTo>
                <a:lnTo>
                  <a:pt x="769" y="1928"/>
                </a:lnTo>
                <a:lnTo>
                  <a:pt x="772" y="1924"/>
                </a:lnTo>
                <a:lnTo>
                  <a:pt x="782" y="1915"/>
                </a:lnTo>
                <a:lnTo>
                  <a:pt x="797" y="1903"/>
                </a:lnTo>
                <a:lnTo>
                  <a:pt x="815" y="1892"/>
                </a:lnTo>
                <a:lnTo>
                  <a:pt x="850" y="1871"/>
                </a:lnTo>
                <a:lnTo>
                  <a:pt x="871" y="1858"/>
                </a:lnTo>
                <a:lnTo>
                  <a:pt x="871" y="1858"/>
                </a:lnTo>
                <a:lnTo>
                  <a:pt x="884" y="1846"/>
                </a:lnTo>
                <a:lnTo>
                  <a:pt x="894" y="1832"/>
                </a:lnTo>
                <a:lnTo>
                  <a:pt x="903" y="1818"/>
                </a:lnTo>
                <a:lnTo>
                  <a:pt x="912" y="1804"/>
                </a:lnTo>
                <a:lnTo>
                  <a:pt x="929" y="1774"/>
                </a:lnTo>
                <a:lnTo>
                  <a:pt x="938" y="1759"/>
                </a:lnTo>
                <a:lnTo>
                  <a:pt x="948" y="1744"/>
                </a:lnTo>
                <a:lnTo>
                  <a:pt x="948" y="1744"/>
                </a:lnTo>
                <a:lnTo>
                  <a:pt x="956" y="1732"/>
                </a:lnTo>
                <a:lnTo>
                  <a:pt x="963" y="1720"/>
                </a:lnTo>
                <a:lnTo>
                  <a:pt x="970" y="1709"/>
                </a:lnTo>
                <a:lnTo>
                  <a:pt x="975" y="1697"/>
                </a:lnTo>
                <a:lnTo>
                  <a:pt x="985" y="1673"/>
                </a:lnTo>
                <a:lnTo>
                  <a:pt x="992" y="1659"/>
                </a:lnTo>
                <a:lnTo>
                  <a:pt x="999" y="1645"/>
                </a:lnTo>
                <a:lnTo>
                  <a:pt x="999" y="1645"/>
                </a:lnTo>
                <a:lnTo>
                  <a:pt x="1002" y="1640"/>
                </a:lnTo>
                <a:lnTo>
                  <a:pt x="1006" y="1635"/>
                </a:lnTo>
                <a:lnTo>
                  <a:pt x="1014" y="1628"/>
                </a:lnTo>
                <a:lnTo>
                  <a:pt x="1021" y="1621"/>
                </a:lnTo>
                <a:lnTo>
                  <a:pt x="1023" y="1618"/>
                </a:lnTo>
                <a:lnTo>
                  <a:pt x="1025" y="1613"/>
                </a:lnTo>
                <a:lnTo>
                  <a:pt x="1025" y="1613"/>
                </a:lnTo>
                <a:lnTo>
                  <a:pt x="1026" y="1606"/>
                </a:lnTo>
                <a:lnTo>
                  <a:pt x="1027" y="1600"/>
                </a:lnTo>
                <a:lnTo>
                  <a:pt x="1027" y="1589"/>
                </a:lnTo>
                <a:lnTo>
                  <a:pt x="1027" y="1583"/>
                </a:lnTo>
                <a:lnTo>
                  <a:pt x="1027" y="1577"/>
                </a:lnTo>
                <a:lnTo>
                  <a:pt x="1030" y="1572"/>
                </a:lnTo>
                <a:lnTo>
                  <a:pt x="1032" y="1565"/>
                </a:lnTo>
                <a:lnTo>
                  <a:pt x="1032" y="1565"/>
                </a:lnTo>
                <a:lnTo>
                  <a:pt x="1046" y="1548"/>
                </a:lnTo>
                <a:lnTo>
                  <a:pt x="1059" y="1531"/>
                </a:lnTo>
                <a:lnTo>
                  <a:pt x="1070" y="1513"/>
                </a:lnTo>
                <a:lnTo>
                  <a:pt x="1084" y="1492"/>
                </a:lnTo>
                <a:lnTo>
                  <a:pt x="1084" y="1399"/>
                </a:lnTo>
                <a:lnTo>
                  <a:pt x="1084" y="1399"/>
                </a:lnTo>
                <a:lnTo>
                  <a:pt x="1087" y="1391"/>
                </a:lnTo>
                <a:lnTo>
                  <a:pt x="1092" y="1378"/>
                </a:lnTo>
                <a:lnTo>
                  <a:pt x="1092" y="1378"/>
                </a:lnTo>
                <a:lnTo>
                  <a:pt x="1087" y="1353"/>
                </a:lnTo>
                <a:lnTo>
                  <a:pt x="1085" y="1339"/>
                </a:lnTo>
                <a:lnTo>
                  <a:pt x="1080" y="1325"/>
                </a:lnTo>
                <a:lnTo>
                  <a:pt x="1080" y="1325"/>
                </a:lnTo>
                <a:lnTo>
                  <a:pt x="1074" y="1322"/>
                </a:lnTo>
                <a:lnTo>
                  <a:pt x="1067" y="1316"/>
                </a:lnTo>
                <a:lnTo>
                  <a:pt x="1061" y="1308"/>
                </a:lnTo>
                <a:lnTo>
                  <a:pt x="1056" y="1300"/>
                </a:lnTo>
                <a:lnTo>
                  <a:pt x="1052" y="1291"/>
                </a:lnTo>
                <a:lnTo>
                  <a:pt x="1049" y="1281"/>
                </a:lnTo>
                <a:lnTo>
                  <a:pt x="1047" y="1270"/>
                </a:lnTo>
                <a:lnTo>
                  <a:pt x="1046" y="1260"/>
                </a:lnTo>
                <a:lnTo>
                  <a:pt x="1046" y="1260"/>
                </a:lnTo>
                <a:lnTo>
                  <a:pt x="1047" y="1248"/>
                </a:lnTo>
                <a:lnTo>
                  <a:pt x="1048" y="1238"/>
                </a:lnTo>
                <a:lnTo>
                  <a:pt x="1052" y="1228"/>
                </a:lnTo>
                <a:lnTo>
                  <a:pt x="1055" y="1220"/>
                </a:lnTo>
                <a:lnTo>
                  <a:pt x="1060" y="1211"/>
                </a:lnTo>
                <a:lnTo>
                  <a:pt x="1065" y="1203"/>
                </a:lnTo>
                <a:lnTo>
                  <a:pt x="1072" y="1197"/>
                </a:lnTo>
                <a:lnTo>
                  <a:pt x="1080" y="1190"/>
                </a:lnTo>
                <a:lnTo>
                  <a:pt x="1080" y="1190"/>
                </a:lnTo>
                <a:lnTo>
                  <a:pt x="1074" y="1185"/>
                </a:lnTo>
                <a:lnTo>
                  <a:pt x="1064" y="1180"/>
                </a:lnTo>
                <a:lnTo>
                  <a:pt x="1054" y="1175"/>
                </a:lnTo>
                <a:lnTo>
                  <a:pt x="1044" y="1168"/>
                </a:lnTo>
                <a:lnTo>
                  <a:pt x="1033" y="1160"/>
                </a:lnTo>
                <a:lnTo>
                  <a:pt x="1025" y="1152"/>
                </a:lnTo>
                <a:lnTo>
                  <a:pt x="1022" y="1147"/>
                </a:lnTo>
                <a:lnTo>
                  <a:pt x="1019" y="1141"/>
                </a:lnTo>
                <a:lnTo>
                  <a:pt x="1018" y="1137"/>
                </a:lnTo>
                <a:lnTo>
                  <a:pt x="1018" y="1131"/>
                </a:lnTo>
                <a:lnTo>
                  <a:pt x="1018" y="1131"/>
                </a:lnTo>
                <a:lnTo>
                  <a:pt x="1018" y="1124"/>
                </a:lnTo>
                <a:lnTo>
                  <a:pt x="1019" y="1117"/>
                </a:lnTo>
                <a:lnTo>
                  <a:pt x="1023" y="1111"/>
                </a:lnTo>
                <a:lnTo>
                  <a:pt x="1026" y="1107"/>
                </a:lnTo>
                <a:lnTo>
                  <a:pt x="1030" y="1102"/>
                </a:lnTo>
                <a:lnTo>
                  <a:pt x="1036" y="1099"/>
                </a:lnTo>
                <a:lnTo>
                  <a:pt x="1046" y="1094"/>
                </a:lnTo>
                <a:lnTo>
                  <a:pt x="1070" y="1085"/>
                </a:lnTo>
                <a:lnTo>
                  <a:pt x="1082" y="1079"/>
                </a:lnTo>
                <a:lnTo>
                  <a:pt x="1086" y="1076"/>
                </a:lnTo>
                <a:lnTo>
                  <a:pt x="1091" y="1072"/>
                </a:lnTo>
                <a:lnTo>
                  <a:pt x="1091" y="1072"/>
                </a:lnTo>
                <a:lnTo>
                  <a:pt x="1094" y="1067"/>
                </a:lnTo>
                <a:lnTo>
                  <a:pt x="1097" y="1061"/>
                </a:lnTo>
                <a:lnTo>
                  <a:pt x="1097" y="1055"/>
                </a:lnTo>
                <a:lnTo>
                  <a:pt x="1098" y="1048"/>
                </a:lnTo>
                <a:lnTo>
                  <a:pt x="1098" y="1042"/>
                </a:lnTo>
                <a:lnTo>
                  <a:pt x="1099" y="1037"/>
                </a:lnTo>
                <a:lnTo>
                  <a:pt x="1102" y="1031"/>
                </a:lnTo>
                <a:lnTo>
                  <a:pt x="1109" y="1025"/>
                </a:lnTo>
                <a:lnTo>
                  <a:pt x="1109" y="1025"/>
                </a:lnTo>
                <a:lnTo>
                  <a:pt x="1113" y="1023"/>
                </a:lnTo>
                <a:lnTo>
                  <a:pt x="1116" y="1022"/>
                </a:lnTo>
                <a:lnTo>
                  <a:pt x="1125" y="1020"/>
                </a:lnTo>
                <a:lnTo>
                  <a:pt x="1135" y="1020"/>
                </a:lnTo>
                <a:lnTo>
                  <a:pt x="1146" y="1020"/>
                </a:lnTo>
                <a:lnTo>
                  <a:pt x="1159" y="1022"/>
                </a:lnTo>
                <a:lnTo>
                  <a:pt x="1171" y="1022"/>
                </a:lnTo>
                <a:lnTo>
                  <a:pt x="1185" y="1020"/>
                </a:lnTo>
                <a:lnTo>
                  <a:pt x="1198" y="1018"/>
                </a:lnTo>
                <a:lnTo>
                  <a:pt x="1198" y="1018"/>
                </a:lnTo>
                <a:lnTo>
                  <a:pt x="1199" y="1015"/>
                </a:lnTo>
                <a:lnTo>
                  <a:pt x="1199" y="1008"/>
                </a:lnTo>
                <a:lnTo>
                  <a:pt x="1201" y="992"/>
                </a:lnTo>
                <a:lnTo>
                  <a:pt x="1202" y="983"/>
                </a:lnTo>
                <a:lnTo>
                  <a:pt x="1205" y="973"/>
                </a:lnTo>
                <a:lnTo>
                  <a:pt x="1208" y="966"/>
                </a:lnTo>
                <a:lnTo>
                  <a:pt x="1209" y="964"/>
                </a:lnTo>
                <a:lnTo>
                  <a:pt x="1213" y="963"/>
                </a:lnTo>
                <a:lnTo>
                  <a:pt x="1213" y="963"/>
                </a:lnTo>
                <a:lnTo>
                  <a:pt x="1219" y="966"/>
                </a:lnTo>
                <a:lnTo>
                  <a:pt x="1228" y="973"/>
                </a:lnTo>
                <a:lnTo>
                  <a:pt x="1239" y="981"/>
                </a:lnTo>
                <a:lnTo>
                  <a:pt x="1244" y="984"/>
                </a:lnTo>
                <a:lnTo>
                  <a:pt x="1248" y="984"/>
                </a:lnTo>
                <a:lnTo>
                  <a:pt x="1248" y="984"/>
                </a:lnTo>
                <a:lnTo>
                  <a:pt x="1266" y="983"/>
                </a:lnTo>
                <a:lnTo>
                  <a:pt x="1273" y="981"/>
                </a:lnTo>
                <a:lnTo>
                  <a:pt x="1281" y="979"/>
                </a:lnTo>
                <a:lnTo>
                  <a:pt x="1288" y="976"/>
                </a:lnTo>
                <a:lnTo>
                  <a:pt x="1293" y="972"/>
                </a:lnTo>
                <a:lnTo>
                  <a:pt x="1299" y="968"/>
                </a:lnTo>
                <a:lnTo>
                  <a:pt x="1304" y="963"/>
                </a:lnTo>
                <a:lnTo>
                  <a:pt x="1304" y="963"/>
                </a:lnTo>
                <a:lnTo>
                  <a:pt x="1308" y="965"/>
                </a:lnTo>
                <a:lnTo>
                  <a:pt x="1311" y="970"/>
                </a:lnTo>
                <a:lnTo>
                  <a:pt x="1317" y="980"/>
                </a:lnTo>
                <a:lnTo>
                  <a:pt x="1321" y="985"/>
                </a:lnTo>
                <a:lnTo>
                  <a:pt x="1326" y="988"/>
                </a:lnTo>
                <a:lnTo>
                  <a:pt x="1332" y="991"/>
                </a:lnTo>
                <a:lnTo>
                  <a:pt x="1340" y="992"/>
                </a:lnTo>
                <a:lnTo>
                  <a:pt x="1340" y="992"/>
                </a:lnTo>
                <a:lnTo>
                  <a:pt x="1346" y="992"/>
                </a:lnTo>
                <a:lnTo>
                  <a:pt x="1351" y="991"/>
                </a:lnTo>
                <a:lnTo>
                  <a:pt x="1359" y="986"/>
                </a:lnTo>
                <a:lnTo>
                  <a:pt x="1368" y="983"/>
                </a:lnTo>
                <a:lnTo>
                  <a:pt x="1373" y="981"/>
                </a:lnTo>
                <a:lnTo>
                  <a:pt x="1377" y="980"/>
                </a:lnTo>
                <a:lnTo>
                  <a:pt x="1377" y="980"/>
                </a:lnTo>
                <a:lnTo>
                  <a:pt x="1382" y="983"/>
                </a:lnTo>
                <a:lnTo>
                  <a:pt x="1389" y="986"/>
                </a:lnTo>
                <a:lnTo>
                  <a:pt x="1398" y="991"/>
                </a:lnTo>
                <a:lnTo>
                  <a:pt x="1403" y="992"/>
                </a:lnTo>
                <a:lnTo>
                  <a:pt x="1407" y="992"/>
                </a:lnTo>
                <a:lnTo>
                  <a:pt x="1407" y="992"/>
                </a:lnTo>
                <a:lnTo>
                  <a:pt x="1412" y="992"/>
                </a:lnTo>
                <a:lnTo>
                  <a:pt x="1415" y="991"/>
                </a:lnTo>
                <a:lnTo>
                  <a:pt x="1419" y="988"/>
                </a:lnTo>
                <a:lnTo>
                  <a:pt x="1421" y="987"/>
                </a:lnTo>
                <a:lnTo>
                  <a:pt x="1426" y="981"/>
                </a:lnTo>
                <a:lnTo>
                  <a:pt x="1428" y="974"/>
                </a:lnTo>
                <a:lnTo>
                  <a:pt x="1433" y="962"/>
                </a:lnTo>
                <a:lnTo>
                  <a:pt x="1434" y="957"/>
                </a:lnTo>
                <a:lnTo>
                  <a:pt x="1436" y="955"/>
                </a:lnTo>
                <a:lnTo>
                  <a:pt x="1436" y="955"/>
                </a:lnTo>
                <a:lnTo>
                  <a:pt x="1446" y="949"/>
                </a:lnTo>
                <a:lnTo>
                  <a:pt x="1456" y="942"/>
                </a:lnTo>
                <a:lnTo>
                  <a:pt x="1464" y="934"/>
                </a:lnTo>
                <a:lnTo>
                  <a:pt x="1469" y="925"/>
                </a:lnTo>
                <a:lnTo>
                  <a:pt x="1476" y="913"/>
                </a:lnTo>
                <a:lnTo>
                  <a:pt x="1481" y="903"/>
                </a:lnTo>
                <a:lnTo>
                  <a:pt x="1492" y="880"/>
                </a:lnTo>
                <a:lnTo>
                  <a:pt x="1497" y="869"/>
                </a:lnTo>
                <a:lnTo>
                  <a:pt x="1503" y="858"/>
                </a:lnTo>
                <a:lnTo>
                  <a:pt x="1510" y="849"/>
                </a:lnTo>
                <a:lnTo>
                  <a:pt x="1518" y="841"/>
                </a:lnTo>
                <a:lnTo>
                  <a:pt x="1526" y="834"/>
                </a:lnTo>
                <a:lnTo>
                  <a:pt x="1536" y="829"/>
                </a:lnTo>
                <a:lnTo>
                  <a:pt x="1548" y="827"/>
                </a:lnTo>
                <a:lnTo>
                  <a:pt x="1561" y="827"/>
                </a:lnTo>
                <a:lnTo>
                  <a:pt x="1561" y="844"/>
                </a:lnTo>
                <a:lnTo>
                  <a:pt x="1550" y="871"/>
                </a:lnTo>
                <a:lnTo>
                  <a:pt x="1550" y="871"/>
                </a:lnTo>
                <a:lnTo>
                  <a:pt x="1556" y="871"/>
                </a:lnTo>
                <a:lnTo>
                  <a:pt x="1561" y="873"/>
                </a:lnTo>
                <a:lnTo>
                  <a:pt x="1571" y="878"/>
                </a:lnTo>
                <a:lnTo>
                  <a:pt x="1575" y="881"/>
                </a:lnTo>
                <a:lnTo>
                  <a:pt x="1581" y="884"/>
                </a:lnTo>
                <a:lnTo>
                  <a:pt x="1587" y="885"/>
                </a:lnTo>
                <a:lnTo>
                  <a:pt x="1594" y="886"/>
                </a:lnTo>
                <a:lnTo>
                  <a:pt x="1594" y="886"/>
                </a:lnTo>
                <a:lnTo>
                  <a:pt x="1602" y="885"/>
                </a:lnTo>
                <a:lnTo>
                  <a:pt x="1607" y="884"/>
                </a:lnTo>
                <a:lnTo>
                  <a:pt x="1614" y="880"/>
                </a:lnTo>
                <a:lnTo>
                  <a:pt x="1619" y="878"/>
                </a:lnTo>
                <a:lnTo>
                  <a:pt x="1629" y="869"/>
                </a:lnTo>
                <a:lnTo>
                  <a:pt x="1639" y="858"/>
                </a:lnTo>
                <a:lnTo>
                  <a:pt x="1647" y="848"/>
                </a:lnTo>
                <a:lnTo>
                  <a:pt x="1655" y="839"/>
                </a:lnTo>
                <a:lnTo>
                  <a:pt x="1663" y="832"/>
                </a:lnTo>
                <a:lnTo>
                  <a:pt x="1667" y="828"/>
                </a:lnTo>
                <a:lnTo>
                  <a:pt x="1672" y="827"/>
                </a:lnTo>
                <a:lnTo>
                  <a:pt x="1672" y="827"/>
                </a:lnTo>
                <a:lnTo>
                  <a:pt x="1665" y="806"/>
                </a:lnTo>
                <a:lnTo>
                  <a:pt x="1662" y="797"/>
                </a:lnTo>
                <a:lnTo>
                  <a:pt x="1660" y="789"/>
                </a:lnTo>
                <a:lnTo>
                  <a:pt x="1660" y="789"/>
                </a:lnTo>
                <a:lnTo>
                  <a:pt x="1660" y="785"/>
                </a:lnTo>
                <a:lnTo>
                  <a:pt x="1662" y="781"/>
                </a:lnTo>
                <a:lnTo>
                  <a:pt x="1665" y="775"/>
                </a:lnTo>
                <a:lnTo>
                  <a:pt x="1668" y="771"/>
                </a:lnTo>
                <a:lnTo>
                  <a:pt x="1672" y="764"/>
                </a:lnTo>
                <a:lnTo>
                  <a:pt x="1672" y="764"/>
                </a:lnTo>
                <a:lnTo>
                  <a:pt x="1645" y="758"/>
                </a:lnTo>
                <a:lnTo>
                  <a:pt x="1634" y="756"/>
                </a:lnTo>
                <a:lnTo>
                  <a:pt x="1622" y="752"/>
                </a:lnTo>
                <a:lnTo>
                  <a:pt x="1612" y="748"/>
                </a:lnTo>
                <a:lnTo>
                  <a:pt x="1609" y="744"/>
                </a:lnTo>
                <a:lnTo>
                  <a:pt x="1605" y="741"/>
                </a:lnTo>
                <a:lnTo>
                  <a:pt x="1602" y="737"/>
                </a:lnTo>
                <a:lnTo>
                  <a:pt x="1599" y="734"/>
                </a:lnTo>
                <a:lnTo>
                  <a:pt x="1598" y="729"/>
                </a:lnTo>
                <a:lnTo>
                  <a:pt x="1598" y="724"/>
                </a:lnTo>
                <a:lnTo>
                  <a:pt x="1598" y="724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ct val="260000"/>
              </a:spcAft>
              <a:defRPr/>
            </a:pPr>
            <a:endParaRPr lang="ru-RU" sz="1600" b="1" dirty="0">
              <a:ln w="3175" cmpd="sng">
                <a:solidFill>
                  <a:srgbClr val="FFFFFF"/>
                </a:solidFill>
                <a:prstDash val="solid"/>
                <a:miter lim="800000"/>
              </a:ln>
              <a:solidFill>
                <a:srgbClr val="C00000"/>
              </a:solidFill>
            </a:endParaRPr>
          </a:p>
        </p:txBody>
      </p:sp>
      <p:sp>
        <p:nvSpPr>
          <p:cNvPr id="144" name="Freeform 139"/>
          <p:cNvSpPr>
            <a:spLocks/>
          </p:cNvSpPr>
          <p:nvPr/>
        </p:nvSpPr>
        <p:spPr bwMode="auto">
          <a:xfrm>
            <a:off x="1146175" y="12800013"/>
            <a:ext cx="509588" cy="493712"/>
          </a:xfrm>
          <a:custGeom>
            <a:avLst/>
            <a:gdLst/>
            <a:ahLst/>
            <a:cxnLst>
              <a:cxn ang="0">
                <a:pos x="573" y="324"/>
              </a:cxn>
              <a:cxn ang="0">
                <a:pos x="519" y="268"/>
              </a:cxn>
              <a:cxn ang="0">
                <a:pos x="510" y="307"/>
              </a:cxn>
              <a:cxn ang="0">
                <a:pos x="475" y="305"/>
              </a:cxn>
              <a:cxn ang="0">
                <a:pos x="418" y="282"/>
              </a:cxn>
              <a:cxn ang="0">
                <a:pos x="401" y="293"/>
              </a:cxn>
              <a:cxn ang="0">
                <a:pos x="366" y="307"/>
              </a:cxn>
              <a:cxn ang="0">
                <a:pos x="328" y="308"/>
              </a:cxn>
              <a:cxn ang="0">
                <a:pos x="258" y="268"/>
              </a:cxn>
              <a:cxn ang="0">
                <a:pos x="266" y="229"/>
              </a:cxn>
              <a:cxn ang="0">
                <a:pos x="320" y="141"/>
              </a:cxn>
              <a:cxn ang="0">
                <a:pos x="327" y="101"/>
              </a:cxn>
              <a:cxn ang="0">
                <a:pos x="332" y="68"/>
              </a:cxn>
              <a:cxn ang="0">
                <a:pos x="320" y="15"/>
              </a:cxn>
              <a:cxn ang="0">
                <a:pos x="219" y="4"/>
              </a:cxn>
              <a:cxn ang="0">
                <a:pos x="185" y="62"/>
              </a:cxn>
              <a:cxn ang="0">
                <a:pos x="180" y="104"/>
              </a:cxn>
              <a:cxn ang="0">
                <a:pos x="194" y="139"/>
              </a:cxn>
              <a:cxn ang="0">
                <a:pos x="218" y="185"/>
              </a:cxn>
              <a:cxn ang="0">
                <a:pos x="205" y="221"/>
              </a:cxn>
              <a:cxn ang="0">
                <a:pos x="190" y="218"/>
              </a:cxn>
              <a:cxn ang="0">
                <a:pos x="170" y="144"/>
              </a:cxn>
              <a:cxn ang="0">
                <a:pos x="112" y="124"/>
              </a:cxn>
              <a:cxn ang="0">
                <a:pos x="88" y="109"/>
              </a:cxn>
              <a:cxn ang="0">
                <a:pos x="67" y="110"/>
              </a:cxn>
              <a:cxn ang="0">
                <a:pos x="49" y="122"/>
              </a:cxn>
              <a:cxn ang="0">
                <a:pos x="11" y="157"/>
              </a:cxn>
              <a:cxn ang="0">
                <a:pos x="0" y="187"/>
              </a:cxn>
              <a:cxn ang="0">
                <a:pos x="19" y="232"/>
              </a:cxn>
              <a:cxn ang="0">
                <a:pos x="26" y="269"/>
              </a:cxn>
              <a:cxn ang="0">
                <a:pos x="15" y="316"/>
              </a:cxn>
              <a:cxn ang="0">
                <a:pos x="22" y="353"/>
              </a:cxn>
              <a:cxn ang="0">
                <a:pos x="40" y="353"/>
              </a:cxn>
              <a:cxn ang="0">
                <a:pos x="63" y="335"/>
              </a:cxn>
              <a:cxn ang="0">
                <a:pos x="78" y="343"/>
              </a:cxn>
              <a:cxn ang="0">
                <a:pos x="93" y="355"/>
              </a:cxn>
              <a:cxn ang="0">
                <a:pos x="151" y="356"/>
              </a:cxn>
              <a:cxn ang="0">
                <a:pos x="172" y="370"/>
              </a:cxn>
              <a:cxn ang="0">
                <a:pos x="192" y="375"/>
              </a:cxn>
              <a:cxn ang="0">
                <a:pos x="214" y="364"/>
              </a:cxn>
              <a:cxn ang="0">
                <a:pos x="240" y="375"/>
              </a:cxn>
              <a:cxn ang="0">
                <a:pos x="252" y="417"/>
              </a:cxn>
              <a:cxn ang="0">
                <a:pos x="273" y="434"/>
              </a:cxn>
              <a:cxn ang="0">
                <a:pos x="284" y="430"/>
              </a:cxn>
              <a:cxn ang="0">
                <a:pos x="298" y="436"/>
              </a:cxn>
              <a:cxn ang="0">
                <a:pos x="315" y="480"/>
              </a:cxn>
              <a:cxn ang="0">
                <a:pos x="329" y="529"/>
              </a:cxn>
              <a:cxn ang="0">
                <a:pos x="352" y="555"/>
              </a:cxn>
              <a:cxn ang="0">
                <a:pos x="412" y="566"/>
              </a:cxn>
              <a:cxn ang="0">
                <a:pos x="462" y="542"/>
              </a:cxn>
              <a:cxn ang="0">
                <a:pos x="472" y="515"/>
              </a:cxn>
              <a:cxn ang="0">
                <a:pos x="474" y="474"/>
              </a:cxn>
              <a:cxn ang="0">
                <a:pos x="546" y="422"/>
              </a:cxn>
              <a:cxn ang="0">
                <a:pos x="625" y="382"/>
              </a:cxn>
            </a:cxnLst>
            <a:rect l="0" t="0" r="r" b="b"/>
            <a:pathLst>
              <a:path w="625" h="566">
                <a:moveTo>
                  <a:pt x="625" y="382"/>
                </a:moveTo>
                <a:lnTo>
                  <a:pt x="625" y="382"/>
                </a:lnTo>
                <a:lnTo>
                  <a:pt x="611" y="370"/>
                </a:lnTo>
                <a:lnTo>
                  <a:pt x="599" y="355"/>
                </a:lnTo>
                <a:lnTo>
                  <a:pt x="573" y="324"/>
                </a:lnTo>
                <a:lnTo>
                  <a:pt x="561" y="308"/>
                </a:lnTo>
                <a:lnTo>
                  <a:pt x="547" y="293"/>
                </a:lnTo>
                <a:lnTo>
                  <a:pt x="533" y="279"/>
                </a:lnTo>
                <a:lnTo>
                  <a:pt x="526" y="274"/>
                </a:lnTo>
                <a:lnTo>
                  <a:pt x="519" y="268"/>
                </a:lnTo>
                <a:lnTo>
                  <a:pt x="519" y="268"/>
                </a:lnTo>
                <a:lnTo>
                  <a:pt x="517" y="280"/>
                </a:lnTo>
                <a:lnTo>
                  <a:pt x="515" y="294"/>
                </a:lnTo>
                <a:lnTo>
                  <a:pt x="512" y="305"/>
                </a:lnTo>
                <a:lnTo>
                  <a:pt x="510" y="307"/>
                </a:lnTo>
                <a:lnTo>
                  <a:pt x="508" y="308"/>
                </a:lnTo>
                <a:lnTo>
                  <a:pt x="508" y="308"/>
                </a:lnTo>
                <a:lnTo>
                  <a:pt x="498" y="308"/>
                </a:lnTo>
                <a:lnTo>
                  <a:pt x="487" y="307"/>
                </a:lnTo>
                <a:lnTo>
                  <a:pt x="475" y="305"/>
                </a:lnTo>
                <a:lnTo>
                  <a:pt x="464" y="302"/>
                </a:lnTo>
                <a:lnTo>
                  <a:pt x="451" y="298"/>
                </a:lnTo>
                <a:lnTo>
                  <a:pt x="440" y="293"/>
                </a:lnTo>
                <a:lnTo>
                  <a:pt x="428" y="289"/>
                </a:lnTo>
                <a:lnTo>
                  <a:pt x="418" y="282"/>
                </a:lnTo>
                <a:lnTo>
                  <a:pt x="418" y="282"/>
                </a:lnTo>
                <a:lnTo>
                  <a:pt x="413" y="286"/>
                </a:lnTo>
                <a:lnTo>
                  <a:pt x="409" y="291"/>
                </a:lnTo>
                <a:lnTo>
                  <a:pt x="409" y="291"/>
                </a:lnTo>
                <a:lnTo>
                  <a:pt x="401" y="293"/>
                </a:lnTo>
                <a:lnTo>
                  <a:pt x="393" y="295"/>
                </a:lnTo>
                <a:lnTo>
                  <a:pt x="380" y="297"/>
                </a:lnTo>
                <a:lnTo>
                  <a:pt x="374" y="298"/>
                </a:lnTo>
                <a:lnTo>
                  <a:pt x="370" y="301"/>
                </a:lnTo>
                <a:lnTo>
                  <a:pt x="366" y="307"/>
                </a:lnTo>
                <a:lnTo>
                  <a:pt x="365" y="316"/>
                </a:lnTo>
                <a:lnTo>
                  <a:pt x="342" y="316"/>
                </a:lnTo>
                <a:lnTo>
                  <a:pt x="342" y="316"/>
                </a:lnTo>
                <a:lnTo>
                  <a:pt x="337" y="314"/>
                </a:lnTo>
                <a:lnTo>
                  <a:pt x="328" y="308"/>
                </a:lnTo>
                <a:lnTo>
                  <a:pt x="299" y="293"/>
                </a:lnTo>
                <a:lnTo>
                  <a:pt x="271" y="278"/>
                </a:lnTo>
                <a:lnTo>
                  <a:pt x="261" y="272"/>
                </a:lnTo>
                <a:lnTo>
                  <a:pt x="259" y="270"/>
                </a:lnTo>
                <a:lnTo>
                  <a:pt x="258" y="268"/>
                </a:lnTo>
                <a:lnTo>
                  <a:pt x="258" y="268"/>
                </a:lnTo>
                <a:lnTo>
                  <a:pt x="259" y="257"/>
                </a:lnTo>
                <a:lnTo>
                  <a:pt x="260" y="247"/>
                </a:lnTo>
                <a:lnTo>
                  <a:pt x="263" y="238"/>
                </a:lnTo>
                <a:lnTo>
                  <a:pt x="266" y="229"/>
                </a:lnTo>
                <a:lnTo>
                  <a:pt x="274" y="213"/>
                </a:lnTo>
                <a:lnTo>
                  <a:pt x="284" y="196"/>
                </a:lnTo>
                <a:lnTo>
                  <a:pt x="306" y="165"/>
                </a:lnTo>
                <a:lnTo>
                  <a:pt x="315" y="149"/>
                </a:lnTo>
                <a:lnTo>
                  <a:pt x="320" y="141"/>
                </a:lnTo>
                <a:lnTo>
                  <a:pt x="324" y="132"/>
                </a:lnTo>
                <a:lnTo>
                  <a:pt x="324" y="132"/>
                </a:lnTo>
                <a:lnTo>
                  <a:pt x="326" y="125"/>
                </a:lnTo>
                <a:lnTo>
                  <a:pt x="327" y="117"/>
                </a:lnTo>
                <a:lnTo>
                  <a:pt x="327" y="101"/>
                </a:lnTo>
                <a:lnTo>
                  <a:pt x="327" y="93"/>
                </a:lnTo>
                <a:lnTo>
                  <a:pt x="327" y="84"/>
                </a:lnTo>
                <a:lnTo>
                  <a:pt x="328" y="76"/>
                </a:lnTo>
                <a:lnTo>
                  <a:pt x="332" y="68"/>
                </a:lnTo>
                <a:lnTo>
                  <a:pt x="332" y="68"/>
                </a:lnTo>
                <a:lnTo>
                  <a:pt x="328" y="55"/>
                </a:lnTo>
                <a:lnTo>
                  <a:pt x="326" y="41"/>
                </a:lnTo>
                <a:lnTo>
                  <a:pt x="325" y="28"/>
                </a:lnTo>
                <a:lnTo>
                  <a:pt x="324" y="15"/>
                </a:lnTo>
                <a:lnTo>
                  <a:pt x="320" y="15"/>
                </a:lnTo>
                <a:lnTo>
                  <a:pt x="320" y="15"/>
                </a:lnTo>
                <a:lnTo>
                  <a:pt x="289" y="13"/>
                </a:lnTo>
                <a:lnTo>
                  <a:pt x="259" y="11"/>
                </a:lnTo>
                <a:lnTo>
                  <a:pt x="231" y="7"/>
                </a:lnTo>
                <a:lnTo>
                  <a:pt x="219" y="4"/>
                </a:lnTo>
                <a:lnTo>
                  <a:pt x="206" y="0"/>
                </a:lnTo>
                <a:lnTo>
                  <a:pt x="206" y="0"/>
                </a:lnTo>
                <a:lnTo>
                  <a:pt x="198" y="25"/>
                </a:lnTo>
                <a:lnTo>
                  <a:pt x="189" y="49"/>
                </a:lnTo>
                <a:lnTo>
                  <a:pt x="185" y="62"/>
                </a:lnTo>
                <a:lnTo>
                  <a:pt x="183" y="73"/>
                </a:lnTo>
                <a:lnTo>
                  <a:pt x="181" y="85"/>
                </a:lnTo>
                <a:lnTo>
                  <a:pt x="181" y="96"/>
                </a:lnTo>
                <a:lnTo>
                  <a:pt x="181" y="96"/>
                </a:lnTo>
                <a:lnTo>
                  <a:pt x="180" y="104"/>
                </a:lnTo>
                <a:lnTo>
                  <a:pt x="180" y="112"/>
                </a:lnTo>
                <a:lnTo>
                  <a:pt x="182" y="119"/>
                </a:lnTo>
                <a:lnTo>
                  <a:pt x="184" y="126"/>
                </a:lnTo>
                <a:lnTo>
                  <a:pt x="189" y="132"/>
                </a:lnTo>
                <a:lnTo>
                  <a:pt x="194" y="139"/>
                </a:lnTo>
                <a:lnTo>
                  <a:pt x="203" y="150"/>
                </a:lnTo>
                <a:lnTo>
                  <a:pt x="211" y="163"/>
                </a:lnTo>
                <a:lnTo>
                  <a:pt x="214" y="170"/>
                </a:lnTo>
                <a:lnTo>
                  <a:pt x="217" y="177"/>
                </a:lnTo>
                <a:lnTo>
                  <a:pt x="218" y="185"/>
                </a:lnTo>
                <a:lnTo>
                  <a:pt x="217" y="193"/>
                </a:lnTo>
                <a:lnTo>
                  <a:pt x="214" y="203"/>
                </a:lnTo>
                <a:lnTo>
                  <a:pt x="210" y="214"/>
                </a:lnTo>
                <a:lnTo>
                  <a:pt x="210" y="214"/>
                </a:lnTo>
                <a:lnTo>
                  <a:pt x="205" y="221"/>
                </a:lnTo>
                <a:lnTo>
                  <a:pt x="202" y="225"/>
                </a:lnTo>
                <a:lnTo>
                  <a:pt x="198" y="226"/>
                </a:lnTo>
                <a:lnTo>
                  <a:pt x="195" y="225"/>
                </a:lnTo>
                <a:lnTo>
                  <a:pt x="192" y="223"/>
                </a:lnTo>
                <a:lnTo>
                  <a:pt x="190" y="218"/>
                </a:lnTo>
                <a:lnTo>
                  <a:pt x="187" y="205"/>
                </a:lnTo>
                <a:lnTo>
                  <a:pt x="179" y="170"/>
                </a:lnTo>
                <a:lnTo>
                  <a:pt x="175" y="155"/>
                </a:lnTo>
                <a:lnTo>
                  <a:pt x="173" y="148"/>
                </a:lnTo>
                <a:lnTo>
                  <a:pt x="170" y="144"/>
                </a:lnTo>
                <a:lnTo>
                  <a:pt x="170" y="144"/>
                </a:lnTo>
                <a:lnTo>
                  <a:pt x="147" y="134"/>
                </a:lnTo>
                <a:lnTo>
                  <a:pt x="130" y="130"/>
                </a:lnTo>
                <a:lnTo>
                  <a:pt x="116" y="126"/>
                </a:lnTo>
                <a:lnTo>
                  <a:pt x="112" y="124"/>
                </a:lnTo>
                <a:lnTo>
                  <a:pt x="107" y="122"/>
                </a:lnTo>
                <a:lnTo>
                  <a:pt x="107" y="122"/>
                </a:lnTo>
                <a:lnTo>
                  <a:pt x="100" y="116"/>
                </a:lnTo>
                <a:lnTo>
                  <a:pt x="93" y="111"/>
                </a:lnTo>
                <a:lnTo>
                  <a:pt x="88" y="109"/>
                </a:lnTo>
                <a:lnTo>
                  <a:pt x="83" y="107"/>
                </a:lnTo>
                <a:lnTo>
                  <a:pt x="78" y="107"/>
                </a:lnTo>
                <a:lnTo>
                  <a:pt x="74" y="107"/>
                </a:lnTo>
                <a:lnTo>
                  <a:pt x="70" y="109"/>
                </a:lnTo>
                <a:lnTo>
                  <a:pt x="67" y="110"/>
                </a:lnTo>
                <a:lnTo>
                  <a:pt x="61" y="115"/>
                </a:lnTo>
                <a:lnTo>
                  <a:pt x="57" y="119"/>
                </a:lnTo>
                <a:lnTo>
                  <a:pt x="52" y="122"/>
                </a:lnTo>
                <a:lnTo>
                  <a:pt x="51" y="123"/>
                </a:lnTo>
                <a:lnTo>
                  <a:pt x="49" y="122"/>
                </a:lnTo>
                <a:lnTo>
                  <a:pt x="49" y="155"/>
                </a:lnTo>
                <a:lnTo>
                  <a:pt x="49" y="155"/>
                </a:lnTo>
                <a:lnTo>
                  <a:pt x="26" y="155"/>
                </a:lnTo>
                <a:lnTo>
                  <a:pt x="17" y="155"/>
                </a:lnTo>
                <a:lnTo>
                  <a:pt x="11" y="157"/>
                </a:lnTo>
                <a:lnTo>
                  <a:pt x="6" y="161"/>
                </a:lnTo>
                <a:lnTo>
                  <a:pt x="2" y="167"/>
                </a:lnTo>
                <a:lnTo>
                  <a:pt x="1" y="176"/>
                </a:lnTo>
                <a:lnTo>
                  <a:pt x="0" y="187"/>
                </a:lnTo>
                <a:lnTo>
                  <a:pt x="0" y="187"/>
                </a:lnTo>
                <a:lnTo>
                  <a:pt x="1" y="201"/>
                </a:lnTo>
                <a:lnTo>
                  <a:pt x="5" y="211"/>
                </a:lnTo>
                <a:lnTo>
                  <a:pt x="9" y="218"/>
                </a:lnTo>
                <a:lnTo>
                  <a:pt x="14" y="225"/>
                </a:lnTo>
                <a:lnTo>
                  <a:pt x="19" y="232"/>
                </a:lnTo>
                <a:lnTo>
                  <a:pt x="22" y="239"/>
                </a:lnTo>
                <a:lnTo>
                  <a:pt x="26" y="249"/>
                </a:lnTo>
                <a:lnTo>
                  <a:pt x="27" y="261"/>
                </a:lnTo>
                <a:lnTo>
                  <a:pt x="27" y="261"/>
                </a:lnTo>
                <a:lnTo>
                  <a:pt x="26" y="269"/>
                </a:lnTo>
                <a:lnTo>
                  <a:pt x="24" y="276"/>
                </a:lnTo>
                <a:lnTo>
                  <a:pt x="21" y="289"/>
                </a:lnTo>
                <a:lnTo>
                  <a:pt x="17" y="301"/>
                </a:lnTo>
                <a:lnTo>
                  <a:pt x="16" y="308"/>
                </a:lnTo>
                <a:lnTo>
                  <a:pt x="15" y="316"/>
                </a:lnTo>
                <a:lnTo>
                  <a:pt x="15" y="316"/>
                </a:lnTo>
                <a:lnTo>
                  <a:pt x="15" y="330"/>
                </a:lnTo>
                <a:lnTo>
                  <a:pt x="17" y="343"/>
                </a:lnTo>
                <a:lnTo>
                  <a:pt x="19" y="348"/>
                </a:lnTo>
                <a:lnTo>
                  <a:pt x="22" y="353"/>
                </a:lnTo>
                <a:lnTo>
                  <a:pt x="26" y="355"/>
                </a:lnTo>
                <a:lnTo>
                  <a:pt x="30" y="356"/>
                </a:lnTo>
                <a:lnTo>
                  <a:pt x="30" y="356"/>
                </a:lnTo>
                <a:lnTo>
                  <a:pt x="35" y="355"/>
                </a:lnTo>
                <a:lnTo>
                  <a:pt x="40" y="353"/>
                </a:lnTo>
                <a:lnTo>
                  <a:pt x="44" y="350"/>
                </a:lnTo>
                <a:lnTo>
                  <a:pt x="49" y="345"/>
                </a:lnTo>
                <a:lnTo>
                  <a:pt x="55" y="338"/>
                </a:lnTo>
                <a:lnTo>
                  <a:pt x="59" y="336"/>
                </a:lnTo>
                <a:lnTo>
                  <a:pt x="63" y="335"/>
                </a:lnTo>
                <a:lnTo>
                  <a:pt x="63" y="335"/>
                </a:lnTo>
                <a:lnTo>
                  <a:pt x="69" y="336"/>
                </a:lnTo>
                <a:lnTo>
                  <a:pt x="74" y="337"/>
                </a:lnTo>
                <a:lnTo>
                  <a:pt x="76" y="339"/>
                </a:lnTo>
                <a:lnTo>
                  <a:pt x="78" y="343"/>
                </a:lnTo>
                <a:lnTo>
                  <a:pt x="81" y="348"/>
                </a:lnTo>
                <a:lnTo>
                  <a:pt x="83" y="351"/>
                </a:lnTo>
                <a:lnTo>
                  <a:pt x="85" y="353"/>
                </a:lnTo>
                <a:lnTo>
                  <a:pt x="85" y="353"/>
                </a:lnTo>
                <a:lnTo>
                  <a:pt x="93" y="355"/>
                </a:lnTo>
                <a:lnTo>
                  <a:pt x="101" y="355"/>
                </a:lnTo>
                <a:lnTo>
                  <a:pt x="119" y="355"/>
                </a:lnTo>
                <a:lnTo>
                  <a:pt x="135" y="354"/>
                </a:lnTo>
                <a:lnTo>
                  <a:pt x="143" y="354"/>
                </a:lnTo>
                <a:lnTo>
                  <a:pt x="151" y="356"/>
                </a:lnTo>
                <a:lnTo>
                  <a:pt x="151" y="356"/>
                </a:lnTo>
                <a:lnTo>
                  <a:pt x="156" y="359"/>
                </a:lnTo>
                <a:lnTo>
                  <a:pt x="159" y="361"/>
                </a:lnTo>
                <a:lnTo>
                  <a:pt x="167" y="367"/>
                </a:lnTo>
                <a:lnTo>
                  <a:pt x="172" y="370"/>
                </a:lnTo>
                <a:lnTo>
                  <a:pt x="176" y="373"/>
                </a:lnTo>
                <a:lnTo>
                  <a:pt x="182" y="375"/>
                </a:lnTo>
                <a:lnTo>
                  <a:pt x="188" y="375"/>
                </a:lnTo>
                <a:lnTo>
                  <a:pt x="188" y="375"/>
                </a:lnTo>
                <a:lnTo>
                  <a:pt x="192" y="375"/>
                </a:lnTo>
                <a:lnTo>
                  <a:pt x="196" y="374"/>
                </a:lnTo>
                <a:lnTo>
                  <a:pt x="203" y="369"/>
                </a:lnTo>
                <a:lnTo>
                  <a:pt x="208" y="366"/>
                </a:lnTo>
                <a:lnTo>
                  <a:pt x="211" y="364"/>
                </a:lnTo>
                <a:lnTo>
                  <a:pt x="214" y="364"/>
                </a:lnTo>
                <a:lnTo>
                  <a:pt x="214" y="364"/>
                </a:lnTo>
                <a:lnTo>
                  <a:pt x="222" y="364"/>
                </a:lnTo>
                <a:lnTo>
                  <a:pt x="229" y="367"/>
                </a:lnTo>
                <a:lnTo>
                  <a:pt x="235" y="370"/>
                </a:lnTo>
                <a:lnTo>
                  <a:pt x="240" y="375"/>
                </a:lnTo>
                <a:lnTo>
                  <a:pt x="242" y="381"/>
                </a:lnTo>
                <a:lnTo>
                  <a:pt x="244" y="386"/>
                </a:lnTo>
                <a:lnTo>
                  <a:pt x="248" y="399"/>
                </a:lnTo>
                <a:lnTo>
                  <a:pt x="250" y="412"/>
                </a:lnTo>
                <a:lnTo>
                  <a:pt x="252" y="417"/>
                </a:lnTo>
                <a:lnTo>
                  <a:pt x="253" y="423"/>
                </a:lnTo>
                <a:lnTo>
                  <a:pt x="257" y="428"/>
                </a:lnTo>
                <a:lnTo>
                  <a:pt x="261" y="431"/>
                </a:lnTo>
                <a:lnTo>
                  <a:pt x="266" y="434"/>
                </a:lnTo>
                <a:lnTo>
                  <a:pt x="273" y="434"/>
                </a:lnTo>
                <a:lnTo>
                  <a:pt x="273" y="434"/>
                </a:lnTo>
                <a:lnTo>
                  <a:pt x="278" y="434"/>
                </a:lnTo>
                <a:lnTo>
                  <a:pt x="281" y="432"/>
                </a:lnTo>
                <a:lnTo>
                  <a:pt x="283" y="431"/>
                </a:lnTo>
                <a:lnTo>
                  <a:pt x="284" y="430"/>
                </a:lnTo>
                <a:lnTo>
                  <a:pt x="286" y="431"/>
                </a:lnTo>
                <a:lnTo>
                  <a:pt x="291" y="434"/>
                </a:lnTo>
                <a:lnTo>
                  <a:pt x="291" y="434"/>
                </a:lnTo>
                <a:lnTo>
                  <a:pt x="295" y="435"/>
                </a:lnTo>
                <a:lnTo>
                  <a:pt x="298" y="436"/>
                </a:lnTo>
                <a:lnTo>
                  <a:pt x="302" y="438"/>
                </a:lnTo>
                <a:lnTo>
                  <a:pt x="304" y="440"/>
                </a:lnTo>
                <a:lnTo>
                  <a:pt x="307" y="448"/>
                </a:lnTo>
                <a:lnTo>
                  <a:pt x="311" y="458"/>
                </a:lnTo>
                <a:lnTo>
                  <a:pt x="315" y="480"/>
                </a:lnTo>
                <a:lnTo>
                  <a:pt x="320" y="504"/>
                </a:lnTo>
                <a:lnTo>
                  <a:pt x="320" y="504"/>
                </a:lnTo>
                <a:lnTo>
                  <a:pt x="322" y="513"/>
                </a:lnTo>
                <a:lnTo>
                  <a:pt x="326" y="522"/>
                </a:lnTo>
                <a:lnTo>
                  <a:pt x="329" y="529"/>
                </a:lnTo>
                <a:lnTo>
                  <a:pt x="333" y="536"/>
                </a:lnTo>
                <a:lnTo>
                  <a:pt x="337" y="543"/>
                </a:lnTo>
                <a:lnTo>
                  <a:pt x="342" y="547"/>
                </a:lnTo>
                <a:lnTo>
                  <a:pt x="348" y="552"/>
                </a:lnTo>
                <a:lnTo>
                  <a:pt x="352" y="555"/>
                </a:lnTo>
                <a:lnTo>
                  <a:pt x="359" y="559"/>
                </a:lnTo>
                <a:lnTo>
                  <a:pt x="365" y="561"/>
                </a:lnTo>
                <a:lnTo>
                  <a:pt x="380" y="565"/>
                </a:lnTo>
                <a:lnTo>
                  <a:pt x="395" y="566"/>
                </a:lnTo>
                <a:lnTo>
                  <a:pt x="412" y="566"/>
                </a:lnTo>
                <a:lnTo>
                  <a:pt x="412" y="566"/>
                </a:lnTo>
                <a:lnTo>
                  <a:pt x="417" y="565"/>
                </a:lnTo>
                <a:lnTo>
                  <a:pt x="424" y="562"/>
                </a:lnTo>
                <a:lnTo>
                  <a:pt x="443" y="552"/>
                </a:lnTo>
                <a:lnTo>
                  <a:pt x="462" y="542"/>
                </a:lnTo>
                <a:lnTo>
                  <a:pt x="467" y="536"/>
                </a:lnTo>
                <a:lnTo>
                  <a:pt x="471" y="532"/>
                </a:lnTo>
                <a:lnTo>
                  <a:pt x="471" y="532"/>
                </a:lnTo>
                <a:lnTo>
                  <a:pt x="472" y="523"/>
                </a:lnTo>
                <a:lnTo>
                  <a:pt x="472" y="515"/>
                </a:lnTo>
                <a:lnTo>
                  <a:pt x="469" y="501"/>
                </a:lnTo>
                <a:lnTo>
                  <a:pt x="467" y="494"/>
                </a:lnTo>
                <a:lnTo>
                  <a:pt x="467" y="488"/>
                </a:lnTo>
                <a:lnTo>
                  <a:pt x="470" y="481"/>
                </a:lnTo>
                <a:lnTo>
                  <a:pt x="474" y="474"/>
                </a:lnTo>
                <a:lnTo>
                  <a:pt x="474" y="474"/>
                </a:lnTo>
                <a:lnTo>
                  <a:pt x="489" y="461"/>
                </a:lnTo>
                <a:lnTo>
                  <a:pt x="505" y="448"/>
                </a:lnTo>
                <a:lnTo>
                  <a:pt x="525" y="435"/>
                </a:lnTo>
                <a:lnTo>
                  <a:pt x="546" y="422"/>
                </a:lnTo>
                <a:lnTo>
                  <a:pt x="566" y="410"/>
                </a:lnTo>
                <a:lnTo>
                  <a:pt x="587" y="399"/>
                </a:lnTo>
                <a:lnTo>
                  <a:pt x="608" y="390"/>
                </a:lnTo>
                <a:lnTo>
                  <a:pt x="625" y="382"/>
                </a:lnTo>
                <a:lnTo>
                  <a:pt x="625" y="382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5" name="Freeform 140"/>
          <p:cNvSpPr>
            <a:spLocks/>
          </p:cNvSpPr>
          <p:nvPr/>
        </p:nvSpPr>
        <p:spPr bwMode="auto">
          <a:xfrm>
            <a:off x="1409700" y="2627313"/>
            <a:ext cx="622300" cy="838200"/>
          </a:xfrm>
          <a:custGeom>
            <a:avLst/>
            <a:gdLst/>
            <a:ahLst/>
            <a:cxnLst>
              <a:cxn ang="0">
                <a:pos x="697" y="156"/>
              </a:cxn>
              <a:cxn ang="0">
                <a:pos x="691" y="106"/>
              </a:cxn>
              <a:cxn ang="0">
                <a:pos x="643" y="35"/>
              </a:cxn>
              <a:cxn ang="0">
                <a:pos x="561" y="64"/>
              </a:cxn>
              <a:cxn ang="0">
                <a:pos x="507" y="110"/>
              </a:cxn>
              <a:cxn ang="0">
                <a:pos x="468" y="114"/>
              </a:cxn>
              <a:cxn ang="0">
                <a:pos x="434" y="159"/>
              </a:cxn>
              <a:cxn ang="0">
                <a:pos x="414" y="217"/>
              </a:cxn>
              <a:cxn ang="0">
                <a:pos x="375" y="239"/>
              </a:cxn>
              <a:cxn ang="0">
                <a:pos x="360" y="310"/>
              </a:cxn>
              <a:cxn ang="0">
                <a:pos x="294" y="324"/>
              </a:cxn>
              <a:cxn ang="0">
                <a:pos x="294" y="438"/>
              </a:cxn>
              <a:cxn ang="0">
                <a:pos x="271" y="492"/>
              </a:cxn>
              <a:cxn ang="0">
                <a:pos x="136" y="514"/>
              </a:cxn>
              <a:cxn ang="0">
                <a:pos x="4" y="562"/>
              </a:cxn>
              <a:cxn ang="0">
                <a:pos x="50" y="565"/>
              </a:cxn>
              <a:cxn ang="0">
                <a:pos x="70" y="580"/>
              </a:cxn>
              <a:cxn ang="0">
                <a:pos x="89" y="570"/>
              </a:cxn>
              <a:cxn ang="0">
                <a:pos x="122" y="588"/>
              </a:cxn>
              <a:cxn ang="0">
                <a:pos x="110" y="636"/>
              </a:cxn>
              <a:cxn ang="0">
                <a:pos x="122" y="709"/>
              </a:cxn>
              <a:cxn ang="0">
                <a:pos x="104" y="773"/>
              </a:cxn>
              <a:cxn ang="0">
                <a:pos x="140" y="809"/>
              </a:cxn>
              <a:cxn ang="0">
                <a:pos x="188" y="812"/>
              </a:cxn>
              <a:cxn ang="0">
                <a:pos x="231" y="808"/>
              </a:cxn>
              <a:cxn ang="0">
                <a:pos x="292" y="865"/>
              </a:cxn>
              <a:cxn ang="0">
                <a:pos x="286" y="768"/>
              </a:cxn>
              <a:cxn ang="0">
                <a:pos x="298" y="751"/>
              </a:cxn>
              <a:cxn ang="0">
                <a:pos x="324" y="692"/>
              </a:cxn>
              <a:cxn ang="0">
                <a:pos x="340" y="686"/>
              </a:cxn>
              <a:cxn ang="0">
                <a:pos x="337" y="721"/>
              </a:cxn>
              <a:cxn ang="0">
                <a:pos x="368" y="687"/>
              </a:cxn>
              <a:cxn ang="0">
                <a:pos x="355" y="749"/>
              </a:cxn>
              <a:cxn ang="0">
                <a:pos x="377" y="759"/>
              </a:cxn>
              <a:cxn ang="0">
                <a:pos x="403" y="751"/>
              </a:cxn>
              <a:cxn ang="0">
                <a:pos x="403" y="705"/>
              </a:cxn>
              <a:cxn ang="0">
                <a:pos x="400" y="665"/>
              </a:cxn>
              <a:cxn ang="0">
                <a:pos x="424" y="661"/>
              </a:cxn>
              <a:cxn ang="0">
                <a:pos x="445" y="717"/>
              </a:cxn>
              <a:cxn ang="0">
                <a:pos x="417" y="763"/>
              </a:cxn>
              <a:cxn ang="0">
                <a:pos x="378" y="821"/>
              </a:cxn>
              <a:cxn ang="0">
                <a:pos x="361" y="843"/>
              </a:cxn>
              <a:cxn ang="0">
                <a:pos x="344" y="901"/>
              </a:cxn>
              <a:cxn ang="0">
                <a:pos x="413" y="917"/>
              </a:cxn>
              <a:cxn ang="0">
                <a:pos x="462" y="939"/>
              </a:cxn>
              <a:cxn ang="0">
                <a:pos x="506" y="850"/>
              </a:cxn>
              <a:cxn ang="0">
                <a:pos x="532" y="815"/>
              </a:cxn>
              <a:cxn ang="0">
                <a:pos x="514" y="794"/>
              </a:cxn>
              <a:cxn ang="0">
                <a:pos x="517" y="741"/>
              </a:cxn>
              <a:cxn ang="0">
                <a:pos x="554" y="648"/>
              </a:cxn>
              <a:cxn ang="0">
                <a:pos x="592" y="654"/>
              </a:cxn>
              <a:cxn ang="0">
                <a:pos x="626" y="621"/>
              </a:cxn>
              <a:cxn ang="0">
                <a:pos x="628" y="488"/>
              </a:cxn>
              <a:cxn ang="0">
                <a:pos x="698" y="367"/>
              </a:cxn>
              <a:cxn ang="0">
                <a:pos x="758" y="300"/>
              </a:cxn>
            </a:cxnLst>
            <a:rect l="0" t="0" r="r" b="b"/>
            <a:pathLst>
              <a:path w="761" h="962">
                <a:moveTo>
                  <a:pt x="757" y="165"/>
                </a:moveTo>
                <a:lnTo>
                  <a:pt x="757" y="165"/>
                </a:lnTo>
                <a:lnTo>
                  <a:pt x="733" y="165"/>
                </a:lnTo>
                <a:lnTo>
                  <a:pt x="721" y="164"/>
                </a:lnTo>
                <a:lnTo>
                  <a:pt x="712" y="163"/>
                </a:lnTo>
                <a:lnTo>
                  <a:pt x="703" y="160"/>
                </a:lnTo>
                <a:lnTo>
                  <a:pt x="697" y="156"/>
                </a:lnTo>
                <a:lnTo>
                  <a:pt x="695" y="153"/>
                </a:lnTo>
                <a:lnTo>
                  <a:pt x="692" y="151"/>
                </a:lnTo>
                <a:lnTo>
                  <a:pt x="691" y="148"/>
                </a:lnTo>
                <a:lnTo>
                  <a:pt x="691" y="143"/>
                </a:lnTo>
                <a:lnTo>
                  <a:pt x="691" y="143"/>
                </a:lnTo>
                <a:lnTo>
                  <a:pt x="691" y="106"/>
                </a:lnTo>
                <a:lnTo>
                  <a:pt x="691" y="106"/>
                </a:lnTo>
                <a:lnTo>
                  <a:pt x="690" y="97"/>
                </a:lnTo>
                <a:lnTo>
                  <a:pt x="686" y="88"/>
                </a:lnTo>
                <a:lnTo>
                  <a:pt x="682" y="79"/>
                </a:lnTo>
                <a:lnTo>
                  <a:pt x="676" y="69"/>
                </a:lnTo>
                <a:lnTo>
                  <a:pt x="669" y="60"/>
                </a:lnTo>
                <a:lnTo>
                  <a:pt x="661" y="52"/>
                </a:lnTo>
                <a:lnTo>
                  <a:pt x="643" y="35"/>
                </a:lnTo>
                <a:lnTo>
                  <a:pt x="626" y="21"/>
                </a:lnTo>
                <a:lnTo>
                  <a:pt x="611" y="10"/>
                </a:lnTo>
                <a:lnTo>
                  <a:pt x="596" y="0"/>
                </a:lnTo>
                <a:lnTo>
                  <a:pt x="596" y="0"/>
                </a:lnTo>
                <a:lnTo>
                  <a:pt x="584" y="22"/>
                </a:lnTo>
                <a:lnTo>
                  <a:pt x="573" y="44"/>
                </a:lnTo>
                <a:lnTo>
                  <a:pt x="561" y="64"/>
                </a:lnTo>
                <a:lnTo>
                  <a:pt x="555" y="73"/>
                </a:lnTo>
                <a:lnTo>
                  <a:pt x="548" y="81"/>
                </a:lnTo>
                <a:lnTo>
                  <a:pt x="542" y="89"/>
                </a:lnTo>
                <a:lnTo>
                  <a:pt x="533" y="96"/>
                </a:lnTo>
                <a:lnTo>
                  <a:pt x="525" y="102"/>
                </a:lnTo>
                <a:lnTo>
                  <a:pt x="516" y="106"/>
                </a:lnTo>
                <a:lnTo>
                  <a:pt x="507" y="110"/>
                </a:lnTo>
                <a:lnTo>
                  <a:pt x="497" y="111"/>
                </a:lnTo>
                <a:lnTo>
                  <a:pt x="486" y="112"/>
                </a:lnTo>
                <a:lnTo>
                  <a:pt x="474" y="111"/>
                </a:lnTo>
                <a:lnTo>
                  <a:pt x="474" y="111"/>
                </a:lnTo>
                <a:lnTo>
                  <a:pt x="471" y="111"/>
                </a:lnTo>
                <a:lnTo>
                  <a:pt x="469" y="112"/>
                </a:lnTo>
                <a:lnTo>
                  <a:pt x="468" y="114"/>
                </a:lnTo>
                <a:lnTo>
                  <a:pt x="466" y="117"/>
                </a:lnTo>
                <a:lnTo>
                  <a:pt x="459" y="135"/>
                </a:lnTo>
                <a:lnTo>
                  <a:pt x="454" y="144"/>
                </a:lnTo>
                <a:lnTo>
                  <a:pt x="449" y="149"/>
                </a:lnTo>
                <a:lnTo>
                  <a:pt x="446" y="153"/>
                </a:lnTo>
                <a:lnTo>
                  <a:pt x="440" y="157"/>
                </a:lnTo>
                <a:lnTo>
                  <a:pt x="434" y="159"/>
                </a:lnTo>
                <a:lnTo>
                  <a:pt x="428" y="161"/>
                </a:lnTo>
                <a:lnTo>
                  <a:pt x="418" y="161"/>
                </a:lnTo>
                <a:lnTo>
                  <a:pt x="418" y="161"/>
                </a:lnTo>
                <a:lnTo>
                  <a:pt x="420" y="186"/>
                </a:lnTo>
                <a:lnTo>
                  <a:pt x="417" y="203"/>
                </a:lnTo>
                <a:lnTo>
                  <a:pt x="416" y="211"/>
                </a:lnTo>
                <a:lnTo>
                  <a:pt x="414" y="217"/>
                </a:lnTo>
                <a:lnTo>
                  <a:pt x="411" y="222"/>
                </a:lnTo>
                <a:lnTo>
                  <a:pt x="409" y="227"/>
                </a:lnTo>
                <a:lnTo>
                  <a:pt x="406" y="231"/>
                </a:lnTo>
                <a:lnTo>
                  <a:pt x="402" y="233"/>
                </a:lnTo>
                <a:lnTo>
                  <a:pt x="394" y="236"/>
                </a:lnTo>
                <a:lnTo>
                  <a:pt x="385" y="239"/>
                </a:lnTo>
                <a:lnTo>
                  <a:pt x="375" y="239"/>
                </a:lnTo>
                <a:lnTo>
                  <a:pt x="375" y="239"/>
                </a:lnTo>
                <a:lnTo>
                  <a:pt x="374" y="267"/>
                </a:lnTo>
                <a:lnTo>
                  <a:pt x="372" y="279"/>
                </a:lnTo>
                <a:lnTo>
                  <a:pt x="370" y="289"/>
                </a:lnTo>
                <a:lnTo>
                  <a:pt x="367" y="297"/>
                </a:lnTo>
                <a:lnTo>
                  <a:pt x="363" y="304"/>
                </a:lnTo>
                <a:lnTo>
                  <a:pt x="360" y="310"/>
                </a:lnTo>
                <a:lnTo>
                  <a:pt x="355" y="315"/>
                </a:lnTo>
                <a:lnTo>
                  <a:pt x="349" y="318"/>
                </a:lnTo>
                <a:lnTo>
                  <a:pt x="344" y="320"/>
                </a:lnTo>
                <a:lnTo>
                  <a:pt x="337" y="321"/>
                </a:lnTo>
                <a:lnTo>
                  <a:pt x="330" y="323"/>
                </a:lnTo>
                <a:lnTo>
                  <a:pt x="314" y="324"/>
                </a:lnTo>
                <a:lnTo>
                  <a:pt x="294" y="324"/>
                </a:lnTo>
                <a:lnTo>
                  <a:pt x="294" y="324"/>
                </a:lnTo>
                <a:lnTo>
                  <a:pt x="296" y="348"/>
                </a:lnTo>
                <a:lnTo>
                  <a:pt x="298" y="370"/>
                </a:lnTo>
                <a:lnTo>
                  <a:pt x="298" y="390"/>
                </a:lnTo>
                <a:lnTo>
                  <a:pt x="298" y="408"/>
                </a:lnTo>
                <a:lnTo>
                  <a:pt x="296" y="424"/>
                </a:lnTo>
                <a:lnTo>
                  <a:pt x="294" y="438"/>
                </a:lnTo>
                <a:lnTo>
                  <a:pt x="292" y="450"/>
                </a:lnTo>
                <a:lnTo>
                  <a:pt x="288" y="461"/>
                </a:lnTo>
                <a:lnTo>
                  <a:pt x="285" y="470"/>
                </a:lnTo>
                <a:lnTo>
                  <a:pt x="281" y="478"/>
                </a:lnTo>
                <a:lnTo>
                  <a:pt x="278" y="484"/>
                </a:lnTo>
                <a:lnTo>
                  <a:pt x="275" y="488"/>
                </a:lnTo>
                <a:lnTo>
                  <a:pt x="271" y="492"/>
                </a:lnTo>
                <a:lnTo>
                  <a:pt x="268" y="494"/>
                </a:lnTo>
                <a:lnTo>
                  <a:pt x="264" y="496"/>
                </a:lnTo>
                <a:lnTo>
                  <a:pt x="261" y="496"/>
                </a:lnTo>
                <a:lnTo>
                  <a:pt x="261" y="496"/>
                </a:lnTo>
                <a:lnTo>
                  <a:pt x="238" y="500"/>
                </a:lnTo>
                <a:lnTo>
                  <a:pt x="176" y="509"/>
                </a:lnTo>
                <a:lnTo>
                  <a:pt x="136" y="514"/>
                </a:lnTo>
                <a:lnTo>
                  <a:pt x="92" y="518"/>
                </a:lnTo>
                <a:lnTo>
                  <a:pt x="46" y="520"/>
                </a:lnTo>
                <a:lnTo>
                  <a:pt x="0" y="522"/>
                </a:lnTo>
                <a:lnTo>
                  <a:pt x="0" y="522"/>
                </a:lnTo>
                <a:lnTo>
                  <a:pt x="1" y="535"/>
                </a:lnTo>
                <a:lnTo>
                  <a:pt x="2" y="548"/>
                </a:lnTo>
                <a:lnTo>
                  <a:pt x="4" y="562"/>
                </a:lnTo>
                <a:lnTo>
                  <a:pt x="8" y="575"/>
                </a:lnTo>
                <a:lnTo>
                  <a:pt x="8" y="575"/>
                </a:lnTo>
                <a:lnTo>
                  <a:pt x="8" y="573"/>
                </a:lnTo>
                <a:lnTo>
                  <a:pt x="8" y="573"/>
                </a:lnTo>
                <a:lnTo>
                  <a:pt x="27" y="571"/>
                </a:lnTo>
                <a:lnTo>
                  <a:pt x="43" y="568"/>
                </a:lnTo>
                <a:lnTo>
                  <a:pt x="50" y="565"/>
                </a:lnTo>
                <a:lnTo>
                  <a:pt x="56" y="562"/>
                </a:lnTo>
                <a:lnTo>
                  <a:pt x="56" y="562"/>
                </a:lnTo>
                <a:lnTo>
                  <a:pt x="58" y="569"/>
                </a:lnTo>
                <a:lnTo>
                  <a:pt x="62" y="575"/>
                </a:lnTo>
                <a:lnTo>
                  <a:pt x="64" y="577"/>
                </a:lnTo>
                <a:lnTo>
                  <a:pt x="66" y="579"/>
                </a:lnTo>
                <a:lnTo>
                  <a:pt x="70" y="580"/>
                </a:lnTo>
                <a:lnTo>
                  <a:pt x="73" y="580"/>
                </a:lnTo>
                <a:lnTo>
                  <a:pt x="73" y="580"/>
                </a:lnTo>
                <a:lnTo>
                  <a:pt x="77" y="580"/>
                </a:lnTo>
                <a:lnTo>
                  <a:pt x="79" y="579"/>
                </a:lnTo>
                <a:lnTo>
                  <a:pt x="82" y="576"/>
                </a:lnTo>
                <a:lnTo>
                  <a:pt x="87" y="571"/>
                </a:lnTo>
                <a:lnTo>
                  <a:pt x="89" y="570"/>
                </a:lnTo>
                <a:lnTo>
                  <a:pt x="92" y="570"/>
                </a:lnTo>
                <a:lnTo>
                  <a:pt x="92" y="570"/>
                </a:lnTo>
                <a:lnTo>
                  <a:pt x="122" y="570"/>
                </a:lnTo>
                <a:lnTo>
                  <a:pt x="122" y="570"/>
                </a:lnTo>
                <a:lnTo>
                  <a:pt x="119" y="576"/>
                </a:lnTo>
                <a:lnTo>
                  <a:pt x="120" y="580"/>
                </a:lnTo>
                <a:lnTo>
                  <a:pt x="122" y="588"/>
                </a:lnTo>
                <a:lnTo>
                  <a:pt x="122" y="588"/>
                </a:lnTo>
                <a:lnTo>
                  <a:pt x="120" y="594"/>
                </a:lnTo>
                <a:lnTo>
                  <a:pt x="119" y="601"/>
                </a:lnTo>
                <a:lnTo>
                  <a:pt x="116" y="611"/>
                </a:lnTo>
                <a:lnTo>
                  <a:pt x="111" y="623"/>
                </a:lnTo>
                <a:lnTo>
                  <a:pt x="110" y="629"/>
                </a:lnTo>
                <a:lnTo>
                  <a:pt x="110" y="636"/>
                </a:lnTo>
                <a:lnTo>
                  <a:pt x="110" y="636"/>
                </a:lnTo>
                <a:lnTo>
                  <a:pt x="110" y="645"/>
                </a:lnTo>
                <a:lnTo>
                  <a:pt x="111" y="654"/>
                </a:lnTo>
                <a:lnTo>
                  <a:pt x="116" y="672"/>
                </a:lnTo>
                <a:lnTo>
                  <a:pt x="119" y="691"/>
                </a:lnTo>
                <a:lnTo>
                  <a:pt x="120" y="700"/>
                </a:lnTo>
                <a:lnTo>
                  <a:pt x="122" y="709"/>
                </a:lnTo>
                <a:lnTo>
                  <a:pt x="122" y="709"/>
                </a:lnTo>
                <a:lnTo>
                  <a:pt x="120" y="720"/>
                </a:lnTo>
                <a:lnTo>
                  <a:pt x="119" y="731"/>
                </a:lnTo>
                <a:lnTo>
                  <a:pt x="117" y="741"/>
                </a:lnTo>
                <a:lnTo>
                  <a:pt x="113" y="753"/>
                </a:lnTo>
                <a:lnTo>
                  <a:pt x="109" y="763"/>
                </a:lnTo>
                <a:lnTo>
                  <a:pt x="104" y="773"/>
                </a:lnTo>
                <a:lnTo>
                  <a:pt x="100" y="782"/>
                </a:lnTo>
                <a:lnTo>
                  <a:pt x="94" y="789"/>
                </a:lnTo>
                <a:lnTo>
                  <a:pt x="94" y="789"/>
                </a:lnTo>
                <a:lnTo>
                  <a:pt x="104" y="796"/>
                </a:lnTo>
                <a:lnTo>
                  <a:pt x="116" y="800"/>
                </a:lnTo>
                <a:lnTo>
                  <a:pt x="127" y="805"/>
                </a:lnTo>
                <a:lnTo>
                  <a:pt x="140" y="809"/>
                </a:lnTo>
                <a:lnTo>
                  <a:pt x="151" y="812"/>
                </a:lnTo>
                <a:lnTo>
                  <a:pt x="163" y="814"/>
                </a:lnTo>
                <a:lnTo>
                  <a:pt x="174" y="815"/>
                </a:lnTo>
                <a:lnTo>
                  <a:pt x="184" y="815"/>
                </a:lnTo>
                <a:lnTo>
                  <a:pt x="184" y="815"/>
                </a:lnTo>
                <a:lnTo>
                  <a:pt x="186" y="814"/>
                </a:lnTo>
                <a:lnTo>
                  <a:pt x="188" y="812"/>
                </a:lnTo>
                <a:lnTo>
                  <a:pt x="191" y="801"/>
                </a:lnTo>
                <a:lnTo>
                  <a:pt x="193" y="787"/>
                </a:lnTo>
                <a:lnTo>
                  <a:pt x="195" y="775"/>
                </a:lnTo>
                <a:lnTo>
                  <a:pt x="195" y="775"/>
                </a:lnTo>
                <a:lnTo>
                  <a:pt x="208" y="784"/>
                </a:lnTo>
                <a:lnTo>
                  <a:pt x="219" y="796"/>
                </a:lnTo>
                <a:lnTo>
                  <a:pt x="231" y="808"/>
                </a:lnTo>
                <a:lnTo>
                  <a:pt x="242" y="822"/>
                </a:lnTo>
                <a:lnTo>
                  <a:pt x="264" y="850"/>
                </a:lnTo>
                <a:lnTo>
                  <a:pt x="276" y="863"/>
                </a:lnTo>
                <a:lnTo>
                  <a:pt x="286" y="876"/>
                </a:lnTo>
                <a:lnTo>
                  <a:pt x="286" y="876"/>
                </a:lnTo>
                <a:lnTo>
                  <a:pt x="290" y="870"/>
                </a:lnTo>
                <a:lnTo>
                  <a:pt x="292" y="865"/>
                </a:lnTo>
                <a:lnTo>
                  <a:pt x="293" y="857"/>
                </a:lnTo>
                <a:lnTo>
                  <a:pt x="294" y="848"/>
                </a:lnTo>
                <a:lnTo>
                  <a:pt x="294" y="848"/>
                </a:lnTo>
                <a:lnTo>
                  <a:pt x="293" y="827"/>
                </a:lnTo>
                <a:lnTo>
                  <a:pt x="291" y="808"/>
                </a:lnTo>
                <a:lnTo>
                  <a:pt x="287" y="790"/>
                </a:lnTo>
                <a:lnTo>
                  <a:pt x="286" y="768"/>
                </a:lnTo>
                <a:lnTo>
                  <a:pt x="286" y="768"/>
                </a:lnTo>
                <a:lnTo>
                  <a:pt x="287" y="762"/>
                </a:lnTo>
                <a:lnTo>
                  <a:pt x="288" y="756"/>
                </a:lnTo>
                <a:lnTo>
                  <a:pt x="294" y="746"/>
                </a:lnTo>
                <a:lnTo>
                  <a:pt x="294" y="746"/>
                </a:lnTo>
                <a:lnTo>
                  <a:pt x="295" y="748"/>
                </a:lnTo>
                <a:lnTo>
                  <a:pt x="298" y="751"/>
                </a:lnTo>
                <a:lnTo>
                  <a:pt x="302" y="753"/>
                </a:lnTo>
                <a:lnTo>
                  <a:pt x="308" y="753"/>
                </a:lnTo>
                <a:lnTo>
                  <a:pt x="316" y="753"/>
                </a:lnTo>
                <a:lnTo>
                  <a:pt x="316" y="753"/>
                </a:lnTo>
                <a:lnTo>
                  <a:pt x="317" y="731"/>
                </a:lnTo>
                <a:lnTo>
                  <a:pt x="321" y="705"/>
                </a:lnTo>
                <a:lnTo>
                  <a:pt x="324" y="692"/>
                </a:lnTo>
                <a:lnTo>
                  <a:pt x="327" y="680"/>
                </a:lnTo>
                <a:lnTo>
                  <a:pt x="331" y="670"/>
                </a:lnTo>
                <a:lnTo>
                  <a:pt x="334" y="662"/>
                </a:lnTo>
                <a:lnTo>
                  <a:pt x="334" y="662"/>
                </a:lnTo>
                <a:lnTo>
                  <a:pt x="339" y="676"/>
                </a:lnTo>
                <a:lnTo>
                  <a:pt x="340" y="682"/>
                </a:lnTo>
                <a:lnTo>
                  <a:pt x="340" y="686"/>
                </a:lnTo>
                <a:lnTo>
                  <a:pt x="340" y="690"/>
                </a:lnTo>
                <a:lnTo>
                  <a:pt x="338" y="694"/>
                </a:lnTo>
                <a:lnTo>
                  <a:pt x="336" y="698"/>
                </a:lnTo>
                <a:lnTo>
                  <a:pt x="331" y="702"/>
                </a:lnTo>
                <a:lnTo>
                  <a:pt x="331" y="724"/>
                </a:lnTo>
                <a:lnTo>
                  <a:pt x="331" y="724"/>
                </a:lnTo>
                <a:lnTo>
                  <a:pt x="337" y="721"/>
                </a:lnTo>
                <a:lnTo>
                  <a:pt x="341" y="716"/>
                </a:lnTo>
                <a:lnTo>
                  <a:pt x="345" y="712"/>
                </a:lnTo>
                <a:lnTo>
                  <a:pt x="348" y="706"/>
                </a:lnTo>
                <a:lnTo>
                  <a:pt x="350" y="700"/>
                </a:lnTo>
                <a:lnTo>
                  <a:pt x="355" y="695"/>
                </a:lnTo>
                <a:lnTo>
                  <a:pt x="361" y="691"/>
                </a:lnTo>
                <a:lnTo>
                  <a:pt x="368" y="687"/>
                </a:lnTo>
                <a:lnTo>
                  <a:pt x="368" y="702"/>
                </a:lnTo>
                <a:lnTo>
                  <a:pt x="368" y="702"/>
                </a:lnTo>
                <a:lnTo>
                  <a:pt x="359" y="720"/>
                </a:lnTo>
                <a:lnTo>
                  <a:pt x="353" y="732"/>
                </a:lnTo>
                <a:lnTo>
                  <a:pt x="349" y="746"/>
                </a:lnTo>
                <a:lnTo>
                  <a:pt x="349" y="746"/>
                </a:lnTo>
                <a:lnTo>
                  <a:pt x="355" y="749"/>
                </a:lnTo>
                <a:lnTo>
                  <a:pt x="357" y="751"/>
                </a:lnTo>
                <a:lnTo>
                  <a:pt x="363" y="748"/>
                </a:lnTo>
                <a:lnTo>
                  <a:pt x="375" y="746"/>
                </a:lnTo>
                <a:lnTo>
                  <a:pt x="375" y="746"/>
                </a:lnTo>
                <a:lnTo>
                  <a:pt x="375" y="753"/>
                </a:lnTo>
                <a:lnTo>
                  <a:pt x="376" y="758"/>
                </a:lnTo>
                <a:lnTo>
                  <a:pt x="377" y="759"/>
                </a:lnTo>
                <a:lnTo>
                  <a:pt x="379" y="760"/>
                </a:lnTo>
                <a:lnTo>
                  <a:pt x="386" y="760"/>
                </a:lnTo>
                <a:lnTo>
                  <a:pt x="386" y="760"/>
                </a:lnTo>
                <a:lnTo>
                  <a:pt x="392" y="760"/>
                </a:lnTo>
                <a:lnTo>
                  <a:pt x="397" y="758"/>
                </a:lnTo>
                <a:lnTo>
                  <a:pt x="401" y="754"/>
                </a:lnTo>
                <a:lnTo>
                  <a:pt x="403" y="751"/>
                </a:lnTo>
                <a:lnTo>
                  <a:pt x="406" y="745"/>
                </a:lnTo>
                <a:lnTo>
                  <a:pt x="407" y="739"/>
                </a:lnTo>
                <a:lnTo>
                  <a:pt x="408" y="724"/>
                </a:lnTo>
                <a:lnTo>
                  <a:pt x="408" y="724"/>
                </a:lnTo>
                <a:lnTo>
                  <a:pt x="408" y="716"/>
                </a:lnTo>
                <a:lnTo>
                  <a:pt x="406" y="710"/>
                </a:lnTo>
                <a:lnTo>
                  <a:pt x="403" y="705"/>
                </a:lnTo>
                <a:lnTo>
                  <a:pt x="401" y="700"/>
                </a:lnTo>
                <a:lnTo>
                  <a:pt x="395" y="691"/>
                </a:lnTo>
                <a:lnTo>
                  <a:pt x="394" y="687"/>
                </a:lnTo>
                <a:lnTo>
                  <a:pt x="393" y="684"/>
                </a:lnTo>
                <a:lnTo>
                  <a:pt x="393" y="684"/>
                </a:lnTo>
                <a:lnTo>
                  <a:pt x="395" y="676"/>
                </a:lnTo>
                <a:lnTo>
                  <a:pt x="400" y="665"/>
                </a:lnTo>
                <a:lnTo>
                  <a:pt x="406" y="657"/>
                </a:lnTo>
                <a:lnTo>
                  <a:pt x="409" y="655"/>
                </a:lnTo>
                <a:lnTo>
                  <a:pt x="411" y="654"/>
                </a:lnTo>
                <a:lnTo>
                  <a:pt x="411" y="654"/>
                </a:lnTo>
                <a:lnTo>
                  <a:pt x="415" y="654"/>
                </a:lnTo>
                <a:lnTo>
                  <a:pt x="418" y="656"/>
                </a:lnTo>
                <a:lnTo>
                  <a:pt x="424" y="661"/>
                </a:lnTo>
                <a:lnTo>
                  <a:pt x="430" y="669"/>
                </a:lnTo>
                <a:lnTo>
                  <a:pt x="434" y="678"/>
                </a:lnTo>
                <a:lnTo>
                  <a:pt x="439" y="689"/>
                </a:lnTo>
                <a:lnTo>
                  <a:pt x="443" y="699"/>
                </a:lnTo>
                <a:lnTo>
                  <a:pt x="444" y="709"/>
                </a:lnTo>
                <a:lnTo>
                  <a:pt x="445" y="717"/>
                </a:lnTo>
                <a:lnTo>
                  <a:pt x="445" y="717"/>
                </a:lnTo>
                <a:lnTo>
                  <a:pt x="444" y="724"/>
                </a:lnTo>
                <a:lnTo>
                  <a:pt x="443" y="731"/>
                </a:lnTo>
                <a:lnTo>
                  <a:pt x="440" y="738"/>
                </a:lnTo>
                <a:lnTo>
                  <a:pt x="437" y="744"/>
                </a:lnTo>
                <a:lnTo>
                  <a:pt x="432" y="749"/>
                </a:lnTo>
                <a:lnTo>
                  <a:pt x="428" y="754"/>
                </a:lnTo>
                <a:lnTo>
                  <a:pt x="417" y="763"/>
                </a:lnTo>
                <a:lnTo>
                  <a:pt x="407" y="771"/>
                </a:lnTo>
                <a:lnTo>
                  <a:pt x="397" y="781"/>
                </a:lnTo>
                <a:lnTo>
                  <a:pt x="388" y="790"/>
                </a:lnTo>
                <a:lnTo>
                  <a:pt x="385" y="796"/>
                </a:lnTo>
                <a:lnTo>
                  <a:pt x="383" y="801"/>
                </a:lnTo>
                <a:lnTo>
                  <a:pt x="383" y="801"/>
                </a:lnTo>
                <a:lnTo>
                  <a:pt x="378" y="821"/>
                </a:lnTo>
                <a:lnTo>
                  <a:pt x="372" y="835"/>
                </a:lnTo>
                <a:lnTo>
                  <a:pt x="370" y="839"/>
                </a:lnTo>
                <a:lnTo>
                  <a:pt x="369" y="842"/>
                </a:lnTo>
                <a:lnTo>
                  <a:pt x="368" y="842"/>
                </a:lnTo>
                <a:lnTo>
                  <a:pt x="368" y="842"/>
                </a:lnTo>
                <a:lnTo>
                  <a:pt x="364" y="842"/>
                </a:lnTo>
                <a:lnTo>
                  <a:pt x="361" y="843"/>
                </a:lnTo>
                <a:lnTo>
                  <a:pt x="359" y="845"/>
                </a:lnTo>
                <a:lnTo>
                  <a:pt x="356" y="847"/>
                </a:lnTo>
                <a:lnTo>
                  <a:pt x="353" y="853"/>
                </a:lnTo>
                <a:lnTo>
                  <a:pt x="350" y="861"/>
                </a:lnTo>
                <a:lnTo>
                  <a:pt x="347" y="881"/>
                </a:lnTo>
                <a:lnTo>
                  <a:pt x="344" y="901"/>
                </a:lnTo>
                <a:lnTo>
                  <a:pt x="344" y="901"/>
                </a:lnTo>
                <a:lnTo>
                  <a:pt x="374" y="901"/>
                </a:lnTo>
                <a:lnTo>
                  <a:pt x="388" y="903"/>
                </a:lnTo>
                <a:lnTo>
                  <a:pt x="397" y="905"/>
                </a:lnTo>
                <a:lnTo>
                  <a:pt x="403" y="907"/>
                </a:lnTo>
                <a:lnTo>
                  <a:pt x="403" y="907"/>
                </a:lnTo>
                <a:lnTo>
                  <a:pt x="408" y="912"/>
                </a:lnTo>
                <a:lnTo>
                  <a:pt x="413" y="917"/>
                </a:lnTo>
                <a:lnTo>
                  <a:pt x="421" y="934"/>
                </a:lnTo>
                <a:lnTo>
                  <a:pt x="431" y="949"/>
                </a:lnTo>
                <a:lnTo>
                  <a:pt x="436" y="955"/>
                </a:lnTo>
                <a:lnTo>
                  <a:pt x="441" y="959"/>
                </a:lnTo>
                <a:lnTo>
                  <a:pt x="445" y="962"/>
                </a:lnTo>
                <a:lnTo>
                  <a:pt x="445" y="962"/>
                </a:lnTo>
                <a:lnTo>
                  <a:pt x="462" y="939"/>
                </a:lnTo>
                <a:lnTo>
                  <a:pt x="479" y="915"/>
                </a:lnTo>
                <a:lnTo>
                  <a:pt x="487" y="903"/>
                </a:lnTo>
                <a:lnTo>
                  <a:pt x="494" y="889"/>
                </a:lnTo>
                <a:lnTo>
                  <a:pt x="500" y="873"/>
                </a:lnTo>
                <a:lnTo>
                  <a:pt x="504" y="857"/>
                </a:lnTo>
                <a:lnTo>
                  <a:pt x="504" y="857"/>
                </a:lnTo>
                <a:lnTo>
                  <a:pt x="506" y="850"/>
                </a:lnTo>
                <a:lnTo>
                  <a:pt x="509" y="844"/>
                </a:lnTo>
                <a:lnTo>
                  <a:pt x="514" y="840"/>
                </a:lnTo>
                <a:lnTo>
                  <a:pt x="520" y="837"/>
                </a:lnTo>
                <a:lnTo>
                  <a:pt x="524" y="833"/>
                </a:lnTo>
                <a:lnTo>
                  <a:pt x="529" y="830"/>
                </a:lnTo>
                <a:lnTo>
                  <a:pt x="531" y="824"/>
                </a:lnTo>
                <a:lnTo>
                  <a:pt x="532" y="815"/>
                </a:lnTo>
                <a:lnTo>
                  <a:pt x="532" y="815"/>
                </a:lnTo>
                <a:lnTo>
                  <a:pt x="532" y="809"/>
                </a:lnTo>
                <a:lnTo>
                  <a:pt x="529" y="806"/>
                </a:lnTo>
                <a:lnTo>
                  <a:pt x="525" y="802"/>
                </a:lnTo>
                <a:lnTo>
                  <a:pt x="522" y="800"/>
                </a:lnTo>
                <a:lnTo>
                  <a:pt x="517" y="798"/>
                </a:lnTo>
                <a:lnTo>
                  <a:pt x="514" y="794"/>
                </a:lnTo>
                <a:lnTo>
                  <a:pt x="512" y="790"/>
                </a:lnTo>
                <a:lnTo>
                  <a:pt x="510" y="783"/>
                </a:lnTo>
                <a:lnTo>
                  <a:pt x="510" y="783"/>
                </a:lnTo>
                <a:lnTo>
                  <a:pt x="510" y="771"/>
                </a:lnTo>
                <a:lnTo>
                  <a:pt x="513" y="760"/>
                </a:lnTo>
                <a:lnTo>
                  <a:pt x="514" y="751"/>
                </a:lnTo>
                <a:lnTo>
                  <a:pt x="517" y="741"/>
                </a:lnTo>
                <a:lnTo>
                  <a:pt x="524" y="725"/>
                </a:lnTo>
                <a:lnTo>
                  <a:pt x="532" y="710"/>
                </a:lnTo>
                <a:lnTo>
                  <a:pt x="540" y="695"/>
                </a:lnTo>
                <a:lnTo>
                  <a:pt x="547" y="679"/>
                </a:lnTo>
                <a:lnTo>
                  <a:pt x="551" y="670"/>
                </a:lnTo>
                <a:lnTo>
                  <a:pt x="553" y="660"/>
                </a:lnTo>
                <a:lnTo>
                  <a:pt x="554" y="648"/>
                </a:lnTo>
                <a:lnTo>
                  <a:pt x="554" y="636"/>
                </a:lnTo>
                <a:lnTo>
                  <a:pt x="574" y="636"/>
                </a:lnTo>
                <a:lnTo>
                  <a:pt x="574" y="636"/>
                </a:lnTo>
                <a:lnTo>
                  <a:pt x="583" y="646"/>
                </a:lnTo>
                <a:lnTo>
                  <a:pt x="588" y="652"/>
                </a:lnTo>
                <a:lnTo>
                  <a:pt x="592" y="654"/>
                </a:lnTo>
                <a:lnTo>
                  <a:pt x="592" y="654"/>
                </a:lnTo>
                <a:lnTo>
                  <a:pt x="597" y="654"/>
                </a:lnTo>
                <a:lnTo>
                  <a:pt x="602" y="652"/>
                </a:lnTo>
                <a:lnTo>
                  <a:pt x="612" y="648"/>
                </a:lnTo>
                <a:lnTo>
                  <a:pt x="620" y="641"/>
                </a:lnTo>
                <a:lnTo>
                  <a:pt x="628" y="636"/>
                </a:lnTo>
                <a:lnTo>
                  <a:pt x="628" y="636"/>
                </a:lnTo>
                <a:lnTo>
                  <a:pt x="626" y="621"/>
                </a:lnTo>
                <a:lnTo>
                  <a:pt x="626" y="603"/>
                </a:lnTo>
                <a:lnTo>
                  <a:pt x="626" y="571"/>
                </a:lnTo>
                <a:lnTo>
                  <a:pt x="627" y="541"/>
                </a:lnTo>
                <a:lnTo>
                  <a:pt x="628" y="518"/>
                </a:lnTo>
                <a:lnTo>
                  <a:pt x="628" y="518"/>
                </a:lnTo>
                <a:lnTo>
                  <a:pt x="627" y="502"/>
                </a:lnTo>
                <a:lnTo>
                  <a:pt x="628" y="488"/>
                </a:lnTo>
                <a:lnTo>
                  <a:pt x="630" y="474"/>
                </a:lnTo>
                <a:lnTo>
                  <a:pt x="636" y="461"/>
                </a:lnTo>
                <a:lnTo>
                  <a:pt x="644" y="445"/>
                </a:lnTo>
                <a:lnTo>
                  <a:pt x="653" y="425"/>
                </a:lnTo>
                <a:lnTo>
                  <a:pt x="680" y="374"/>
                </a:lnTo>
                <a:lnTo>
                  <a:pt x="680" y="374"/>
                </a:lnTo>
                <a:lnTo>
                  <a:pt x="698" y="367"/>
                </a:lnTo>
                <a:lnTo>
                  <a:pt x="713" y="359"/>
                </a:lnTo>
                <a:lnTo>
                  <a:pt x="726" y="350"/>
                </a:lnTo>
                <a:lnTo>
                  <a:pt x="736" y="342"/>
                </a:lnTo>
                <a:lnTo>
                  <a:pt x="744" y="332"/>
                </a:lnTo>
                <a:lnTo>
                  <a:pt x="750" y="321"/>
                </a:lnTo>
                <a:lnTo>
                  <a:pt x="754" y="311"/>
                </a:lnTo>
                <a:lnTo>
                  <a:pt x="758" y="300"/>
                </a:lnTo>
                <a:lnTo>
                  <a:pt x="760" y="287"/>
                </a:lnTo>
                <a:lnTo>
                  <a:pt x="761" y="273"/>
                </a:lnTo>
                <a:lnTo>
                  <a:pt x="760" y="242"/>
                </a:lnTo>
                <a:lnTo>
                  <a:pt x="759" y="206"/>
                </a:lnTo>
                <a:lnTo>
                  <a:pt x="757" y="165"/>
                </a:lnTo>
                <a:lnTo>
                  <a:pt x="757" y="165"/>
                </a:lnTo>
                <a:close/>
              </a:path>
            </a:pathLst>
          </a:custGeom>
          <a:solidFill>
            <a:srgbClr val="0047AB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 fontAlgn="auto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46" name="Скругленный прямоугольник 145"/>
          <p:cNvSpPr/>
          <p:nvPr/>
        </p:nvSpPr>
        <p:spPr>
          <a:xfrm>
            <a:off x="1619672" y="3573016"/>
            <a:ext cx="1151294" cy="442674"/>
          </a:xfrm>
          <a:prstGeom prst="roundRect">
            <a:avLst/>
          </a:prstGeom>
          <a:ln w="3175">
            <a:noFill/>
          </a:ln>
        </p:spPr>
        <p:txBody>
          <a:bodyPr wrap="none">
            <a:spAutoFit/>
          </a:bodyPr>
          <a:lstStyle/>
          <a:p>
            <a:pPr>
              <a:spcAft>
                <a:spcPct val="260000"/>
              </a:spcAft>
              <a:defRPr/>
            </a:pPr>
            <a:r>
              <a:rPr lang="ru-RU" sz="2000" b="1" dirty="0">
                <a:ln w="3175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C00000"/>
                </a:solidFill>
              </a:rPr>
              <a:t>Москва</a:t>
            </a:r>
          </a:p>
        </p:txBody>
      </p:sp>
      <p:sp>
        <p:nvSpPr>
          <p:cNvPr id="147" name="Солнце 146"/>
          <p:cNvSpPr/>
          <p:nvPr/>
        </p:nvSpPr>
        <p:spPr>
          <a:xfrm>
            <a:off x="1259632" y="3761656"/>
            <a:ext cx="216000" cy="216000"/>
          </a:xfrm>
          <a:prstGeom prst="sun">
            <a:avLst/>
          </a:prstGeom>
          <a:solidFill>
            <a:srgbClr val="FFC000"/>
          </a:solidFill>
          <a:ln w="9525">
            <a:noFill/>
          </a:ln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  <a:scene3d>
            <a:camera prst="orthographicFront"/>
            <a:lightRig rig="flat" dir="t">
              <a:rot lat="0" lon="0" rev="18900000"/>
            </a:lightRig>
          </a:scene3d>
          <a:sp3d>
            <a:bevelT w="57150" h="381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2" name="Freeform 80"/>
          <p:cNvSpPr>
            <a:spLocks/>
          </p:cNvSpPr>
          <p:nvPr/>
        </p:nvSpPr>
        <p:spPr bwMode="auto">
          <a:xfrm>
            <a:off x="995363" y="4289425"/>
            <a:ext cx="236537" cy="247650"/>
          </a:xfrm>
          <a:custGeom>
            <a:avLst/>
            <a:gdLst/>
            <a:ahLst/>
            <a:cxnLst>
              <a:cxn ang="0">
                <a:pos x="116" y="9"/>
              </a:cxn>
              <a:cxn ang="0">
                <a:pos x="131" y="33"/>
              </a:cxn>
              <a:cxn ang="0">
                <a:pos x="148" y="44"/>
              </a:cxn>
              <a:cxn ang="0">
                <a:pos x="173" y="44"/>
              </a:cxn>
              <a:cxn ang="0">
                <a:pos x="174" y="31"/>
              </a:cxn>
              <a:cxn ang="0">
                <a:pos x="181" y="17"/>
              </a:cxn>
              <a:cxn ang="0">
                <a:pos x="192" y="10"/>
              </a:cxn>
              <a:cxn ang="0">
                <a:pos x="235" y="7"/>
              </a:cxn>
              <a:cxn ang="0">
                <a:pos x="228" y="29"/>
              </a:cxn>
              <a:cxn ang="0">
                <a:pos x="228" y="42"/>
              </a:cxn>
              <a:cxn ang="0">
                <a:pos x="234" y="53"/>
              </a:cxn>
              <a:cxn ang="0">
                <a:pos x="245" y="59"/>
              </a:cxn>
              <a:cxn ang="0">
                <a:pos x="275" y="59"/>
              </a:cxn>
              <a:cxn ang="0">
                <a:pos x="281" y="60"/>
              </a:cxn>
              <a:cxn ang="0">
                <a:pos x="288" y="69"/>
              </a:cxn>
              <a:cxn ang="0">
                <a:pos x="289" y="101"/>
              </a:cxn>
              <a:cxn ang="0">
                <a:pos x="268" y="124"/>
              </a:cxn>
              <a:cxn ang="0">
                <a:pos x="233" y="153"/>
              </a:cxn>
              <a:cxn ang="0">
                <a:pos x="219" y="174"/>
              </a:cxn>
              <a:cxn ang="0">
                <a:pos x="217" y="183"/>
              </a:cxn>
              <a:cxn ang="0">
                <a:pos x="217" y="256"/>
              </a:cxn>
              <a:cxn ang="0">
                <a:pos x="209" y="275"/>
              </a:cxn>
              <a:cxn ang="0">
                <a:pos x="183" y="283"/>
              </a:cxn>
              <a:cxn ang="0">
                <a:pos x="162" y="279"/>
              </a:cxn>
              <a:cxn ang="0">
                <a:pos x="133" y="260"/>
              </a:cxn>
              <a:cxn ang="0">
                <a:pos x="114" y="235"/>
              </a:cxn>
              <a:cxn ang="0">
                <a:pos x="112" y="220"/>
              </a:cxn>
              <a:cxn ang="0">
                <a:pos x="112" y="199"/>
              </a:cxn>
              <a:cxn ang="0">
                <a:pos x="99" y="191"/>
              </a:cxn>
              <a:cxn ang="0">
                <a:pos x="77" y="170"/>
              </a:cxn>
              <a:cxn ang="0">
                <a:pos x="62" y="157"/>
              </a:cxn>
              <a:cxn ang="0">
                <a:pos x="40" y="153"/>
              </a:cxn>
              <a:cxn ang="0">
                <a:pos x="16" y="150"/>
              </a:cxn>
              <a:cxn ang="0">
                <a:pos x="7" y="143"/>
              </a:cxn>
              <a:cxn ang="0">
                <a:pos x="0" y="127"/>
              </a:cxn>
              <a:cxn ang="0">
                <a:pos x="1" y="112"/>
              </a:cxn>
              <a:cxn ang="0">
                <a:pos x="9" y="100"/>
              </a:cxn>
              <a:cxn ang="0">
                <a:pos x="30" y="97"/>
              </a:cxn>
              <a:cxn ang="0">
                <a:pos x="51" y="92"/>
              </a:cxn>
              <a:cxn ang="0">
                <a:pos x="61" y="81"/>
              </a:cxn>
              <a:cxn ang="0">
                <a:pos x="66" y="60"/>
              </a:cxn>
              <a:cxn ang="0">
                <a:pos x="80" y="30"/>
              </a:cxn>
              <a:cxn ang="0">
                <a:pos x="106" y="0"/>
              </a:cxn>
              <a:cxn ang="0">
                <a:pos x="114" y="4"/>
              </a:cxn>
            </a:cxnLst>
            <a:rect l="0" t="0" r="r" b="b"/>
            <a:pathLst>
              <a:path w="290" h="283">
                <a:moveTo>
                  <a:pt x="114" y="4"/>
                </a:moveTo>
                <a:lnTo>
                  <a:pt x="114" y="4"/>
                </a:lnTo>
                <a:lnTo>
                  <a:pt x="116" y="9"/>
                </a:lnTo>
                <a:lnTo>
                  <a:pt x="119" y="15"/>
                </a:lnTo>
                <a:lnTo>
                  <a:pt x="127" y="28"/>
                </a:lnTo>
                <a:lnTo>
                  <a:pt x="131" y="33"/>
                </a:lnTo>
                <a:lnTo>
                  <a:pt x="136" y="38"/>
                </a:lnTo>
                <a:lnTo>
                  <a:pt x="142" y="42"/>
                </a:lnTo>
                <a:lnTo>
                  <a:pt x="148" y="44"/>
                </a:lnTo>
                <a:lnTo>
                  <a:pt x="148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44"/>
                </a:lnTo>
                <a:lnTo>
                  <a:pt x="173" y="37"/>
                </a:lnTo>
                <a:lnTo>
                  <a:pt x="174" y="31"/>
                </a:lnTo>
                <a:lnTo>
                  <a:pt x="176" y="25"/>
                </a:lnTo>
                <a:lnTo>
                  <a:pt x="179" y="21"/>
                </a:lnTo>
                <a:lnTo>
                  <a:pt x="181" y="17"/>
                </a:lnTo>
                <a:lnTo>
                  <a:pt x="184" y="14"/>
                </a:lnTo>
                <a:lnTo>
                  <a:pt x="189" y="12"/>
                </a:lnTo>
                <a:lnTo>
                  <a:pt x="192" y="10"/>
                </a:lnTo>
                <a:lnTo>
                  <a:pt x="203" y="8"/>
                </a:lnTo>
                <a:lnTo>
                  <a:pt x="213" y="7"/>
                </a:lnTo>
                <a:lnTo>
                  <a:pt x="235" y="7"/>
                </a:lnTo>
                <a:lnTo>
                  <a:pt x="235" y="7"/>
                </a:lnTo>
                <a:lnTo>
                  <a:pt x="230" y="22"/>
                </a:lnTo>
                <a:lnTo>
                  <a:pt x="228" y="29"/>
                </a:lnTo>
                <a:lnTo>
                  <a:pt x="228" y="37"/>
                </a:lnTo>
                <a:lnTo>
                  <a:pt x="228" y="37"/>
                </a:lnTo>
                <a:lnTo>
                  <a:pt x="228" y="42"/>
                </a:lnTo>
                <a:lnTo>
                  <a:pt x="229" y="46"/>
                </a:lnTo>
                <a:lnTo>
                  <a:pt x="232" y="50"/>
                </a:lnTo>
                <a:lnTo>
                  <a:pt x="234" y="53"/>
                </a:lnTo>
                <a:lnTo>
                  <a:pt x="236" y="55"/>
                </a:lnTo>
                <a:lnTo>
                  <a:pt x="241" y="58"/>
                </a:lnTo>
                <a:lnTo>
                  <a:pt x="245" y="59"/>
                </a:lnTo>
                <a:lnTo>
                  <a:pt x="250" y="59"/>
                </a:lnTo>
                <a:lnTo>
                  <a:pt x="250" y="59"/>
                </a:lnTo>
                <a:lnTo>
                  <a:pt x="275" y="59"/>
                </a:lnTo>
                <a:lnTo>
                  <a:pt x="275" y="59"/>
                </a:lnTo>
                <a:lnTo>
                  <a:pt x="279" y="59"/>
                </a:lnTo>
                <a:lnTo>
                  <a:pt x="281" y="60"/>
                </a:lnTo>
                <a:lnTo>
                  <a:pt x="283" y="61"/>
                </a:lnTo>
                <a:lnTo>
                  <a:pt x="286" y="63"/>
                </a:lnTo>
                <a:lnTo>
                  <a:pt x="288" y="69"/>
                </a:lnTo>
                <a:lnTo>
                  <a:pt x="289" y="76"/>
                </a:lnTo>
                <a:lnTo>
                  <a:pt x="289" y="92"/>
                </a:lnTo>
                <a:lnTo>
                  <a:pt x="289" y="101"/>
                </a:lnTo>
                <a:lnTo>
                  <a:pt x="290" y="109"/>
                </a:lnTo>
                <a:lnTo>
                  <a:pt x="290" y="109"/>
                </a:lnTo>
                <a:lnTo>
                  <a:pt x="268" y="124"/>
                </a:lnTo>
                <a:lnTo>
                  <a:pt x="256" y="132"/>
                </a:lnTo>
                <a:lnTo>
                  <a:pt x="244" y="143"/>
                </a:lnTo>
                <a:lnTo>
                  <a:pt x="233" y="153"/>
                </a:lnTo>
                <a:lnTo>
                  <a:pt x="225" y="163"/>
                </a:lnTo>
                <a:lnTo>
                  <a:pt x="221" y="168"/>
                </a:lnTo>
                <a:lnTo>
                  <a:pt x="219" y="174"/>
                </a:lnTo>
                <a:lnTo>
                  <a:pt x="217" y="178"/>
                </a:lnTo>
                <a:lnTo>
                  <a:pt x="217" y="183"/>
                </a:lnTo>
                <a:lnTo>
                  <a:pt x="217" y="183"/>
                </a:lnTo>
                <a:lnTo>
                  <a:pt x="217" y="235"/>
                </a:lnTo>
                <a:lnTo>
                  <a:pt x="217" y="235"/>
                </a:lnTo>
                <a:lnTo>
                  <a:pt x="217" y="256"/>
                </a:lnTo>
                <a:lnTo>
                  <a:pt x="214" y="264"/>
                </a:lnTo>
                <a:lnTo>
                  <a:pt x="212" y="271"/>
                </a:lnTo>
                <a:lnTo>
                  <a:pt x="209" y="275"/>
                </a:lnTo>
                <a:lnTo>
                  <a:pt x="203" y="280"/>
                </a:lnTo>
                <a:lnTo>
                  <a:pt x="195" y="282"/>
                </a:lnTo>
                <a:lnTo>
                  <a:pt x="183" y="283"/>
                </a:lnTo>
                <a:lnTo>
                  <a:pt x="183" y="283"/>
                </a:lnTo>
                <a:lnTo>
                  <a:pt x="174" y="282"/>
                </a:lnTo>
                <a:lnTo>
                  <a:pt x="162" y="279"/>
                </a:lnTo>
                <a:lnTo>
                  <a:pt x="152" y="274"/>
                </a:lnTo>
                <a:lnTo>
                  <a:pt x="142" y="267"/>
                </a:lnTo>
                <a:lnTo>
                  <a:pt x="133" y="260"/>
                </a:lnTo>
                <a:lnTo>
                  <a:pt x="125" y="252"/>
                </a:lnTo>
                <a:lnTo>
                  <a:pt x="119" y="243"/>
                </a:lnTo>
                <a:lnTo>
                  <a:pt x="114" y="235"/>
                </a:lnTo>
                <a:lnTo>
                  <a:pt x="114" y="235"/>
                </a:lnTo>
                <a:lnTo>
                  <a:pt x="113" y="227"/>
                </a:lnTo>
                <a:lnTo>
                  <a:pt x="112" y="220"/>
                </a:lnTo>
                <a:lnTo>
                  <a:pt x="113" y="208"/>
                </a:lnTo>
                <a:lnTo>
                  <a:pt x="113" y="204"/>
                </a:lnTo>
                <a:lnTo>
                  <a:pt x="112" y="199"/>
                </a:lnTo>
                <a:lnTo>
                  <a:pt x="107" y="195"/>
                </a:lnTo>
                <a:lnTo>
                  <a:pt x="99" y="191"/>
                </a:lnTo>
                <a:lnTo>
                  <a:pt x="99" y="191"/>
                </a:lnTo>
                <a:lnTo>
                  <a:pt x="93" y="188"/>
                </a:lnTo>
                <a:lnTo>
                  <a:pt x="88" y="183"/>
                </a:lnTo>
                <a:lnTo>
                  <a:pt x="77" y="170"/>
                </a:lnTo>
                <a:lnTo>
                  <a:pt x="73" y="165"/>
                </a:lnTo>
                <a:lnTo>
                  <a:pt x="67" y="160"/>
                </a:lnTo>
                <a:lnTo>
                  <a:pt x="62" y="157"/>
                </a:lnTo>
                <a:lnTo>
                  <a:pt x="55" y="154"/>
                </a:lnTo>
                <a:lnTo>
                  <a:pt x="55" y="154"/>
                </a:lnTo>
                <a:lnTo>
                  <a:pt x="40" y="153"/>
                </a:lnTo>
                <a:lnTo>
                  <a:pt x="27" y="152"/>
                </a:lnTo>
                <a:lnTo>
                  <a:pt x="22" y="152"/>
                </a:lnTo>
                <a:lnTo>
                  <a:pt x="16" y="150"/>
                </a:lnTo>
                <a:lnTo>
                  <a:pt x="12" y="147"/>
                </a:lnTo>
                <a:lnTo>
                  <a:pt x="7" y="143"/>
                </a:lnTo>
                <a:lnTo>
                  <a:pt x="7" y="143"/>
                </a:lnTo>
                <a:lnTo>
                  <a:pt x="4" y="137"/>
                </a:lnTo>
                <a:lnTo>
                  <a:pt x="1" y="131"/>
                </a:lnTo>
                <a:lnTo>
                  <a:pt x="0" y="127"/>
                </a:lnTo>
                <a:lnTo>
                  <a:pt x="0" y="117"/>
                </a:lnTo>
                <a:lnTo>
                  <a:pt x="0" y="117"/>
                </a:lnTo>
                <a:lnTo>
                  <a:pt x="1" y="112"/>
                </a:lnTo>
                <a:lnTo>
                  <a:pt x="3" y="107"/>
                </a:lnTo>
                <a:lnTo>
                  <a:pt x="6" y="104"/>
                </a:lnTo>
                <a:lnTo>
                  <a:pt x="9" y="100"/>
                </a:lnTo>
                <a:lnTo>
                  <a:pt x="14" y="99"/>
                </a:lnTo>
                <a:lnTo>
                  <a:pt x="19" y="98"/>
                </a:lnTo>
                <a:lnTo>
                  <a:pt x="30" y="97"/>
                </a:lnTo>
                <a:lnTo>
                  <a:pt x="42" y="96"/>
                </a:lnTo>
                <a:lnTo>
                  <a:pt x="46" y="94"/>
                </a:lnTo>
                <a:lnTo>
                  <a:pt x="51" y="92"/>
                </a:lnTo>
                <a:lnTo>
                  <a:pt x="55" y="90"/>
                </a:lnTo>
                <a:lnTo>
                  <a:pt x="59" y="85"/>
                </a:lnTo>
                <a:lnTo>
                  <a:pt x="61" y="81"/>
                </a:lnTo>
                <a:lnTo>
                  <a:pt x="62" y="74"/>
                </a:lnTo>
                <a:lnTo>
                  <a:pt x="62" y="74"/>
                </a:lnTo>
                <a:lnTo>
                  <a:pt x="66" y="60"/>
                </a:lnTo>
                <a:lnTo>
                  <a:pt x="69" y="48"/>
                </a:lnTo>
                <a:lnTo>
                  <a:pt x="74" y="39"/>
                </a:lnTo>
                <a:lnTo>
                  <a:pt x="80" y="30"/>
                </a:lnTo>
                <a:lnTo>
                  <a:pt x="85" y="22"/>
                </a:lnTo>
                <a:lnTo>
                  <a:pt x="91" y="14"/>
                </a:lnTo>
                <a:lnTo>
                  <a:pt x="106" y="0"/>
                </a:lnTo>
                <a:lnTo>
                  <a:pt x="106" y="0"/>
                </a:lnTo>
                <a:lnTo>
                  <a:pt x="114" y="4"/>
                </a:lnTo>
                <a:lnTo>
                  <a:pt x="114" y="4"/>
                </a:lnTo>
                <a:close/>
              </a:path>
            </a:pathLst>
          </a:custGeom>
          <a:solidFill>
            <a:srgbClr val="FFC0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3" name="Freeform 117"/>
          <p:cNvSpPr>
            <a:spLocks/>
          </p:cNvSpPr>
          <p:nvPr/>
        </p:nvSpPr>
        <p:spPr bwMode="auto">
          <a:xfrm>
            <a:off x="1716088" y="4476750"/>
            <a:ext cx="485775" cy="442913"/>
          </a:xfrm>
          <a:custGeom>
            <a:avLst/>
            <a:gdLst/>
            <a:ahLst/>
            <a:cxnLst>
              <a:cxn ang="0">
                <a:pos x="347" y="19"/>
              </a:cxn>
              <a:cxn ang="0">
                <a:pos x="331" y="5"/>
              </a:cxn>
              <a:cxn ang="0">
                <a:pos x="311" y="14"/>
              </a:cxn>
              <a:cxn ang="0">
                <a:pos x="292" y="7"/>
              </a:cxn>
              <a:cxn ang="0">
                <a:pos x="265" y="2"/>
              </a:cxn>
              <a:cxn ang="0">
                <a:pos x="237" y="19"/>
              </a:cxn>
              <a:cxn ang="0">
                <a:pos x="203" y="20"/>
              </a:cxn>
              <a:cxn ang="0">
                <a:pos x="169" y="27"/>
              </a:cxn>
              <a:cxn ang="0">
                <a:pos x="109" y="67"/>
              </a:cxn>
              <a:cxn ang="0">
                <a:pos x="107" y="103"/>
              </a:cxn>
              <a:cxn ang="0">
                <a:pos x="94" y="120"/>
              </a:cxn>
              <a:cxn ang="0">
                <a:pos x="68" y="125"/>
              </a:cxn>
              <a:cxn ang="0">
                <a:pos x="40" y="103"/>
              </a:cxn>
              <a:cxn ang="0">
                <a:pos x="9" y="120"/>
              </a:cxn>
              <a:cxn ang="0">
                <a:pos x="18" y="147"/>
              </a:cxn>
              <a:cxn ang="0">
                <a:pos x="48" y="152"/>
              </a:cxn>
              <a:cxn ang="0">
                <a:pos x="85" y="155"/>
              </a:cxn>
              <a:cxn ang="0">
                <a:pos x="104" y="195"/>
              </a:cxn>
              <a:cxn ang="0">
                <a:pos x="120" y="203"/>
              </a:cxn>
              <a:cxn ang="0">
                <a:pos x="172" y="200"/>
              </a:cxn>
              <a:cxn ang="0">
                <a:pos x="179" y="228"/>
              </a:cxn>
              <a:cxn ang="0">
                <a:pos x="198" y="282"/>
              </a:cxn>
              <a:cxn ang="0">
                <a:pos x="237" y="326"/>
              </a:cxn>
              <a:cxn ang="0">
                <a:pos x="271" y="333"/>
              </a:cxn>
              <a:cxn ang="0">
                <a:pos x="290" y="318"/>
              </a:cxn>
              <a:cxn ang="0">
                <a:pos x="332" y="365"/>
              </a:cxn>
              <a:cxn ang="0">
                <a:pos x="367" y="412"/>
              </a:cxn>
              <a:cxn ang="0">
                <a:pos x="398" y="432"/>
              </a:cxn>
              <a:cxn ang="0">
                <a:pos x="393" y="450"/>
              </a:cxn>
              <a:cxn ang="0">
                <a:pos x="386" y="473"/>
              </a:cxn>
              <a:cxn ang="0">
                <a:pos x="407" y="501"/>
              </a:cxn>
              <a:cxn ang="0">
                <a:pos x="422" y="476"/>
              </a:cxn>
              <a:cxn ang="0">
                <a:pos x="442" y="449"/>
              </a:cxn>
              <a:cxn ang="0">
                <a:pos x="488" y="407"/>
              </a:cxn>
              <a:cxn ang="0">
                <a:pos x="492" y="380"/>
              </a:cxn>
              <a:cxn ang="0">
                <a:pos x="477" y="346"/>
              </a:cxn>
              <a:cxn ang="0">
                <a:pos x="549" y="339"/>
              </a:cxn>
              <a:cxn ang="0">
                <a:pos x="591" y="319"/>
              </a:cxn>
              <a:cxn ang="0">
                <a:pos x="591" y="295"/>
              </a:cxn>
              <a:cxn ang="0">
                <a:pos x="573" y="264"/>
              </a:cxn>
              <a:cxn ang="0">
                <a:pos x="555" y="258"/>
              </a:cxn>
              <a:cxn ang="0">
                <a:pos x="547" y="240"/>
              </a:cxn>
              <a:cxn ang="0">
                <a:pos x="577" y="223"/>
              </a:cxn>
              <a:cxn ang="0">
                <a:pos x="547" y="210"/>
              </a:cxn>
              <a:cxn ang="0">
                <a:pos x="558" y="185"/>
              </a:cxn>
              <a:cxn ang="0">
                <a:pos x="544" y="155"/>
              </a:cxn>
              <a:cxn ang="0">
                <a:pos x="522" y="170"/>
              </a:cxn>
              <a:cxn ang="0">
                <a:pos x="529" y="191"/>
              </a:cxn>
              <a:cxn ang="0">
                <a:pos x="499" y="196"/>
              </a:cxn>
              <a:cxn ang="0">
                <a:pos x="462" y="191"/>
              </a:cxn>
              <a:cxn ang="0">
                <a:pos x="428" y="174"/>
              </a:cxn>
              <a:cxn ang="0">
                <a:pos x="423" y="156"/>
              </a:cxn>
              <a:cxn ang="0">
                <a:pos x="424" y="145"/>
              </a:cxn>
              <a:cxn ang="0">
                <a:pos x="389" y="95"/>
              </a:cxn>
              <a:cxn ang="0">
                <a:pos x="367" y="29"/>
              </a:cxn>
            </a:cxnLst>
            <a:rect l="0" t="0" r="r" b="b"/>
            <a:pathLst>
              <a:path w="595" h="508">
                <a:moveTo>
                  <a:pt x="367" y="22"/>
                </a:moveTo>
                <a:lnTo>
                  <a:pt x="353" y="22"/>
                </a:lnTo>
                <a:lnTo>
                  <a:pt x="353" y="22"/>
                </a:lnTo>
                <a:lnTo>
                  <a:pt x="353" y="22"/>
                </a:lnTo>
                <a:lnTo>
                  <a:pt x="347" y="19"/>
                </a:lnTo>
                <a:lnTo>
                  <a:pt x="341" y="12"/>
                </a:lnTo>
                <a:lnTo>
                  <a:pt x="336" y="7"/>
                </a:lnTo>
                <a:lnTo>
                  <a:pt x="333" y="5"/>
                </a:lnTo>
                <a:lnTo>
                  <a:pt x="331" y="5"/>
                </a:lnTo>
                <a:lnTo>
                  <a:pt x="331" y="5"/>
                </a:lnTo>
                <a:lnTo>
                  <a:pt x="326" y="5"/>
                </a:lnTo>
                <a:lnTo>
                  <a:pt x="324" y="6"/>
                </a:lnTo>
                <a:lnTo>
                  <a:pt x="320" y="10"/>
                </a:lnTo>
                <a:lnTo>
                  <a:pt x="315" y="13"/>
                </a:lnTo>
                <a:lnTo>
                  <a:pt x="311" y="14"/>
                </a:lnTo>
                <a:lnTo>
                  <a:pt x="308" y="15"/>
                </a:lnTo>
                <a:lnTo>
                  <a:pt x="308" y="15"/>
                </a:lnTo>
                <a:lnTo>
                  <a:pt x="305" y="14"/>
                </a:lnTo>
                <a:lnTo>
                  <a:pt x="300" y="13"/>
                </a:lnTo>
                <a:lnTo>
                  <a:pt x="292" y="7"/>
                </a:lnTo>
                <a:lnTo>
                  <a:pt x="283" y="3"/>
                </a:lnTo>
                <a:lnTo>
                  <a:pt x="277" y="0"/>
                </a:lnTo>
                <a:lnTo>
                  <a:pt x="272" y="0"/>
                </a:lnTo>
                <a:lnTo>
                  <a:pt x="272" y="0"/>
                </a:lnTo>
                <a:lnTo>
                  <a:pt x="265" y="2"/>
                </a:lnTo>
                <a:lnTo>
                  <a:pt x="259" y="4"/>
                </a:lnTo>
                <a:lnTo>
                  <a:pt x="253" y="7"/>
                </a:lnTo>
                <a:lnTo>
                  <a:pt x="248" y="12"/>
                </a:lnTo>
                <a:lnTo>
                  <a:pt x="242" y="15"/>
                </a:lnTo>
                <a:lnTo>
                  <a:pt x="237" y="19"/>
                </a:lnTo>
                <a:lnTo>
                  <a:pt x="230" y="21"/>
                </a:lnTo>
                <a:lnTo>
                  <a:pt x="224" y="22"/>
                </a:lnTo>
                <a:lnTo>
                  <a:pt x="224" y="22"/>
                </a:lnTo>
                <a:lnTo>
                  <a:pt x="211" y="22"/>
                </a:lnTo>
                <a:lnTo>
                  <a:pt x="203" y="20"/>
                </a:lnTo>
                <a:lnTo>
                  <a:pt x="196" y="18"/>
                </a:lnTo>
                <a:lnTo>
                  <a:pt x="191" y="15"/>
                </a:lnTo>
                <a:lnTo>
                  <a:pt x="191" y="15"/>
                </a:lnTo>
                <a:lnTo>
                  <a:pt x="180" y="21"/>
                </a:lnTo>
                <a:lnTo>
                  <a:pt x="169" y="27"/>
                </a:lnTo>
                <a:lnTo>
                  <a:pt x="140" y="41"/>
                </a:lnTo>
                <a:lnTo>
                  <a:pt x="127" y="49"/>
                </a:lnTo>
                <a:lnTo>
                  <a:pt x="117" y="58"/>
                </a:lnTo>
                <a:lnTo>
                  <a:pt x="112" y="63"/>
                </a:lnTo>
                <a:lnTo>
                  <a:pt x="109" y="67"/>
                </a:lnTo>
                <a:lnTo>
                  <a:pt x="108" y="73"/>
                </a:lnTo>
                <a:lnTo>
                  <a:pt x="107" y="78"/>
                </a:lnTo>
                <a:lnTo>
                  <a:pt x="107" y="78"/>
                </a:lnTo>
                <a:lnTo>
                  <a:pt x="107" y="103"/>
                </a:lnTo>
                <a:lnTo>
                  <a:pt x="107" y="103"/>
                </a:lnTo>
                <a:lnTo>
                  <a:pt x="107" y="106"/>
                </a:lnTo>
                <a:lnTo>
                  <a:pt x="104" y="110"/>
                </a:lnTo>
                <a:lnTo>
                  <a:pt x="102" y="113"/>
                </a:lnTo>
                <a:lnTo>
                  <a:pt x="99" y="118"/>
                </a:lnTo>
                <a:lnTo>
                  <a:pt x="94" y="120"/>
                </a:lnTo>
                <a:lnTo>
                  <a:pt x="88" y="124"/>
                </a:lnTo>
                <a:lnTo>
                  <a:pt x="81" y="125"/>
                </a:lnTo>
                <a:lnTo>
                  <a:pt x="73" y="126"/>
                </a:lnTo>
                <a:lnTo>
                  <a:pt x="73" y="126"/>
                </a:lnTo>
                <a:lnTo>
                  <a:pt x="68" y="125"/>
                </a:lnTo>
                <a:lnTo>
                  <a:pt x="63" y="122"/>
                </a:lnTo>
                <a:lnTo>
                  <a:pt x="58" y="120"/>
                </a:lnTo>
                <a:lnTo>
                  <a:pt x="54" y="116"/>
                </a:lnTo>
                <a:lnTo>
                  <a:pt x="47" y="109"/>
                </a:lnTo>
                <a:lnTo>
                  <a:pt x="40" y="103"/>
                </a:lnTo>
                <a:lnTo>
                  <a:pt x="40" y="103"/>
                </a:lnTo>
                <a:lnTo>
                  <a:pt x="34" y="107"/>
                </a:lnTo>
                <a:lnTo>
                  <a:pt x="30" y="110"/>
                </a:lnTo>
                <a:lnTo>
                  <a:pt x="18" y="114"/>
                </a:lnTo>
                <a:lnTo>
                  <a:pt x="9" y="120"/>
                </a:lnTo>
                <a:lnTo>
                  <a:pt x="4" y="125"/>
                </a:lnTo>
                <a:lnTo>
                  <a:pt x="0" y="129"/>
                </a:lnTo>
                <a:lnTo>
                  <a:pt x="0" y="129"/>
                </a:lnTo>
                <a:lnTo>
                  <a:pt x="13" y="142"/>
                </a:lnTo>
                <a:lnTo>
                  <a:pt x="18" y="147"/>
                </a:lnTo>
                <a:lnTo>
                  <a:pt x="22" y="148"/>
                </a:lnTo>
                <a:lnTo>
                  <a:pt x="22" y="148"/>
                </a:lnTo>
                <a:lnTo>
                  <a:pt x="32" y="150"/>
                </a:lnTo>
                <a:lnTo>
                  <a:pt x="40" y="152"/>
                </a:lnTo>
                <a:lnTo>
                  <a:pt x="48" y="152"/>
                </a:lnTo>
                <a:lnTo>
                  <a:pt x="56" y="152"/>
                </a:lnTo>
                <a:lnTo>
                  <a:pt x="71" y="152"/>
                </a:lnTo>
                <a:lnTo>
                  <a:pt x="78" y="152"/>
                </a:lnTo>
                <a:lnTo>
                  <a:pt x="85" y="155"/>
                </a:lnTo>
                <a:lnTo>
                  <a:pt x="85" y="155"/>
                </a:lnTo>
                <a:lnTo>
                  <a:pt x="89" y="160"/>
                </a:lnTo>
                <a:lnTo>
                  <a:pt x="92" y="166"/>
                </a:lnTo>
                <a:lnTo>
                  <a:pt x="97" y="181"/>
                </a:lnTo>
                <a:lnTo>
                  <a:pt x="101" y="189"/>
                </a:lnTo>
                <a:lnTo>
                  <a:pt x="104" y="195"/>
                </a:lnTo>
                <a:lnTo>
                  <a:pt x="108" y="198"/>
                </a:lnTo>
                <a:lnTo>
                  <a:pt x="111" y="200"/>
                </a:lnTo>
                <a:lnTo>
                  <a:pt x="116" y="202"/>
                </a:lnTo>
                <a:lnTo>
                  <a:pt x="120" y="203"/>
                </a:lnTo>
                <a:lnTo>
                  <a:pt x="120" y="203"/>
                </a:lnTo>
                <a:lnTo>
                  <a:pt x="133" y="202"/>
                </a:lnTo>
                <a:lnTo>
                  <a:pt x="146" y="201"/>
                </a:lnTo>
                <a:lnTo>
                  <a:pt x="164" y="200"/>
                </a:lnTo>
                <a:lnTo>
                  <a:pt x="164" y="200"/>
                </a:lnTo>
                <a:lnTo>
                  <a:pt x="172" y="200"/>
                </a:lnTo>
                <a:lnTo>
                  <a:pt x="176" y="202"/>
                </a:lnTo>
                <a:lnTo>
                  <a:pt x="178" y="205"/>
                </a:lnTo>
                <a:lnTo>
                  <a:pt x="179" y="211"/>
                </a:lnTo>
                <a:lnTo>
                  <a:pt x="179" y="223"/>
                </a:lnTo>
                <a:lnTo>
                  <a:pt x="179" y="228"/>
                </a:lnTo>
                <a:lnTo>
                  <a:pt x="179" y="235"/>
                </a:lnTo>
                <a:lnTo>
                  <a:pt x="179" y="235"/>
                </a:lnTo>
                <a:lnTo>
                  <a:pt x="184" y="250"/>
                </a:lnTo>
                <a:lnTo>
                  <a:pt x="190" y="266"/>
                </a:lnTo>
                <a:lnTo>
                  <a:pt x="198" y="282"/>
                </a:lnTo>
                <a:lnTo>
                  <a:pt x="207" y="297"/>
                </a:lnTo>
                <a:lnTo>
                  <a:pt x="218" y="311"/>
                </a:lnTo>
                <a:lnTo>
                  <a:pt x="224" y="317"/>
                </a:lnTo>
                <a:lnTo>
                  <a:pt x="231" y="321"/>
                </a:lnTo>
                <a:lnTo>
                  <a:pt x="237" y="326"/>
                </a:lnTo>
                <a:lnTo>
                  <a:pt x="244" y="328"/>
                </a:lnTo>
                <a:lnTo>
                  <a:pt x="251" y="331"/>
                </a:lnTo>
                <a:lnTo>
                  <a:pt x="257" y="332"/>
                </a:lnTo>
                <a:lnTo>
                  <a:pt x="257" y="332"/>
                </a:lnTo>
                <a:lnTo>
                  <a:pt x="271" y="333"/>
                </a:lnTo>
                <a:lnTo>
                  <a:pt x="286" y="335"/>
                </a:lnTo>
                <a:lnTo>
                  <a:pt x="286" y="335"/>
                </a:lnTo>
                <a:lnTo>
                  <a:pt x="287" y="325"/>
                </a:lnTo>
                <a:lnTo>
                  <a:pt x="288" y="321"/>
                </a:lnTo>
                <a:lnTo>
                  <a:pt x="290" y="318"/>
                </a:lnTo>
                <a:lnTo>
                  <a:pt x="293" y="315"/>
                </a:lnTo>
                <a:lnTo>
                  <a:pt x="295" y="312"/>
                </a:lnTo>
                <a:lnTo>
                  <a:pt x="305" y="309"/>
                </a:lnTo>
                <a:lnTo>
                  <a:pt x="305" y="309"/>
                </a:lnTo>
                <a:lnTo>
                  <a:pt x="332" y="365"/>
                </a:lnTo>
                <a:lnTo>
                  <a:pt x="346" y="391"/>
                </a:lnTo>
                <a:lnTo>
                  <a:pt x="353" y="402"/>
                </a:lnTo>
                <a:lnTo>
                  <a:pt x="360" y="412"/>
                </a:lnTo>
                <a:lnTo>
                  <a:pt x="360" y="412"/>
                </a:lnTo>
                <a:lnTo>
                  <a:pt x="367" y="412"/>
                </a:lnTo>
                <a:lnTo>
                  <a:pt x="372" y="415"/>
                </a:lnTo>
                <a:lnTo>
                  <a:pt x="377" y="418"/>
                </a:lnTo>
                <a:lnTo>
                  <a:pt x="382" y="422"/>
                </a:lnTo>
                <a:lnTo>
                  <a:pt x="392" y="428"/>
                </a:lnTo>
                <a:lnTo>
                  <a:pt x="398" y="432"/>
                </a:lnTo>
                <a:lnTo>
                  <a:pt x="405" y="434"/>
                </a:lnTo>
                <a:lnTo>
                  <a:pt x="405" y="434"/>
                </a:lnTo>
                <a:lnTo>
                  <a:pt x="402" y="439"/>
                </a:lnTo>
                <a:lnTo>
                  <a:pt x="399" y="443"/>
                </a:lnTo>
                <a:lnTo>
                  <a:pt x="393" y="450"/>
                </a:lnTo>
                <a:lnTo>
                  <a:pt x="387" y="458"/>
                </a:lnTo>
                <a:lnTo>
                  <a:pt x="386" y="462"/>
                </a:lnTo>
                <a:lnTo>
                  <a:pt x="385" y="468"/>
                </a:lnTo>
                <a:lnTo>
                  <a:pt x="385" y="468"/>
                </a:lnTo>
                <a:lnTo>
                  <a:pt x="386" y="473"/>
                </a:lnTo>
                <a:lnTo>
                  <a:pt x="389" y="480"/>
                </a:lnTo>
                <a:lnTo>
                  <a:pt x="392" y="486"/>
                </a:lnTo>
                <a:lnTo>
                  <a:pt x="397" y="492"/>
                </a:lnTo>
                <a:lnTo>
                  <a:pt x="401" y="496"/>
                </a:lnTo>
                <a:lnTo>
                  <a:pt x="407" y="501"/>
                </a:lnTo>
                <a:lnTo>
                  <a:pt x="419" y="508"/>
                </a:lnTo>
                <a:lnTo>
                  <a:pt x="419" y="508"/>
                </a:lnTo>
                <a:lnTo>
                  <a:pt x="419" y="496"/>
                </a:lnTo>
                <a:lnTo>
                  <a:pt x="420" y="486"/>
                </a:lnTo>
                <a:lnTo>
                  <a:pt x="422" y="476"/>
                </a:lnTo>
                <a:lnTo>
                  <a:pt x="425" y="468"/>
                </a:lnTo>
                <a:lnTo>
                  <a:pt x="425" y="468"/>
                </a:lnTo>
                <a:lnTo>
                  <a:pt x="429" y="463"/>
                </a:lnTo>
                <a:lnTo>
                  <a:pt x="432" y="458"/>
                </a:lnTo>
                <a:lnTo>
                  <a:pt x="442" y="449"/>
                </a:lnTo>
                <a:lnTo>
                  <a:pt x="463" y="432"/>
                </a:lnTo>
                <a:lnTo>
                  <a:pt x="474" y="423"/>
                </a:lnTo>
                <a:lnTo>
                  <a:pt x="479" y="418"/>
                </a:lnTo>
                <a:lnTo>
                  <a:pt x="484" y="412"/>
                </a:lnTo>
                <a:lnTo>
                  <a:pt x="488" y="407"/>
                </a:lnTo>
                <a:lnTo>
                  <a:pt x="490" y="400"/>
                </a:lnTo>
                <a:lnTo>
                  <a:pt x="492" y="393"/>
                </a:lnTo>
                <a:lnTo>
                  <a:pt x="492" y="386"/>
                </a:lnTo>
                <a:lnTo>
                  <a:pt x="492" y="386"/>
                </a:lnTo>
                <a:lnTo>
                  <a:pt x="492" y="380"/>
                </a:lnTo>
                <a:lnTo>
                  <a:pt x="490" y="374"/>
                </a:lnTo>
                <a:lnTo>
                  <a:pt x="485" y="365"/>
                </a:lnTo>
                <a:lnTo>
                  <a:pt x="479" y="356"/>
                </a:lnTo>
                <a:lnTo>
                  <a:pt x="478" y="351"/>
                </a:lnTo>
                <a:lnTo>
                  <a:pt x="477" y="346"/>
                </a:lnTo>
                <a:lnTo>
                  <a:pt x="477" y="346"/>
                </a:lnTo>
                <a:lnTo>
                  <a:pt x="492" y="346"/>
                </a:lnTo>
                <a:lnTo>
                  <a:pt x="509" y="344"/>
                </a:lnTo>
                <a:lnTo>
                  <a:pt x="529" y="342"/>
                </a:lnTo>
                <a:lnTo>
                  <a:pt x="549" y="339"/>
                </a:lnTo>
                <a:lnTo>
                  <a:pt x="566" y="334"/>
                </a:lnTo>
                <a:lnTo>
                  <a:pt x="574" y="331"/>
                </a:lnTo>
                <a:lnTo>
                  <a:pt x="581" y="327"/>
                </a:lnTo>
                <a:lnTo>
                  <a:pt x="587" y="324"/>
                </a:lnTo>
                <a:lnTo>
                  <a:pt x="591" y="319"/>
                </a:lnTo>
                <a:lnTo>
                  <a:pt x="593" y="315"/>
                </a:lnTo>
                <a:lnTo>
                  <a:pt x="595" y="309"/>
                </a:lnTo>
                <a:lnTo>
                  <a:pt x="595" y="309"/>
                </a:lnTo>
                <a:lnTo>
                  <a:pt x="593" y="302"/>
                </a:lnTo>
                <a:lnTo>
                  <a:pt x="591" y="295"/>
                </a:lnTo>
                <a:lnTo>
                  <a:pt x="587" y="290"/>
                </a:lnTo>
                <a:lnTo>
                  <a:pt x="582" y="285"/>
                </a:lnTo>
                <a:lnTo>
                  <a:pt x="578" y="279"/>
                </a:lnTo>
                <a:lnTo>
                  <a:pt x="575" y="272"/>
                </a:lnTo>
                <a:lnTo>
                  <a:pt x="573" y="264"/>
                </a:lnTo>
                <a:lnTo>
                  <a:pt x="573" y="255"/>
                </a:lnTo>
                <a:lnTo>
                  <a:pt x="573" y="255"/>
                </a:lnTo>
                <a:lnTo>
                  <a:pt x="566" y="257"/>
                </a:lnTo>
                <a:lnTo>
                  <a:pt x="561" y="258"/>
                </a:lnTo>
                <a:lnTo>
                  <a:pt x="555" y="258"/>
                </a:lnTo>
                <a:lnTo>
                  <a:pt x="547" y="255"/>
                </a:lnTo>
                <a:lnTo>
                  <a:pt x="547" y="255"/>
                </a:lnTo>
                <a:lnTo>
                  <a:pt x="547" y="240"/>
                </a:lnTo>
                <a:lnTo>
                  <a:pt x="547" y="240"/>
                </a:lnTo>
                <a:lnTo>
                  <a:pt x="547" y="240"/>
                </a:lnTo>
                <a:lnTo>
                  <a:pt x="559" y="236"/>
                </a:lnTo>
                <a:lnTo>
                  <a:pt x="563" y="233"/>
                </a:lnTo>
                <a:lnTo>
                  <a:pt x="569" y="231"/>
                </a:lnTo>
                <a:lnTo>
                  <a:pt x="574" y="226"/>
                </a:lnTo>
                <a:lnTo>
                  <a:pt x="577" y="223"/>
                </a:lnTo>
                <a:lnTo>
                  <a:pt x="580" y="217"/>
                </a:lnTo>
                <a:lnTo>
                  <a:pt x="580" y="210"/>
                </a:lnTo>
                <a:lnTo>
                  <a:pt x="580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10"/>
                </a:lnTo>
                <a:lnTo>
                  <a:pt x="547" y="205"/>
                </a:lnTo>
                <a:lnTo>
                  <a:pt x="549" y="201"/>
                </a:lnTo>
                <a:lnTo>
                  <a:pt x="552" y="193"/>
                </a:lnTo>
                <a:lnTo>
                  <a:pt x="558" y="185"/>
                </a:lnTo>
                <a:lnTo>
                  <a:pt x="565" y="176"/>
                </a:lnTo>
                <a:lnTo>
                  <a:pt x="565" y="176"/>
                </a:lnTo>
                <a:lnTo>
                  <a:pt x="565" y="155"/>
                </a:lnTo>
                <a:lnTo>
                  <a:pt x="544" y="155"/>
                </a:lnTo>
                <a:lnTo>
                  <a:pt x="544" y="155"/>
                </a:lnTo>
                <a:lnTo>
                  <a:pt x="544" y="155"/>
                </a:lnTo>
                <a:lnTo>
                  <a:pt x="530" y="160"/>
                </a:lnTo>
                <a:lnTo>
                  <a:pt x="524" y="165"/>
                </a:lnTo>
                <a:lnTo>
                  <a:pt x="522" y="167"/>
                </a:lnTo>
                <a:lnTo>
                  <a:pt x="522" y="170"/>
                </a:lnTo>
                <a:lnTo>
                  <a:pt x="522" y="170"/>
                </a:lnTo>
                <a:lnTo>
                  <a:pt x="522" y="176"/>
                </a:lnTo>
                <a:lnTo>
                  <a:pt x="524" y="181"/>
                </a:lnTo>
                <a:lnTo>
                  <a:pt x="527" y="186"/>
                </a:lnTo>
                <a:lnTo>
                  <a:pt x="529" y="191"/>
                </a:lnTo>
                <a:lnTo>
                  <a:pt x="529" y="191"/>
                </a:lnTo>
                <a:lnTo>
                  <a:pt x="522" y="195"/>
                </a:lnTo>
                <a:lnTo>
                  <a:pt x="514" y="196"/>
                </a:lnTo>
                <a:lnTo>
                  <a:pt x="507" y="196"/>
                </a:lnTo>
                <a:lnTo>
                  <a:pt x="499" y="196"/>
                </a:lnTo>
                <a:lnTo>
                  <a:pt x="484" y="193"/>
                </a:lnTo>
                <a:lnTo>
                  <a:pt x="477" y="191"/>
                </a:lnTo>
                <a:lnTo>
                  <a:pt x="470" y="191"/>
                </a:lnTo>
                <a:lnTo>
                  <a:pt x="470" y="191"/>
                </a:lnTo>
                <a:lnTo>
                  <a:pt x="462" y="191"/>
                </a:lnTo>
                <a:lnTo>
                  <a:pt x="455" y="190"/>
                </a:lnTo>
                <a:lnTo>
                  <a:pt x="447" y="188"/>
                </a:lnTo>
                <a:lnTo>
                  <a:pt x="439" y="185"/>
                </a:lnTo>
                <a:lnTo>
                  <a:pt x="432" y="180"/>
                </a:lnTo>
                <a:lnTo>
                  <a:pt x="428" y="174"/>
                </a:lnTo>
                <a:lnTo>
                  <a:pt x="423" y="167"/>
                </a:lnTo>
                <a:lnTo>
                  <a:pt x="423" y="163"/>
                </a:lnTo>
                <a:lnTo>
                  <a:pt x="422" y="158"/>
                </a:lnTo>
                <a:lnTo>
                  <a:pt x="422" y="158"/>
                </a:lnTo>
                <a:lnTo>
                  <a:pt x="423" y="156"/>
                </a:lnTo>
                <a:lnTo>
                  <a:pt x="425" y="153"/>
                </a:lnTo>
                <a:lnTo>
                  <a:pt x="428" y="150"/>
                </a:lnTo>
                <a:lnTo>
                  <a:pt x="429" y="148"/>
                </a:lnTo>
                <a:lnTo>
                  <a:pt x="429" y="148"/>
                </a:lnTo>
                <a:lnTo>
                  <a:pt x="424" y="145"/>
                </a:lnTo>
                <a:lnTo>
                  <a:pt x="420" y="141"/>
                </a:lnTo>
                <a:lnTo>
                  <a:pt x="414" y="136"/>
                </a:lnTo>
                <a:lnTo>
                  <a:pt x="409" y="129"/>
                </a:lnTo>
                <a:lnTo>
                  <a:pt x="399" y="113"/>
                </a:lnTo>
                <a:lnTo>
                  <a:pt x="389" y="95"/>
                </a:lnTo>
                <a:lnTo>
                  <a:pt x="381" y="75"/>
                </a:lnTo>
                <a:lnTo>
                  <a:pt x="374" y="57"/>
                </a:lnTo>
                <a:lnTo>
                  <a:pt x="369" y="41"/>
                </a:lnTo>
                <a:lnTo>
                  <a:pt x="367" y="29"/>
                </a:lnTo>
                <a:lnTo>
                  <a:pt x="367" y="29"/>
                </a:lnTo>
                <a:lnTo>
                  <a:pt x="367" y="22"/>
                </a:lnTo>
                <a:lnTo>
                  <a:pt x="367" y="22"/>
                </a:lnTo>
                <a:close/>
              </a:path>
            </a:pathLst>
          </a:custGeom>
          <a:solidFill>
            <a:srgbClr val="FFC0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36000" rIns="0" bIns="0" anchor="ctr" anchorCtr="1"/>
          <a:lstStyle/>
          <a:p>
            <a:pPr indent="-268288">
              <a:lnSpc>
                <a:spcPct val="90000"/>
              </a:lnSpc>
              <a:spcAft>
                <a:spcPts val="900"/>
              </a:spcAft>
              <a:defRPr/>
            </a:pPr>
            <a:endParaRPr lang="ru-RU" sz="20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0" name="Солнце 149"/>
          <p:cNvSpPr/>
          <p:nvPr/>
        </p:nvSpPr>
        <p:spPr>
          <a:xfrm>
            <a:off x="1259632" y="3789040"/>
            <a:ext cx="216000" cy="216000"/>
          </a:xfrm>
          <a:prstGeom prst="sun">
            <a:avLst/>
          </a:prstGeom>
          <a:solidFill>
            <a:srgbClr val="FFC000"/>
          </a:solidFill>
          <a:ln w="9525">
            <a:noFill/>
          </a:ln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  <a:scene3d>
            <a:camera prst="orthographicFront"/>
            <a:lightRig rig="flat" dir="t">
              <a:rot lat="0" lon="0" rev="18900000"/>
            </a:lightRig>
          </a:scene3d>
          <a:sp3d>
            <a:bevelT w="57150" h="381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5" name="Солнце 154"/>
          <p:cNvSpPr/>
          <p:nvPr/>
        </p:nvSpPr>
        <p:spPr>
          <a:xfrm>
            <a:off x="1475656" y="3501008"/>
            <a:ext cx="216000" cy="216000"/>
          </a:xfrm>
          <a:prstGeom prst="sun">
            <a:avLst/>
          </a:prstGeom>
          <a:solidFill>
            <a:srgbClr val="FFC000"/>
          </a:solidFill>
          <a:ln w="9525">
            <a:noFill/>
          </a:ln>
          <a:effectLst>
            <a:outerShdw blurRad="40005" dist="22860" dir="5400000" algn="tl" rotWithShape="0">
              <a:prstClr val="black">
                <a:alpha val="35000"/>
              </a:prstClr>
            </a:outerShdw>
          </a:effectLst>
          <a:scene3d>
            <a:camera prst="orthographicFront"/>
            <a:lightRig rig="flat" dir="t">
              <a:rot lat="0" lon="0" rev="18900000"/>
            </a:lightRig>
          </a:scene3d>
          <a:sp3d>
            <a:bevelT w="57150" h="381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>
              <a:alpha val="66000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Национальная ассоциация </a:t>
            </a:r>
            <a:r>
              <a:rPr lang="ru-RU" sz="2400" dirty="0" err="1">
                <a:solidFill>
                  <a:srgbClr val="000000"/>
                </a:solidFill>
              </a:rPr>
              <a:t>оториноларингологов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Российское </a:t>
            </a:r>
            <a:r>
              <a:rPr lang="ru-RU" sz="2400" dirty="0">
                <a:solidFill>
                  <a:srgbClr val="000000"/>
                </a:solidFill>
              </a:rPr>
              <a:t>общество скорой медицинской </a:t>
            </a:r>
            <a:r>
              <a:rPr lang="ru-RU" sz="2400" dirty="0" smtClean="0">
                <a:solidFill>
                  <a:srgbClr val="000000"/>
                </a:solidFill>
              </a:rPr>
              <a:t>помощи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Ассоциация </a:t>
            </a:r>
            <a:r>
              <a:rPr lang="ru-RU" sz="2400" dirty="0">
                <a:solidFill>
                  <a:srgbClr val="000000"/>
                </a:solidFill>
              </a:rPr>
              <a:t>врачей общей практики (семейных врачей</a:t>
            </a:r>
            <a:r>
              <a:rPr lang="ru-RU" sz="2400" dirty="0" smtClean="0">
                <a:solidFill>
                  <a:srgbClr val="000000"/>
                </a:solidFill>
              </a:rPr>
              <a:t>)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Российская </a:t>
            </a:r>
            <a:r>
              <a:rPr lang="ru-RU" sz="2400" dirty="0">
                <a:solidFill>
                  <a:srgbClr val="000000"/>
                </a:solidFill>
              </a:rPr>
              <a:t>гастроэнтерологическая </a:t>
            </a:r>
            <a:r>
              <a:rPr lang="ru-RU" sz="2400" dirty="0" smtClean="0">
                <a:solidFill>
                  <a:srgbClr val="000000"/>
                </a:solidFill>
              </a:rPr>
              <a:t>ассоциация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Российское </a:t>
            </a:r>
            <a:r>
              <a:rPr lang="ru-RU" sz="2400" dirty="0">
                <a:solidFill>
                  <a:srgbClr val="000000"/>
                </a:solidFill>
              </a:rPr>
              <a:t>кардиологическое </a:t>
            </a:r>
            <a:r>
              <a:rPr lang="ru-RU" sz="2400" dirty="0" smtClean="0">
                <a:solidFill>
                  <a:srgbClr val="000000"/>
                </a:solidFill>
              </a:rPr>
              <a:t>общество 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Российское </a:t>
            </a:r>
            <a:r>
              <a:rPr lang="ru-RU" sz="2400" dirty="0">
                <a:solidFill>
                  <a:srgbClr val="000000"/>
                </a:solidFill>
              </a:rPr>
              <a:t>общество </a:t>
            </a:r>
            <a:r>
              <a:rPr lang="ru-RU" sz="2400" dirty="0" smtClean="0">
                <a:solidFill>
                  <a:srgbClr val="000000"/>
                </a:solidFill>
              </a:rPr>
              <a:t>хирургов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Ассоциация </a:t>
            </a:r>
            <a:r>
              <a:rPr lang="ru-RU" sz="2400" dirty="0">
                <a:solidFill>
                  <a:srgbClr val="000000"/>
                </a:solidFill>
              </a:rPr>
              <a:t>ревматологов </a:t>
            </a:r>
            <a:r>
              <a:rPr lang="ru-RU" sz="2400" dirty="0" smtClean="0">
                <a:solidFill>
                  <a:srgbClr val="000000"/>
                </a:solidFill>
              </a:rPr>
              <a:t>России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Федерация </a:t>
            </a:r>
            <a:r>
              <a:rPr lang="ru-RU" sz="2400" dirty="0">
                <a:solidFill>
                  <a:srgbClr val="000000"/>
                </a:solidFill>
              </a:rPr>
              <a:t>анестезиологов и </a:t>
            </a:r>
            <a:r>
              <a:rPr lang="ru-RU" sz="2400" dirty="0" smtClean="0">
                <a:solidFill>
                  <a:srgbClr val="000000"/>
                </a:solidFill>
              </a:rPr>
              <a:t>реаниматологов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 smtClean="0">
                <a:solidFill>
                  <a:srgbClr val="000000"/>
                </a:solidFill>
              </a:rPr>
              <a:t>Союз </a:t>
            </a:r>
            <a:r>
              <a:rPr lang="ru-RU" sz="2400" dirty="0">
                <a:solidFill>
                  <a:srgbClr val="000000"/>
                </a:solidFill>
              </a:rPr>
              <a:t>педиатров </a:t>
            </a:r>
            <a:r>
              <a:rPr lang="ru-RU" sz="2400" dirty="0" smtClean="0">
                <a:solidFill>
                  <a:srgbClr val="000000"/>
                </a:solidFill>
              </a:rPr>
              <a:t>России</a:t>
            </a:r>
            <a:endParaRPr lang="ru-RU" sz="2400" dirty="0">
              <a:solidFill>
                <a:srgbClr val="000000"/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Российская ассоциация радиологов 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Российская ассоциация эндокринологов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Российское научное медицинское общество терапевтов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Российское научное общество урологов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Российское общество по организации здравоохранения и общественного здоровья 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Российское эндоскопическое общество 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2400" dirty="0">
                <a:solidFill>
                  <a:srgbClr val="000000"/>
                </a:solidFill>
              </a:rPr>
              <a:t>Стоматологическая ассоциация России</a:t>
            </a:r>
            <a:endParaRPr lang="ru-RU" sz="2400" dirty="0">
              <a:solidFill>
                <a:srgbClr val="00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084221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0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107504" y="692150"/>
            <a:ext cx="9036496" cy="5545138"/>
          </a:xfrm>
        </p:spPr>
        <p:txBody>
          <a:bodyPr/>
          <a:lstStyle/>
          <a:p>
            <a:pPr marL="0" indent="0" algn="ctr">
              <a:buNone/>
            </a:pPr>
            <a:r>
              <a:rPr lang="ru-RU" sz="4000" b="1" dirty="0" smtClean="0">
                <a:solidFill>
                  <a:schemeClr val="tx2"/>
                </a:solidFill>
              </a:rPr>
              <a:t>Образовательная программа должна быть согласована общественной профессиональной организацией и органом государственной власти субъекта РФ в сфере охраны здоровья, принимавшими участие в ее разработке. </a:t>
            </a:r>
          </a:p>
        </p:txBody>
      </p:sp>
    </p:spTree>
    <p:extLst>
      <p:ext uri="{BB962C8B-B14F-4D97-AF65-F5344CB8AC3E}">
        <p14:creationId xmlns:p14="http://schemas.microsoft.com/office/powerpoint/2010/main" val="7442426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1"/>
          <p:cNvSpPr>
            <a:spLocks noGrp="1"/>
          </p:cNvSpPr>
          <p:nvPr>
            <p:ph type="title"/>
          </p:nvPr>
        </p:nvSpPr>
        <p:spPr>
          <a:xfrm>
            <a:off x="163513" y="274638"/>
            <a:ext cx="8523287" cy="922114"/>
          </a:xfrm>
        </p:spPr>
        <p:txBody>
          <a:bodyPr/>
          <a:lstStyle/>
          <a:p>
            <a:r>
              <a:rPr kumimoji="0" lang="ru-RU" sz="3600" b="1" dirty="0" smtClean="0">
                <a:solidFill>
                  <a:schemeClr val="bg1"/>
                </a:solidFill>
              </a:rPr>
              <a:t>Принципы построения образовательных программ:</a:t>
            </a:r>
            <a:endParaRPr kumimoji="0" lang="ru-RU" sz="3600" b="1" dirty="0" smtClean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1267" name="Содержимое 2"/>
          <p:cNvSpPr>
            <a:spLocks noGrp="1"/>
          </p:cNvSpPr>
          <p:nvPr>
            <p:ph sz="quarter" idx="1"/>
          </p:nvPr>
        </p:nvSpPr>
        <p:spPr>
          <a:xfrm>
            <a:off x="498475" y="1772816"/>
            <a:ext cx="8188325" cy="4896544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kumimoji="0"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ульный принцип построения;</a:t>
            </a:r>
          </a:p>
          <a:p>
            <a:pPr marL="514350" indent="-514350">
              <a:buFont typeface="+mj-lt"/>
              <a:buAutoNum type="arabicPeriod"/>
            </a:pPr>
            <a:r>
              <a:rPr kumimoji="0"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подготовки - </a:t>
            </a:r>
            <a:r>
              <a:rPr kumimoji="0"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 100 часов</a:t>
            </a:r>
            <a:r>
              <a:rPr kumimoji="0"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дистанционных образовательных технологий и электронного обучения - </a:t>
            </a:r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50%</a:t>
            </a: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ональный компонент </a:t>
            </a: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15%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одержания образовательной </a:t>
            </a: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.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усмотрены различные виды образовательной активности.</a:t>
            </a:r>
          </a:p>
          <a:p>
            <a:pPr marL="0" indent="0">
              <a:buNone/>
            </a:pPr>
            <a:endParaRPr lang="ru-RU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5953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 txBox="1">
            <a:spLocks/>
          </p:cNvSpPr>
          <p:nvPr/>
        </p:nvSpPr>
        <p:spPr bwMode="auto">
          <a:xfrm>
            <a:off x="0" y="1417638"/>
            <a:ext cx="9143999" cy="5237162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4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endParaRPr lang="ru-RU" sz="2400" b="1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/>
            </a:pPr>
            <a:r>
              <a:rPr lang="ru-RU" sz="2400" dirty="0">
                <a:latin typeface="+mj-lt"/>
                <a:cs typeface="Arial" pitchFamily="34" charset="0"/>
              </a:rPr>
              <a:t>всего </a:t>
            </a:r>
            <a:r>
              <a:rPr lang="ru-RU" sz="24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144 ч.</a:t>
            </a:r>
            <a:r>
              <a:rPr lang="ru-RU" sz="2400" dirty="0">
                <a:latin typeface="+mj-lt"/>
                <a:cs typeface="Arial" pitchFamily="34" charset="0"/>
              </a:rPr>
              <a:t> или </a:t>
            </a:r>
            <a:r>
              <a:rPr lang="ru-RU" sz="24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кредитов</a:t>
            </a:r>
            <a:r>
              <a:rPr lang="ru-RU" sz="2400" dirty="0">
                <a:latin typeface="+mj-lt"/>
                <a:cs typeface="Arial" pitchFamily="34" charset="0"/>
              </a:rPr>
              <a:t> образовательной активности;</a:t>
            </a: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/>
            </a:pPr>
            <a:r>
              <a:rPr lang="ru-RU" sz="2400" dirty="0">
                <a:latin typeface="+mj-lt"/>
                <a:cs typeface="Arial" pitchFamily="34" charset="0"/>
              </a:rPr>
              <a:t>из них: </a:t>
            </a:r>
            <a:r>
              <a:rPr lang="ru-RU" sz="24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108 ч.</a:t>
            </a:r>
            <a:r>
              <a:rPr lang="ru-RU" sz="2400" dirty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(&gt;100 ч.) </a:t>
            </a:r>
            <a:r>
              <a:rPr lang="ru-RU" sz="2400" dirty="0" smtClean="0">
                <a:latin typeface="+mj-lt"/>
                <a:cs typeface="Arial" pitchFamily="34" charset="0"/>
              </a:rPr>
              <a:t>в </a:t>
            </a:r>
            <a:r>
              <a:rPr lang="ru-RU" sz="2400" dirty="0">
                <a:latin typeface="+mj-lt"/>
                <a:cs typeface="Arial" pitchFamily="34" charset="0"/>
              </a:rPr>
              <a:t>ГОУ  </a:t>
            </a:r>
            <a:r>
              <a:rPr lang="ru-RU" sz="24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+</a:t>
            </a:r>
          </a:p>
          <a:p>
            <a:pPr marL="1885950" lvl="3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r>
              <a:rPr lang="ru-RU" sz="2400" b="1" dirty="0">
                <a:solidFill>
                  <a:srgbClr val="C00000"/>
                </a:solidFill>
                <a:latin typeface="+mj-lt"/>
                <a:cs typeface="Arial" pitchFamily="34" charset="0"/>
              </a:rPr>
              <a:t>    36 ч.</a:t>
            </a:r>
            <a:r>
              <a:rPr lang="ru-RU" sz="2400" dirty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ru-RU" sz="2400" dirty="0">
                <a:latin typeface="+mj-lt"/>
                <a:cs typeface="Arial" pitchFamily="34" charset="0"/>
              </a:rPr>
              <a:t>по </a:t>
            </a:r>
            <a:r>
              <a:rPr lang="ru-RU" sz="2400" dirty="0" smtClean="0">
                <a:latin typeface="+mj-lt"/>
                <a:cs typeface="Arial" pitchFamily="34" charset="0"/>
              </a:rPr>
              <a:t>Перечню мероприятий от обществ</a:t>
            </a:r>
            <a:endParaRPr lang="ru-RU" sz="2400" dirty="0">
              <a:latin typeface="+mj-lt"/>
              <a:cs typeface="Arial" pitchFamily="34" charset="0"/>
            </a:endParaRPr>
          </a:p>
          <a:p>
            <a:pPr marL="2343150" lvl="4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endParaRPr lang="ru-RU" sz="2400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/>
            </a:pPr>
            <a:endParaRPr lang="ru-RU" sz="2400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/>
            </a:pPr>
            <a:endParaRPr lang="ru-RU" sz="2400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  <a:defRPr/>
            </a:pPr>
            <a:r>
              <a:rPr lang="ru-RU" sz="2000" dirty="0">
                <a:latin typeface="+mj-lt"/>
                <a:cs typeface="Arial" pitchFamily="34" charset="0"/>
              </a:rPr>
              <a:t>сертификат специалиста будет выдан в </a:t>
            </a:r>
            <a:r>
              <a:rPr lang="ru-RU" sz="2000" dirty="0" smtClean="0">
                <a:latin typeface="+mj-lt"/>
                <a:cs typeface="Arial" pitchFamily="34" charset="0"/>
              </a:rPr>
              <a:t>ГОУ</a:t>
            </a:r>
            <a:endParaRPr lang="ru-RU" sz="2000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endParaRPr lang="ru-RU" sz="2400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endParaRPr lang="ru-RU" sz="2800" b="1" dirty="0">
              <a:latin typeface="Cambria" pitchFamily="18" charset="0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buFont typeface="Wingdings 2" pitchFamily="18" charset="2"/>
              <a:buNone/>
              <a:defRPr/>
            </a:pPr>
            <a:endParaRPr lang="ru-RU" sz="2800" b="1" dirty="0">
              <a:solidFill>
                <a:srgbClr val="C00000"/>
              </a:solidFill>
              <a:latin typeface="Cambria" pitchFamily="18" charset="0"/>
              <a:cs typeface="Arial" pitchFamily="34" charset="0"/>
            </a:endParaRPr>
          </a:p>
        </p:txBody>
      </p:sp>
      <p:sp>
        <p:nvSpPr>
          <p:cNvPr id="18435" name="Заголовок 3"/>
          <p:cNvSpPr>
            <a:spLocks noGrp="1"/>
          </p:cNvSpPr>
          <p:nvPr>
            <p:ph type="title"/>
          </p:nvPr>
        </p:nvSpPr>
        <p:spPr>
          <a:xfrm>
            <a:off x="182563" y="274638"/>
            <a:ext cx="8778875" cy="736600"/>
          </a:xfrm>
        </p:spPr>
        <p:txBody>
          <a:bodyPr/>
          <a:lstStyle/>
          <a:p>
            <a:r>
              <a:rPr kumimoji="0" lang="ru-RU" sz="3600" b="1" dirty="0" smtClean="0">
                <a:solidFill>
                  <a:schemeClr val="bg1"/>
                </a:solidFill>
                <a:cs typeface="Arial" charset="0"/>
              </a:rPr>
              <a:t>Врачам необходимо набрать за 1 год:</a:t>
            </a:r>
            <a:endParaRPr kumimoji="0" lang="ru-RU" sz="3200" b="1" dirty="0" smtClean="0">
              <a:solidFill>
                <a:schemeClr val="bg1"/>
              </a:solidFill>
              <a:cs typeface="Arial" charset="0"/>
            </a:endParaRPr>
          </a:p>
        </p:txBody>
      </p:sp>
      <p:graphicFrame>
        <p:nvGraphicFramePr>
          <p:cNvPr id="4" name="Схема 3"/>
          <p:cNvGraphicFramePr/>
          <p:nvPr/>
        </p:nvGraphicFramePr>
        <p:xfrm>
          <a:off x="1524000" y="3352800"/>
          <a:ext cx="6096000" cy="9625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одержимое 2"/>
          <p:cNvSpPr txBox="1">
            <a:spLocks/>
          </p:cNvSpPr>
          <p:nvPr/>
        </p:nvSpPr>
        <p:spPr bwMode="auto">
          <a:xfrm>
            <a:off x="1" y="1412776"/>
            <a:ext cx="9144000" cy="544522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4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/>
          <a:lstStyle/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endParaRPr lang="ru-RU" sz="2400" b="1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endParaRPr lang="ru-RU" sz="2400" dirty="0">
              <a:latin typeface="+mj-lt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defRPr/>
            </a:pPr>
            <a:endParaRPr lang="ru-RU" sz="2800" b="1" dirty="0">
              <a:latin typeface="Cambria" pitchFamily="18" charset="0"/>
              <a:cs typeface="Arial" pitchFamily="34" charset="0"/>
            </a:endParaRPr>
          </a:p>
          <a:p>
            <a:pPr marL="514350" indent="-514350" defTabSz="914400" eaLnBrk="0" hangingPunct="0">
              <a:spcBef>
                <a:spcPts val="575"/>
              </a:spcBef>
              <a:buClr>
                <a:schemeClr val="accent1"/>
              </a:buClr>
              <a:buSzPct val="85000"/>
              <a:buFont typeface="Wingdings 2" pitchFamily="18" charset="2"/>
              <a:buNone/>
              <a:defRPr/>
            </a:pPr>
            <a:endParaRPr lang="ru-RU" sz="2800" b="1" dirty="0">
              <a:solidFill>
                <a:srgbClr val="C00000"/>
              </a:solidFill>
              <a:latin typeface="Cambria" pitchFamily="18" charset="0"/>
              <a:cs typeface="Arial" pitchFamily="34" charset="0"/>
            </a:endParaRPr>
          </a:p>
        </p:txBody>
      </p:sp>
      <p:sp>
        <p:nvSpPr>
          <p:cNvPr id="26627" name="Заголовок 1"/>
          <p:cNvSpPr>
            <a:spLocks noGrp="1"/>
          </p:cNvSpPr>
          <p:nvPr>
            <p:ph type="title"/>
          </p:nvPr>
        </p:nvSpPr>
        <p:spPr>
          <a:xfrm>
            <a:off x="168275" y="0"/>
            <a:ext cx="8975725" cy="1340768"/>
          </a:xfrm>
        </p:spPr>
        <p:txBody>
          <a:bodyPr/>
          <a:lstStyle/>
          <a:p>
            <a:r>
              <a:rPr lang="ru-RU" sz="2800" b="1" dirty="0" smtClean="0">
                <a:solidFill>
                  <a:schemeClr val="bg1"/>
                </a:solidFill>
                <a:cs typeface="Arial" charset="0"/>
              </a:rPr>
              <a:t>Принципы выбора тем для образовательных мероприятий и материалов, подготовленных обществами</a:t>
            </a:r>
            <a:r>
              <a:rPr lang="ru-RU" sz="3200" b="1" dirty="0" smtClean="0">
                <a:solidFill>
                  <a:schemeClr val="bg1"/>
                </a:solidFill>
                <a:cs typeface="Arial" charset="0"/>
              </a:rPr>
              <a:t> </a:t>
            </a:r>
          </a:p>
        </p:txBody>
      </p:sp>
      <p:sp>
        <p:nvSpPr>
          <p:cNvPr id="26628" name="Содержимое 2"/>
          <p:cNvSpPr>
            <a:spLocks noGrp="1"/>
          </p:cNvSpPr>
          <p:nvPr>
            <p:ph sz="quarter" idx="1"/>
          </p:nvPr>
        </p:nvSpPr>
        <p:spPr>
          <a:xfrm>
            <a:off x="0" y="1412776"/>
            <a:ext cx="9144000" cy="5445223"/>
          </a:xfrm>
        </p:spPr>
        <p:txBody>
          <a:bodyPr/>
          <a:lstStyle/>
          <a:p>
            <a:pPr marL="1063625" lvl="2" indent="-514350">
              <a:buFont typeface="Wingdings 2" pitchFamily="18" charset="2"/>
              <a:buNone/>
            </a:pPr>
            <a:r>
              <a:rPr lang="ru-RU" b="1" dirty="0" smtClean="0">
                <a:solidFill>
                  <a:srgbClr val="C00000"/>
                </a:solidFill>
                <a:cs typeface="Arial" charset="0"/>
              </a:rPr>
              <a:t> </a:t>
            </a:r>
            <a:r>
              <a:rPr lang="ru-RU" b="1" dirty="0" smtClean="0">
                <a:cs typeface="Arial" charset="0"/>
              </a:rPr>
              <a:t>Все темы  мероприятий и материалов должны отвечать актуальным вопросам здравоохранения региона, для этого необходимо:</a:t>
            </a:r>
            <a:endParaRPr lang="ru-RU" dirty="0" smtClean="0">
              <a:cs typeface="Arial" charset="0"/>
            </a:endParaRPr>
          </a:p>
          <a:p>
            <a:pPr marL="1338263" lvl="3" indent="-514350"/>
            <a:r>
              <a:rPr lang="ru-RU" dirty="0" smtClean="0">
                <a:cs typeface="Arial" charset="0"/>
              </a:rPr>
              <a:t>учесть причины смертности и расхождений диагнозов по результатам патологоанатомических вскрытий</a:t>
            </a:r>
          </a:p>
          <a:p>
            <a:pPr marL="1338263" lvl="3" indent="-514350"/>
            <a:r>
              <a:rPr lang="ru-RU" dirty="0" smtClean="0">
                <a:cs typeface="Arial" charset="0"/>
              </a:rPr>
              <a:t>проанализировать жалобы пациентов и результаты ЭКМП (ТФОМС)</a:t>
            </a:r>
          </a:p>
          <a:p>
            <a:pPr marL="1338263" lvl="3" indent="-514350"/>
            <a:r>
              <a:rPr lang="ru-RU" dirty="0" smtClean="0">
                <a:cs typeface="Arial" charset="0"/>
              </a:rPr>
              <a:t>выбрать причины врачебных ошибок и ранжировать их:</a:t>
            </a:r>
          </a:p>
          <a:p>
            <a:pPr marL="1612900" lvl="4" indent="-514350"/>
            <a:r>
              <a:rPr lang="ru-RU" b="1" u="sng" dirty="0" smtClean="0">
                <a:solidFill>
                  <a:srgbClr val="C00000"/>
                </a:solidFill>
                <a:cs typeface="Arial" charset="0"/>
              </a:rPr>
              <a:t>частые</a:t>
            </a:r>
          </a:p>
          <a:p>
            <a:pPr marL="1612900" lvl="4" indent="-514350"/>
            <a:r>
              <a:rPr lang="ru-RU" b="1" dirty="0" smtClean="0">
                <a:solidFill>
                  <a:srgbClr val="C00000"/>
                </a:solidFill>
                <a:cs typeface="Arial" charset="0"/>
              </a:rPr>
              <a:t>на которые </a:t>
            </a:r>
            <a:r>
              <a:rPr lang="ru-RU" b="1" u="sng" dirty="0" smtClean="0">
                <a:solidFill>
                  <a:srgbClr val="C00000"/>
                </a:solidFill>
                <a:cs typeface="Arial" charset="0"/>
              </a:rPr>
              <a:t>можно повлиять</a:t>
            </a:r>
          </a:p>
          <a:p>
            <a:pPr marL="1612900" lvl="4" indent="-514350"/>
            <a:r>
              <a:rPr lang="ru-RU" b="1" dirty="0" smtClean="0">
                <a:solidFill>
                  <a:srgbClr val="C00000"/>
                </a:solidFill>
                <a:cs typeface="Arial" charset="0"/>
              </a:rPr>
              <a:t>на которые можно повлиять </a:t>
            </a:r>
            <a:r>
              <a:rPr lang="ru-RU" b="1" u="sng" dirty="0" smtClean="0">
                <a:solidFill>
                  <a:srgbClr val="C00000"/>
                </a:solidFill>
                <a:cs typeface="Arial" charset="0"/>
              </a:rPr>
              <a:t>быстро</a:t>
            </a:r>
          </a:p>
          <a:p>
            <a:pPr marL="1338263" lvl="3" indent="-514350"/>
            <a:endParaRPr lang="ru-RU" dirty="0" smtClean="0">
              <a:cs typeface="Arial" charset="0"/>
            </a:endParaRPr>
          </a:p>
          <a:p>
            <a:pPr marL="1338263" lvl="3" indent="-514350"/>
            <a:endParaRPr lang="ru-RU" dirty="0" smtClean="0">
              <a:cs typeface="Arial" charset="0"/>
            </a:endParaRPr>
          </a:p>
          <a:p>
            <a:pPr marL="788988" lvl="1" indent="-514350" algn="ctr">
              <a:buFont typeface="Wingdings 2" pitchFamily="18" charset="2"/>
              <a:buNone/>
            </a:pPr>
            <a:endParaRPr lang="ru-RU" sz="2000" b="1" dirty="0" smtClean="0">
              <a:cs typeface="Arial" charset="0"/>
            </a:endParaRPr>
          </a:p>
          <a:p>
            <a:pPr marL="788988" lvl="1" indent="-514350" algn="ctr">
              <a:buFont typeface="Wingdings 2" pitchFamily="18" charset="2"/>
              <a:buNone/>
            </a:pPr>
            <a:r>
              <a:rPr lang="ru-RU" sz="2000" b="1" dirty="0" smtClean="0">
                <a:cs typeface="Arial" charset="0"/>
              </a:rPr>
              <a:t>НАЧИНАТЬ НАДО С ТЕМ, КОТОРЫЕ ОТВЕЧАЮТ ВСЕМ ЭТИМ</a:t>
            </a:r>
            <a:r>
              <a:rPr lang="ru-RU" sz="1800" b="1" dirty="0" smtClean="0">
                <a:cs typeface="Arial" charset="0"/>
              </a:rPr>
              <a:t>  </a:t>
            </a:r>
            <a:r>
              <a:rPr lang="ru-RU" sz="1800" b="1" dirty="0" smtClean="0">
                <a:solidFill>
                  <a:srgbClr val="C00000"/>
                </a:solidFill>
                <a:cs typeface="Arial" charset="0"/>
              </a:rPr>
              <a:t>3-м КРИТЕРИЯМ</a:t>
            </a:r>
          </a:p>
          <a:p>
            <a:pPr marL="788988" lvl="1" indent="-514350">
              <a:buFont typeface="Wingdings 2" pitchFamily="18" charset="2"/>
              <a:buNone/>
            </a:pPr>
            <a:endParaRPr lang="ru-RU" sz="2400" dirty="0" smtClean="0">
              <a:cs typeface="Arial" charset="0"/>
            </a:endParaRPr>
          </a:p>
          <a:p>
            <a:pPr marL="788988" lvl="1" indent="-514350"/>
            <a:endParaRPr lang="ru-RU" dirty="0" smtClean="0">
              <a:cs typeface="Arial" charset="0"/>
            </a:endParaRPr>
          </a:p>
          <a:p>
            <a:pPr marL="788988" lvl="1" indent="-514350">
              <a:buFont typeface="Wingdings 2" pitchFamily="18" charset="2"/>
              <a:buNone/>
            </a:pPr>
            <a:endParaRPr lang="ru-RU" dirty="0" smtClean="0">
              <a:cs typeface="Arial" charset="0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3779912" y="5445224"/>
            <a:ext cx="1163638" cy="58578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0" y="1483692"/>
            <a:ext cx="9144000" cy="5473700"/>
          </a:xfrm>
        </p:spPr>
        <p:txBody>
          <a:bodyPr/>
          <a:lstStyle/>
          <a:p>
            <a:pPr marL="0" indent="0" algn="ctr">
              <a:buNone/>
            </a:pPr>
            <a:r>
              <a:rPr lang="ru-RU" sz="4400" b="1" dirty="0" smtClean="0">
                <a:solidFill>
                  <a:srgbClr val="1F497D"/>
                </a:solidFill>
              </a:rPr>
              <a:t>Добровольное согласие врачей на участие в реализации модели </a:t>
            </a:r>
            <a:r>
              <a:rPr lang="ru-RU" sz="2800" b="1" dirty="0">
                <a:solidFill>
                  <a:srgbClr val="1F497D"/>
                </a:solidFill>
              </a:rPr>
              <a:t>(</a:t>
            </a:r>
            <a:r>
              <a:rPr lang="ru-RU" sz="2800" b="1" dirty="0" smtClean="0">
                <a:solidFill>
                  <a:srgbClr val="1F497D"/>
                </a:solidFill>
              </a:rPr>
              <a:t>заключение между врачом и образовательной организацией договора об обучении в рамках государственного задания на подготовку специалистов).</a:t>
            </a:r>
            <a:endParaRPr lang="ru-RU" sz="28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701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</p:spPr>
        <p:txBody>
          <a:bodyPr/>
          <a:lstStyle/>
          <a:p>
            <a:r>
              <a:rPr lang="ru-RU" sz="3200" b="1" dirty="0">
                <a:solidFill>
                  <a:schemeClr val="bg1"/>
                </a:solidFill>
              </a:rPr>
              <a:t>Участие </a:t>
            </a:r>
            <a:r>
              <a:rPr lang="ru-RU" sz="3200" b="1" dirty="0" smtClean="0">
                <a:solidFill>
                  <a:schemeClr val="bg1"/>
                </a:solidFill>
              </a:rPr>
              <a:t>органов </a:t>
            </a:r>
            <a:r>
              <a:rPr lang="ru-RU" sz="3200" b="1" dirty="0">
                <a:solidFill>
                  <a:schemeClr val="bg1"/>
                </a:solidFill>
              </a:rPr>
              <a:t>государственной власти субъектов РФ в сфере охраны здоровья 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3600" b="1" dirty="0" smtClean="0">
                <a:solidFill>
                  <a:srgbClr val="1F497D"/>
                </a:solidFill>
              </a:rPr>
              <a:t>участие в </a:t>
            </a:r>
            <a:r>
              <a:rPr lang="ru-RU" sz="3600" b="1" dirty="0" smtClean="0">
                <a:solidFill>
                  <a:srgbClr val="800000"/>
                </a:solidFill>
              </a:rPr>
              <a:t>разработке</a:t>
            </a:r>
            <a:r>
              <a:rPr lang="ru-RU" sz="3600" b="1" dirty="0" smtClean="0">
                <a:solidFill>
                  <a:srgbClr val="1F497D"/>
                </a:solidFill>
              </a:rPr>
              <a:t> образовательных программ и их </a:t>
            </a:r>
            <a:r>
              <a:rPr lang="ru-RU" sz="3600" b="1" dirty="0" smtClean="0">
                <a:solidFill>
                  <a:srgbClr val="800000"/>
                </a:solidFill>
              </a:rPr>
              <a:t>согласование</a:t>
            </a:r>
            <a:r>
              <a:rPr lang="ru-RU" sz="3600" b="1" dirty="0" smtClean="0">
                <a:solidFill>
                  <a:srgbClr val="1F497D"/>
                </a:solidFill>
              </a:rPr>
              <a:t>.</a:t>
            </a:r>
          </a:p>
          <a:p>
            <a:r>
              <a:rPr lang="ru-RU" sz="3600" b="1" dirty="0" smtClean="0">
                <a:solidFill>
                  <a:srgbClr val="1F497D"/>
                </a:solidFill>
              </a:rPr>
              <a:t>формирование </a:t>
            </a:r>
            <a:r>
              <a:rPr lang="ru-RU" sz="3600" b="1" dirty="0" smtClean="0">
                <a:solidFill>
                  <a:srgbClr val="800000"/>
                </a:solidFill>
              </a:rPr>
              <a:t>перечня</a:t>
            </a:r>
            <a:r>
              <a:rPr lang="ru-RU" sz="3600" b="1" dirty="0" smtClean="0">
                <a:solidFill>
                  <a:srgbClr val="1F497D"/>
                </a:solidFill>
              </a:rPr>
              <a:t> врачей – участников пилотного проекта (не менее 15 человек по каждой специальности)</a:t>
            </a:r>
            <a:endParaRPr lang="ru-RU" sz="3600" b="1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9647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marL="1588" eaLnBrk="1" hangingPunct="1"/>
            <a:r>
              <a:rPr kumimoji="0" lang="ru-RU" sz="5400" b="1" smtClean="0">
                <a:solidFill>
                  <a:schemeClr val="bg1"/>
                </a:solidFill>
              </a:rPr>
              <a:t>Указы Президента</a:t>
            </a: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101799" y="1484785"/>
            <a:ext cx="3606105" cy="2843134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sp>
        <p:nvSpPr>
          <p:cNvPr id="40964" name="Прямоугольник 7"/>
          <p:cNvSpPr>
            <a:spLocks noChangeArrowheads="1"/>
          </p:cNvSpPr>
          <p:nvPr/>
        </p:nvSpPr>
        <p:spPr bwMode="auto">
          <a:xfrm>
            <a:off x="3779838" y="1582738"/>
            <a:ext cx="5184775" cy="292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2" tIns="45706" rIns="91412" bIns="45706">
            <a:spAutoFit/>
          </a:bodyPr>
          <a:lstStyle/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sz="2200" b="1">
                <a:solidFill>
                  <a:srgbClr val="000000"/>
                </a:solidFill>
                <a:latin typeface="Calibri" pitchFamily="34" charset="0"/>
              </a:rPr>
              <a:t>Указы Президента РФ от </a:t>
            </a:r>
            <a:r>
              <a:rPr lang="ru-RU" sz="2200" b="1">
                <a:solidFill>
                  <a:srgbClr val="C00000"/>
                </a:solidFill>
                <a:latin typeface="Calibri" pitchFamily="34" charset="0"/>
              </a:rPr>
              <a:t>07.05.2012</a:t>
            </a:r>
          </a:p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ru-RU" sz="2200">
              <a:solidFill>
                <a:srgbClr val="000000"/>
              </a:solidFill>
              <a:latin typeface="Calibri" pitchFamily="34" charset="0"/>
            </a:endParaRPr>
          </a:p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«О мерах по реализации демографической политики Российской Федерации»</a:t>
            </a:r>
          </a:p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  </a:t>
            </a:r>
          </a:p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ru-RU" sz="2200">
                <a:solidFill>
                  <a:srgbClr val="000000"/>
                </a:solidFill>
                <a:latin typeface="Calibri" pitchFamily="34" charset="0"/>
              </a:rPr>
              <a:t>«О совершенствовании государственной политики в сфере здравоохранения»</a:t>
            </a:r>
          </a:p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ru-RU" sz="2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3871" y="4699590"/>
            <a:ext cx="8750617" cy="1969770"/>
          </a:xfrm>
          <a:prstGeom prst="rect">
            <a:avLst/>
          </a:prstGeom>
          <a:gradFill>
            <a:gsLst>
              <a:gs pos="100000">
                <a:srgbClr val="E5F9FF">
                  <a:lumMod val="26000"/>
                  <a:lumOff val="74000"/>
                </a:srgbClr>
              </a:gs>
              <a:gs pos="0">
                <a:srgbClr val="EBF9FF"/>
              </a:gs>
              <a:gs pos="50000">
                <a:srgbClr val="FFFFFF"/>
              </a:gs>
            </a:gsLst>
          </a:gra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defTabSz="977900">
              <a:spcAft>
                <a:spcPct val="35000"/>
              </a:spcAft>
              <a:defRPr/>
            </a:pPr>
            <a:r>
              <a:rPr lang="ru-RU" sz="2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Обеспечить увеличение к </a:t>
            </a:r>
            <a:r>
              <a:rPr lang="ru-RU" sz="20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018</a:t>
            </a:r>
            <a:r>
              <a:rPr lang="ru-RU" sz="200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году ожидаемой продолжительности жизни в Российской Федерации до </a:t>
            </a:r>
            <a:r>
              <a:rPr lang="ru-RU" sz="20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74 лет</a:t>
            </a:r>
            <a:r>
              <a:rPr lang="ru-RU" sz="2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</a:t>
            </a:r>
            <a:endParaRPr lang="en-US" sz="20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defTabSz="977900">
              <a:spcBef>
                <a:spcPts val="1800"/>
              </a:spcBef>
              <a:spcAft>
                <a:spcPct val="35000"/>
              </a:spcAft>
              <a:defRPr/>
            </a:pPr>
            <a:r>
              <a:rPr lang="ru-RU" sz="2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ать до </a:t>
            </a:r>
            <a:r>
              <a:rPr lang="ru-RU" sz="20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 мая 2013 г.</a:t>
            </a:r>
            <a:r>
              <a:rPr lang="ru-RU" sz="200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мплекс мер … направленных на повышение квалификации медицинских кадров, проведение </a:t>
            </a:r>
            <a:r>
              <a:rPr lang="ru-RU" sz="20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ценки уровня их квалификации</a:t>
            </a:r>
            <a:r>
              <a:rPr lang="ru-RU" sz="20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067175" y="5002213"/>
            <a:ext cx="1512888" cy="442912"/>
          </a:xfrm>
          <a:prstGeom prst="roundRect">
            <a:avLst>
              <a:gd name="adj" fmla="val 36159"/>
            </a:avLst>
          </a:prstGeom>
          <a:noFill/>
          <a:ln w="57150" cap="rnd">
            <a:solidFill>
              <a:srgbClr val="C00000"/>
            </a:solidFill>
            <a:tailEnd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049463" y="5624513"/>
            <a:ext cx="2016125" cy="442912"/>
          </a:xfrm>
          <a:prstGeom prst="roundRect">
            <a:avLst>
              <a:gd name="adj" fmla="val 36159"/>
            </a:avLst>
          </a:prstGeom>
          <a:noFill/>
          <a:ln w="57150" cap="rnd">
            <a:solidFill>
              <a:srgbClr val="C00000"/>
            </a:solidFill>
            <a:tailEnd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9" presetID="2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864" y="3284984"/>
            <a:ext cx="8229600" cy="2332855"/>
          </a:xfrm>
        </p:spPr>
        <p:txBody>
          <a:bodyPr/>
          <a:lstStyle/>
          <a:p>
            <a:r>
              <a:rPr lang="ru-RU" sz="2800" b="1" dirty="0" smtClean="0">
                <a:solidFill>
                  <a:srgbClr val="1F497D"/>
                </a:solidFill>
              </a:rPr>
              <a:t>методическое сопровождение – анализ текущих и итоговых результатов реализации модели</a:t>
            </a:r>
            <a:endParaRPr lang="en-US" sz="2800" b="1" dirty="0">
              <a:solidFill>
                <a:srgbClr val="1F497D"/>
              </a:solidFill>
            </a:endParaRPr>
          </a:p>
          <a:p>
            <a:r>
              <a:rPr lang="ru-RU" sz="2800" b="1" dirty="0" smtClean="0">
                <a:solidFill>
                  <a:srgbClr val="1F497D"/>
                </a:solidFill>
              </a:rPr>
              <a:t>формирование отчета о реализации модели и направление его в адрес Минздрава России. </a:t>
            </a:r>
          </a:p>
        </p:txBody>
      </p:sp>
      <p:pic>
        <p:nvPicPr>
          <p:cNvPr id="1026" name="Picture 2" descr="C:\Users\gk_geotar\Desktop\координационный совет\logo ВУНМЦ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772816"/>
            <a:ext cx="7236804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879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47AB"/>
            </a:gs>
            <a:gs pos="46000">
              <a:srgbClr val="0054D0"/>
            </a:gs>
            <a:gs pos="100000">
              <a:srgbClr val="0047AB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287524" y="4065588"/>
            <a:ext cx="8568952" cy="0"/>
          </a:xfrm>
          <a:prstGeom prst="line">
            <a:avLst/>
          </a:prstGeom>
          <a:ln w="38100" cap="rnd" cmpd="sng">
            <a:solidFill>
              <a:srgbClr val="C00000"/>
            </a:solidFill>
          </a:ln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bg1"/>
            </a:contourClr>
          </a:sp3d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8611" name="Заголовок 2"/>
          <p:cNvSpPr>
            <a:spLocks noGrp="1"/>
          </p:cNvSpPr>
          <p:nvPr>
            <p:ph type="ctrTitle"/>
          </p:nvPr>
        </p:nvSpPr>
        <p:spPr>
          <a:xfrm>
            <a:off x="0" y="1556792"/>
            <a:ext cx="9144000" cy="2591346"/>
          </a:xfrm>
        </p:spPr>
        <p:txBody>
          <a:bodyPr/>
          <a:lstStyle/>
          <a:p>
            <a:pPr marL="989013" indent="-539750" algn="l" eaLnBrk="1" hangingPunct="1"/>
            <a:r>
              <a:rPr kumimoji="0" lang="ru-RU" sz="3800" b="1" dirty="0">
                <a:solidFill>
                  <a:srgbClr val="FFFFFF"/>
                </a:solidFill>
                <a:latin typeface="Verdana" pitchFamily="34" charset="0"/>
              </a:rPr>
              <a:t>5</a:t>
            </a:r>
            <a:r>
              <a:rPr kumimoji="0" lang="ru-RU" sz="3800" b="1" dirty="0" smtClean="0">
                <a:solidFill>
                  <a:srgbClr val="FFFFFF"/>
                </a:solidFill>
                <a:latin typeface="Verdana" pitchFamily="34" charset="0"/>
              </a:rPr>
              <a:t>. Средства обучения и  учебно-методические материалы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573386" y="-47806"/>
            <a:ext cx="10225136" cy="8325544"/>
          </a:xfrm>
          <a:prstGeom prst="rect">
            <a:avLst/>
          </a:prstGeom>
        </p:spPr>
      </p:pic>
      <p:sp>
        <p:nvSpPr>
          <p:cNvPr id="44" name="Rectangle 3"/>
          <p:cNvSpPr txBox="1">
            <a:spLocks noChangeArrowheads="1"/>
          </p:cNvSpPr>
          <p:nvPr/>
        </p:nvSpPr>
        <p:spPr bwMode="auto">
          <a:xfrm>
            <a:off x="231775" y="2205038"/>
            <a:ext cx="3956050" cy="1871662"/>
          </a:xfrm>
          <a:prstGeom prst="roundRect">
            <a:avLst/>
          </a:prstGeom>
          <a:ln/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ct val="70000"/>
              </a:lnSpc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2000" b="1">
                <a:solidFill>
                  <a:prstClr val="white"/>
                </a:solidFill>
                <a:cs typeface="Arial" pitchFamily="34" charset="0"/>
              </a:rPr>
              <a:t>НАЦИОНАЛЬНЫЕ РУКОВОДСТВА</a:t>
            </a:r>
          </a:p>
          <a:p>
            <a:pPr algn="ctr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1700" b="1">
                <a:solidFill>
                  <a:prstClr val="white"/>
                </a:solidFill>
                <a:cs typeface="Arial" pitchFamily="34" charset="0"/>
              </a:rPr>
              <a:t>для обучения врача-специалиста</a:t>
            </a:r>
          </a:p>
        </p:txBody>
      </p:sp>
      <p:sp>
        <p:nvSpPr>
          <p:cNvPr id="6963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268413"/>
          </a:xfrm>
        </p:spPr>
        <p:txBody>
          <a:bodyPr/>
          <a:lstStyle/>
          <a:p>
            <a:pPr eaLnBrk="1" hangingPunct="1"/>
            <a:r>
              <a:rPr kumimoji="0" lang="ru-RU" sz="3600" b="1" smtClean="0">
                <a:solidFill>
                  <a:schemeClr val="bg1"/>
                </a:solidFill>
              </a:rPr>
              <a:t>Учебно-методические комплексы</a:t>
            </a:r>
            <a:br>
              <a:rPr kumimoji="0" lang="ru-RU" sz="3600" b="1" smtClean="0">
                <a:solidFill>
                  <a:schemeClr val="bg1"/>
                </a:solidFill>
              </a:rPr>
            </a:br>
            <a:r>
              <a:rPr kumimoji="0" lang="ru-RU" sz="3600" b="1" smtClean="0">
                <a:solidFill>
                  <a:schemeClr val="bg1"/>
                </a:solidFill>
              </a:rPr>
              <a:t>по каждой специальности от обществ</a:t>
            </a:r>
          </a:p>
        </p:txBody>
      </p:sp>
      <p:pic>
        <p:nvPicPr>
          <p:cNvPr id="1040" name="Picture 16" descr="http://www.medknigaservis.ru/cgi-bin/unishell?hide_Cookie=yes&amp;usr_data=gd-image%28lots,Q0117724,,1,popup_image,00000000%29"/>
          <p:cNvPicPr preferRelativeResize="0"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4500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" name="Picture 10" descr="http://www.medknigaservis.ru/cgi-bin/unishell?hide_Cookie=yes&amp;usr_data=gd-image%28lots,Q0116374,,1,popup_image,00000000%29"/>
          <p:cNvPicPr preferRelativeResize="0"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6775" y="2924175"/>
            <a:ext cx="757238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8" name="Picture 14" descr="http://www.medknigaservis.ru/cgi-bin/unishell?hide_Cookie=yes&amp;usr_data=gd-image%28lots,Q0008788,,1,popup_image,00000000%29"/>
          <p:cNvPicPr preferRelativeResize="0">
            <a:picLocks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74763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Rectangle 3"/>
          <p:cNvSpPr txBox="1">
            <a:spLocks noChangeArrowheads="1"/>
          </p:cNvSpPr>
          <p:nvPr/>
        </p:nvSpPr>
        <p:spPr bwMode="auto">
          <a:xfrm>
            <a:off x="4948238" y="2205038"/>
            <a:ext cx="3959225" cy="1871662"/>
          </a:xfrm>
          <a:prstGeom prst="roundRect">
            <a:avLst/>
          </a:prstGeom>
          <a:ln/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ct val="70000"/>
              </a:lnSpc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2000" b="1">
                <a:solidFill>
                  <a:prstClr val="white"/>
                </a:solidFill>
                <a:cs typeface="Arial" pitchFamily="34" charset="0"/>
              </a:rPr>
              <a:t>КЛИНИЧЕСКИЕ РЕКОМЕНДАЦИИ</a:t>
            </a:r>
          </a:p>
          <a:p>
            <a:pPr algn="ctr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1700" b="1">
                <a:solidFill>
                  <a:prstClr val="white"/>
                </a:solidFill>
                <a:cs typeface="Arial" pitchFamily="34" charset="0"/>
              </a:rPr>
              <a:t>по лечению с современных позиций</a:t>
            </a:r>
          </a:p>
        </p:txBody>
      </p:sp>
      <p:pic>
        <p:nvPicPr>
          <p:cNvPr id="1042" name="Picture 18" descr="http://www.medknigaservis.ru/cgi-bin/unishell?hide_Cookie=yes&amp;usr_data=gd-image%28lots,Q0117639,,1,popup_image,00000000%29"/>
          <p:cNvPicPr preferRelativeResize="0">
            <a:picLocks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677988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4" name="Picture 20" descr="http://www.medknigaservis.ru/cgi-bin/unishell?hide_Cookie=yes&amp;usr_data=gd-image%28lots,Q0006748,,1,popup_image,00000000%29"/>
          <p:cNvPicPr preferRelativeResize="0"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84388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http://www.medknigaservis.ru/cgi-bin/unishell?hide_Cookie=yes&amp;usr_data=gd-image%28lots,Q0118466,,1,popup_image,00000000%29"/>
          <p:cNvPicPr preferRelativeResize="0"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4860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 descr="http://www.medknigaservis.ru/cgi-bin/unishell?hide_Cookie=yes&amp;usr_data=gd-image%28lots,Q0008580,,1,popup_image,00000000%29"/>
          <p:cNvPicPr preferRelativeResize="0"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88607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 descr="http://www.medknigaservis.ru/cgi-bin/unishell?hide_Cookie=yes&amp;usr_data=gd-image%28lots,Q0007023,,1,popup_image,00000000%29"/>
          <p:cNvPicPr preferRelativeResize="0"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284538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6" name="Picture 32" descr="http://www.medknigaservis.ru/cgi-bin/unishell?hide_Cookie=yes&amp;usr_data=gd-image%28lots,Q0010936,,1,popup_image,00000000%29"/>
          <p:cNvPicPr preferRelativeResize="0"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1276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8" name="Picture 34" descr="http://www.medknigaservis.ru/cgi-bin/unishell?hide_Cookie=yes&amp;usr_data=gd-image%28lots,Q0010184,,1,popup_image,00000000%29"/>
          <p:cNvPicPr preferRelativeResize="0"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4832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0" name="Picture 36" descr="http://www.medknigaservis.ru/cgi-bin/unishell?hide_Cookie=yes&amp;usr_data=gd-image%28lots,Q0010373,,1,popup_image,00000000%29"/>
          <p:cNvPicPr preferRelativeResize="0">
            <a:picLocks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8388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" name="Picture 30" descr="http://www.medknigaservis.ru/cgi-bin/unishell?hide_Cookie=yes&amp;usr_data=gd-image%28lots,Q0010092,,1,popup_image,00000000%29"/>
          <p:cNvPicPr preferRelativeResize="0"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1944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8" name="Picture 24" descr="http://www.medknigaservis.ru/cgi-bin/unishell?hide_Cookie=yes&amp;usr_data=gd-image%28lots,Q0010978,,1,popup_image,00000000%29"/>
          <p:cNvPicPr preferRelativeResize="0">
            <a:picLocks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5500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6" name="Picture 42" descr="http://www.medknigaservis.ru/cgi-bin/unishell?hide_Cookie=yes&amp;usr_data=gd-image%28lots,Q0110724,,1,popup_image,00000000%29"/>
          <p:cNvPicPr preferRelativeResize="0">
            <a:picLocks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9056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Rectangle 3"/>
          <p:cNvSpPr txBox="1">
            <a:spLocks noChangeArrowheads="1"/>
          </p:cNvSpPr>
          <p:nvPr/>
        </p:nvSpPr>
        <p:spPr bwMode="auto">
          <a:xfrm>
            <a:off x="228600" y="4765675"/>
            <a:ext cx="3959225" cy="1871663"/>
          </a:xfrm>
          <a:prstGeom prst="roundRect">
            <a:avLst/>
          </a:prstGeom>
          <a:ln/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ct val="70000"/>
              </a:lnSpc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2000" b="1">
                <a:solidFill>
                  <a:prstClr val="white"/>
                </a:solidFill>
                <a:cs typeface="Arial" pitchFamily="34" charset="0"/>
              </a:rPr>
              <a:t>МОДУЛИ И ЖУРНАЛЫ</a:t>
            </a:r>
          </a:p>
          <a:p>
            <a:pPr algn="ctr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1500" b="1">
                <a:solidFill>
                  <a:prstClr val="white"/>
                </a:solidFill>
                <a:cs typeface="Arial" pitchFamily="34" charset="0"/>
              </a:rPr>
              <a:t>по оперативным и прикладным вопросам</a:t>
            </a:r>
          </a:p>
        </p:txBody>
      </p:sp>
      <p:pic>
        <p:nvPicPr>
          <p:cNvPr id="1046" name="Picture 22" descr="http://www.medknigaservis.ru/cgi-bin/unishell?hide_Cookie=yes&amp;usr_data=gd-image%28lots,Q0009542,,1,popup_image,00000000%29"/>
          <p:cNvPicPr preferRelativeResize="0">
            <a:picLocks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2612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0" name="Picture 26" descr="http://www.medknigaservis.ru/cgi-bin/unishell?hide_Cookie=yes&amp;usr_data=gd-image%28lots,Q0010635,,1,popup_image,00000000%29"/>
          <p:cNvPicPr preferRelativeResize="0">
            <a:picLocks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6168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2" name="Picture 28" descr="http://www.medknigaservis.ru/cgi-bin/unishell?hide_Cookie=yes&amp;usr_data=gd-image%28lots,Q0010234,,1,popup_image,00000000%29"/>
          <p:cNvPicPr preferRelativeResize="0">
            <a:picLocks noChangeArrowheads="1"/>
          </p:cNvPicPr>
          <p:nvPr/>
        </p:nvPicPr>
        <p:blipFill>
          <a:blip r:embed="rId20" cstate="print"/>
          <a:srcRect l="2" r="2"/>
          <a:stretch>
            <a:fillRect/>
          </a:stretch>
        </p:blipFill>
        <p:spPr bwMode="auto">
          <a:xfrm>
            <a:off x="7972425" y="2924175"/>
            <a:ext cx="7556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6" name="Рисунок 28675"/>
          <p:cNvPicPr preferRelativeResize="0">
            <a:picLocks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444500" y="5476875"/>
            <a:ext cx="7556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Рисунок 28"/>
          <p:cNvPicPr preferRelativeResize="0">
            <a:picLocks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49313" y="5476875"/>
            <a:ext cx="757237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Рисунок 30"/>
          <p:cNvPicPr preferRelativeResize="0">
            <a:picLocks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1255713" y="5476875"/>
            <a:ext cx="7556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Рисунок 25"/>
          <p:cNvPicPr preferRelativeResize="0">
            <a:picLocks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660525" y="5476875"/>
            <a:ext cx="757238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5" name="Рисунок 28674"/>
          <p:cNvPicPr preferRelativeResize="0">
            <a:picLocks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066925" y="5476875"/>
            <a:ext cx="7556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2"/>
          <p:cNvPicPr preferRelativeResize="0">
            <a:picLocks noChangeArrowheads="1"/>
          </p:cNvPicPr>
          <p:nvPr/>
        </p:nvPicPr>
        <p:blipFill>
          <a:blip r:embed="rId26" cstate="print"/>
          <a:srcRect l="45775" t="24059" r="9848" b="5441"/>
          <a:stretch>
            <a:fillRect/>
          </a:stretch>
        </p:blipFill>
        <p:spPr bwMode="auto">
          <a:xfrm>
            <a:off x="2473325" y="5476875"/>
            <a:ext cx="7556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3" name="Рисунок 28672"/>
          <p:cNvPicPr preferRelativeResize="0">
            <a:picLocks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2878138" y="5476875"/>
            <a:ext cx="75565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28678"/>
          <p:cNvGrpSpPr>
            <a:grpSpLocks/>
          </p:cNvGrpSpPr>
          <p:nvPr/>
        </p:nvGrpSpPr>
        <p:grpSpPr bwMode="auto">
          <a:xfrm>
            <a:off x="3284538" y="5476875"/>
            <a:ext cx="755650" cy="1079500"/>
            <a:chOff x="9630858" y="2075214"/>
            <a:chExt cx="2348289" cy="3162715"/>
          </a:xfrm>
        </p:grpSpPr>
        <p:pic>
          <p:nvPicPr>
            <p:cNvPr id="69668" name="Рисунок 78"/>
            <p:cNvPicPr>
              <a:picLocks noChangeAspect="1"/>
            </p:cNvPicPr>
            <p:nvPr/>
          </p:nvPicPr>
          <p:blipFill>
            <a:blip r:embed="rId28" cstate="print"/>
            <a:srcRect l="-1505" t="-2496" b="-229"/>
            <a:stretch>
              <a:fillRect/>
            </a:stretch>
          </p:blipFill>
          <p:spPr bwMode="auto">
            <a:xfrm>
              <a:off x="9630858" y="2075215"/>
              <a:ext cx="2348289" cy="31627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9669" name="Группа 79"/>
            <p:cNvGrpSpPr>
              <a:grpSpLocks/>
            </p:cNvGrpSpPr>
            <p:nvPr/>
          </p:nvGrpSpPr>
          <p:grpSpPr bwMode="auto">
            <a:xfrm>
              <a:off x="9630858" y="4145320"/>
              <a:ext cx="1498165" cy="1092609"/>
              <a:chOff x="-3132857" y="736979"/>
              <a:chExt cx="9376013" cy="5841620"/>
            </a:xfrm>
          </p:grpSpPr>
          <p:pic>
            <p:nvPicPr>
              <p:cNvPr id="69671" name="Picture 3"/>
              <p:cNvPicPr>
                <a:picLocks noChangeAspect="1" noChangeArrowheads="1"/>
              </p:cNvPicPr>
              <p:nvPr/>
            </p:nvPicPr>
            <p:blipFill>
              <a:blip r:embed="rId29" cstate="print"/>
              <a:srcRect l="1903" t="7558" r="21194" b="32552"/>
              <a:stretch>
                <a:fillRect/>
              </a:stretch>
            </p:blipFill>
            <p:spPr bwMode="auto">
              <a:xfrm>
                <a:off x="-3132857" y="736979"/>
                <a:ext cx="9376013" cy="58416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9672" name="Picture 2"/>
              <p:cNvPicPr>
                <a:picLocks noChangeAspect="1" noChangeArrowheads="1"/>
              </p:cNvPicPr>
              <p:nvPr/>
            </p:nvPicPr>
            <p:blipFill>
              <a:blip r:embed="rId30" cstate="print"/>
              <a:srcRect l="22038" t="11053" r="20970" b="32552"/>
              <a:stretch>
                <a:fillRect/>
              </a:stretch>
            </p:blipFill>
            <p:spPr bwMode="auto">
              <a:xfrm>
                <a:off x="-684585" y="1088131"/>
                <a:ext cx="6927741" cy="54840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69670" name="Picture 10"/>
            <p:cNvPicPr>
              <a:picLocks noChangeAspect="1" noChangeArrowheads="1"/>
            </p:cNvPicPr>
            <p:nvPr/>
          </p:nvPicPr>
          <p:blipFill>
            <a:blip r:embed="rId31" cstate="print"/>
            <a:srcRect l="10863" t="24081" r="11163" b="15787"/>
            <a:stretch>
              <a:fillRect/>
            </a:stretch>
          </p:blipFill>
          <p:spPr bwMode="auto">
            <a:xfrm>
              <a:off x="9630858" y="2075214"/>
              <a:ext cx="1595345" cy="984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6" name="Rectangle 3"/>
          <p:cNvSpPr txBox="1">
            <a:spLocks noChangeArrowheads="1"/>
          </p:cNvSpPr>
          <p:nvPr/>
        </p:nvSpPr>
        <p:spPr bwMode="auto">
          <a:xfrm>
            <a:off x="4948238" y="4765675"/>
            <a:ext cx="3959225" cy="1871663"/>
          </a:xfrm>
          <a:prstGeom prst="roundRect">
            <a:avLst/>
          </a:prstGeom>
          <a:ln/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/>
          <a:p>
            <a:pPr algn="ctr">
              <a:lnSpc>
                <a:spcPct val="70000"/>
              </a:lnSpc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2000" b="1">
                <a:solidFill>
                  <a:prstClr val="white"/>
                </a:solidFill>
                <a:cs typeface="Arial" pitchFamily="34" charset="0"/>
              </a:rPr>
              <a:t>ТЕСТОВЫЕ ЗАДАНИЯ</a:t>
            </a:r>
          </a:p>
          <a:p>
            <a:pPr algn="ctr">
              <a:lnSpc>
                <a:spcPct val="50000"/>
              </a:lnSpc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None/>
              <a:defRPr/>
            </a:pPr>
            <a:r>
              <a:rPr lang="ru-RU" sz="1700" b="1">
                <a:solidFill>
                  <a:prstClr val="white"/>
                </a:solidFill>
                <a:cs typeface="Arial" pitchFamily="34" charset="0"/>
              </a:rPr>
              <a:t>для контроля полученных знаний</a:t>
            </a:r>
          </a:p>
        </p:txBody>
      </p:sp>
      <p:pic>
        <p:nvPicPr>
          <p:cNvPr id="1072" name="Picture 48" descr="http://radik.web-box.ru/_mod_files/ce_images/news/767667.jpg"/>
          <p:cNvPicPr>
            <a:picLocks noChangeAspect="1" noChangeArrowheads="1"/>
          </p:cNvPicPr>
          <p:nvPr/>
        </p:nvPicPr>
        <p:blipFill>
          <a:blip r:embed="rId32" cstate="print">
            <a:extLst/>
          </a:blip>
          <a:srcRect/>
          <a:stretch>
            <a:fillRect/>
          </a:stretch>
        </p:blipFill>
        <p:spPr bwMode="auto">
          <a:xfrm>
            <a:off x="5127910" y="5476756"/>
            <a:ext cx="1378723" cy="108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  <p:pic>
        <p:nvPicPr>
          <p:cNvPr id="1068" name="Picture 44"/>
          <p:cNvPicPr>
            <a:picLocks noChangeAspect="1" noChangeArrowheads="1"/>
          </p:cNvPicPr>
          <p:nvPr/>
        </p:nvPicPr>
        <p:blipFill rotWithShape="1">
          <a:blip r:embed="rId33" cstate="print">
            <a:extLst/>
          </a:blip>
          <a:srcRect l="30810" t="17349" r="12802" b="9859"/>
          <a:stretch/>
        </p:blipFill>
        <p:spPr bwMode="auto">
          <a:xfrm>
            <a:off x="6262312" y="5476756"/>
            <a:ext cx="1488055" cy="108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  <p:pic>
        <p:nvPicPr>
          <p:cNvPr id="1070" name="Picture 46" descr="http://mamaexpert.ru/files/styles/large/public/shutterstock_88732969.jpg"/>
          <p:cNvPicPr>
            <a:picLocks noChangeAspect="1" noChangeArrowheads="1"/>
          </p:cNvPicPr>
          <p:nvPr/>
        </p:nvPicPr>
        <p:blipFill>
          <a:blip r:embed="rId34" cstate="print">
            <a:extLst/>
          </a:blip>
          <a:srcRect/>
          <a:stretch>
            <a:fillRect/>
          </a:stretch>
        </p:blipFill>
        <p:spPr bwMode="auto">
          <a:xfrm>
            <a:off x="7108143" y="5476756"/>
            <a:ext cx="1619999" cy="108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5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6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0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0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05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0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0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0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0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0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06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1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0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10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04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1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10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0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06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10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1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1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100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10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10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121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286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286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1000"/>
                                        <p:tgtEl>
                                          <p:spTgt spid="286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86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286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2867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0" dur="1000"/>
                                        <p:tgtEl>
                                          <p:spTgt spid="28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286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286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1000" fill="hold"/>
                                        <p:tgtEl>
                                          <p:spTgt spid="2867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2" dur="1000"/>
                                        <p:tgtEl>
                                          <p:spTgt spid="286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16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17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4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7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7" dur="500"/>
                                        <p:tgtEl>
                                          <p:spTgt spid="10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0" dur="500"/>
                                        <p:tgtEl>
                                          <p:spTgt spid="10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22" presetClass="entr" presetSubtype="8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3" dur="500"/>
                                        <p:tgtEl>
                                          <p:spTgt spid="10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6" grpId="0" animBg="1"/>
      <p:bldP spid="48" grpId="0" animBg="1"/>
      <p:bldP spid="86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4" descr="G:\avtor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4525" y="1484313"/>
            <a:ext cx="7888288" cy="540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659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922115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Авторы информационных решений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2875"/>
          </a:xfrm>
        </p:spPr>
        <p:txBody>
          <a:bodyPr/>
          <a:lstStyle/>
          <a:p>
            <a:pPr eaLnBrk="1" hangingPunct="1"/>
            <a:r>
              <a:rPr kumimoji="0" lang="ru-RU" sz="3600" b="1" dirty="0" smtClean="0">
                <a:solidFill>
                  <a:schemeClr val="bg1"/>
                </a:solidFill>
              </a:rPr>
              <a:t>Инфраструктура подготовлена регионами</a:t>
            </a:r>
          </a:p>
        </p:txBody>
      </p:sp>
      <p:sp>
        <p:nvSpPr>
          <p:cNvPr id="26627" name="Rectangle 3"/>
          <p:cNvSpPr>
            <a:spLocks noGrp="1" noChangeArrowheads="1"/>
          </p:cNvSpPr>
          <p:nvPr>
            <p:ph idx="1"/>
          </p:nvPr>
        </p:nvSpPr>
        <p:spPr>
          <a:xfrm>
            <a:off x="179388" y="1739900"/>
            <a:ext cx="8856662" cy="4425950"/>
          </a:xfrm>
        </p:spPr>
        <p:txBody>
          <a:bodyPr/>
          <a:lstStyle/>
          <a:p>
            <a:pPr marL="450850" indent="-450850" eaLnBrk="1" hangingPunct="1">
              <a:buClr>
                <a:srgbClr val="C00000"/>
              </a:buClr>
              <a:buFont typeface="Wingdings" pitchFamily="2" charset="2"/>
              <a:buChar char="ü"/>
            </a:pPr>
            <a:r>
              <a:rPr kumimoji="0" lang="ru-RU" dirty="0" smtClean="0"/>
              <a:t>Оснащение рабочих мест</a:t>
            </a:r>
            <a:r>
              <a:rPr kumimoji="0" lang="ru-RU" b="1" dirty="0" smtClean="0">
                <a:solidFill>
                  <a:srgbClr val="C00000"/>
                </a:solidFill>
              </a:rPr>
              <a:t> компьютерами</a:t>
            </a:r>
          </a:p>
          <a:p>
            <a:pPr marL="450850" indent="-450850" eaLnBrk="1" hangingPunct="1">
              <a:buClr>
                <a:srgbClr val="C00000"/>
              </a:buClr>
              <a:buFont typeface="Wingdings" pitchFamily="2" charset="2"/>
              <a:buChar char="ü"/>
            </a:pPr>
            <a:r>
              <a:rPr kumimoji="0" lang="ru-RU" dirty="0" smtClean="0"/>
              <a:t>Возможность выхода в </a:t>
            </a:r>
            <a:r>
              <a:rPr kumimoji="0" lang="ru-RU" b="1" dirty="0" smtClean="0">
                <a:solidFill>
                  <a:srgbClr val="C00000"/>
                </a:solidFill>
              </a:rPr>
              <a:t>Интернет</a:t>
            </a:r>
          </a:p>
          <a:p>
            <a:pPr marL="450850" indent="-450850" eaLnBrk="1" hangingPunct="1">
              <a:buClr>
                <a:srgbClr val="C00000"/>
              </a:buClr>
              <a:buFont typeface="Wingdings" pitchFamily="2" charset="2"/>
              <a:buChar char="ü"/>
            </a:pPr>
            <a:r>
              <a:rPr kumimoji="0" lang="ru-RU" dirty="0" smtClean="0"/>
              <a:t>Доступ к </a:t>
            </a:r>
            <a:r>
              <a:rPr kumimoji="0" lang="ru-RU" b="1" dirty="0" smtClean="0">
                <a:solidFill>
                  <a:srgbClr val="C00000"/>
                </a:solidFill>
              </a:rPr>
              <a:t>образовательной среде</a:t>
            </a:r>
            <a:endParaRPr kumimoji="0" lang="ru-RU" dirty="0" smtClean="0"/>
          </a:p>
          <a:p>
            <a:pPr marL="450850" indent="-450850" eaLnBrk="1" hangingPunct="1"/>
            <a:endParaRPr kumimoji="0" lang="ru-RU" dirty="0" smtClean="0"/>
          </a:p>
        </p:txBody>
      </p:sp>
      <p:pic>
        <p:nvPicPr>
          <p:cNvPr id="5" name="Picture 16" descr="post-3-13269914266485"/>
          <p:cNvPicPr>
            <a:picLocks noChangeAspect="1" noChangeArrowheads="1"/>
          </p:cNvPicPr>
          <p:nvPr/>
        </p:nvPicPr>
        <p:blipFill>
          <a:blip r:embed="rId3" cstate="print"/>
          <a:srcRect l="3842" t="19629" r="26930" b="10278"/>
          <a:stretch>
            <a:fillRect/>
          </a:stretch>
        </p:blipFill>
        <p:spPr bwMode="auto">
          <a:xfrm>
            <a:off x="3489325" y="3789363"/>
            <a:ext cx="2378075" cy="163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6" name="Picture 17" descr="0_59aa7_c956fe8_X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54738" y="3789363"/>
            <a:ext cx="2520950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7" name="Picture 18" descr="post-3-13269908937886"/>
          <p:cNvPicPr>
            <a:picLocks noChangeAspect="1" noChangeArrowheads="1"/>
          </p:cNvPicPr>
          <p:nvPr/>
        </p:nvPicPr>
        <p:blipFill>
          <a:blip r:embed="rId5" cstate="print"/>
          <a:srcRect l="6302" r="6302" b="10130"/>
          <a:stretch>
            <a:fillRect/>
          </a:stretch>
        </p:blipFill>
        <p:spPr bwMode="auto">
          <a:xfrm>
            <a:off x="755650" y="3789363"/>
            <a:ext cx="2376488" cy="166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</p:pic>
      <p:sp>
        <p:nvSpPr>
          <p:cNvPr id="8" name="Rectangle 19"/>
          <p:cNvSpPr>
            <a:spLocks noChangeArrowheads="1"/>
          </p:cNvSpPr>
          <p:nvPr/>
        </p:nvSpPr>
        <p:spPr bwMode="auto">
          <a:xfrm>
            <a:off x="539553" y="5877272"/>
            <a:ext cx="8280598" cy="720080"/>
          </a:xfrm>
          <a:prstGeom prst="rect">
            <a:avLst/>
          </a:prstGeom>
          <a:solidFill>
            <a:srgbClr val="C00000"/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3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На рабочем месте через Интернет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66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66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66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27" grpId="0" build="p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25"/>
          <p:cNvSpPr txBox="1">
            <a:spLocks noChangeArrowheads="1"/>
          </p:cNvSpPr>
          <p:nvPr/>
        </p:nvSpPr>
        <p:spPr bwMode="auto">
          <a:xfrm>
            <a:off x="457200" y="4687888"/>
            <a:ext cx="1460500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945" tIns="41473" rIns="82945" bIns="41473">
            <a:spAutoFit/>
          </a:bodyPr>
          <a:lstStyle/>
          <a:p>
            <a:r>
              <a:rPr lang="en-US" sz="1300" b="1">
                <a:solidFill>
                  <a:srgbClr val="CC0000"/>
                </a:solidFill>
                <a:latin typeface="Verdana" pitchFamily="34" charset="0"/>
              </a:rPr>
              <a:t>NHC Evidence</a:t>
            </a:r>
            <a:endParaRPr lang="ru-RU" sz="1300" b="1">
              <a:solidFill>
                <a:srgbClr val="CC0000"/>
              </a:solidFill>
              <a:latin typeface="Verdana" pitchFamily="34" charset="0"/>
            </a:endParaRPr>
          </a:p>
        </p:txBody>
      </p:sp>
      <p:sp>
        <p:nvSpPr>
          <p:cNvPr id="72707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7638"/>
          </a:xfrm>
        </p:spPr>
        <p:txBody>
          <a:bodyPr/>
          <a:lstStyle/>
          <a:p>
            <a:pPr eaLnBrk="1" hangingPunct="1"/>
            <a:r>
              <a:rPr kumimoji="0" lang="ru-RU" sz="3200" b="1" dirty="0" smtClean="0">
                <a:solidFill>
                  <a:schemeClr val="bg1"/>
                </a:solidFill>
              </a:rPr>
              <a:t>Электронная</a:t>
            </a:r>
            <a:br>
              <a:rPr kumimoji="0" lang="ru-RU" sz="3200" b="1" dirty="0" smtClean="0">
                <a:solidFill>
                  <a:schemeClr val="bg1"/>
                </a:solidFill>
              </a:rPr>
            </a:br>
            <a:r>
              <a:rPr kumimoji="0" lang="ru-RU" sz="3200" b="1" dirty="0" smtClean="0">
                <a:solidFill>
                  <a:schemeClr val="bg1"/>
                </a:solidFill>
              </a:rPr>
              <a:t>медицинская библиотека подготовлена АСМОК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r="833"/>
          <a:stretch>
            <a:fillRect/>
          </a:stretch>
        </p:blipFill>
        <p:spPr bwMode="auto">
          <a:xfrm>
            <a:off x="538163" y="2465388"/>
            <a:ext cx="2287587" cy="1803400"/>
          </a:xfrm>
          <a:prstGeom prst="rect">
            <a:avLst/>
          </a:prstGeom>
          <a:noFill/>
          <a:ln w="9525">
            <a:solidFill>
              <a:srgbClr val="CC0000"/>
            </a:solidFill>
            <a:miter lim="800000"/>
            <a:headEnd/>
            <a:tailEnd/>
          </a:ln>
          <a:effectLst>
            <a:outerShdw dist="45791" dir="3378596" algn="ctr" rotWithShape="0">
              <a:srgbClr val="808080">
                <a:alpha val="50000"/>
              </a:srgbClr>
            </a:outerShdw>
          </a:effectLst>
        </p:spPr>
      </p:pic>
      <p:sp>
        <p:nvSpPr>
          <p:cNvPr id="12" name="Text Box 18"/>
          <p:cNvSpPr txBox="1">
            <a:spLocks noChangeArrowheads="1"/>
          </p:cNvSpPr>
          <p:nvPr/>
        </p:nvSpPr>
        <p:spPr bwMode="auto">
          <a:xfrm>
            <a:off x="461963" y="2189163"/>
            <a:ext cx="1187450" cy="28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945" tIns="41473" rIns="82945" bIns="41473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300" b="1">
                <a:solidFill>
                  <a:srgbClr val="CC0000"/>
                </a:solidFill>
                <a:latin typeface="Verdana" pitchFamily="34" charset="0"/>
              </a:rPr>
              <a:t>UpToDate</a:t>
            </a:r>
            <a:endParaRPr lang="ru-RU" sz="1300" b="1">
              <a:solidFill>
                <a:srgbClr val="CC0000"/>
              </a:solidFill>
              <a:latin typeface="Verdana" pitchFamily="34" charset="0"/>
            </a:endParaRPr>
          </a:p>
        </p:txBody>
      </p:sp>
      <p:sp>
        <p:nvSpPr>
          <p:cNvPr id="15" name="Text Box 20"/>
          <p:cNvSpPr txBox="1">
            <a:spLocks noChangeArrowheads="1"/>
          </p:cNvSpPr>
          <p:nvPr/>
        </p:nvSpPr>
        <p:spPr bwMode="auto">
          <a:xfrm>
            <a:off x="2830513" y="3054350"/>
            <a:ext cx="1176337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945" tIns="41473" rIns="82945" bIns="41473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300" b="1">
                <a:solidFill>
                  <a:srgbClr val="CC0000"/>
                </a:solidFill>
                <a:latin typeface="Verdana" pitchFamily="34" charset="0"/>
              </a:rPr>
              <a:t>MDconsult</a:t>
            </a:r>
            <a:endParaRPr lang="ru-RU" sz="1300" b="1">
              <a:solidFill>
                <a:srgbClr val="CC0000"/>
              </a:solidFill>
              <a:latin typeface="Verdana" pitchFamily="34" charset="0"/>
            </a:endParaRPr>
          </a:p>
        </p:txBody>
      </p:sp>
      <p:sp>
        <p:nvSpPr>
          <p:cNvPr id="16" name="Line 21"/>
          <p:cNvSpPr>
            <a:spLocks noChangeShapeType="1"/>
          </p:cNvSpPr>
          <p:nvPr/>
        </p:nvSpPr>
        <p:spPr bwMode="auto">
          <a:xfrm>
            <a:off x="2954338" y="3311525"/>
            <a:ext cx="9906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ru-RU"/>
          </a:p>
        </p:txBody>
      </p:sp>
      <p:pic>
        <p:nvPicPr>
          <p:cNvPr id="17" name="Рисунок 1"/>
          <p:cNvPicPr>
            <a:picLocks noChangeAspect="1" noChangeArrowheads="1"/>
          </p:cNvPicPr>
          <p:nvPr/>
        </p:nvPicPr>
        <p:blipFill>
          <a:blip r:embed="rId4" cstate="print"/>
          <a:srcRect l="11122" t="3337" r="12605"/>
          <a:stretch>
            <a:fillRect/>
          </a:stretch>
        </p:blipFill>
        <p:spPr bwMode="auto">
          <a:xfrm>
            <a:off x="5226050" y="3556000"/>
            <a:ext cx="3527425" cy="2752725"/>
          </a:xfrm>
          <a:prstGeom prst="rect">
            <a:avLst/>
          </a:prstGeom>
          <a:noFill/>
          <a:ln w="9525">
            <a:solidFill>
              <a:srgbClr val="CC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 cstate="print"/>
          <a:srcRect l="10701" r="29333" b="24448"/>
          <a:stretch>
            <a:fillRect/>
          </a:stretch>
        </p:blipFill>
        <p:spPr bwMode="auto">
          <a:xfrm>
            <a:off x="539750" y="4941888"/>
            <a:ext cx="2286000" cy="1727200"/>
          </a:xfrm>
          <a:prstGeom prst="rect">
            <a:avLst/>
          </a:prstGeom>
          <a:noFill/>
          <a:ln w="9525">
            <a:solidFill>
              <a:srgbClr val="CC0000"/>
            </a:solidFill>
            <a:miter lim="800000"/>
            <a:headEnd/>
            <a:tailEnd/>
          </a:ln>
          <a:effectLst>
            <a:outerShdw dist="45791" dir="3378596" algn="ctr" rotWithShape="0">
              <a:srgbClr val="808080">
                <a:alpha val="50000"/>
              </a:srgbClr>
            </a:outerShdw>
          </a:effectLst>
        </p:spPr>
      </p:pic>
      <p:sp>
        <p:nvSpPr>
          <p:cNvPr id="20" name="Line 43"/>
          <p:cNvSpPr>
            <a:spLocks noChangeShapeType="1"/>
          </p:cNvSpPr>
          <p:nvPr/>
        </p:nvSpPr>
        <p:spPr bwMode="auto">
          <a:xfrm>
            <a:off x="538163" y="2441575"/>
            <a:ext cx="91440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ru-RU"/>
          </a:p>
        </p:txBody>
      </p:sp>
      <p:sp>
        <p:nvSpPr>
          <p:cNvPr id="21" name="Line 44"/>
          <p:cNvSpPr>
            <a:spLocks noChangeShapeType="1"/>
          </p:cNvSpPr>
          <p:nvPr/>
        </p:nvSpPr>
        <p:spPr bwMode="auto">
          <a:xfrm>
            <a:off x="539750" y="4932363"/>
            <a:ext cx="1239838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ru-RU"/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44675" y="3336925"/>
            <a:ext cx="2090738" cy="1747838"/>
          </a:xfrm>
          <a:prstGeom prst="rect">
            <a:avLst/>
          </a:prstGeom>
          <a:noFill/>
          <a:ln w="9525">
            <a:solidFill>
              <a:srgbClr val="CC0000"/>
            </a:solidFill>
            <a:miter lim="800000"/>
            <a:headEnd/>
            <a:tailEnd/>
          </a:ln>
          <a:effectLst>
            <a:outerShdw dist="45791" dir="3378596" algn="ctr" rotWithShape="0">
              <a:srgbClr val="808080">
                <a:alpha val="50000"/>
              </a:srgbClr>
            </a:outerShdw>
          </a:effectLst>
        </p:spPr>
      </p:pic>
      <p:sp>
        <p:nvSpPr>
          <p:cNvPr id="29" name="AutoShape 35"/>
          <p:cNvSpPr>
            <a:spLocks noChangeArrowheads="1"/>
          </p:cNvSpPr>
          <p:nvPr/>
        </p:nvSpPr>
        <p:spPr bwMode="auto">
          <a:xfrm rot="5400000">
            <a:off x="2482305" y="4121736"/>
            <a:ext cx="4249886" cy="646560"/>
          </a:xfrm>
          <a:prstGeom prst="triangle">
            <a:avLst>
              <a:gd name="adj" fmla="val 50000"/>
            </a:avLst>
          </a:prstGeom>
          <a:solidFill>
            <a:srgbClr val="0047AB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2800" b="1" dirty="0">
              <a:solidFill>
                <a:srgbClr val="FFFFFF"/>
              </a:solidFill>
            </a:endParaRPr>
          </a:p>
        </p:txBody>
      </p:sp>
      <p:sp>
        <p:nvSpPr>
          <p:cNvPr id="30" name="Заголовок 1"/>
          <p:cNvSpPr>
            <a:spLocks/>
          </p:cNvSpPr>
          <p:nvPr/>
        </p:nvSpPr>
        <p:spPr bwMode="auto">
          <a:xfrm>
            <a:off x="371521" y="1700856"/>
            <a:ext cx="3600000" cy="432000"/>
          </a:xfrm>
          <a:prstGeom prst="rect">
            <a:avLst/>
          </a:prstGeom>
          <a:solidFill>
            <a:srgbClr val="008200"/>
          </a:solidFill>
          <a:ln w="38100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lIns="82937" tIns="41469" rIns="82937" bIns="41469" anchor="ctr"/>
          <a:lstStyle/>
          <a:p>
            <a:pPr algn="ctr" defTabSz="828675">
              <a:defRPr/>
            </a:pPr>
            <a:r>
              <a:rPr lang="ru-RU" sz="1400" b="1">
                <a:solidFill>
                  <a:prstClr val="white"/>
                </a:solidFill>
                <a:latin typeface="Verdana" pitchFamily="34" charset="0"/>
                <a:cs typeface="Arial" pitchFamily="34" charset="0"/>
              </a:rPr>
              <a:t>ЗАРУБЕЖНЫЕ ПРОТОТИПЫ</a:t>
            </a:r>
          </a:p>
        </p:txBody>
      </p:sp>
      <p:sp>
        <p:nvSpPr>
          <p:cNvPr id="32" name="Скругленный прямоугольник 8"/>
          <p:cNvSpPr>
            <a:spLocks noChangeArrowheads="1"/>
          </p:cNvSpPr>
          <p:nvPr/>
        </p:nvSpPr>
        <p:spPr bwMode="auto">
          <a:xfrm>
            <a:off x="5226050" y="1700213"/>
            <a:ext cx="3594100" cy="1657350"/>
          </a:xfrm>
          <a:prstGeom prst="roundRect">
            <a:avLst>
              <a:gd name="adj" fmla="val 16667"/>
            </a:avLst>
          </a:prstGeom>
          <a:solidFill>
            <a:srgbClr val="FCDDC4"/>
          </a:solidFill>
          <a:ln>
            <a:solidFill>
              <a:srgbClr val="C00000"/>
            </a:solidFill>
            <a:headEnd/>
            <a:tailEnd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31" tIns="45716" rIns="91431" bIns="45716" anchor="ctr"/>
          <a:lstStyle/>
          <a:p>
            <a:pPr defTabSz="8001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  <a:defRPr/>
            </a:pPr>
            <a:endParaRPr lang="ru-RU" sz="1600" b="1">
              <a:solidFill>
                <a:srgbClr val="000000"/>
              </a:solidFill>
              <a:cs typeface="Arial" pitchFamily="34" charset="0"/>
            </a:endParaRPr>
          </a:p>
          <a:p>
            <a:pPr algn="ctr" defTabSz="800100">
              <a:lnSpc>
                <a:spcPct val="90000"/>
              </a:lnSpc>
              <a:spcAft>
                <a:spcPct val="35000"/>
              </a:spcAft>
              <a:buClr>
                <a:srgbClr val="C00000"/>
              </a:buClr>
              <a:defRPr/>
            </a:pPr>
            <a:r>
              <a:rPr lang="ru-RU" sz="1600" b="1">
                <a:solidFill>
                  <a:srgbClr val="000000"/>
                </a:solidFill>
                <a:cs typeface="Arial" pitchFamily="34" charset="0"/>
              </a:rPr>
              <a:t>должны включать учебно-методические комплексы по каждой специальности</a:t>
            </a:r>
            <a:br>
              <a:rPr lang="ru-RU" sz="1600" b="1">
                <a:solidFill>
                  <a:srgbClr val="000000"/>
                </a:solidFill>
                <a:cs typeface="Arial" pitchFamily="34" charset="0"/>
              </a:rPr>
            </a:br>
            <a:r>
              <a:rPr lang="ru-RU" sz="1600" b="1">
                <a:solidFill>
                  <a:srgbClr val="000000"/>
                </a:solidFill>
                <a:cs typeface="Arial" pitchFamily="34" charset="0"/>
              </a:rPr>
              <a:t>(например «Консультант врача»)</a:t>
            </a:r>
          </a:p>
        </p:txBody>
      </p:sp>
      <p:sp>
        <p:nvSpPr>
          <p:cNvPr id="31" name="AutoShape 39"/>
          <p:cNvSpPr>
            <a:spLocks noChangeArrowheads="1"/>
          </p:cNvSpPr>
          <p:nvPr/>
        </p:nvSpPr>
        <p:spPr bwMode="auto">
          <a:xfrm>
            <a:off x="5220072" y="1700856"/>
            <a:ext cx="3600000" cy="432000"/>
          </a:xfrm>
          <a:prstGeom prst="roundRect">
            <a:avLst>
              <a:gd name="adj" fmla="val 16667"/>
            </a:avLst>
          </a:prstGeom>
          <a:solidFill>
            <a:srgbClr val="CC33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/>
          <a:lstStyle/>
          <a:p>
            <a:pPr algn="ctr">
              <a:defRPr/>
            </a:pPr>
            <a:r>
              <a:rPr lang="ru-RU" sz="1400" b="1">
                <a:solidFill>
                  <a:prstClr val="white"/>
                </a:solidFill>
                <a:latin typeface="Verdana" pitchFamily="34" charset="0"/>
                <a:cs typeface="Arial" pitchFamily="34" charset="0"/>
              </a:rPr>
              <a:t>ОТЕЧЕСТВЕННЫЕ АНАЛОГИ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5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6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2" grpId="0"/>
      <p:bldP spid="15" grpId="0"/>
      <p:bldP spid="16" grpId="0" animBg="1"/>
      <p:bldP spid="20" grpId="0" animBg="1"/>
      <p:bldP spid="21" grpId="0" animBg="1"/>
      <p:bldP spid="32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/>
        </p:nvGraphicFramePr>
        <p:xfrm>
          <a:off x="2826708" y="1597262"/>
          <a:ext cx="6072230" cy="50720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3731" name="Прямоугольник 4"/>
          <p:cNvSpPr>
            <a:spLocks noChangeArrowheads="1"/>
          </p:cNvSpPr>
          <p:nvPr/>
        </p:nvSpPr>
        <p:spPr bwMode="auto">
          <a:xfrm>
            <a:off x="1970088" y="2454275"/>
            <a:ext cx="2643187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>
                <a:solidFill>
                  <a:srgbClr val="324A98"/>
                </a:solidFill>
              </a:rPr>
              <a:t>Обучение</a:t>
            </a:r>
            <a:br>
              <a:rPr lang="ru-RU" sz="1600" b="1">
                <a:solidFill>
                  <a:srgbClr val="324A98"/>
                </a:solidFill>
              </a:rPr>
            </a:br>
            <a:r>
              <a:rPr lang="ru-RU" sz="1600" b="1">
                <a:solidFill>
                  <a:srgbClr val="324A98"/>
                </a:solidFill>
              </a:rPr>
              <a:t>на симуляторах</a:t>
            </a:r>
          </a:p>
        </p:txBody>
      </p:sp>
      <p:sp>
        <p:nvSpPr>
          <p:cNvPr id="73732" name="Прямоугольник 5"/>
          <p:cNvSpPr>
            <a:spLocks noChangeArrowheads="1"/>
          </p:cNvSpPr>
          <p:nvPr/>
        </p:nvSpPr>
        <p:spPr bwMode="auto">
          <a:xfrm>
            <a:off x="1755775" y="3740150"/>
            <a:ext cx="2000250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>
                <a:solidFill>
                  <a:srgbClr val="324A98"/>
                </a:solidFill>
              </a:rPr>
              <a:t>Доступ</a:t>
            </a:r>
            <a:br>
              <a:rPr lang="ru-RU" sz="1600" b="1">
                <a:solidFill>
                  <a:srgbClr val="324A98"/>
                </a:solidFill>
              </a:rPr>
            </a:br>
            <a:r>
              <a:rPr lang="ru-RU" sz="1600" b="1">
                <a:solidFill>
                  <a:srgbClr val="324A98"/>
                </a:solidFill>
              </a:rPr>
              <a:t>к электронной </a:t>
            </a:r>
            <a:br>
              <a:rPr lang="ru-RU" sz="1600" b="1">
                <a:solidFill>
                  <a:srgbClr val="324A98"/>
                </a:solidFill>
              </a:rPr>
            </a:br>
            <a:r>
              <a:rPr lang="ru-RU" sz="1600" b="1">
                <a:solidFill>
                  <a:srgbClr val="324A98"/>
                </a:solidFill>
              </a:rPr>
              <a:t>медицинской</a:t>
            </a:r>
            <a:br>
              <a:rPr lang="ru-RU" sz="1600" b="1">
                <a:solidFill>
                  <a:srgbClr val="324A98"/>
                </a:solidFill>
              </a:rPr>
            </a:br>
            <a:r>
              <a:rPr lang="ru-RU" sz="1600" b="1">
                <a:solidFill>
                  <a:srgbClr val="324A98"/>
                </a:solidFill>
              </a:rPr>
              <a:t>библиотеке</a:t>
            </a:r>
          </a:p>
        </p:txBody>
      </p:sp>
      <p:sp>
        <p:nvSpPr>
          <p:cNvPr id="73733" name="Прямоугольник 6"/>
          <p:cNvSpPr>
            <a:spLocks noChangeArrowheads="1"/>
          </p:cNvSpPr>
          <p:nvPr/>
        </p:nvSpPr>
        <p:spPr bwMode="auto">
          <a:xfrm>
            <a:off x="684213" y="5168900"/>
            <a:ext cx="2214562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>
                <a:solidFill>
                  <a:srgbClr val="324A98"/>
                </a:solidFill>
              </a:rPr>
              <a:t>Информационно-образовательные ресурсы на рабочем месте</a:t>
            </a:r>
          </a:p>
        </p:txBody>
      </p:sp>
      <p:sp>
        <p:nvSpPr>
          <p:cNvPr id="8" name="Правая фигурная скобка 7"/>
          <p:cNvSpPr/>
          <p:nvPr/>
        </p:nvSpPr>
        <p:spPr>
          <a:xfrm rot="12700360">
            <a:off x="2982913" y="5218113"/>
            <a:ext cx="165100" cy="1460500"/>
          </a:xfrm>
          <a:prstGeom prst="rightBrace">
            <a:avLst>
              <a:gd name="adj1" fmla="val 44523"/>
              <a:gd name="adj2" fmla="val 50019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Правая фигурная скобка 8"/>
          <p:cNvSpPr/>
          <p:nvPr/>
        </p:nvSpPr>
        <p:spPr>
          <a:xfrm rot="12700360">
            <a:off x="3768725" y="3917950"/>
            <a:ext cx="165100" cy="1458913"/>
          </a:xfrm>
          <a:prstGeom prst="rightBrace">
            <a:avLst>
              <a:gd name="adj1" fmla="val 44523"/>
              <a:gd name="adj2" fmla="val 50019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Правая фигурная скобка 9"/>
          <p:cNvSpPr/>
          <p:nvPr/>
        </p:nvSpPr>
        <p:spPr>
          <a:xfrm rot="12700360">
            <a:off x="4900613" y="1362075"/>
            <a:ext cx="188912" cy="2865438"/>
          </a:xfrm>
          <a:prstGeom prst="rightBrace">
            <a:avLst>
              <a:gd name="adj1" fmla="val 44523"/>
              <a:gd name="adj2" fmla="val 50019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3737" name="Прямоугольник 10"/>
          <p:cNvSpPr>
            <a:spLocks noChangeArrowheads="1"/>
          </p:cNvSpPr>
          <p:nvPr/>
        </p:nvSpPr>
        <p:spPr bwMode="auto">
          <a:xfrm>
            <a:off x="4684713" y="5668963"/>
            <a:ext cx="2214562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>
                <a:solidFill>
                  <a:srgbClr val="FFFFFF"/>
                </a:solidFill>
              </a:rPr>
              <a:t>Знания</a:t>
            </a:r>
          </a:p>
        </p:txBody>
      </p:sp>
      <p:sp>
        <p:nvSpPr>
          <p:cNvPr id="73738" name="Прямоугольник 11"/>
          <p:cNvSpPr>
            <a:spLocks noChangeArrowheads="1"/>
          </p:cNvSpPr>
          <p:nvPr/>
        </p:nvSpPr>
        <p:spPr bwMode="auto">
          <a:xfrm>
            <a:off x="4184650" y="4311650"/>
            <a:ext cx="3286125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600" b="1">
                <a:solidFill>
                  <a:srgbClr val="FFFFFF"/>
                </a:solidFill>
              </a:rPr>
              <a:t>Эффективное принятие решений</a:t>
            </a:r>
          </a:p>
        </p:txBody>
      </p:sp>
      <p:sp>
        <p:nvSpPr>
          <p:cNvPr id="73739" name="Прямоугольник 12"/>
          <p:cNvSpPr>
            <a:spLocks noChangeArrowheads="1"/>
          </p:cNvSpPr>
          <p:nvPr/>
        </p:nvSpPr>
        <p:spPr bwMode="auto">
          <a:xfrm>
            <a:off x="4641850" y="3168650"/>
            <a:ext cx="2500313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b="1">
                <a:solidFill>
                  <a:srgbClr val="376092"/>
                </a:solidFill>
              </a:rPr>
              <a:t>Практические умения</a:t>
            </a:r>
          </a:p>
        </p:txBody>
      </p:sp>
      <p:sp>
        <p:nvSpPr>
          <p:cNvPr id="73740" name="Прямоугольник 13"/>
          <p:cNvSpPr>
            <a:spLocks noChangeArrowheads="1"/>
          </p:cNvSpPr>
          <p:nvPr/>
        </p:nvSpPr>
        <p:spPr bwMode="auto">
          <a:xfrm>
            <a:off x="5137150" y="2016125"/>
            <a:ext cx="150018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>
                <a:solidFill>
                  <a:srgbClr val="376092"/>
                </a:solidFill>
              </a:rPr>
              <a:t>Умение работать</a:t>
            </a:r>
            <a:br>
              <a:rPr lang="ru-RU" sz="1600" b="1">
                <a:solidFill>
                  <a:srgbClr val="376092"/>
                </a:solidFill>
              </a:rPr>
            </a:br>
            <a:r>
              <a:rPr lang="ru-RU" sz="1600" b="1">
                <a:solidFill>
                  <a:srgbClr val="376092"/>
                </a:solidFill>
              </a:rPr>
              <a:t>в команде</a:t>
            </a:r>
          </a:p>
        </p:txBody>
      </p:sp>
      <p:sp>
        <p:nvSpPr>
          <p:cNvPr id="13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417638"/>
          </a:xfrm>
        </p:spPr>
        <p:txBody>
          <a:bodyPr/>
          <a:lstStyle/>
          <a:p>
            <a:pPr eaLnBrk="1" hangingPunct="1"/>
            <a:r>
              <a:rPr kumimoji="0" lang="ru-RU" sz="3200" b="1" dirty="0" smtClean="0">
                <a:solidFill>
                  <a:schemeClr val="bg1"/>
                </a:solidFill>
              </a:rPr>
              <a:t>Во многих вузах созданы </a:t>
            </a:r>
            <a:r>
              <a:rPr kumimoji="0" lang="ru-RU" sz="3200" b="1" dirty="0" err="1" smtClean="0">
                <a:solidFill>
                  <a:schemeClr val="bg1"/>
                </a:solidFill>
              </a:rPr>
              <a:t>симуляционные</a:t>
            </a:r>
            <a:r>
              <a:rPr kumimoji="0" lang="ru-RU" sz="3200" b="1" dirty="0" smtClean="0">
                <a:solidFill>
                  <a:schemeClr val="bg1"/>
                </a:solidFill>
              </a:rPr>
              <a:t> центры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467545" y="1988840"/>
            <a:ext cx="8466906" cy="2859385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4400" b="1" dirty="0" smtClean="0">
                <a:solidFill>
                  <a:srgbClr val="C00000"/>
                </a:solidFill>
              </a:rPr>
              <a:t>«Образовательная среда» и модули для дистанционного обучения</a:t>
            </a:r>
          </a:p>
          <a:p>
            <a:pPr eaLnBrk="1" hangingPunct="1"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46100"/>
            <a:ext cx="9144000" cy="5752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55480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20700"/>
            <a:ext cx="9144000" cy="5792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372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Заголовок 1"/>
          <p:cNvSpPr>
            <a:spLocks noGrp="1"/>
          </p:cNvSpPr>
          <p:nvPr>
            <p:ph type="title"/>
          </p:nvPr>
        </p:nvSpPr>
        <p:spPr>
          <a:xfrm>
            <a:off x="323850" y="274638"/>
            <a:ext cx="8640763" cy="1143000"/>
          </a:xfrm>
        </p:spPr>
        <p:txBody>
          <a:bodyPr/>
          <a:lstStyle/>
          <a:p>
            <a:pPr eaLnBrk="1" hangingPunct="1"/>
            <a:r>
              <a:rPr kumimoji="0" lang="ru-RU" sz="4800" b="1" smtClean="0">
                <a:solidFill>
                  <a:schemeClr val="bg1"/>
                </a:solidFill>
              </a:rPr>
              <a:t>ПОЛИТИКА ПРАВИТЕЛЬСТВА</a:t>
            </a:r>
          </a:p>
        </p:txBody>
      </p:sp>
      <p:pic>
        <p:nvPicPr>
          <p:cNvPr id="4" name="Рисунок 3" descr="Медведев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3528" y="1628800"/>
            <a:ext cx="3442577" cy="23042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 descr="Скворцова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52120" y="4509120"/>
            <a:ext cx="2967893" cy="19785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1989" name="Прямоугольник 19"/>
          <p:cNvSpPr>
            <a:spLocks noChangeArrowheads="1"/>
          </p:cNvSpPr>
          <p:nvPr/>
        </p:nvSpPr>
        <p:spPr bwMode="auto">
          <a:xfrm>
            <a:off x="5219700" y="1557338"/>
            <a:ext cx="3714750" cy="687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endParaRPr lang="ru-RU" sz="2000" baseline="30000">
              <a:solidFill>
                <a:srgbClr val="000000"/>
              </a:solidFill>
            </a:endParaRPr>
          </a:p>
          <a:p>
            <a:pPr algn="r"/>
            <a:r>
              <a:rPr lang="ru-RU" sz="2000" baseline="30000">
                <a:solidFill>
                  <a:srgbClr val="000000"/>
                </a:solidFill>
              </a:rPr>
              <a:t>Д.А. Медведев, 5 октября 2012 года, </a:t>
            </a:r>
            <a:br>
              <a:rPr lang="ru-RU" sz="2000" baseline="30000">
                <a:solidFill>
                  <a:srgbClr val="000000"/>
                </a:solidFill>
              </a:rPr>
            </a:br>
            <a:r>
              <a:rPr lang="ru-RU" sz="2000" baseline="30000">
                <a:solidFill>
                  <a:srgbClr val="000000"/>
                </a:solidFill>
              </a:rPr>
              <a:t>Первый национальный съезд врачей РФ</a:t>
            </a:r>
          </a:p>
        </p:txBody>
      </p:sp>
      <p:sp>
        <p:nvSpPr>
          <p:cNvPr id="41990" name="Прямоугольник 20"/>
          <p:cNvSpPr>
            <a:spLocks noChangeArrowheads="1"/>
          </p:cNvSpPr>
          <p:nvPr/>
        </p:nvSpPr>
        <p:spPr bwMode="auto">
          <a:xfrm>
            <a:off x="3924300" y="2422525"/>
            <a:ext cx="4895850" cy="132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 baseline="30000">
              <a:solidFill>
                <a:srgbClr val="000000"/>
              </a:solidFill>
              <a:latin typeface="Times New Roman" pitchFamily="18" charset="0"/>
            </a:endParaRPr>
          </a:p>
          <a:p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«…Важнейший </a:t>
            </a:r>
            <a:r>
              <a:rPr lang="ru-RU" sz="2400" baseline="30000">
                <a:solidFill>
                  <a:srgbClr val="FF0000"/>
                </a:solidFill>
                <a:latin typeface="Times New Roman" pitchFamily="18" charset="0"/>
              </a:rPr>
              <a:t>акцент</a:t>
            </a:r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 в развитии здравоохранения должен быть сделан на </a:t>
            </a:r>
            <a:r>
              <a:rPr lang="ru-RU" sz="2400" baseline="30000">
                <a:solidFill>
                  <a:srgbClr val="FF0000"/>
                </a:solidFill>
                <a:latin typeface="Times New Roman" pitchFamily="18" charset="0"/>
              </a:rPr>
              <a:t>программах повышения квалификации </a:t>
            </a:r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медицинских работников, в том числе с применением инновационных технологий…»</a:t>
            </a:r>
          </a:p>
        </p:txBody>
      </p:sp>
      <p:sp>
        <p:nvSpPr>
          <p:cNvPr id="41991" name="Прямоугольник 19"/>
          <p:cNvSpPr>
            <a:spLocks noChangeArrowheads="1"/>
          </p:cNvSpPr>
          <p:nvPr/>
        </p:nvSpPr>
        <p:spPr bwMode="auto">
          <a:xfrm>
            <a:off x="1835150" y="6092825"/>
            <a:ext cx="371475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endParaRPr lang="ru-RU" sz="2000" baseline="30000">
              <a:solidFill>
                <a:srgbClr val="000000"/>
              </a:solidFill>
            </a:endParaRPr>
          </a:p>
          <a:p>
            <a:pPr algn="r"/>
            <a:r>
              <a:rPr lang="ru-RU" sz="2000" baseline="30000">
                <a:solidFill>
                  <a:srgbClr val="000000"/>
                </a:solidFill>
                <a:latin typeface="Times New Roman" pitchFamily="18" charset="0"/>
              </a:rPr>
              <a:t>В.И. Скворцова, 5 октября 2012 , </a:t>
            </a:r>
            <a:br>
              <a:rPr lang="ru-RU" sz="2000" baseline="30000">
                <a:solidFill>
                  <a:srgbClr val="000000"/>
                </a:solidFill>
                <a:latin typeface="Times New Roman" pitchFamily="18" charset="0"/>
              </a:rPr>
            </a:br>
            <a:r>
              <a:rPr lang="ru-RU" sz="2000" baseline="30000">
                <a:solidFill>
                  <a:srgbClr val="000000"/>
                </a:solidFill>
                <a:latin typeface="Times New Roman" pitchFamily="18" charset="0"/>
              </a:rPr>
              <a:t>Первый национальный съезд врачей РФ</a:t>
            </a:r>
            <a:endParaRPr lang="en-US" sz="2000" baseline="30000">
              <a:solidFill>
                <a:srgbClr val="000000"/>
              </a:solidFill>
              <a:latin typeface="Times New Roman" pitchFamily="18" charset="0"/>
            </a:endParaRPr>
          </a:p>
          <a:p>
            <a:pPr algn="r"/>
            <a:endParaRPr lang="en-US" sz="2000" baseline="300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1992" name="Прямоугольник 20"/>
          <p:cNvSpPr>
            <a:spLocks noChangeArrowheads="1"/>
          </p:cNvSpPr>
          <p:nvPr/>
        </p:nvSpPr>
        <p:spPr bwMode="auto">
          <a:xfrm>
            <a:off x="323850" y="3860800"/>
            <a:ext cx="5327650" cy="2636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2400" baseline="30000">
              <a:solidFill>
                <a:srgbClr val="000000"/>
              </a:solidFill>
            </a:endParaRPr>
          </a:p>
          <a:p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«…В ближайшие годы запланировано развитие университетских клиник и клинических баз, активное внедрение </a:t>
            </a:r>
            <a:r>
              <a:rPr lang="ru-RU" sz="2400" baseline="30000">
                <a:solidFill>
                  <a:srgbClr val="FF0000"/>
                </a:solidFill>
                <a:latin typeface="Times New Roman" pitchFamily="18" charset="0"/>
              </a:rPr>
              <a:t>новых образовательных технологий</a:t>
            </a:r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, </a:t>
            </a:r>
            <a:r>
              <a:rPr lang="ru-RU" sz="2400" baseline="30000">
                <a:solidFill>
                  <a:srgbClr val="FF0000"/>
                </a:solidFill>
                <a:latin typeface="Times New Roman" pitchFamily="18" charset="0"/>
              </a:rPr>
              <a:t>симуляционных</a:t>
            </a:r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 и тренинговых классов, экспериментальных операционных для животных, виртуальных ситуационных программ </a:t>
            </a:r>
            <a:r>
              <a:rPr lang="en-US" sz="2400" baseline="30000">
                <a:solidFill>
                  <a:srgbClr val="000000"/>
                </a:solidFill>
                <a:latin typeface="Times New Roman" pitchFamily="18" charset="0"/>
              </a:rPr>
              <a:t> </a:t>
            </a:r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и </a:t>
            </a:r>
            <a:r>
              <a:rPr lang="ru-RU" sz="2400" baseline="30000">
                <a:solidFill>
                  <a:srgbClr val="FF0000"/>
                </a:solidFill>
                <a:latin typeface="Times New Roman" pitchFamily="18" charset="0"/>
              </a:rPr>
              <a:t>дистанционных</a:t>
            </a:r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 интерактивных сессий, электронных информационных баз и </a:t>
            </a:r>
            <a:r>
              <a:rPr lang="ru-RU" sz="2400" baseline="30000">
                <a:solidFill>
                  <a:srgbClr val="FF0000"/>
                </a:solidFill>
                <a:latin typeface="Times New Roman" pitchFamily="18" charset="0"/>
              </a:rPr>
              <a:t>библиотек</a:t>
            </a:r>
            <a:r>
              <a:rPr lang="ru-RU" sz="2400" baseline="30000">
                <a:solidFill>
                  <a:srgbClr val="000000"/>
                </a:solidFill>
                <a:latin typeface="Times New Roman" pitchFamily="18" charset="0"/>
              </a:rPr>
              <a:t>…»</a:t>
            </a:r>
            <a:endParaRPr lang="en-US" sz="2400" baseline="30000">
              <a:solidFill>
                <a:srgbClr val="000000"/>
              </a:solidFill>
              <a:latin typeface="Times New Roman" pitchFamily="18" charset="0"/>
            </a:endParaRPr>
          </a:p>
          <a:p>
            <a:endParaRPr lang="en-US" sz="2400" baseline="3000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2656"/>
            <a:ext cx="9144000" cy="6295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60522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790700"/>
            <a:ext cx="91440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6850" y="2390775"/>
            <a:ext cx="1098550" cy="4619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006599"/>
                </a:solidFill>
                <a:latin typeface="Georgia" pitchFamily="18" charset="0"/>
                <a:cs typeface="+mn-cs"/>
              </a:rPr>
              <a:t>Книги</a:t>
            </a:r>
          </a:p>
        </p:txBody>
      </p:sp>
      <p:pic>
        <p:nvPicPr>
          <p:cNvPr id="48132" name="Picture 3" descr="\\192.168.0.79\obmen\PM\Miskaryan\searc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138" y="1992313"/>
            <a:ext cx="2592387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Равнобедренный треугольник 37"/>
          <p:cNvSpPr/>
          <p:nvPr/>
        </p:nvSpPr>
        <p:spPr>
          <a:xfrm rot="10800000">
            <a:off x="4551363" y="1838325"/>
            <a:ext cx="1333500" cy="214313"/>
          </a:xfrm>
          <a:prstGeom prst="triangle">
            <a:avLst/>
          </a:prstGeom>
          <a:solidFill>
            <a:srgbClr val="0065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79813" y="5035550"/>
            <a:ext cx="2016125" cy="830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u="sng" dirty="0">
                <a:solidFill>
                  <a:srgbClr val="0070C0"/>
                </a:solidFill>
                <a:latin typeface="Georgia" pitchFamily="18" charset="0"/>
                <a:cs typeface="+mn-cs"/>
              </a:rPr>
              <a:t>Справочник лекарственных средст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4925" y="5170488"/>
            <a:ext cx="2016125" cy="584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u="sng" dirty="0">
                <a:solidFill>
                  <a:srgbClr val="0070C0"/>
                </a:solidFill>
                <a:latin typeface="Georgia" pitchFamily="18" charset="0"/>
                <a:cs typeface="+mn-cs"/>
              </a:rPr>
              <a:t>Национальные руководств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424488" y="5305425"/>
            <a:ext cx="2016125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u="sng" dirty="0">
                <a:solidFill>
                  <a:srgbClr val="0070C0"/>
                </a:solidFill>
                <a:latin typeface="Georgia" pitchFamily="18" charset="0"/>
                <a:cs typeface="+mn-cs"/>
              </a:rPr>
              <a:t>Атласы</a:t>
            </a:r>
          </a:p>
        </p:txBody>
      </p:sp>
      <p:pic>
        <p:nvPicPr>
          <p:cNvPr id="2052" name="Picture 4" descr="http://www.ipksz.ru/images/stories/IPKSZ/biblioteka/book10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40188" y="3284538"/>
            <a:ext cx="1095375" cy="15240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2053" name="Picture 5" descr="C:\Users\Welcom\Desktop\unishell (12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6413" y="3284538"/>
            <a:ext cx="1041400" cy="15240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2054" name="Picture 6" descr="C:\Users\Welcom\Desktop\unishell (6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56288" y="3314700"/>
            <a:ext cx="1119187" cy="1493838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48140" name="Picture 17" descr="\\am-desktop\работа\ГЭОТАР\НМО\Шапка-КВ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-26988"/>
            <a:ext cx="9144000" cy="186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51752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ортфолио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8796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Модули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131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Рекомендаци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0867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ациентам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2517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Новости</a:t>
            </a:r>
          </a:p>
        </p:txBody>
      </p:sp>
      <p:sp>
        <p:nvSpPr>
          <p:cNvPr id="25" name="Прямоугольник 48"/>
          <p:cNvSpPr/>
          <p:nvPr/>
        </p:nvSpPr>
        <p:spPr>
          <a:xfrm>
            <a:off x="0" y="-26988"/>
            <a:ext cx="9144000" cy="9810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56565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Книги</a:t>
            </a:r>
          </a:p>
        </p:txBody>
      </p:sp>
      <p:sp>
        <p:nvSpPr>
          <p:cNvPr id="48148" name="TextBox 26"/>
          <p:cNvSpPr txBox="1">
            <a:spLocks noChangeArrowheads="1"/>
          </p:cNvSpPr>
          <p:nvPr/>
        </p:nvSpPr>
        <p:spPr bwMode="auto">
          <a:xfrm>
            <a:off x="0" y="88900"/>
            <a:ext cx="9144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2000" b="1">
                <a:solidFill>
                  <a:srgbClr val="FFFFFF"/>
                </a:solidFill>
              </a:rPr>
              <a:t>В «ОБРАЗОВАТЕЛЬНОЙ СРЕДЕ» ЕСТЬ:</a:t>
            </a:r>
          </a:p>
        </p:txBody>
      </p:sp>
      <p:sp>
        <p:nvSpPr>
          <p:cNvPr id="48149" name="TextBox 27"/>
          <p:cNvSpPr txBox="1">
            <a:spLocks noChangeArrowheads="1"/>
          </p:cNvSpPr>
          <p:nvPr/>
        </p:nvSpPr>
        <p:spPr bwMode="auto">
          <a:xfrm>
            <a:off x="0" y="463550"/>
            <a:ext cx="9144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2000" b="1">
                <a:solidFill>
                  <a:srgbClr val="FFFFFF"/>
                </a:solidFill>
              </a:rPr>
              <a:t>ОГРОМНАЯ КОЛЛЕКЦИЯ КНИГ</a:t>
            </a:r>
          </a:p>
        </p:txBody>
      </p:sp>
      <p:pic>
        <p:nvPicPr>
          <p:cNvPr id="16386" name="Picture 2" descr="http://www.medknigaservis.ru/cgi-bin/unishell?hide_Cookie=yes&amp;usr_data=gd-image(lots,Q0119791,,1,popup_image,00000000)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71713" y="3286125"/>
            <a:ext cx="1055687" cy="152241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30" name="TextBox 29"/>
          <p:cNvSpPr txBox="1"/>
          <p:nvPr/>
        </p:nvSpPr>
        <p:spPr>
          <a:xfrm>
            <a:off x="1790700" y="5300663"/>
            <a:ext cx="2016125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u="sng" dirty="0">
                <a:solidFill>
                  <a:srgbClr val="0070C0"/>
                </a:solidFill>
                <a:latin typeface="Georgia" pitchFamily="18" charset="0"/>
                <a:cs typeface="+mn-cs"/>
              </a:rPr>
              <a:t>Монографии</a:t>
            </a:r>
          </a:p>
        </p:txBody>
      </p:sp>
      <p:pic>
        <p:nvPicPr>
          <p:cNvPr id="48152" name="Picture 4" descr="http://www.medknigaservis.ru/cgi-bin/unishell?hide_Cookie=yes&amp;usr_data=gd-image(lots,00004099,,1,popup_image,00000000)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72388" y="3314700"/>
            <a:ext cx="1055687" cy="148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31"/>
          <p:cNvSpPr txBox="1"/>
          <p:nvPr/>
        </p:nvSpPr>
        <p:spPr>
          <a:xfrm>
            <a:off x="7191375" y="5305425"/>
            <a:ext cx="2016125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u="sng" dirty="0">
                <a:solidFill>
                  <a:srgbClr val="0070C0"/>
                </a:solidFill>
                <a:latin typeface="Georgia" pitchFamily="18" charset="0"/>
                <a:cs typeface="+mn-cs"/>
              </a:rPr>
              <a:t>Учебники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628799"/>
            <a:ext cx="9144000" cy="16067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6850" y="2390775"/>
            <a:ext cx="4298950" cy="4619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009899"/>
                </a:solidFill>
                <a:latin typeface="Georgia" pitchFamily="18" charset="0"/>
                <a:cs typeface="+mn-cs"/>
              </a:rPr>
              <a:t>Клинические рекомендации</a:t>
            </a:r>
          </a:p>
        </p:txBody>
      </p:sp>
      <p:pic>
        <p:nvPicPr>
          <p:cNvPr id="49158" name="Picture 3" descr="\\192.168.0.79\obmen\PM\Miskaryan\searc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138" y="1992313"/>
            <a:ext cx="2592387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" name="Равнобедренный треугольник 80"/>
          <p:cNvSpPr/>
          <p:nvPr/>
        </p:nvSpPr>
        <p:spPr>
          <a:xfrm rot="10800000">
            <a:off x="3201988" y="1838325"/>
            <a:ext cx="1333500" cy="214313"/>
          </a:xfrm>
          <a:prstGeom prst="triangle">
            <a:avLst/>
          </a:prstGeom>
          <a:solidFill>
            <a:srgbClr val="0098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49160" name="Picture 50" descr="\\am-desktop\работа\ГЭОТАР\НМО\Шапка-КВ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26988"/>
            <a:ext cx="9144000" cy="186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" name="TextBox 51"/>
          <p:cNvSpPr txBox="1"/>
          <p:nvPr/>
        </p:nvSpPr>
        <p:spPr>
          <a:xfrm>
            <a:off x="51752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ортфолио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0" y="-26988"/>
            <a:ext cx="9144000" cy="9810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9163" name="TextBox 49"/>
          <p:cNvSpPr txBox="1">
            <a:spLocks noChangeArrowheads="1"/>
          </p:cNvSpPr>
          <p:nvPr/>
        </p:nvSpPr>
        <p:spPr bwMode="auto">
          <a:xfrm>
            <a:off x="0" y="88900"/>
            <a:ext cx="9144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2000" b="1">
                <a:solidFill>
                  <a:srgbClr val="FFFFFF"/>
                </a:solidFill>
              </a:rPr>
              <a:t>В «ОБРАЗОВАТЕЛЬНОЙ СРЕДЕ» ЕСТЬ:</a:t>
            </a:r>
          </a:p>
        </p:txBody>
      </p:sp>
      <p:sp>
        <p:nvSpPr>
          <p:cNvPr id="49164" name="TextBox 53"/>
          <p:cNvSpPr txBox="1">
            <a:spLocks noChangeArrowheads="1"/>
          </p:cNvSpPr>
          <p:nvPr/>
        </p:nvSpPr>
        <p:spPr bwMode="auto">
          <a:xfrm>
            <a:off x="0" y="463550"/>
            <a:ext cx="9144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2000" b="1">
                <a:solidFill>
                  <a:srgbClr val="FFFFFF"/>
                </a:solidFill>
              </a:rPr>
              <a:t>КЛИНИЧЕСКИЕ РЕКОМЕНДАЦИИ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8796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Модули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2131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Рекомендации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590867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ациентам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72517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Новости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56565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Книги</a:t>
            </a:r>
          </a:p>
        </p:txBody>
      </p:sp>
      <p:pic>
        <p:nvPicPr>
          <p:cNvPr id="3088" name="Picture 16" descr="C:\Users\Welcom\Desktop\unishel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49500" y="3386138"/>
            <a:ext cx="1001713" cy="150653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3092" name="Picture 20" descr="C:\Users\Welcom\Desktop\unishell (4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37400" y="3371850"/>
            <a:ext cx="1150938" cy="15367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3094" name="Picture 22" descr="C:\Users\Welcom\Desktop\unishell (6)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2938" y="3386138"/>
            <a:ext cx="1049337" cy="150653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3095" name="Picture 23" descr="C:\Users\Welcom\Desktop\unishell (7)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46525" y="3386138"/>
            <a:ext cx="1058863" cy="150653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3097" name="Picture 25" descr="C:\Users\Welcom\Desktop\unishell (9)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553075" y="3386138"/>
            <a:ext cx="1128713" cy="150653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49175" name="TextBox 35"/>
          <p:cNvSpPr txBox="1">
            <a:spLocks noChangeArrowheads="1"/>
          </p:cNvSpPr>
          <p:nvPr/>
        </p:nvSpPr>
        <p:spPr bwMode="auto">
          <a:xfrm>
            <a:off x="319088" y="5029200"/>
            <a:ext cx="1697037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Кардиология.</a:t>
            </a:r>
          </a:p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Клинические рекомендации</a:t>
            </a:r>
          </a:p>
        </p:txBody>
      </p:sp>
      <p:sp>
        <p:nvSpPr>
          <p:cNvPr id="49176" name="TextBox 36"/>
          <p:cNvSpPr txBox="1">
            <a:spLocks noChangeArrowheads="1"/>
          </p:cNvSpPr>
          <p:nvPr/>
        </p:nvSpPr>
        <p:spPr bwMode="auto">
          <a:xfrm>
            <a:off x="2001838" y="5029200"/>
            <a:ext cx="1697037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Аллергология и иммунология.</a:t>
            </a:r>
          </a:p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Клинические рекомендации</a:t>
            </a:r>
          </a:p>
        </p:txBody>
      </p:sp>
      <p:sp>
        <p:nvSpPr>
          <p:cNvPr id="49177" name="TextBox 37"/>
          <p:cNvSpPr txBox="1">
            <a:spLocks noChangeArrowheads="1"/>
          </p:cNvSpPr>
          <p:nvPr/>
        </p:nvSpPr>
        <p:spPr bwMode="auto">
          <a:xfrm>
            <a:off x="3627438" y="5029200"/>
            <a:ext cx="1697037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Эндокринология.</a:t>
            </a:r>
          </a:p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Клинические рекомендации</a:t>
            </a:r>
          </a:p>
        </p:txBody>
      </p:sp>
      <p:sp>
        <p:nvSpPr>
          <p:cNvPr id="49178" name="TextBox 38"/>
          <p:cNvSpPr txBox="1">
            <a:spLocks noChangeArrowheads="1"/>
          </p:cNvSpPr>
          <p:nvPr/>
        </p:nvSpPr>
        <p:spPr bwMode="auto">
          <a:xfrm>
            <a:off x="5324475" y="5029200"/>
            <a:ext cx="1697038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Неврология и нейрохирургия.</a:t>
            </a:r>
          </a:p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Клинические рекомендации</a:t>
            </a:r>
          </a:p>
        </p:txBody>
      </p:sp>
      <p:sp>
        <p:nvSpPr>
          <p:cNvPr id="49179" name="TextBox 39"/>
          <p:cNvSpPr txBox="1">
            <a:spLocks noChangeArrowheads="1"/>
          </p:cNvSpPr>
          <p:nvPr/>
        </p:nvSpPr>
        <p:spPr bwMode="auto">
          <a:xfrm>
            <a:off x="6864350" y="5029200"/>
            <a:ext cx="1697038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Гастроэнтерология.</a:t>
            </a:r>
          </a:p>
          <a:p>
            <a:pPr algn="ctr" defTabSz="914400"/>
            <a:r>
              <a:rPr lang="ru-RU" sz="11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Клинические рекомендации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790700"/>
            <a:ext cx="91440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6850" y="2390775"/>
            <a:ext cx="1328738" cy="4619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DEA900"/>
                </a:solidFill>
                <a:latin typeface="Georgia" pitchFamily="18" charset="0"/>
                <a:cs typeface="+mn-cs"/>
              </a:rPr>
              <a:t>Модули</a:t>
            </a:r>
          </a:p>
        </p:txBody>
      </p:sp>
      <p:pic>
        <p:nvPicPr>
          <p:cNvPr id="50180" name="Picture 3" descr="\\192.168.0.79\obmen\PM\Miskaryan\searc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138" y="1935163"/>
            <a:ext cx="2592387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Равнобедренный треугольник 37"/>
          <p:cNvSpPr/>
          <p:nvPr/>
        </p:nvSpPr>
        <p:spPr>
          <a:xfrm rot="10800000">
            <a:off x="1879600" y="1838325"/>
            <a:ext cx="1333500" cy="214313"/>
          </a:xfrm>
          <a:prstGeom prst="triangle">
            <a:avLst/>
          </a:prstGeom>
          <a:solidFill>
            <a:srgbClr val="669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0182" name="TextBox 13"/>
          <p:cNvSpPr txBox="1">
            <a:spLocks noChangeArrowheads="1"/>
          </p:cNvSpPr>
          <p:nvPr/>
        </p:nvSpPr>
        <p:spPr bwMode="auto">
          <a:xfrm>
            <a:off x="287338" y="3971925"/>
            <a:ext cx="23764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Хроническая сердечная недостаточность.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Ж.В. Максимова, М.В. Писарев, (ГЕОТАР-Медиа, 2013)</a:t>
            </a:r>
          </a:p>
        </p:txBody>
      </p:sp>
      <p:sp>
        <p:nvSpPr>
          <p:cNvPr id="50183" name="TextBox 14"/>
          <p:cNvSpPr txBox="1">
            <a:spLocks noChangeArrowheads="1"/>
          </p:cNvSpPr>
          <p:nvPr/>
        </p:nvSpPr>
        <p:spPr bwMode="auto">
          <a:xfrm>
            <a:off x="2268538" y="3971925"/>
            <a:ext cx="23749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Язвенная болезнь желудка и 12-перстной кишки. 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А.А. Шептулин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(ГЕОТАР-Медиа, 2013)</a:t>
            </a:r>
          </a:p>
        </p:txBody>
      </p:sp>
      <p:sp>
        <p:nvSpPr>
          <p:cNvPr id="50184" name="TextBox 15"/>
          <p:cNvSpPr txBox="1">
            <a:spLocks noChangeArrowheads="1"/>
          </p:cNvSpPr>
          <p:nvPr/>
        </p:nvSpPr>
        <p:spPr bwMode="auto">
          <a:xfrm>
            <a:off x="4211638" y="4048125"/>
            <a:ext cx="237648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Внебольничная пневмония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А.Г. Чучалин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(ГЕОТАР-Медиа, 2013)</a:t>
            </a:r>
          </a:p>
        </p:txBody>
      </p:sp>
      <p:sp>
        <p:nvSpPr>
          <p:cNvPr id="50185" name="TextBox 16"/>
          <p:cNvSpPr txBox="1">
            <a:spLocks noChangeArrowheads="1"/>
          </p:cNvSpPr>
          <p:nvPr/>
        </p:nvSpPr>
        <p:spPr bwMode="auto">
          <a:xfrm>
            <a:off x="6156325" y="4048125"/>
            <a:ext cx="2376488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Боли в нижней части спины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П. И. Новиков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(ГЕОТАР-Медиа, 2013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55675" y="3081338"/>
            <a:ext cx="879475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0187" name="Picture 2" descr="http://i.huffpost.com/gen/796140/thumbs/r-TEENS-SLEEP-HEART-DISEASE-large570.jpg"/>
          <p:cNvPicPr>
            <a:picLocks noChangeAspect="1" noChangeArrowheads="1"/>
          </p:cNvPicPr>
          <p:nvPr/>
        </p:nvPicPr>
        <p:blipFill>
          <a:blip r:embed="rId4" cstate="print"/>
          <a:srcRect l="30891" t="13002" r="30891" b="3625"/>
          <a:stretch>
            <a:fillRect/>
          </a:stretch>
        </p:blipFill>
        <p:spPr bwMode="auto">
          <a:xfrm>
            <a:off x="1042988" y="3162300"/>
            <a:ext cx="704850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3016250" y="3081338"/>
            <a:ext cx="879475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0189" name="Picture 4" descr="http://1.bp.blogspot.com/-qYWs-wIz6Yg/Tl33F5-m4lI/AAAAAAAAAc4/9AM95y2j6-s/s1600/Gastric+Ulcer.jpg"/>
          <p:cNvPicPr>
            <a:picLocks noChangeAspect="1" noChangeArrowheads="1"/>
          </p:cNvPicPr>
          <p:nvPr/>
        </p:nvPicPr>
        <p:blipFill>
          <a:blip r:embed="rId5" cstate="print"/>
          <a:srcRect l="14011" t="4791" r="9612" b="5901"/>
          <a:stretch>
            <a:fillRect/>
          </a:stretch>
        </p:blipFill>
        <p:spPr bwMode="auto">
          <a:xfrm>
            <a:off x="3103563" y="3154363"/>
            <a:ext cx="704850" cy="65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4959350" y="3081338"/>
            <a:ext cx="881063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0191" name="Picture 6" descr="http://network.londonbridgehospital.com/sites/londonlungcancer.co.uk/uploads/images/iStock_000006388736Medium.jpg"/>
          <p:cNvPicPr>
            <a:picLocks noChangeAspect="1" noChangeArrowheads="1"/>
          </p:cNvPicPr>
          <p:nvPr/>
        </p:nvPicPr>
        <p:blipFill>
          <a:blip r:embed="rId6" cstate="print"/>
          <a:srcRect l="10246" r="8334"/>
          <a:stretch>
            <a:fillRect/>
          </a:stretch>
        </p:blipFill>
        <p:spPr bwMode="auto">
          <a:xfrm>
            <a:off x="5048250" y="3157538"/>
            <a:ext cx="703263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6904038" y="3081338"/>
            <a:ext cx="881062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0193" name="Picture 10" descr="http://strongerfitteryou.com/wp-content/uploads/2011/10/low-back.jpg"/>
          <p:cNvPicPr>
            <a:picLocks noChangeAspect="1" noChangeArrowheads="1"/>
          </p:cNvPicPr>
          <p:nvPr/>
        </p:nvPicPr>
        <p:blipFill>
          <a:blip r:embed="rId7" cstate="print"/>
          <a:srcRect t="12489" b="9213"/>
          <a:stretch>
            <a:fillRect/>
          </a:stretch>
        </p:blipFill>
        <p:spPr bwMode="auto">
          <a:xfrm>
            <a:off x="6992938" y="3194050"/>
            <a:ext cx="703262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194" name="TextBox 25"/>
          <p:cNvSpPr txBox="1">
            <a:spLocks noChangeArrowheads="1"/>
          </p:cNvSpPr>
          <p:nvPr/>
        </p:nvSpPr>
        <p:spPr bwMode="auto">
          <a:xfrm>
            <a:off x="287338" y="5772150"/>
            <a:ext cx="237648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Хронический запор.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Ж.В. Максимова, М.В. Писарев, (ГЕОТАР-Медиа, 2013)</a:t>
            </a:r>
          </a:p>
        </p:txBody>
      </p:sp>
      <p:sp>
        <p:nvSpPr>
          <p:cNvPr id="50195" name="TextBox 26"/>
          <p:cNvSpPr txBox="1">
            <a:spLocks noChangeArrowheads="1"/>
          </p:cNvSpPr>
          <p:nvPr/>
        </p:nvSpPr>
        <p:spPr bwMode="auto">
          <a:xfrm>
            <a:off x="2268538" y="5772150"/>
            <a:ext cx="237490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Артериальная гипертония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Ж.В. Максимова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(ГЕОТАР-Медиа, 2013)</a:t>
            </a:r>
          </a:p>
        </p:txBody>
      </p:sp>
      <p:sp>
        <p:nvSpPr>
          <p:cNvPr id="50196" name="TextBox 27"/>
          <p:cNvSpPr txBox="1">
            <a:spLocks noChangeArrowheads="1"/>
          </p:cNvSpPr>
          <p:nvPr/>
        </p:nvSpPr>
        <p:spPr bwMode="auto">
          <a:xfrm>
            <a:off x="4211638" y="5772150"/>
            <a:ext cx="237648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Головокружение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А.И. Федин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(ГЕОТАР-Медиа, 2013)</a:t>
            </a:r>
          </a:p>
        </p:txBody>
      </p:sp>
      <p:sp>
        <p:nvSpPr>
          <p:cNvPr id="50197" name="TextBox 28"/>
          <p:cNvSpPr txBox="1">
            <a:spLocks noChangeArrowheads="1"/>
          </p:cNvSpPr>
          <p:nvPr/>
        </p:nvSpPr>
        <p:spPr bwMode="auto">
          <a:xfrm>
            <a:off x="6156325" y="5772150"/>
            <a:ext cx="2376488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Плеврит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А.Г. Чучалин</a:t>
            </a:r>
          </a:p>
          <a:p>
            <a:pPr algn="ctr" defTabSz="914400"/>
            <a:r>
              <a:rPr lang="ru-RU" sz="1000" u="sng">
                <a:solidFill>
                  <a:srgbClr val="558ED5"/>
                </a:solidFill>
                <a:latin typeface="Times New Roman" pitchFamily="18" charset="0"/>
                <a:cs typeface="Times New Roman" pitchFamily="18" charset="0"/>
              </a:rPr>
              <a:t>(ГЕОТАР-Медиа, 2013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55675" y="4843463"/>
            <a:ext cx="879475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016250" y="4843463"/>
            <a:ext cx="879475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959350" y="4843463"/>
            <a:ext cx="881063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904038" y="4843463"/>
            <a:ext cx="881062" cy="8016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solidFill>
              <a:schemeClr val="bg1">
                <a:lumMod val="5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0202" name="Picture 2" descr="http://t1.gstatic.com/images?q=tbn:ANd9GcSNh-HCKdSUygueFpgPLmCAdYGoBfRtVMKUQPkwvIPll74sIvs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42988" y="4919663"/>
            <a:ext cx="70485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203" name="Picture 5"/>
          <p:cNvPicPr>
            <a:picLocks noChangeAspect="1" noChangeArrowheads="1"/>
          </p:cNvPicPr>
          <p:nvPr/>
        </p:nvPicPr>
        <p:blipFill>
          <a:blip r:embed="rId9" cstate="print"/>
          <a:srcRect l="10054" r="10054"/>
          <a:stretch>
            <a:fillRect/>
          </a:stretch>
        </p:blipFill>
        <p:spPr bwMode="auto">
          <a:xfrm>
            <a:off x="3103563" y="4924425"/>
            <a:ext cx="704850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204" name="Picture 9" descr="http://www.nopainmed.com/_media/ailments/ail-5.jpg"/>
          <p:cNvPicPr>
            <a:picLocks noChangeAspect="1" noChangeArrowheads="1"/>
          </p:cNvPicPr>
          <p:nvPr/>
        </p:nvPicPr>
        <p:blipFill>
          <a:blip r:embed="rId10" cstate="print"/>
          <a:srcRect b="6342"/>
          <a:stretch>
            <a:fillRect/>
          </a:stretch>
        </p:blipFill>
        <p:spPr bwMode="auto">
          <a:xfrm>
            <a:off x="5048250" y="4919663"/>
            <a:ext cx="7032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205" name="Picture 11" descr="https://s3.amazonaws.com/healthtap-public/ht-staging/user_answer/avatars/891739/large/open-uri20130227-17001-1gzqos8.jpeg?1361980560"/>
          <p:cNvPicPr>
            <a:picLocks noChangeAspect="1" noChangeArrowheads="1"/>
          </p:cNvPicPr>
          <p:nvPr/>
        </p:nvPicPr>
        <p:blipFill>
          <a:blip r:embed="rId11" cstate="print"/>
          <a:srcRect l="3474" t="7281" r="3473" b="4762"/>
          <a:stretch>
            <a:fillRect/>
          </a:stretch>
        </p:blipFill>
        <p:spPr bwMode="auto">
          <a:xfrm>
            <a:off x="6992938" y="4924425"/>
            <a:ext cx="703262" cy="66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206" name="Picture 38" descr="\\am-desktop\работа\ГЭОТАР\НМО\Шапка-КВ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-26988"/>
            <a:ext cx="9144000" cy="186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TextBox 39"/>
          <p:cNvSpPr txBox="1"/>
          <p:nvPr/>
        </p:nvSpPr>
        <p:spPr>
          <a:xfrm>
            <a:off x="51752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ортфолио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8796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Модули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2131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Рекомендации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90867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ациентам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72517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Новости</a:t>
            </a:r>
          </a:p>
        </p:txBody>
      </p:sp>
      <p:sp>
        <p:nvSpPr>
          <p:cNvPr id="47" name="Прямоугольник 48"/>
          <p:cNvSpPr/>
          <p:nvPr/>
        </p:nvSpPr>
        <p:spPr>
          <a:xfrm>
            <a:off x="0" y="-26988"/>
            <a:ext cx="9144000" cy="9810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56565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Книги</a:t>
            </a:r>
          </a:p>
        </p:txBody>
      </p:sp>
      <p:sp>
        <p:nvSpPr>
          <p:cNvPr id="50214" name="TextBox 50"/>
          <p:cNvSpPr txBox="1">
            <a:spLocks noChangeArrowheads="1"/>
          </p:cNvSpPr>
          <p:nvPr/>
        </p:nvSpPr>
        <p:spPr bwMode="auto">
          <a:xfrm>
            <a:off x="0" y="8890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2000" b="1" dirty="0">
                <a:solidFill>
                  <a:srgbClr val="FFFFFF"/>
                </a:solidFill>
              </a:rPr>
              <a:t>В «ОБРАЗОВАТЕЛЬНОЙ СРЕДЕ» ЕСТЬ </a:t>
            </a:r>
            <a:r>
              <a:rPr lang="ru-RU" sz="2000" b="1" dirty="0" smtClean="0">
                <a:solidFill>
                  <a:srgbClr val="FFFFFF"/>
                </a:solidFill>
              </a:rPr>
              <a:t>ПОПОЛНЯЕТСЯ КОЛЛЕКЦИЯ</a:t>
            </a:r>
            <a:endParaRPr lang="ru-RU" sz="2000" b="1" dirty="0">
              <a:solidFill>
                <a:srgbClr val="FFFFFF"/>
              </a:solidFill>
            </a:endParaRPr>
          </a:p>
          <a:p>
            <a:pPr algn="ctr" defTabSz="914400"/>
            <a:r>
              <a:rPr lang="ru-RU" sz="2000" b="1" dirty="0">
                <a:solidFill>
                  <a:srgbClr val="FFFFFF"/>
                </a:solidFill>
              </a:rPr>
              <a:t>ОБРАЗОВАТЕЛЬНЫХ МОДУЛЕЙ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790700"/>
            <a:ext cx="91440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27088" y="2617788"/>
            <a:ext cx="893762" cy="3063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653366"/>
                </a:solidFill>
                <a:latin typeface="Georgia" pitchFamily="18" charset="0"/>
                <a:cs typeface="+mn-cs"/>
              </a:rPr>
              <a:t>Новости</a:t>
            </a:r>
          </a:p>
        </p:txBody>
      </p:sp>
      <p:pic>
        <p:nvPicPr>
          <p:cNvPr id="51204" name="Picture 3" descr="\\192.168.0.79\obmen\PM\Miskaryan\searc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138" y="1992313"/>
            <a:ext cx="2592387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Равнобедренный треугольник 37"/>
          <p:cNvSpPr/>
          <p:nvPr/>
        </p:nvSpPr>
        <p:spPr>
          <a:xfrm rot="10800000">
            <a:off x="7243763" y="1838325"/>
            <a:ext cx="1333500" cy="214313"/>
          </a:xfrm>
          <a:prstGeom prst="triangle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1206" name="Picture 16" descr="\\am-desktop\работа\ГЭОТАР\НМО\Шапка-КВ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26988"/>
            <a:ext cx="9144000" cy="186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/>
          <p:cNvSpPr txBox="1"/>
          <p:nvPr/>
        </p:nvSpPr>
        <p:spPr>
          <a:xfrm>
            <a:off x="51752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ортфолио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8796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Модул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2131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Рекомендации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90867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ациентам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2517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Новости</a:t>
            </a:r>
          </a:p>
        </p:txBody>
      </p:sp>
      <p:sp>
        <p:nvSpPr>
          <p:cNvPr id="27" name="Прямоугольник 48"/>
          <p:cNvSpPr/>
          <p:nvPr/>
        </p:nvSpPr>
        <p:spPr>
          <a:xfrm>
            <a:off x="0" y="-26988"/>
            <a:ext cx="9144000" cy="9810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6565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Книги</a:t>
            </a:r>
          </a:p>
        </p:txBody>
      </p:sp>
      <p:sp>
        <p:nvSpPr>
          <p:cNvPr id="51214" name="TextBox 29"/>
          <p:cNvSpPr txBox="1">
            <a:spLocks noChangeArrowheads="1"/>
          </p:cNvSpPr>
          <p:nvPr/>
        </p:nvSpPr>
        <p:spPr bwMode="auto">
          <a:xfrm>
            <a:off x="0" y="0"/>
            <a:ext cx="91440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2400" b="1">
                <a:solidFill>
                  <a:srgbClr val="FFFFFF"/>
                </a:solidFill>
              </a:rPr>
              <a:t>В  «ОБРАЗОВАТЕЛЬНОЙ СРЕДЕ» ЕСТЬ</a:t>
            </a:r>
          </a:p>
          <a:p>
            <a:pPr algn="ctr" defTabSz="914400"/>
            <a:r>
              <a:rPr lang="ru-RU" sz="2400" b="1">
                <a:solidFill>
                  <a:srgbClr val="FFFFFF"/>
                </a:solidFill>
              </a:rPr>
              <a:t>НОВОСТИ И КАЛЕНДАРЬ МЕРОПРИЯТИЙ</a:t>
            </a:r>
          </a:p>
        </p:txBody>
      </p:sp>
      <p:pic>
        <p:nvPicPr>
          <p:cNvPr id="43" name="Picture 8" descr="http://www.medknigaservis.ru/uploaded_files/shop_images/med_obr_I_prof_razv_2201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08538" y="3827463"/>
            <a:ext cx="385762" cy="52705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pic>
        <p:nvPicPr>
          <p:cNvPr id="51216" name="Picture 2"/>
          <p:cNvPicPr>
            <a:picLocks noChangeAspect="1" noChangeArrowheads="1"/>
          </p:cNvPicPr>
          <p:nvPr/>
        </p:nvPicPr>
        <p:blipFill>
          <a:blip r:embed="rId6" cstate="print"/>
          <a:srcRect t="33093" r="75072" b="39870"/>
          <a:stretch>
            <a:fillRect/>
          </a:stretch>
        </p:blipFill>
        <p:spPr bwMode="auto">
          <a:xfrm>
            <a:off x="860425" y="3573463"/>
            <a:ext cx="7588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 flipH="1">
            <a:off x="911225" y="2924175"/>
            <a:ext cx="3043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827088" y="4633913"/>
            <a:ext cx="13493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653366"/>
                </a:solidFill>
                <a:latin typeface="Georgia" pitchFamily="18" charset="0"/>
                <a:cs typeface="+mn-cs"/>
              </a:rPr>
              <a:t>Мероприятия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 flipH="1">
            <a:off x="911225" y="4941888"/>
            <a:ext cx="3043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2441575" y="4135438"/>
            <a:ext cx="1433513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Все новости </a:t>
            </a:r>
            <a:r>
              <a:rPr lang="en-US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&gt;&gt;&gt;</a:t>
            </a:r>
            <a:endParaRPr lang="ru-RU" sz="1100" b="1" dirty="0">
              <a:solidFill>
                <a:srgbClr val="653366"/>
              </a:solidFill>
              <a:latin typeface="Georgia" pitchFamily="18" charset="0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036763" y="6119813"/>
            <a:ext cx="1844675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Все мероприятия </a:t>
            </a:r>
            <a:r>
              <a:rPr lang="en-US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&gt;&gt;&gt;</a:t>
            </a:r>
            <a:endParaRPr lang="ru-RU" sz="1100" b="1" dirty="0">
              <a:solidFill>
                <a:srgbClr val="653366"/>
              </a:solidFill>
              <a:latin typeface="Georgia" pitchFamily="18" charset="0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637088" y="2617788"/>
            <a:ext cx="1127125" cy="3063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653366"/>
                </a:solidFill>
                <a:latin typeface="Georgia" pitchFamily="18" charset="0"/>
                <a:cs typeface="+mn-cs"/>
              </a:rPr>
              <a:t>Периодика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H="1">
            <a:off x="4721225" y="2924175"/>
            <a:ext cx="3043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Picture 5" descr="http://beta.rosmedlib.ru/cache/mb3/-book$RPG-2009-02$avatar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03775" y="3059113"/>
            <a:ext cx="395288" cy="57785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11" name="TextBox 10"/>
          <p:cNvSpPr txBox="1"/>
          <p:nvPr/>
        </p:nvSpPr>
        <p:spPr>
          <a:xfrm>
            <a:off x="5222875" y="3240088"/>
            <a:ext cx="2690813" cy="2603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prstClr val="black"/>
                </a:solidFill>
                <a:latin typeface="Georgia" pitchFamily="18" charset="0"/>
                <a:cs typeface="+mn-cs"/>
              </a:rPr>
              <a:t>Российский психиатрический журнал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5222875" y="3860800"/>
            <a:ext cx="2184400" cy="431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prstClr val="black"/>
                </a:solidFill>
                <a:latin typeface="Georgia" pitchFamily="18" charset="0"/>
                <a:cs typeface="+mn-cs"/>
              </a:rPr>
              <a:t>Медицинское образование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prstClr val="black"/>
                </a:solidFill>
                <a:latin typeface="Georgia" pitchFamily="18" charset="0"/>
                <a:cs typeface="+mn-cs"/>
              </a:rPr>
              <a:t>и профессиональное развитие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700838" y="4289425"/>
            <a:ext cx="1519237" cy="26193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Все журналы </a:t>
            </a:r>
            <a:r>
              <a:rPr lang="en-US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&gt;&gt;&gt;</a:t>
            </a:r>
            <a:endParaRPr lang="ru-RU" sz="1100" b="1" dirty="0">
              <a:solidFill>
                <a:srgbClr val="653366"/>
              </a:solidFill>
              <a:latin typeface="Georgia" pitchFamily="18" charset="0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637088" y="4633913"/>
            <a:ext cx="1703387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653366"/>
                </a:solidFill>
                <a:latin typeface="Georgia" pitchFamily="18" charset="0"/>
                <a:cs typeface="+mn-cs"/>
              </a:rPr>
              <a:t>Обзоры журналов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721225" y="4941888"/>
            <a:ext cx="30432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6789738" y="6119813"/>
            <a:ext cx="1382712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Все обзоры </a:t>
            </a:r>
            <a:r>
              <a:rPr lang="en-US" sz="1100" b="1" dirty="0">
                <a:solidFill>
                  <a:srgbClr val="653366"/>
                </a:solidFill>
                <a:latin typeface="Georgia" pitchFamily="18" charset="0"/>
                <a:cs typeface="+mn-cs"/>
              </a:rPr>
              <a:t>&gt;&gt;&gt;</a:t>
            </a:r>
            <a:endParaRPr lang="ru-RU" sz="1100" b="1" dirty="0">
              <a:solidFill>
                <a:srgbClr val="653366"/>
              </a:solidFill>
              <a:latin typeface="Georgia" pitchFamily="18" charset="0"/>
              <a:cs typeface="+mn-cs"/>
            </a:endParaRPr>
          </a:p>
        </p:txBody>
      </p:sp>
      <p:pic>
        <p:nvPicPr>
          <p:cNvPr id="51231" name="Picture 2"/>
          <p:cNvPicPr>
            <a:picLocks noChangeAspect="1" noChangeArrowheads="1"/>
          </p:cNvPicPr>
          <p:nvPr/>
        </p:nvPicPr>
        <p:blipFill>
          <a:blip r:embed="rId6" cstate="print"/>
          <a:srcRect r="75328" b="77327"/>
          <a:stretch>
            <a:fillRect/>
          </a:stretch>
        </p:blipFill>
        <p:spPr bwMode="auto">
          <a:xfrm>
            <a:off x="868363" y="3068638"/>
            <a:ext cx="750887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41"/>
          <p:cNvSpPr txBox="1"/>
          <p:nvPr/>
        </p:nvSpPr>
        <p:spPr>
          <a:xfrm>
            <a:off x="1619250" y="2997200"/>
            <a:ext cx="2436813" cy="5762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Georgia" pitchFamily="18" charset="0"/>
                <a:cs typeface="+mn-cs"/>
              </a:rPr>
              <a:t>Минздрав России в очередной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Georgia" pitchFamily="18" charset="0"/>
                <a:cs typeface="+mn-cs"/>
              </a:rPr>
              <a:t>разъяснил регионам, как сохранить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Georgia" pitchFamily="18" charset="0"/>
                <a:cs typeface="+mn-cs"/>
              </a:rPr>
              <a:t>коечный фонд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609725" y="3643313"/>
            <a:ext cx="2530475" cy="4302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Georgia" pitchFamily="18" charset="0"/>
                <a:cs typeface="+mn-cs"/>
              </a:rPr>
              <a:t>Подмосковную «скорую» переведут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Georgia" pitchFamily="18" charset="0"/>
                <a:cs typeface="+mn-cs"/>
              </a:rPr>
              <a:t>на подушевое финансировани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873250" y="5097463"/>
            <a:ext cx="2347913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XVIII </a:t>
            </a: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Ежегодный Российский Конгресс 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«Гепатология сегодня»</a:t>
            </a:r>
          </a:p>
        </p:txBody>
      </p:sp>
      <p:cxnSp>
        <p:nvCxnSpPr>
          <p:cNvPr id="53" name="Прямая соединительная линия 6"/>
          <p:cNvCxnSpPr/>
          <p:nvPr/>
        </p:nvCxnSpPr>
        <p:spPr>
          <a:xfrm flipH="1">
            <a:off x="911225" y="3573463"/>
            <a:ext cx="304323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1873250" y="5618163"/>
            <a:ext cx="228282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V </a:t>
            </a: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Ежегодный Всероссийский Конгресс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по инфекционным болезням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39788" y="5097463"/>
            <a:ext cx="1025525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prstClr val="black"/>
                </a:solidFill>
                <a:latin typeface="Georgia" pitchFamily="18" charset="0"/>
                <a:cs typeface="+mn-cs"/>
              </a:rPr>
              <a:t>25-27 марта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prstClr val="black"/>
                </a:solidFill>
                <a:latin typeface="Georgia" pitchFamily="18" charset="0"/>
                <a:cs typeface="+mn-cs"/>
              </a:rPr>
              <a:t>2013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839788" y="5605463"/>
            <a:ext cx="1025525" cy="41592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prstClr val="black"/>
                </a:solidFill>
                <a:latin typeface="Georgia" pitchFamily="18" charset="0"/>
                <a:cs typeface="+mn-cs"/>
              </a:rPr>
              <a:t>25-27 марта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dirty="0">
                <a:solidFill>
                  <a:prstClr val="black"/>
                </a:solidFill>
                <a:latin typeface="Georgia" pitchFamily="18" charset="0"/>
                <a:cs typeface="+mn-cs"/>
              </a:rPr>
              <a:t>2013</a:t>
            </a:r>
          </a:p>
        </p:txBody>
      </p:sp>
      <p:cxnSp>
        <p:nvCxnSpPr>
          <p:cNvPr id="57" name="Прямая соединительная линия 6"/>
          <p:cNvCxnSpPr/>
          <p:nvPr/>
        </p:nvCxnSpPr>
        <p:spPr>
          <a:xfrm flipH="1">
            <a:off x="952500" y="5516563"/>
            <a:ext cx="3043238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4721225" y="5097463"/>
            <a:ext cx="2035175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Прием синтетических наркотиков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вызывает депрессию у подростков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721225" y="5618163"/>
            <a:ext cx="2211388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Отказ от антидепрессантов</a:t>
            </a:r>
          </a:p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Georgia" pitchFamily="18" charset="0"/>
                <a:cs typeface="+mn-cs"/>
              </a:rPr>
              <a:t>Усугубляет депрессию при  деменции</a:t>
            </a:r>
          </a:p>
        </p:txBody>
      </p:sp>
      <p:cxnSp>
        <p:nvCxnSpPr>
          <p:cNvPr id="59" name="Прямая соединительная линия 6"/>
          <p:cNvCxnSpPr/>
          <p:nvPr/>
        </p:nvCxnSpPr>
        <p:spPr>
          <a:xfrm flipH="1">
            <a:off x="4787900" y="5495925"/>
            <a:ext cx="304482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844675"/>
            <a:ext cx="91440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227" name="TextBox 3"/>
          <p:cNvSpPr txBox="1">
            <a:spLocks noChangeArrowheads="1"/>
          </p:cNvSpPr>
          <p:nvPr/>
        </p:nvSpPr>
        <p:spPr bwMode="auto">
          <a:xfrm>
            <a:off x="196850" y="2205038"/>
            <a:ext cx="18542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>
                <a:solidFill>
                  <a:srgbClr val="DEA900"/>
                </a:solidFill>
                <a:latin typeface="Georgia" pitchFamily="18" charset="0"/>
              </a:rPr>
              <a:t>Портфолио</a:t>
            </a:r>
          </a:p>
        </p:txBody>
      </p:sp>
      <p:pic>
        <p:nvPicPr>
          <p:cNvPr id="52228" name="Picture 3" descr="\\192.168.0.79\obmen\PM\Miskaryan\searc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138" y="1935163"/>
            <a:ext cx="2592387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Равнобедренный треугольник 37"/>
          <p:cNvSpPr/>
          <p:nvPr/>
        </p:nvSpPr>
        <p:spPr>
          <a:xfrm rot="10800000">
            <a:off x="517525" y="1838325"/>
            <a:ext cx="1333500" cy="214313"/>
          </a:xfrm>
          <a:prstGeom prst="triangle">
            <a:avLst/>
          </a:prstGeom>
          <a:solidFill>
            <a:srgbClr val="CC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pic>
        <p:nvPicPr>
          <p:cNvPr id="52230" name="Picture 81" descr="\\am-desktop\работа\ГЭОТАР\НМО\Шапка-КВ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26988"/>
            <a:ext cx="9144000" cy="186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31" name="TextBox 89"/>
          <p:cNvSpPr txBox="1">
            <a:spLocks noChangeArrowheads="1"/>
          </p:cNvSpPr>
          <p:nvPr/>
        </p:nvSpPr>
        <p:spPr bwMode="auto">
          <a:xfrm>
            <a:off x="517525" y="1268413"/>
            <a:ext cx="1309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Georgia" pitchFamily="18" charset="0"/>
              </a:rPr>
              <a:t>Портфолио</a:t>
            </a:r>
          </a:p>
        </p:txBody>
      </p:sp>
      <p:sp>
        <p:nvSpPr>
          <p:cNvPr id="52232" name="TextBox 90"/>
          <p:cNvSpPr txBox="1">
            <a:spLocks noChangeArrowheads="1"/>
          </p:cNvSpPr>
          <p:nvPr/>
        </p:nvSpPr>
        <p:spPr bwMode="auto">
          <a:xfrm>
            <a:off x="1879600" y="1268413"/>
            <a:ext cx="1309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Georgia" pitchFamily="18" charset="0"/>
              </a:rPr>
              <a:t>Модули</a:t>
            </a:r>
          </a:p>
        </p:txBody>
      </p:sp>
      <p:sp>
        <p:nvSpPr>
          <p:cNvPr id="52233" name="TextBox 91"/>
          <p:cNvSpPr txBox="1">
            <a:spLocks noChangeArrowheads="1"/>
          </p:cNvSpPr>
          <p:nvPr/>
        </p:nvSpPr>
        <p:spPr bwMode="auto">
          <a:xfrm>
            <a:off x="3213100" y="1268413"/>
            <a:ext cx="1309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Georgia" pitchFamily="18" charset="0"/>
              </a:rPr>
              <a:t>Рекомендации</a:t>
            </a:r>
          </a:p>
        </p:txBody>
      </p:sp>
      <p:sp>
        <p:nvSpPr>
          <p:cNvPr id="52234" name="TextBox 113"/>
          <p:cNvSpPr txBox="1">
            <a:spLocks noChangeArrowheads="1"/>
          </p:cNvSpPr>
          <p:nvPr/>
        </p:nvSpPr>
        <p:spPr bwMode="auto">
          <a:xfrm>
            <a:off x="5908675" y="1268413"/>
            <a:ext cx="1309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Georgia" pitchFamily="18" charset="0"/>
              </a:rPr>
              <a:t>Пациентам</a:t>
            </a:r>
          </a:p>
        </p:txBody>
      </p:sp>
      <p:sp>
        <p:nvSpPr>
          <p:cNvPr id="52235" name="TextBox 114"/>
          <p:cNvSpPr txBox="1">
            <a:spLocks noChangeArrowheads="1"/>
          </p:cNvSpPr>
          <p:nvPr/>
        </p:nvSpPr>
        <p:spPr bwMode="auto">
          <a:xfrm>
            <a:off x="7251700" y="1268413"/>
            <a:ext cx="1309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Georgia" pitchFamily="18" charset="0"/>
              </a:rPr>
              <a:t>Новости</a:t>
            </a:r>
          </a:p>
        </p:txBody>
      </p:sp>
      <p:sp>
        <p:nvSpPr>
          <p:cNvPr id="116" name="Прямоугольник 48"/>
          <p:cNvSpPr/>
          <p:nvPr/>
        </p:nvSpPr>
        <p:spPr>
          <a:xfrm>
            <a:off x="0" y="-26988"/>
            <a:ext cx="9144000" cy="9810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237" name="TextBox 116"/>
          <p:cNvSpPr txBox="1">
            <a:spLocks noChangeArrowheads="1"/>
          </p:cNvSpPr>
          <p:nvPr/>
        </p:nvSpPr>
        <p:spPr bwMode="auto">
          <a:xfrm>
            <a:off x="4565650" y="1268413"/>
            <a:ext cx="13096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solidFill>
                  <a:schemeClr val="bg1"/>
                </a:solidFill>
                <a:latin typeface="Georgia" pitchFamily="18" charset="0"/>
              </a:rPr>
              <a:t>Книги</a:t>
            </a:r>
          </a:p>
        </p:txBody>
      </p:sp>
      <p:sp>
        <p:nvSpPr>
          <p:cNvPr id="118" name="Прямоугольник 12"/>
          <p:cNvSpPr/>
          <p:nvPr/>
        </p:nvSpPr>
        <p:spPr>
          <a:xfrm>
            <a:off x="396875" y="3789363"/>
            <a:ext cx="311150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19" name="Прямоугольник 13"/>
          <p:cNvSpPr/>
          <p:nvPr/>
        </p:nvSpPr>
        <p:spPr>
          <a:xfrm>
            <a:off x="708025" y="3789363"/>
            <a:ext cx="4878388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0" name="Прямоугольник 14"/>
          <p:cNvSpPr/>
          <p:nvPr/>
        </p:nvSpPr>
        <p:spPr>
          <a:xfrm>
            <a:off x="5594350" y="3789363"/>
            <a:ext cx="706438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1" name="Прямоугольник 15"/>
          <p:cNvSpPr/>
          <p:nvPr/>
        </p:nvSpPr>
        <p:spPr>
          <a:xfrm>
            <a:off x="7235825" y="3789363"/>
            <a:ext cx="720725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2" name="Прямоугольник 16"/>
          <p:cNvSpPr/>
          <p:nvPr/>
        </p:nvSpPr>
        <p:spPr>
          <a:xfrm>
            <a:off x="396875" y="4076700"/>
            <a:ext cx="311150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3" name="Прямоугольник 17"/>
          <p:cNvSpPr/>
          <p:nvPr/>
        </p:nvSpPr>
        <p:spPr>
          <a:xfrm>
            <a:off x="708025" y="4076700"/>
            <a:ext cx="487838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4" name="Прямоугольник 18"/>
          <p:cNvSpPr/>
          <p:nvPr/>
        </p:nvSpPr>
        <p:spPr>
          <a:xfrm>
            <a:off x="5594350" y="4076700"/>
            <a:ext cx="7064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5" name="Прямоугольник 19"/>
          <p:cNvSpPr/>
          <p:nvPr/>
        </p:nvSpPr>
        <p:spPr>
          <a:xfrm>
            <a:off x="7235825" y="4076700"/>
            <a:ext cx="720725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6" name="Прямоугольник 20"/>
          <p:cNvSpPr/>
          <p:nvPr/>
        </p:nvSpPr>
        <p:spPr>
          <a:xfrm>
            <a:off x="396875" y="4365625"/>
            <a:ext cx="311150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7" name="Прямоугольник 21"/>
          <p:cNvSpPr/>
          <p:nvPr/>
        </p:nvSpPr>
        <p:spPr>
          <a:xfrm>
            <a:off x="708025" y="4365625"/>
            <a:ext cx="4878388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8" name="Прямоугольник 22"/>
          <p:cNvSpPr/>
          <p:nvPr/>
        </p:nvSpPr>
        <p:spPr>
          <a:xfrm>
            <a:off x="5594350" y="4365625"/>
            <a:ext cx="706438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29" name="Прямоугольник 23"/>
          <p:cNvSpPr/>
          <p:nvPr/>
        </p:nvSpPr>
        <p:spPr>
          <a:xfrm>
            <a:off x="7235825" y="4365625"/>
            <a:ext cx="720725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0" name="Прямоугольник 24"/>
          <p:cNvSpPr/>
          <p:nvPr/>
        </p:nvSpPr>
        <p:spPr>
          <a:xfrm>
            <a:off x="396875" y="4652963"/>
            <a:ext cx="311150" cy="2714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1" name="Прямоугольник 25"/>
          <p:cNvSpPr/>
          <p:nvPr/>
        </p:nvSpPr>
        <p:spPr>
          <a:xfrm>
            <a:off x="708025" y="4652963"/>
            <a:ext cx="4878388" cy="2714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2" name="Прямоугольник 26"/>
          <p:cNvSpPr/>
          <p:nvPr/>
        </p:nvSpPr>
        <p:spPr>
          <a:xfrm>
            <a:off x="5594350" y="4652963"/>
            <a:ext cx="706438" cy="2714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3" name="Прямоугольник 27"/>
          <p:cNvSpPr/>
          <p:nvPr/>
        </p:nvSpPr>
        <p:spPr>
          <a:xfrm>
            <a:off x="7235825" y="4652963"/>
            <a:ext cx="720725" cy="2714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4" name="Прямоугольник 28"/>
          <p:cNvSpPr/>
          <p:nvPr/>
        </p:nvSpPr>
        <p:spPr>
          <a:xfrm>
            <a:off x="396875" y="6308725"/>
            <a:ext cx="8278813" cy="2889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35" name="Прямоугольник 29"/>
          <p:cNvSpPr/>
          <p:nvPr/>
        </p:nvSpPr>
        <p:spPr>
          <a:xfrm>
            <a:off x="396875" y="3141663"/>
            <a:ext cx="8278813" cy="6318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cxnSp>
        <p:nvCxnSpPr>
          <p:cNvPr id="136" name="Прямая соединительная линия 30"/>
          <p:cNvCxnSpPr/>
          <p:nvPr/>
        </p:nvCxnSpPr>
        <p:spPr>
          <a:xfrm>
            <a:off x="708025" y="3141663"/>
            <a:ext cx="0" cy="6318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31"/>
          <p:cNvCxnSpPr/>
          <p:nvPr/>
        </p:nvCxnSpPr>
        <p:spPr>
          <a:xfrm>
            <a:off x="5586413" y="3141663"/>
            <a:ext cx="0" cy="6318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32"/>
          <p:cNvCxnSpPr/>
          <p:nvPr/>
        </p:nvCxnSpPr>
        <p:spPr>
          <a:xfrm>
            <a:off x="7235825" y="3141663"/>
            <a:ext cx="0" cy="6318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59" name="TextBox 138"/>
          <p:cNvSpPr txBox="1">
            <a:spLocks noChangeArrowheads="1"/>
          </p:cNvSpPr>
          <p:nvPr/>
        </p:nvSpPr>
        <p:spPr bwMode="auto">
          <a:xfrm>
            <a:off x="417513" y="3302000"/>
            <a:ext cx="2825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/>
              <a:t>№</a:t>
            </a:r>
          </a:p>
        </p:txBody>
      </p:sp>
      <p:sp>
        <p:nvSpPr>
          <p:cNvPr id="52260" name="TextBox 139"/>
          <p:cNvSpPr txBox="1">
            <a:spLocks noChangeArrowheads="1"/>
          </p:cNvSpPr>
          <p:nvPr/>
        </p:nvSpPr>
        <p:spPr bwMode="auto">
          <a:xfrm>
            <a:off x="1000125" y="3341688"/>
            <a:ext cx="1738313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900"/>
              <a:t>Образовательное мероприятие</a:t>
            </a:r>
          </a:p>
        </p:txBody>
      </p:sp>
      <p:sp>
        <p:nvSpPr>
          <p:cNvPr id="52261" name="TextBox 140"/>
          <p:cNvSpPr txBox="1">
            <a:spLocks noChangeArrowheads="1"/>
          </p:cNvSpPr>
          <p:nvPr/>
        </p:nvSpPr>
        <p:spPr bwMode="auto">
          <a:xfrm>
            <a:off x="5508625" y="3300413"/>
            <a:ext cx="862013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/>
              <a:t>Дата</a:t>
            </a:r>
          </a:p>
          <a:p>
            <a:pPr algn="ctr"/>
            <a:r>
              <a:rPr lang="ru-RU" sz="800"/>
              <a:t>прохождения</a:t>
            </a:r>
          </a:p>
        </p:txBody>
      </p:sp>
      <p:sp>
        <p:nvSpPr>
          <p:cNvPr id="52262" name="TextBox 141"/>
          <p:cNvSpPr txBox="1">
            <a:spLocks noChangeArrowheads="1"/>
          </p:cNvSpPr>
          <p:nvPr/>
        </p:nvSpPr>
        <p:spPr bwMode="auto">
          <a:xfrm>
            <a:off x="7262813" y="3213100"/>
            <a:ext cx="141287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/>
              <a:t>Кредиты</a:t>
            </a:r>
          </a:p>
        </p:txBody>
      </p:sp>
      <p:sp>
        <p:nvSpPr>
          <p:cNvPr id="52263" name="TextBox 142"/>
          <p:cNvSpPr txBox="1">
            <a:spLocks noChangeArrowheads="1"/>
          </p:cNvSpPr>
          <p:nvPr/>
        </p:nvSpPr>
        <p:spPr bwMode="auto">
          <a:xfrm>
            <a:off x="6156325" y="6324600"/>
            <a:ext cx="11779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/>
              <a:t>Итого за 2013 год:</a:t>
            </a:r>
          </a:p>
        </p:txBody>
      </p:sp>
      <p:sp>
        <p:nvSpPr>
          <p:cNvPr id="52264" name="TextBox 143"/>
          <p:cNvSpPr txBox="1">
            <a:spLocks noChangeArrowheads="1"/>
          </p:cNvSpPr>
          <p:nvPr/>
        </p:nvSpPr>
        <p:spPr bwMode="auto">
          <a:xfrm>
            <a:off x="446088" y="3787775"/>
            <a:ext cx="2444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1</a:t>
            </a:r>
          </a:p>
        </p:txBody>
      </p:sp>
      <p:sp>
        <p:nvSpPr>
          <p:cNvPr id="52265" name="TextBox 144"/>
          <p:cNvSpPr txBox="1">
            <a:spLocks noChangeArrowheads="1"/>
          </p:cNvSpPr>
          <p:nvPr/>
        </p:nvSpPr>
        <p:spPr bwMode="auto">
          <a:xfrm>
            <a:off x="684213" y="3816350"/>
            <a:ext cx="32464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000" b="1">
                <a:latin typeface="Georgia" pitchFamily="18" charset="0"/>
              </a:rPr>
              <a:t>Модуль.</a:t>
            </a:r>
            <a:r>
              <a:rPr lang="ru-RU" sz="1000">
                <a:latin typeface="Georgia" pitchFamily="18" charset="0"/>
              </a:rPr>
              <a:t> Хроническая сердечная недостаточность</a:t>
            </a:r>
          </a:p>
        </p:txBody>
      </p:sp>
      <p:sp>
        <p:nvSpPr>
          <p:cNvPr id="52266" name="TextBox 145"/>
          <p:cNvSpPr txBox="1">
            <a:spLocks noChangeArrowheads="1"/>
          </p:cNvSpPr>
          <p:nvPr/>
        </p:nvSpPr>
        <p:spPr bwMode="auto">
          <a:xfrm>
            <a:off x="5518150" y="3816350"/>
            <a:ext cx="862013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28.03.2013</a:t>
            </a:r>
          </a:p>
        </p:txBody>
      </p:sp>
      <p:sp>
        <p:nvSpPr>
          <p:cNvPr id="147" name="Прямоугольник 65"/>
          <p:cNvSpPr/>
          <p:nvPr/>
        </p:nvSpPr>
        <p:spPr>
          <a:xfrm>
            <a:off x="7956550" y="3789363"/>
            <a:ext cx="719138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48" name="Прямоугольник 66"/>
          <p:cNvSpPr/>
          <p:nvPr/>
        </p:nvSpPr>
        <p:spPr>
          <a:xfrm>
            <a:off x="7956550" y="4076700"/>
            <a:ext cx="7191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49" name="Прямоугольник 67"/>
          <p:cNvSpPr/>
          <p:nvPr/>
        </p:nvSpPr>
        <p:spPr>
          <a:xfrm>
            <a:off x="7956550" y="4365625"/>
            <a:ext cx="719138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50" name="Прямоугольник 68"/>
          <p:cNvSpPr/>
          <p:nvPr/>
        </p:nvSpPr>
        <p:spPr>
          <a:xfrm>
            <a:off x="7956550" y="4652963"/>
            <a:ext cx="719138" cy="2714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271" name="TextBox 150"/>
          <p:cNvSpPr txBox="1">
            <a:spLocks noChangeArrowheads="1"/>
          </p:cNvSpPr>
          <p:nvPr/>
        </p:nvSpPr>
        <p:spPr bwMode="auto">
          <a:xfrm>
            <a:off x="446088" y="4073525"/>
            <a:ext cx="261937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2</a:t>
            </a:r>
          </a:p>
        </p:txBody>
      </p:sp>
      <p:sp>
        <p:nvSpPr>
          <p:cNvPr id="52272" name="TextBox 151"/>
          <p:cNvSpPr txBox="1">
            <a:spLocks noChangeArrowheads="1"/>
          </p:cNvSpPr>
          <p:nvPr/>
        </p:nvSpPr>
        <p:spPr bwMode="auto">
          <a:xfrm>
            <a:off x="446088" y="4349750"/>
            <a:ext cx="261937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3</a:t>
            </a:r>
          </a:p>
        </p:txBody>
      </p:sp>
      <p:sp>
        <p:nvSpPr>
          <p:cNvPr id="52273" name="TextBox 152"/>
          <p:cNvSpPr txBox="1">
            <a:spLocks noChangeArrowheads="1"/>
          </p:cNvSpPr>
          <p:nvPr/>
        </p:nvSpPr>
        <p:spPr bwMode="auto">
          <a:xfrm>
            <a:off x="446088" y="4638675"/>
            <a:ext cx="2635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4</a:t>
            </a:r>
          </a:p>
        </p:txBody>
      </p:sp>
      <p:sp>
        <p:nvSpPr>
          <p:cNvPr id="52274" name="TextBox 153"/>
          <p:cNvSpPr txBox="1">
            <a:spLocks noChangeArrowheads="1"/>
          </p:cNvSpPr>
          <p:nvPr/>
        </p:nvSpPr>
        <p:spPr bwMode="auto">
          <a:xfrm>
            <a:off x="7262813" y="3414713"/>
            <a:ext cx="69373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/>
              <a:t>План</a:t>
            </a:r>
          </a:p>
        </p:txBody>
      </p:sp>
      <p:sp>
        <p:nvSpPr>
          <p:cNvPr id="52275" name="TextBox 154"/>
          <p:cNvSpPr txBox="1">
            <a:spLocks noChangeArrowheads="1"/>
          </p:cNvSpPr>
          <p:nvPr/>
        </p:nvSpPr>
        <p:spPr bwMode="auto">
          <a:xfrm>
            <a:off x="7983538" y="3414713"/>
            <a:ext cx="69215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/>
              <a:t>Факт</a:t>
            </a:r>
          </a:p>
        </p:txBody>
      </p:sp>
      <p:cxnSp>
        <p:nvCxnSpPr>
          <p:cNvPr id="156" name="Прямая соединительная линия 78"/>
          <p:cNvCxnSpPr/>
          <p:nvPr/>
        </p:nvCxnSpPr>
        <p:spPr>
          <a:xfrm flipH="1">
            <a:off x="7953375" y="3487738"/>
            <a:ext cx="3175" cy="3016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77" name="TextBox 156"/>
          <p:cNvSpPr txBox="1">
            <a:spLocks noChangeArrowheads="1"/>
          </p:cNvSpPr>
          <p:nvPr/>
        </p:nvSpPr>
        <p:spPr bwMode="auto">
          <a:xfrm>
            <a:off x="7262813" y="3787775"/>
            <a:ext cx="6905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1</a:t>
            </a:r>
          </a:p>
        </p:txBody>
      </p:sp>
      <p:sp>
        <p:nvSpPr>
          <p:cNvPr id="52278" name="TextBox 157"/>
          <p:cNvSpPr txBox="1">
            <a:spLocks noChangeArrowheads="1"/>
          </p:cNvSpPr>
          <p:nvPr/>
        </p:nvSpPr>
        <p:spPr bwMode="auto">
          <a:xfrm>
            <a:off x="8193088" y="3787775"/>
            <a:ext cx="2460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1</a:t>
            </a:r>
          </a:p>
        </p:txBody>
      </p:sp>
      <p:sp>
        <p:nvSpPr>
          <p:cNvPr id="52279" name="TextBox 158"/>
          <p:cNvSpPr txBox="1">
            <a:spLocks noChangeArrowheads="1"/>
          </p:cNvSpPr>
          <p:nvPr/>
        </p:nvSpPr>
        <p:spPr bwMode="auto">
          <a:xfrm>
            <a:off x="684213" y="4103688"/>
            <a:ext cx="421481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1000" b="1">
                <a:latin typeface="Georgia" pitchFamily="18" charset="0"/>
              </a:rPr>
              <a:t>Конференция. </a:t>
            </a:r>
            <a:r>
              <a:rPr lang="ru-RU" sz="1000">
                <a:latin typeface="Georgia" pitchFamily="18" charset="0"/>
              </a:rPr>
              <a:t>Московский международный форум кардиологов</a:t>
            </a:r>
            <a:endParaRPr lang="ru-RU" sz="1000">
              <a:solidFill>
                <a:srgbClr val="333399"/>
              </a:solidFill>
              <a:latin typeface="Georgia" pitchFamily="18" charset="0"/>
            </a:endParaRPr>
          </a:p>
        </p:txBody>
      </p:sp>
      <p:sp>
        <p:nvSpPr>
          <p:cNvPr id="52280" name="TextBox 159"/>
          <p:cNvSpPr txBox="1">
            <a:spLocks noChangeArrowheads="1"/>
          </p:cNvSpPr>
          <p:nvPr/>
        </p:nvSpPr>
        <p:spPr bwMode="auto">
          <a:xfrm>
            <a:off x="684213" y="4392613"/>
            <a:ext cx="42164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1000" b="1">
                <a:latin typeface="Georgia" pitchFamily="18" charset="0"/>
              </a:rPr>
              <a:t>Конференция. </a:t>
            </a:r>
            <a:r>
              <a:rPr lang="ru-RU" sz="1000">
                <a:latin typeface="Georgia" pitchFamily="18" charset="0"/>
              </a:rPr>
              <a:t>Современные аспекты диагностики и лечения СД</a:t>
            </a:r>
            <a:endParaRPr lang="ru-RU" sz="1000">
              <a:solidFill>
                <a:srgbClr val="333399"/>
              </a:solidFill>
              <a:latin typeface="Georgia" pitchFamily="18" charset="0"/>
            </a:endParaRPr>
          </a:p>
        </p:txBody>
      </p:sp>
      <p:sp>
        <p:nvSpPr>
          <p:cNvPr id="52281" name="TextBox 160"/>
          <p:cNvSpPr txBox="1">
            <a:spLocks noChangeArrowheads="1"/>
          </p:cNvSpPr>
          <p:nvPr/>
        </p:nvSpPr>
        <p:spPr bwMode="auto">
          <a:xfrm>
            <a:off x="677863" y="4679950"/>
            <a:ext cx="378618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1000" b="1">
                <a:latin typeface="Georgia" pitchFamily="18" charset="0"/>
              </a:rPr>
              <a:t>Вебинар. </a:t>
            </a:r>
            <a:r>
              <a:rPr lang="ru-RU" sz="1000">
                <a:latin typeface="Georgia" pitchFamily="18" charset="0"/>
              </a:rPr>
              <a:t>Особенности гипотензивной терапии у пожилых</a:t>
            </a:r>
            <a:endParaRPr lang="ru-RU" sz="1000">
              <a:solidFill>
                <a:srgbClr val="333399"/>
              </a:solidFill>
              <a:latin typeface="Georgia" pitchFamily="18" charset="0"/>
            </a:endParaRPr>
          </a:p>
        </p:txBody>
      </p:sp>
      <p:sp>
        <p:nvSpPr>
          <p:cNvPr id="52282" name="TextBox 161"/>
          <p:cNvSpPr txBox="1">
            <a:spLocks noChangeArrowheads="1"/>
          </p:cNvSpPr>
          <p:nvPr/>
        </p:nvSpPr>
        <p:spPr bwMode="auto">
          <a:xfrm>
            <a:off x="5518150" y="4103688"/>
            <a:ext cx="862013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14.05.2013</a:t>
            </a:r>
          </a:p>
        </p:txBody>
      </p:sp>
      <p:sp>
        <p:nvSpPr>
          <p:cNvPr id="52283" name="TextBox 162"/>
          <p:cNvSpPr txBox="1">
            <a:spLocks noChangeArrowheads="1"/>
          </p:cNvSpPr>
          <p:nvPr/>
        </p:nvSpPr>
        <p:spPr bwMode="auto">
          <a:xfrm>
            <a:off x="5518150" y="4392613"/>
            <a:ext cx="8636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latin typeface="Georgia" pitchFamily="18" charset="0"/>
              </a:rPr>
              <a:t>17</a:t>
            </a:r>
            <a:r>
              <a:rPr lang="ru-RU" sz="900">
                <a:latin typeface="Georgia" pitchFamily="18" charset="0"/>
              </a:rPr>
              <a:t>.06.2013</a:t>
            </a:r>
          </a:p>
        </p:txBody>
      </p:sp>
      <p:sp>
        <p:nvSpPr>
          <p:cNvPr id="52284" name="TextBox 163"/>
          <p:cNvSpPr txBox="1">
            <a:spLocks noChangeArrowheads="1"/>
          </p:cNvSpPr>
          <p:nvPr/>
        </p:nvSpPr>
        <p:spPr bwMode="auto">
          <a:xfrm>
            <a:off x="5518150" y="4679950"/>
            <a:ext cx="862013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latin typeface="Georgia" pitchFamily="18" charset="0"/>
              </a:rPr>
              <a:t>23</a:t>
            </a:r>
            <a:r>
              <a:rPr lang="ru-RU" sz="900">
                <a:latin typeface="Georgia" pitchFamily="18" charset="0"/>
              </a:rPr>
              <a:t>.0</a:t>
            </a:r>
            <a:r>
              <a:rPr lang="en-US" sz="900">
                <a:latin typeface="Georgia" pitchFamily="18" charset="0"/>
              </a:rPr>
              <a:t>7</a:t>
            </a:r>
            <a:r>
              <a:rPr lang="ru-RU" sz="900">
                <a:latin typeface="Georgia" pitchFamily="18" charset="0"/>
              </a:rPr>
              <a:t>.2013</a:t>
            </a:r>
          </a:p>
        </p:txBody>
      </p:sp>
      <p:sp>
        <p:nvSpPr>
          <p:cNvPr id="52285" name="TextBox 164"/>
          <p:cNvSpPr txBox="1">
            <a:spLocks noChangeArrowheads="1"/>
          </p:cNvSpPr>
          <p:nvPr/>
        </p:nvSpPr>
        <p:spPr bwMode="auto">
          <a:xfrm>
            <a:off x="7235825" y="4089400"/>
            <a:ext cx="7175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11</a:t>
            </a:r>
          </a:p>
        </p:txBody>
      </p:sp>
      <p:sp>
        <p:nvSpPr>
          <p:cNvPr id="52286" name="TextBox 165"/>
          <p:cNvSpPr txBox="1">
            <a:spLocks noChangeArrowheads="1"/>
          </p:cNvSpPr>
          <p:nvPr/>
        </p:nvSpPr>
        <p:spPr bwMode="auto">
          <a:xfrm>
            <a:off x="7262813" y="4376738"/>
            <a:ext cx="6445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12</a:t>
            </a:r>
          </a:p>
        </p:txBody>
      </p:sp>
      <p:sp>
        <p:nvSpPr>
          <p:cNvPr id="52287" name="TextBox 166"/>
          <p:cNvSpPr txBox="1">
            <a:spLocks noChangeArrowheads="1"/>
          </p:cNvSpPr>
          <p:nvPr/>
        </p:nvSpPr>
        <p:spPr bwMode="auto">
          <a:xfrm>
            <a:off x="7262813" y="4664075"/>
            <a:ext cx="6445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3</a:t>
            </a:r>
          </a:p>
        </p:txBody>
      </p:sp>
      <p:sp>
        <p:nvSpPr>
          <p:cNvPr id="52288" name="TextBox 167"/>
          <p:cNvSpPr txBox="1">
            <a:spLocks noChangeArrowheads="1"/>
          </p:cNvSpPr>
          <p:nvPr/>
        </p:nvSpPr>
        <p:spPr bwMode="auto">
          <a:xfrm>
            <a:off x="8172450" y="4089400"/>
            <a:ext cx="2714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0</a:t>
            </a:r>
          </a:p>
        </p:txBody>
      </p:sp>
      <p:sp>
        <p:nvSpPr>
          <p:cNvPr id="52289" name="TextBox 168"/>
          <p:cNvSpPr txBox="1">
            <a:spLocks noChangeArrowheads="1"/>
          </p:cNvSpPr>
          <p:nvPr/>
        </p:nvSpPr>
        <p:spPr bwMode="auto">
          <a:xfrm>
            <a:off x="8172450" y="4365625"/>
            <a:ext cx="2714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0</a:t>
            </a:r>
          </a:p>
        </p:txBody>
      </p:sp>
      <p:sp>
        <p:nvSpPr>
          <p:cNvPr id="52290" name="TextBox 169"/>
          <p:cNvSpPr txBox="1">
            <a:spLocks noChangeArrowheads="1"/>
          </p:cNvSpPr>
          <p:nvPr/>
        </p:nvSpPr>
        <p:spPr bwMode="auto">
          <a:xfrm>
            <a:off x="8172450" y="4672013"/>
            <a:ext cx="271463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0</a:t>
            </a:r>
          </a:p>
        </p:txBody>
      </p:sp>
      <p:sp>
        <p:nvSpPr>
          <p:cNvPr id="52291" name="TextBox 170"/>
          <p:cNvSpPr txBox="1">
            <a:spLocks noChangeArrowheads="1"/>
          </p:cNvSpPr>
          <p:nvPr/>
        </p:nvSpPr>
        <p:spPr bwMode="auto">
          <a:xfrm>
            <a:off x="8193088" y="6308725"/>
            <a:ext cx="2540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b="1">
                <a:solidFill>
                  <a:srgbClr val="C00000"/>
                </a:solidFill>
                <a:latin typeface="Georgia" pitchFamily="18" charset="0"/>
              </a:rPr>
              <a:t>1</a:t>
            </a:r>
          </a:p>
        </p:txBody>
      </p:sp>
      <p:sp>
        <p:nvSpPr>
          <p:cNvPr id="52292" name="TextBox 171"/>
          <p:cNvSpPr txBox="1">
            <a:spLocks noChangeArrowheads="1"/>
          </p:cNvSpPr>
          <p:nvPr/>
        </p:nvSpPr>
        <p:spPr bwMode="auto">
          <a:xfrm>
            <a:off x="7485063" y="6308725"/>
            <a:ext cx="344487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50</a:t>
            </a:r>
          </a:p>
        </p:txBody>
      </p:sp>
      <p:sp>
        <p:nvSpPr>
          <p:cNvPr id="173" name="Прямоугольник 97"/>
          <p:cNvSpPr/>
          <p:nvPr/>
        </p:nvSpPr>
        <p:spPr>
          <a:xfrm>
            <a:off x="6300788" y="3789363"/>
            <a:ext cx="935037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74" name="Прямоугольник 98"/>
          <p:cNvSpPr/>
          <p:nvPr/>
        </p:nvSpPr>
        <p:spPr>
          <a:xfrm>
            <a:off x="6300788" y="4076700"/>
            <a:ext cx="935037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75" name="Прямоугольник 99"/>
          <p:cNvSpPr/>
          <p:nvPr/>
        </p:nvSpPr>
        <p:spPr>
          <a:xfrm>
            <a:off x="6300788" y="4365625"/>
            <a:ext cx="935037" cy="269875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76" name="Прямоугольник 100"/>
          <p:cNvSpPr/>
          <p:nvPr/>
        </p:nvSpPr>
        <p:spPr>
          <a:xfrm>
            <a:off x="6300788" y="4652963"/>
            <a:ext cx="935037" cy="2714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cxnSp>
        <p:nvCxnSpPr>
          <p:cNvPr id="177" name="Прямая соединительная линия 101"/>
          <p:cNvCxnSpPr/>
          <p:nvPr/>
        </p:nvCxnSpPr>
        <p:spPr>
          <a:xfrm>
            <a:off x="6300788" y="3141663"/>
            <a:ext cx="0" cy="63182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298" name="TextBox 177"/>
          <p:cNvSpPr txBox="1">
            <a:spLocks noChangeArrowheads="1"/>
          </p:cNvSpPr>
          <p:nvPr/>
        </p:nvSpPr>
        <p:spPr bwMode="auto">
          <a:xfrm>
            <a:off x="6313488" y="3300413"/>
            <a:ext cx="863600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/>
              <a:t>№ </a:t>
            </a:r>
            <a:r>
              <a:rPr lang="ru-RU" sz="800"/>
              <a:t>Сертификата</a:t>
            </a:r>
            <a:endParaRPr lang="ru-RU" sz="900"/>
          </a:p>
        </p:txBody>
      </p:sp>
      <p:sp>
        <p:nvSpPr>
          <p:cNvPr id="52299" name="TextBox 178"/>
          <p:cNvSpPr txBox="1">
            <a:spLocks noChangeArrowheads="1"/>
          </p:cNvSpPr>
          <p:nvPr/>
        </p:nvSpPr>
        <p:spPr bwMode="auto">
          <a:xfrm>
            <a:off x="6373813" y="3835400"/>
            <a:ext cx="862012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latin typeface="Georgia" pitchFamily="18" charset="0"/>
              </a:rPr>
              <a:t>NMO-2342013</a:t>
            </a:r>
            <a:endParaRPr lang="ru-RU" sz="800">
              <a:latin typeface="Georgia" pitchFamily="18" charset="0"/>
            </a:endParaRPr>
          </a:p>
        </p:txBody>
      </p:sp>
      <p:sp>
        <p:nvSpPr>
          <p:cNvPr id="52300" name="TextBox 179"/>
          <p:cNvSpPr txBox="1">
            <a:spLocks noChangeArrowheads="1"/>
          </p:cNvSpPr>
          <p:nvPr/>
        </p:nvSpPr>
        <p:spPr bwMode="auto">
          <a:xfrm>
            <a:off x="6335713" y="4103688"/>
            <a:ext cx="8636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Не получен</a:t>
            </a:r>
          </a:p>
        </p:txBody>
      </p:sp>
      <p:sp>
        <p:nvSpPr>
          <p:cNvPr id="52301" name="TextBox 180"/>
          <p:cNvSpPr txBox="1">
            <a:spLocks noChangeArrowheads="1"/>
          </p:cNvSpPr>
          <p:nvPr/>
        </p:nvSpPr>
        <p:spPr bwMode="auto">
          <a:xfrm>
            <a:off x="6335713" y="4386263"/>
            <a:ext cx="8636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Не получен</a:t>
            </a:r>
          </a:p>
        </p:txBody>
      </p:sp>
      <p:sp>
        <p:nvSpPr>
          <p:cNvPr id="52302" name="TextBox 181"/>
          <p:cNvSpPr txBox="1">
            <a:spLocks noChangeArrowheads="1"/>
          </p:cNvSpPr>
          <p:nvPr/>
        </p:nvSpPr>
        <p:spPr bwMode="auto">
          <a:xfrm>
            <a:off x="6335713" y="4684713"/>
            <a:ext cx="8636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Не получен</a:t>
            </a:r>
          </a:p>
        </p:txBody>
      </p:sp>
      <p:sp>
        <p:nvSpPr>
          <p:cNvPr id="52303" name="TextBox 182"/>
          <p:cNvSpPr txBox="1">
            <a:spLocks noChangeArrowheads="1"/>
          </p:cNvSpPr>
          <p:nvPr/>
        </p:nvSpPr>
        <p:spPr bwMode="auto">
          <a:xfrm>
            <a:off x="0" y="88900"/>
            <a:ext cx="9144000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>
                <a:solidFill>
                  <a:schemeClr val="bg1"/>
                </a:solidFill>
              </a:rPr>
              <a:t>ТАК ВЫГЛЯДИТ ОТЧЕТ ВРАЧА В</a:t>
            </a:r>
            <a:r>
              <a:rPr lang="ru-RU" sz="2800" b="1">
                <a:solidFill>
                  <a:srgbClr val="FFFFFF"/>
                </a:solidFill>
              </a:rPr>
              <a:t>  «ОБРАЗОВАТЕЛЬНОЙ СРЕДЕ»</a:t>
            </a:r>
            <a:r>
              <a:rPr lang="ru-RU" sz="2800" b="1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96" name="Прямоугольник 24"/>
          <p:cNvSpPr/>
          <p:nvPr/>
        </p:nvSpPr>
        <p:spPr>
          <a:xfrm>
            <a:off x="396875" y="4937125"/>
            <a:ext cx="311150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97" name="Прямоугольник 25"/>
          <p:cNvSpPr/>
          <p:nvPr/>
        </p:nvSpPr>
        <p:spPr>
          <a:xfrm>
            <a:off x="708025" y="4937125"/>
            <a:ext cx="487838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98" name="Прямоугольник 26"/>
          <p:cNvSpPr/>
          <p:nvPr/>
        </p:nvSpPr>
        <p:spPr>
          <a:xfrm>
            <a:off x="5594350" y="4937125"/>
            <a:ext cx="7064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99" name="Прямоугольник 27"/>
          <p:cNvSpPr/>
          <p:nvPr/>
        </p:nvSpPr>
        <p:spPr>
          <a:xfrm>
            <a:off x="7235825" y="4937125"/>
            <a:ext cx="720725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00" name="Прямоугольник 68"/>
          <p:cNvSpPr/>
          <p:nvPr/>
        </p:nvSpPr>
        <p:spPr>
          <a:xfrm>
            <a:off x="7956550" y="4937125"/>
            <a:ext cx="7191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09" name="TextBox 100"/>
          <p:cNvSpPr txBox="1">
            <a:spLocks noChangeArrowheads="1"/>
          </p:cNvSpPr>
          <p:nvPr/>
        </p:nvSpPr>
        <p:spPr bwMode="auto">
          <a:xfrm>
            <a:off x="446088" y="4922838"/>
            <a:ext cx="2635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>
                <a:latin typeface="Georgia" pitchFamily="18" charset="0"/>
              </a:rPr>
              <a:t>5</a:t>
            </a:r>
            <a:endParaRPr lang="ru-RU" sz="1100">
              <a:latin typeface="Georgia" pitchFamily="18" charset="0"/>
            </a:endParaRPr>
          </a:p>
        </p:txBody>
      </p:sp>
      <p:sp>
        <p:nvSpPr>
          <p:cNvPr id="52310" name="TextBox 101"/>
          <p:cNvSpPr txBox="1">
            <a:spLocks noChangeArrowheads="1"/>
          </p:cNvSpPr>
          <p:nvPr/>
        </p:nvSpPr>
        <p:spPr bwMode="auto">
          <a:xfrm>
            <a:off x="677863" y="4964113"/>
            <a:ext cx="31384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1000" b="1">
                <a:latin typeface="Georgia" pitchFamily="18" charset="0"/>
              </a:rPr>
              <a:t>Модуль. </a:t>
            </a:r>
            <a:r>
              <a:rPr lang="ru-RU" sz="1000">
                <a:latin typeface="Georgia" pitchFamily="18" charset="0"/>
              </a:rPr>
              <a:t>Контроль АД в амбулаторных условиях</a:t>
            </a:r>
            <a:endParaRPr lang="ru-RU" sz="1000">
              <a:solidFill>
                <a:srgbClr val="333399"/>
              </a:solidFill>
              <a:latin typeface="Georgia" pitchFamily="18" charset="0"/>
            </a:endParaRPr>
          </a:p>
        </p:txBody>
      </p:sp>
      <p:sp>
        <p:nvSpPr>
          <p:cNvPr id="52311" name="TextBox 102"/>
          <p:cNvSpPr txBox="1">
            <a:spLocks noChangeArrowheads="1"/>
          </p:cNvSpPr>
          <p:nvPr/>
        </p:nvSpPr>
        <p:spPr bwMode="auto">
          <a:xfrm>
            <a:off x="5518150" y="4964113"/>
            <a:ext cx="862013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latin typeface="Georgia" pitchFamily="18" charset="0"/>
              </a:rPr>
              <a:t>14</a:t>
            </a:r>
            <a:r>
              <a:rPr lang="ru-RU" sz="900">
                <a:latin typeface="Georgia" pitchFamily="18" charset="0"/>
              </a:rPr>
              <a:t>.09.2013</a:t>
            </a:r>
          </a:p>
        </p:txBody>
      </p:sp>
      <p:sp>
        <p:nvSpPr>
          <p:cNvPr id="52312" name="TextBox 103"/>
          <p:cNvSpPr txBox="1">
            <a:spLocks noChangeArrowheads="1"/>
          </p:cNvSpPr>
          <p:nvPr/>
        </p:nvSpPr>
        <p:spPr bwMode="auto">
          <a:xfrm>
            <a:off x="7262813" y="4948238"/>
            <a:ext cx="6445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1</a:t>
            </a:r>
          </a:p>
        </p:txBody>
      </p:sp>
      <p:sp>
        <p:nvSpPr>
          <p:cNvPr id="52313" name="TextBox 104"/>
          <p:cNvSpPr txBox="1">
            <a:spLocks noChangeArrowheads="1"/>
          </p:cNvSpPr>
          <p:nvPr/>
        </p:nvSpPr>
        <p:spPr bwMode="auto">
          <a:xfrm>
            <a:off x="8172450" y="4956175"/>
            <a:ext cx="27146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0</a:t>
            </a:r>
          </a:p>
        </p:txBody>
      </p:sp>
      <p:sp>
        <p:nvSpPr>
          <p:cNvPr id="106" name="Прямоугольник 100"/>
          <p:cNvSpPr/>
          <p:nvPr/>
        </p:nvSpPr>
        <p:spPr>
          <a:xfrm>
            <a:off x="6300788" y="4937125"/>
            <a:ext cx="935037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15" name="TextBox 106"/>
          <p:cNvSpPr txBox="1">
            <a:spLocks noChangeArrowheads="1"/>
          </p:cNvSpPr>
          <p:nvPr/>
        </p:nvSpPr>
        <p:spPr bwMode="auto">
          <a:xfrm>
            <a:off x="6335713" y="4968875"/>
            <a:ext cx="86360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Не получен</a:t>
            </a:r>
          </a:p>
        </p:txBody>
      </p:sp>
      <p:sp>
        <p:nvSpPr>
          <p:cNvPr id="93" name="Прямоугольник 24"/>
          <p:cNvSpPr/>
          <p:nvPr/>
        </p:nvSpPr>
        <p:spPr>
          <a:xfrm>
            <a:off x="396875" y="5235575"/>
            <a:ext cx="311150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94" name="Прямоугольник 25"/>
          <p:cNvSpPr/>
          <p:nvPr/>
        </p:nvSpPr>
        <p:spPr>
          <a:xfrm>
            <a:off x="708025" y="5235575"/>
            <a:ext cx="487838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95" name="Прямоугольник 26"/>
          <p:cNvSpPr/>
          <p:nvPr/>
        </p:nvSpPr>
        <p:spPr>
          <a:xfrm>
            <a:off x="5594350" y="5235575"/>
            <a:ext cx="7064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08" name="Прямоугольник 27"/>
          <p:cNvSpPr/>
          <p:nvPr/>
        </p:nvSpPr>
        <p:spPr>
          <a:xfrm>
            <a:off x="7235825" y="5235575"/>
            <a:ext cx="720725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09" name="Прямоугольник 68"/>
          <p:cNvSpPr/>
          <p:nvPr/>
        </p:nvSpPr>
        <p:spPr>
          <a:xfrm>
            <a:off x="7956550" y="5235575"/>
            <a:ext cx="7191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21" name="TextBox 109"/>
          <p:cNvSpPr txBox="1">
            <a:spLocks noChangeArrowheads="1"/>
          </p:cNvSpPr>
          <p:nvPr/>
        </p:nvSpPr>
        <p:spPr bwMode="auto">
          <a:xfrm>
            <a:off x="446088" y="5229225"/>
            <a:ext cx="2635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6</a:t>
            </a:r>
          </a:p>
        </p:txBody>
      </p:sp>
      <p:sp>
        <p:nvSpPr>
          <p:cNvPr id="52322" name="TextBox 110"/>
          <p:cNvSpPr txBox="1">
            <a:spLocks noChangeArrowheads="1"/>
          </p:cNvSpPr>
          <p:nvPr/>
        </p:nvSpPr>
        <p:spPr bwMode="auto">
          <a:xfrm>
            <a:off x="677863" y="5262563"/>
            <a:ext cx="44831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1000" b="1">
                <a:latin typeface="Georgia" pitchFamily="18" charset="0"/>
              </a:rPr>
              <a:t>Модуль-видеолекция. </a:t>
            </a:r>
            <a:r>
              <a:rPr lang="ru-RU" sz="1000">
                <a:latin typeface="Georgia" pitchFamily="18" charset="0"/>
              </a:rPr>
              <a:t>Головокружение в терапевтической практике</a:t>
            </a:r>
            <a:endParaRPr lang="ru-RU" sz="1000">
              <a:solidFill>
                <a:srgbClr val="333399"/>
              </a:solidFill>
              <a:latin typeface="Georgia" pitchFamily="18" charset="0"/>
            </a:endParaRPr>
          </a:p>
        </p:txBody>
      </p:sp>
      <p:sp>
        <p:nvSpPr>
          <p:cNvPr id="52323" name="TextBox 111"/>
          <p:cNvSpPr txBox="1">
            <a:spLocks noChangeArrowheads="1"/>
          </p:cNvSpPr>
          <p:nvPr/>
        </p:nvSpPr>
        <p:spPr bwMode="auto">
          <a:xfrm>
            <a:off x="5518150" y="5262563"/>
            <a:ext cx="862013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09.</a:t>
            </a:r>
            <a:r>
              <a:rPr lang="en-US" sz="900">
                <a:latin typeface="Georgia" pitchFamily="18" charset="0"/>
              </a:rPr>
              <a:t>10</a:t>
            </a:r>
            <a:r>
              <a:rPr lang="ru-RU" sz="900">
                <a:latin typeface="Georgia" pitchFamily="18" charset="0"/>
              </a:rPr>
              <a:t>.2013</a:t>
            </a:r>
          </a:p>
        </p:txBody>
      </p:sp>
      <p:sp>
        <p:nvSpPr>
          <p:cNvPr id="52324" name="TextBox 112"/>
          <p:cNvSpPr txBox="1">
            <a:spLocks noChangeArrowheads="1"/>
          </p:cNvSpPr>
          <p:nvPr/>
        </p:nvSpPr>
        <p:spPr bwMode="auto">
          <a:xfrm>
            <a:off x="7262813" y="5248275"/>
            <a:ext cx="6905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1</a:t>
            </a:r>
          </a:p>
        </p:txBody>
      </p:sp>
      <p:sp>
        <p:nvSpPr>
          <p:cNvPr id="52325" name="TextBox 183"/>
          <p:cNvSpPr txBox="1">
            <a:spLocks noChangeArrowheads="1"/>
          </p:cNvSpPr>
          <p:nvPr/>
        </p:nvSpPr>
        <p:spPr bwMode="auto">
          <a:xfrm>
            <a:off x="8172450" y="5256213"/>
            <a:ext cx="2714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0</a:t>
            </a:r>
          </a:p>
        </p:txBody>
      </p:sp>
      <p:sp>
        <p:nvSpPr>
          <p:cNvPr id="185" name="Прямоугольник 100"/>
          <p:cNvSpPr/>
          <p:nvPr/>
        </p:nvSpPr>
        <p:spPr>
          <a:xfrm>
            <a:off x="6300788" y="5235575"/>
            <a:ext cx="935037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27" name="TextBox 185"/>
          <p:cNvSpPr txBox="1">
            <a:spLocks noChangeArrowheads="1"/>
          </p:cNvSpPr>
          <p:nvPr/>
        </p:nvSpPr>
        <p:spPr bwMode="auto">
          <a:xfrm>
            <a:off x="6335713" y="5267325"/>
            <a:ext cx="86360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Не получен</a:t>
            </a:r>
          </a:p>
        </p:txBody>
      </p:sp>
      <p:sp>
        <p:nvSpPr>
          <p:cNvPr id="52328" name="TextBox 186"/>
          <p:cNvSpPr txBox="1">
            <a:spLocks noChangeArrowheads="1"/>
          </p:cNvSpPr>
          <p:nvPr/>
        </p:nvSpPr>
        <p:spPr bwMode="auto">
          <a:xfrm>
            <a:off x="684213" y="2636838"/>
            <a:ext cx="2535237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b="1">
                <a:latin typeface="Georgia" pitchFamily="18" charset="0"/>
              </a:rPr>
              <a:t>Ф.И.О.: </a:t>
            </a:r>
            <a:r>
              <a:rPr lang="ru-RU" sz="1100">
                <a:latin typeface="Georgia" pitchFamily="18" charset="0"/>
              </a:rPr>
              <a:t>Кочетков Сергей Юрьевич</a:t>
            </a:r>
          </a:p>
        </p:txBody>
      </p:sp>
      <p:sp>
        <p:nvSpPr>
          <p:cNvPr id="52329" name="TextBox 187"/>
          <p:cNvSpPr txBox="1">
            <a:spLocks noChangeArrowheads="1"/>
          </p:cNvSpPr>
          <p:nvPr/>
        </p:nvSpPr>
        <p:spPr bwMode="auto">
          <a:xfrm>
            <a:off x="684213" y="2849563"/>
            <a:ext cx="20256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b="1">
                <a:latin typeface="Georgia" pitchFamily="18" charset="0"/>
              </a:rPr>
              <a:t>Специальность:  </a:t>
            </a:r>
            <a:r>
              <a:rPr lang="ru-RU" sz="1100">
                <a:latin typeface="Georgia" pitchFamily="18" charset="0"/>
              </a:rPr>
              <a:t>Терапия</a:t>
            </a:r>
          </a:p>
        </p:txBody>
      </p:sp>
      <p:sp>
        <p:nvSpPr>
          <p:cNvPr id="52330" name="TextBox 188"/>
          <p:cNvSpPr txBox="1">
            <a:spLocks noChangeArrowheads="1"/>
          </p:cNvSpPr>
          <p:nvPr/>
        </p:nvSpPr>
        <p:spPr bwMode="auto">
          <a:xfrm>
            <a:off x="3844925" y="2636838"/>
            <a:ext cx="24066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b="1">
                <a:latin typeface="Georgia" pitchFamily="18" charset="0"/>
              </a:rPr>
              <a:t>Дата отчета: </a:t>
            </a:r>
            <a:r>
              <a:rPr lang="ru-RU" sz="1100">
                <a:latin typeface="Georgia" pitchFamily="18" charset="0"/>
              </a:rPr>
              <a:t>28 марта 2013 года</a:t>
            </a:r>
          </a:p>
        </p:txBody>
      </p:sp>
      <p:sp>
        <p:nvSpPr>
          <p:cNvPr id="52331" name="TextBox 189"/>
          <p:cNvSpPr txBox="1">
            <a:spLocks noChangeArrowheads="1"/>
          </p:cNvSpPr>
          <p:nvPr/>
        </p:nvSpPr>
        <p:spPr bwMode="auto">
          <a:xfrm>
            <a:off x="3844925" y="2849563"/>
            <a:ext cx="24193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 b="1">
                <a:latin typeface="Georgia" pitchFamily="18" charset="0"/>
              </a:rPr>
              <a:t>Количество НМО-кредитов: </a:t>
            </a:r>
            <a:r>
              <a:rPr lang="ru-RU" sz="1100">
                <a:latin typeface="Georgia" pitchFamily="18" charset="0"/>
              </a:rPr>
              <a:t>1</a:t>
            </a:r>
          </a:p>
        </p:txBody>
      </p:sp>
      <p:sp>
        <p:nvSpPr>
          <p:cNvPr id="191" name="Прямоугольник 24"/>
          <p:cNvSpPr/>
          <p:nvPr/>
        </p:nvSpPr>
        <p:spPr>
          <a:xfrm>
            <a:off x="396875" y="5524500"/>
            <a:ext cx="311150" cy="42703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92" name="Прямоугольник 25"/>
          <p:cNvSpPr/>
          <p:nvPr/>
        </p:nvSpPr>
        <p:spPr>
          <a:xfrm>
            <a:off x="708025" y="5524500"/>
            <a:ext cx="4878388" cy="42703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93" name="Прямоугольник 26"/>
          <p:cNvSpPr/>
          <p:nvPr/>
        </p:nvSpPr>
        <p:spPr>
          <a:xfrm>
            <a:off x="5594350" y="5524500"/>
            <a:ext cx="706438" cy="42703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94" name="Прямоугольник 27"/>
          <p:cNvSpPr/>
          <p:nvPr/>
        </p:nvSpPr>
        <p:spPr>
          <a:xfrm>
            <a:off x="7235825" y="5524500"/>
            <a:ext cx="720725" cy="42703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95" name="Прямоугольник 68"/>
          <p:cNvSpPr/>
          <p:nvPr/>
        </p:nvSpPr>
        <p:spPr>
          <a:xfrm>
            <a:off x="7956550" y="5524500"/>
            <a:ext cx="719138" cy="42703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37" name="TextBox 195"/>
          <p:cNvSpPr txBox="1">
            <a:spLocks noChangeArrowheads="1"/>
          </p:cNvSpPr>
          <p:nvPr/>
        </p:nvSpPr>
        <p:spPr bwMode="auto">
          <a:xfrm>
            <a:off x="446088" y="5614988"/>
            <a:ext cx="2540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7</a:t>
            </a:r>
          </a:p>
        </p:txBody>
      </p:sp>
      <p:sp>
        <p:nvSpPr>
          <p:cNvPr id="52338" name="TextBox 196"/>
          <p:cNvSpPr txBox="1">
            <a:spLocks noChangeArrowheads="1"/>
          </p:cNvSpPr>
          <p:nvPr/>
        </p:nvSpPr>
        <p:spPr bwMode="auto">
          <a:xfrm>
            <a:off x="677863" y="5551488"/>
            <a:ext cx="34940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1000" b="1">
                <a:latin typeface="Georgia" pitchFamily="18" charset="0"/>
              </a:rPr>
              <a:t>Курс модулей. </a:t>
            </a:r>
            <a:r>
              <a:rPr lang="ru-RU" sz="1000">
                <a:latin typeface="Georgia" pitchFamily="18" charset="0"/>
              </a:rPr>
              <a:t>Профилактика и ранняя диагностика </a:t>
            </a:r>
          </a:p>
          <a:p>
            <a:pPr defTabSz="912813"/>
            <a:r>
              <a:rPr lang="ru-RU" sz="1000">
                <a:latin typeface="Georgia" pitchFamily="18" charset="0"/>
              </a:rPr>
              <a:t>неинфекционных заболеваний (10 модулей)</a:t>
            </a:r>
            <a:endParaRPr lang="ru-RU" sz="1000">
              <a:solidFill>
                <a:srgbClr val="333399"/>
              </a:solidFill>
              <a:latin typeface="Georgia" pitchFamily="18" charset="0"/>
            </a:endParaRPr>
          </a:p>
        </p:txBody>
      </p:sp>
      <p:sp>
        <p:nvSpPr>
          <p:cNvPr id="52339" name="TextBox 197"/>
          <p:cNvSpPr txBox="1">
            <a:spLocks noChangeArrowheads="1"/>
          </p:cNvSpPr>
          <p:nvPr/>
        </p:nvSpPr>
        <p:spPr bwMode="auto">
          <a:xfrm>
            <a:off x="5518150" y="5622925"/>
            <a:ext cx="862013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latin typeface="Georgia" pitchFamily="18" charset="0"/>
              </a:rPr>
              <a:t>21</a:t>
            </a:r>
            <a:r>
              <a:rPr lang="ru-RU" sz="900">
                <a:latin typeface="Georgia" pitchFamily="18" charset="0"/>
              </a:rPr>
              <a:t>.</a:t>
            </a:r>
            <a:r>
              <a:rPr lang="en-US" sz="900">
                <a:latin typeface="Georgia" pitchFamily="18" charset="0"/>
              </a:rPr>
              <a:t>11</a:t>
            </a:r>
            <a:r>
              <a:rPr lang="ru-RU" sz="900">
                <a:latin typeface="Georgia" pitchFamily="18" charset="0"/>
              </a:rPr>
              <a:t>.2013</a:t>
            </a:r>
          </a:p>
        </p:txBody>
      </p:sp>
      <p:sp>
        <p:nvSpPr>
          <p:cNvPr id="52340" name="TextBox 198"/>
          <p:cNvSpPr txBox="1">
            <a:spLocks noChangeArrowheads="1"/>
          </p:cNvSpPr>
          <p:nvPr/>
        </p:nvSpPr>
        <p:spPr bwMode="auto">
          <a:xfrm>
            <a:off x="7262813" y="5608638"/>
            <a:ext cx="6905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10</a:t>
            </a:r>
          </a:p>
        </p:txBody>
      </p:sp>
      <p:sp>
        <p:nvSpPr>
          <p:cNvPr id="52341" name="TextBox 199"/>
          <p:cNvSpPr txBox="1">
            <a:spLocks noChangeArrowheads="1"/>
          </p:cNvSpPr>
          <p:nvPr/>
        </p:nvSpPr>
        <p:spPr bwMode="auto">
          <a:xfrm>
            <a:off x="8172450" y="5614988"/>
            <a:ext cx="271463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0</a:t>
            </a:r>
          </a:p>
        </p:txBody>
      </p:sp>
      <p:sp>
        <p:nvSpPr>
          <p:cNvPr id="201" name="Прямоугольник 100"/>
          <p:cNvSpPr/>
          <p:nvPr/>
        </p:nvSpPr>
        <p:spPr>
          <a:xfrm>
            <a:off x="6300788" y="5524500"/>
            <a:ext cx="935037" cy="42703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43" name="TextBox 201"/>
          <p:cNvSpPr txBox="1">
            <a:spLocks noChangeArrowheads="1"/>
          </p:cNvSpPr>
          <p:nvPr/>
        </p:nvSpPr>
        <p:spPr bwMode="auto">
          <a:xfrm>
            <a:off x="6335713" y="5627688"/>
            <a:ext cx="86360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Не получен</a:t>
            </a:r>
          </a:p>
        </p:txBody>
      </p:sp>
      <p:sp>
        <p:nvSpPr>
          <p:cNvPr id="214" name="Прямоугольник 24"/>
          <p:cNvSpPr/>
          <p:nvPr/>
        </p:nvSpPr>
        <p:spPr>
          <a:xfrm>
            <a:off x="396875" y="5956300"/>
            <a:ext cx="311150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15" name="Прямоугольник 25"/>
          <p:cNvSpPr/>
          <p:nvPr/>
        </p:nvSpPr>
        <p:spPr>
          <a:xfrm>
            <a:off x="708025" y="5956300"/>
            <a:ext cx="487838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16" name="Прямоугольник 26"/>
          <p:cNvSpPr/>
          <p:nvPr/>
        </p:nvSpPr>
        <p:spPr>
          <a:xfrm>
            <a:off x="5594350" y="5956300"/>
            <a:ext cx="7064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17" name="Прямоугольник 27"/>
          <p:cNvSpPr/>
          <p:nvPr/>
        </p:nvSpPr>
        <p:spPr>
          <a:xfrm>
            <a:off x="7235825" y="5956300"/>
            <a:ext cx="720725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18" name="Прямоугольник 68"/>
          <p:cNvSpPr/>
          <p:nvPr/>
        </p:nvSpPr>
        <p:spPr>
          <a:xfrm>
            <a:off x="7956550" y="5956300"/>
            <a:ext cx="719138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49" name="TextBox 218"/>
          <p:cNvSpPr txBox="1">
            <a:spLocks noChangeArrowheads="1"/>
          </p:cNvSpPr>
          <p:nvPr/>
        </p:nvSpPr>
        <p:spPr bwMode="auto">
          <a:xfrm>
            <a:off x="446088" y="5949950"/>
            <a:ext cx="26670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8</a:t>
            </a:r>
          </a:p>
        </p:txBody>
      </p:sp>
      <p:sp>
        <p:nvSpPr>
          <p:cNvPr id="52350" name="TextBox 219"/>
          <p:cNvSpPr txBox="1">
            <a:spLocks noChangeArrowheads="1"/>
          </p:cNvSpPr>
          <p:nvPr/>
        </p:nvSpPr>
        <p:spPr bwMode="auto">
          <a:xfrm>
            <a:off x="677863" y="5983288"/>
            <a:ext cx="34766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2813"/>
            <a:r>
              <a:rPr lang="ru-RU" sz="1000" b="1">
                <a:latin typeface="Georgia" pitchFamily="18" charset="0"/>
              </a:rPr>
              <a:t>Симуляционный курс. </a:t>
            </a:r>
            <a:r>
              <a:rPr lang="ru-RU" sz="1000">
                <a:latin typeface="Georgia" pitchFamily="18" charset="0"/>
              </a:rPr>
              <a:t>Первая врачебная помощь</a:t>
            </a:r>
            <a:endParaRPr lang="ru-RU" sz="1000">
              <a:solidFill>
                <a:srgbClr val="333399"/>
              </a:solidFill>
              <a:latin typeface="Georgia" pitchFamily="18" charset="0"/>
            </a:endParaRPr>
          </a:p>
        </p:txBody>
      </p:sp>
      <p:sp>
        <p:nvSpPr>
          <p:cNvPr id="52351" name="TextBox 220"/>
          <p:cNvSpPr txBox="1">
            <a:spLocks noChangeArrowheads="1"/>
          </p:cNvSpPr>
          <p:nvPr/>
        </p:nvSpPr>
        <p:spPr bwMode="auto">
          <a:xfrm>
            <a:off x="5518150" y="5983288"/>
            <a:ext cx="862013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900">
                <a:latin typeface="Georgia" pitchFamily="18" charset="0"/>
              </a:rPr>
              <a:t>01</a:t>
            </a:r>
            <a:r>
              <a:rPr lang="ru-RU" sz="900">
                <a:latin typeface="Georgia" pitchFamily="18" charset="0"/>
              </a:rPr>
              <a:t>.</a:t>
            </a:r>
            <a:r>
              <a:rPr lang="en-US" sz="900">
                <a:latin typeface="Georgia" pitchFamily="18" charset="0"/>
              </a:rPr>
              <a:t>12</a:t>
            </a:r>
            <a:r>
              <a:rPr lang="ru-RU" sz="900">
                <a:latin typeface="Georgia" pitchFamily="18" charset="0"/>
              </a:rPr>
              <a:t>.2013</a:t>
            </a:r>
          </a:p>
        </p:txBody>
      </p:sp>
      <p:sp>
        <p:nvSpPr>
          <p:cNvPr id="52352" name="TextBox 221"/>
          <p:cNvSpPr txBox="1">
            <a:spLocks noChangeArrowheads="1"/>
          </p:cNvSpPr>
          <p:nvPr/>
        </p:nvSpPr>
        <p:spPr bwMode="auto">
          <a:xfrm>
            <a:off x="7262813" y="5967413"/>
            <a:ext cx="6905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100">
                <a:latin typeface="Georgia" pitchFamily="18" charset="0"/>
              </a:rPr>
              <a:t>11</a:t>
            </a:r>
          </a:p>
        </p:txBody>
      </p:sp>
      <p:sp>
        <p:nvSpPr>
          <p:cNvPr id="52353" name="TextBox 222"/>
          <p:cNvSpPr txBox="1">
            <a:spLocks noChangeArrowheads="1"/>
          </p:cNvSpPr>
          <p:nvPr/>
        </p:nvSpPr>
        <p:spPr bwMode="auto">
          <a:xfrm>
            <a:off x="8172450" y="5975350"/>
            <a:ext cx="27146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100">
                <a:latin typeface="Georgia" pitchFamily="18" charset="0"/>
              </a:rPr>
              <a:t>0</a:t>
            </a:r>
          </a:p>
        </p:txBody>
      </p:sp>
      <p:sp>
        <p:nvSpPr>
          <p:cNvPr id="224" name="Прямоугольник 100"/>
          <p:cNvSpPr/>
          <p:nvPr/>
        </p:nvSpPr>
        <p:spPr>
          <a:xfrm>
            <a:off x="6300788" y="5956300"/>
            <a:ext cx="935037" cy="271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52355" name="TextBox 224"/>
          <p:cNvSpPr txBox="1">
            <a:spLocks noChangeArrowheads="1"/>
          </p:cNvSpPr>
          <p:nvPr/>
        </p:nvSpPr>
        <p:spPr bwMode="auto">
          <a:xfrm>
            <a:off x="6335713" y="5988050"/>
            <a:ext cx="86360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900">
                <a:latin typeface="Georgia" pitchFamily="18" charset="0"/>
              </a:rPr>
              <a:t>Не получен</a:t>
            </a:r>
          </a:p>
        </p:txBody>
      </p:sp>
      <p:pic>
        <p:nvPicPr>
          <p:cNvPr id="52356" name="Picture 2" descr="http://www.creative-web-ideas.com/wp-content/uploads/2008/05/print-button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315325" y="2667000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357" name="TextBox 203"/>
          <p:cNvSpPr txBox="1">
            <a:spLocks noChangeArrowheads="1"/>
          </p:cNvSpPr>
          <p:nvPr/>
        </p:nvSpPr>
        <p:spPr bwMode="auto">
          <a:xfrm>
            <a:off x="7404100" y="2636838"/>
            <a:ext cx="9128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1000">
                <a:latin typeface="Georgia" pitchFamily="18" charset="0"/>
              </a:rPr>
              <a:t>Распечатать</a:t>
            </a:r>
          </a:p>
          <a:p>
            <a:pPr algn="r"/>
            <a:r>
              <a:rPr lang="ru-RU" sz="1000">
                <a:latin typeface="Georgia" pitchFamily="18" charset="0"/>
              </a:rPr>
              <a:t>отчет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3" descr="\\192.168.0.79\obmen\PM\Miskaryan\searc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138" y="1992313"/>
            <a:ext cx="2592387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Равнобедренный треугольник 37"/>
          <p:cNvSpPr/>
          <p:nvPr/>
        </p:nvSpPr>
        <p:spPr>
          <a:xfrm rot="10800000">
            <a:off x="519113" y="1838325"/>
            <a:ext cx="1333500" cy="214313"/>
          </a:xfrm>
          <a:prstGeom prst="triangle">
            <a:avLst/>
          </a:prstGeom>
          <a:solidFill>
            <a:srgbClr val="CC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53252" name="Picture 2" descr="\\am-desktop\работа\ГЭОТАР\НМО\Шапка-КВ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26988"/>
            <a:ext cx="9144000" cy="186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51752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ортфолио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8796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Модули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2131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Рекомендации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56565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Книги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5908675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Пациентам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251700" y="1268413"/>
            <a:ext cx="1309688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Georgia" pitchFamily="18" charset="0"/>
                <a:cs typeface="+mn-cs"/>
              </a:rPr>
              <a:t>Новости</a:t>
            </a:r>
          </a:p>
        </p:txBody>
      </p:sp>
      <p:sp>
        <p:nvSpPr>
          <p:cNvPr id="57" name="Прямоугольник 48"/>
          <p:cNvSpPr/>
          <p:nvPr/>
        </p:nvSpPr>
        <p:spPr>
          <a:xfrm>
            <a:off x="0" y="-26988"/>
            <a:ext cx="9144000" cy="981076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3260" name="TextBox 83"/>
          <p:cNvSpPr txBox="1">
            <a:spLocks noChangeArrowheads="1"/>
          </p:cNvSpPr>
          <p:nvPr/>
        </p:nvSpPr>
        <p:spPr bwMode="auto">
          <a:xfrm>
            <a:off x="0" y="88900"/>
            <a:ext cx="91440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/>
            <a:r>
              <a:rPr lang="ru-RU" sz="2000" b="1">
                <a:solidFill>
                  <a:srgbClr val="FFFFFF"/>
                </a:solidFill>
              </a:rPr>
              <a:t>В  «ОБРАЗОВАТЕЛЬНОЙ СРЕДЕ» РЕАЛИЗОВАНА </a:t>
            </a:r>
          </a:p>
          <a:p>
            <a:pPr algn="ctr" defTabSz="914400"/>
            <a:r>
              <a:rPr lang="ru-RU" sz="2000" b="1">
                <a:solidFill>
                  <a:srgbClr val="FFFFFF"/>
                </a:solidFill>
              </a:rPr>
              <a:t>УДОБНАЯ СИСТЕМА ПОИСК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276600" y="2133600"/>
            <a:ext cx="1800225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38500" y="2060575"/>
            <a:ext cx="1046163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Calibri"/>
                <a:cs typeface="+mn-cs"/>
              </a:rPr>
              <a:t>пневмония</a:t>
            </a:r>
          </a:p>
        </p:txBody>
      </p:sp>
      <p:pic>
        <p:nvPicPr>
          <p:cNvPr id="53263" name="Picture 2" descr="C:\Users\Welcom\Desktop\pixelated-cursor-arrow-m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35600" y="2184400"/>
            <a:ext cx="160338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11"/>
          <p:cNvGrpSpPr>
            <a:grpSpLocks/>
          </p:cNvGrpSpPr>
          <p:nvPr/>
        </p:nvGrpSpPr>
        <p:grpSpPr bwMode="auto">
          <a:xfrm>
            <a:off x="349250" y="2708275"/>
            <a:ext cx="7823200" cy="3867150"/>
            <a:chOff x="518013" y="2780928"/>
            <a:chExt cx="7822975" cy="3865904"/>
          </a:xfrm>
        </p:grpSpPr>
        <p:sp>
          <p:nvSpPr>
            <p:cNvPr id="11" name="TextBox 10"/>
            <p:cNvSpPr txBox="1"/>
            <p:nvPr/>
          </p:nvSpPr>
          <p:spPr>
            <a:xfrm>
              <a:off x="518013" y="2780928"/>
              <a:ext cx="1619203" cy="3078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Рекомендации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518013" y="3120544"/>
              <a:ext cx="4832211" cy="27772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174625" indent="-174625" defTabSz="91440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Пульмонология. Клинические рекомендации 	 </a:t>
              </a:r>
              <a:r>
                <a:rPr lang="ru-RU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Читать </a:t>
              </a:r>
              <a:r>
                <a:rPr lang="en-US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&gt;&gt;&gt;</a:t>
              </a:r>
              <a:endParaRPr lang="ru-RU" sz="1200" u="sng" dirty="0">
                <a:solidFill>
                  <a:prstClr val="black"/>
                </a:solidFill>
                <a:latin typeface="Georgia" pitchFamily="18" charset="0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>
            <a:xfrm flipH="1">
              <a:off x="611673" y="3068173"/>
              <a:ext cx="304473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518013" y="3428419"/>
              <a:ext cx="941361" cy="3078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Модули</a:t>
              </a:r>
            </a:p>
          </p:txBody>
        </p:sp>
        <p:cxnSp>
          <p:nvCxnSpPr>
            <p:cNvPr id="89" name="Прямая соединительная линия 88"/>
            <p:cNvCxnSpPr/>
            <p:nvPr/>
          </p:nvCxnSpPr>
          <p:spPr>
            <a:xfrm flipH="1">
              <a:off x="611673" y="3710903"/>
              <a:ext cx="304473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/>
            <p:cNvSpPr txBox="1"/>
            <p:nvPr/>
          </p:nvSpPr>
          <p:spPr>
            <a:xfrm>
              <a:off x="518013" y="3801362"/>
              <a:ext cx="6479989" cy="27772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174625" indent="-174625" defTabSz="91440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Внебольничная пневмония в общей врачебной практике	</a:t>
              </a:r>
              <a:r>
                <a:rPr lang="ru-RU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Пройти модуль  </a:t>
              </a:r>
              <a:r>
                <a:rPr lang="en-US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&gt;&gt;&gt;</a:t>
              </a:r>
              <a:endParaRPr lang="ru-RU" sz="1200" u="sng" dirty="0">
                <a:solidFill>
                  <a:prstClr val="black"/>
                </a:solidFill>
                <a:latin typeface="Georgia" pitchFamily="18" charset="0"/>
                <a:cs typeface="+mn-cs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518013" y="4145738"/>
              <a:ext cx="803252" cy="3078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Книги</a:t>
              </a:r>
            </a:p>
          </p:txBody>
        </p:sp>
        <p:cxnSp>
          <p:nvCxnSpPr>
            <p:cNvPr id="92" name="Прямая соединительная линия 91"/>
            <p:cNvCxnSpPr/>
            <p:nvPr/>
          </p:nvCxnSpPr>
          <p:spPr>
            <a:xfrm flipH="1">
              <a:off x="611673" y="4434570"/>
              <a:ext cx="304473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/>
            <p:cNvSpPr txBox="1"/>
            <p:nvPr/>
          </p:nvSpPr>
          <p:spPr>
            <a:xfrm>
              <a:off x="518013" y="4510745"/>
              <a:ext cx="7749952" cy="64590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174625" indent="-174625" defTabSz="91440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Наглядная пульмонология (Уорд Д., Уорд Д., Лич Р., Винер Ч. ) – 2008 г.		         </a:t>
              </a:r>
              <a:r>
                <a:rPr lang="ru-RU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Читать </a:t>
              </a:r>
              <a:r>
                <a:rPr lang="en-US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&gt;&gt;&gt;</a:t>
              </a:r>
              <a:endParaRPr lang="ru-RU" sz="1200" u="sng" dirty="0">
                <a:solidFill>
                  <a:prstClr val="black"/>
                </a:solidFill>
                <a:latin typeface="Georgia" pitchFamily="18" charset="0"/>
                <a:cs typeface="+mn-cs"/>
              </a:endParaRPr>
            </a:p>
            <a:p>
              <a:pPr marL="174625" indent="-174625" defTabSz="91440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Ультразкуковая диагностика плевральных выпотов (Сафонов Д.В., Шахов Б.Е.) – 2011 г.       </a:t>
              </a:r>
              <a:r>
                <a:rPr lang="ru-RU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Читать </a:t>
              </a:r>
              <a:r>
                <a:rPr lang="en-US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&gt;&gt;&gt;</a:t>
              </a:r>
              <a:endParaRPr lang="ru-RU" sz="1200" dirty="0">
                <a:solidFill>
                  <a:prstClr val="black"/>
                </a:solidFill>
                <a:latin typeface="Georgia" pitchFamily="18" charset="0"/>
                <a:cs typeface="+mn-cs"/>
              </a:endParaRPr>
            </a:p>
            <a:p>
              <a:pPr marL="174625" indent="-174625" defTabSz="91440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Лучевая диагностика (Труфанов Г.Е. и др.) – 2013 г.			         </a:t>
              </a:r>
              <a:r>
                <a:rPr lang="ru-RU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Читать </a:t>
              </a:r>
              <a:r>
                <a:rPr lang="en-US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&gt;&gt;&gt;</a:t>
              </a:r>
              <a:endParaRPr lang="ru-RU" sz="1200" dirty="0">
                <a:solidFill>
                  <a:prstClr val="black"/>
                </a:solidFill>
                <a:latin typeface="Georgia" pitchFamily="18" charset="0"/>
                <a:cs typeface="+mn-cs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518013" y="5229652"/>
              <a:ext cx="1123918" cy="3078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Журналы</a:t>
              </a:r>
            </a:p>
          </p:txBody>
        </p:sp>
        <p:cxnSp>
          <p:nvCxnSpPr>
            <p:cNvPr id="96" name="Прямая соединительная линия 95"/>
            <p:cNvCxnSpPr/>
            <p:nvPr/>
          </p:nvCxnSpPr>
          <p:spPr>
            <a:xfrm flipH="1">
              <a:off x="611673" y="5516896"/>
              <a:ext cx="304473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518013" y="5607355"/>
              <a:ext cx="7822975" cy="27772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174625" indent="-174625" defTabSz="91440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Журнал Российского пульмонологического общества			         </a:t>
              </a:r>
              <a:r>
                <a:rPr lang="ru-RU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Читать </a:t>
              </a:r>
              <a:r>
                <a:rPr lang="en-US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&gt;&gt;&gt;</a:t>
              </a:r>
              <a:endParaRPr lang="ru-RU" sz="1200" dirty="0">
                <a:solidFill>
                  <a:prstClr val="black"/>
                </a:solidFill>
                <a:latin typeface="Georgia" pitchFamily="18" charset="0"/>
                <a:cs typeface="+mn-cs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18013" y="6000928"/>
              <a:ext cx="2963778" cy="30787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Информация для пациентов</a:t>
              </a:r>
            </a:p>
          </p:txBody>
        </p:sp>
        <p:cxnSp>
          <p:nvCxnSpPr>
            <p:cNvPr id="31" name="Прямая соединительная линия 30"/>
            <p:cNvCxnSpPr/>
            <p:nvPr/>
          </p:nvCxnSpPr>
          <p:spPr>
            <a:xfrm flipH="1">
              <a:off x="611673" y="6280238"/>
              <a:ext cx="304473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518013" y="6369110"/>
              <a:ext cx="7711853" cy="27772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174625" indent="-174625" defTabSz="91440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ru-RU" sz="1200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Пневмония. Памятка для пациента					       </a:t>
              </a:r>
              <a:r>
                <a:rPr lang="ru-RU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Читать </a:t>
              </a:r>
              <a:r>
                <a:rPr lang="en-US" sz="1200" u="sng" dirty="0">
                  <a:solidFill>
                    <a:prstClr val="black"/>
                  </a:solidFill>
                  <a:latin typeface="Georgia" pitchFamily="18" charset="0"/>
                  <a:cs typeface="+mn-cs"/>
                </a:rPr>
                <a:t>&gt;&gt;&gt;</a:t>
              </a:r>
              <a:endParaRPr lang="ru-RU" sz="1200" dirty="0">
                <a:solidFill>
                  <a:prstClr val="black"/>
                </a:solidFill>
                <a:latin typeface="Georgia" pitchFamily="18" charset="0"/>
                <a:cs typeface="+mn-cs"/>
              </a:endParaRP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196850" y="2205038"/>
            <a:ext cx="1098550" cy="4619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rgbClr val="DEA900"/>
                </a:solidFill>
                <a:latin typeface="Georgia" pitchFamily="18" charset="0"/>
                <a:cs typeface="+mn-cs"/>
              </a:rPr>
              <a:t>Поиск</a:t>
            </a:r>
          </a:p>
        </p:txBody>
      </p:sp>
    </p:spTree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1844824"/>
            <a:ext cx="8064500" cy="4897289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z="5400" b="1" dirty="0" smtClean="0">
                <a:solidFill>
                  <a:schemeClr val="bg1"/>
                </a:solidFill>
              </a:rPr>
              <a:t>Благодарим за внимание!</a:t>
            </a:r>
            <a:br>
              <a:rPr lang="ru-RU" sz="5400" b="1" dirty="0" smtClean="0">
                <a:solidFill>
                  <a:schemeClr val="bg1"/>
                </a:solidFill>
              </a:rPr>
            </a:br>
            <a:r>
              <a:rPr lang="ru-RU" sz="5400" b="1" dirty="0" smtClean="0">
                <a:solidFill>
                  <a:schemeClr val="bg1"/>
                </a:solidFill>
              </a:rPr>
              <a:t/>
            </a:r>
            <a:br>
              <a:rPr lang="ru-RU" sz="5400" b="1" dirty="0" smtClean="0">
                <a:solidFill>
                  <a:schemeClr val="bg1"/>
                </a:solidFill>
              </a:rPr>
            </a:br>
            <a:r>
              <a:rPr lang="ru-RU" sz="5400" b="1" dirty="0" smtClean="0">
                <a:solidFill>
                  <a:schemeClr val="bg1"/>
                </a:solidFill>
              </a:rPr>
              <a:t/>
            </a:r>
            <a:br>
              <a:rPr lang="ru-RU" sz="5400" b="1" dirty="0" smtClean="0">
                <a:solidFill>
                  <a:schemeClr val="bg1"/>
                </a:solidFill>
              </a:rPr>
            </a:br>
            <a:r>
              <a:rPr lang="ru-RU" sz="4000" b="1" dirty="0" smtClean="0">
                <a:solidFill>
                  <a:schemeClr val="bg1"/>
                </a:solidFill>
              </a:rPr>
              <a:t>Просим присылать</a:t>
            </a:r>
            <a:br>
              <a:rPr lang="ru-RU" sz="4000" b="1" dirty="0" smtClean="0">
                <a:solidFill>
                  <a:schemeClr val="bg1"/>
                </a:solidFill>
              </a:rPr>
            </a:br>
            <a:r>
              <a:rPr lang="ru-RU" sz="4000" b="1" dirty="0" smtClean="0">
                <a:solidFill>
                  <a:schemeClr val="bg1"/>
                </a:solidFill>
              </a:rPr>
              <a:t>Ваши предложения на нашу почту</a:t>
            </a:r>
            <a:br>
              <a:rPr lang="ru-RU" sz="4000" b="1" dirty="0" smtClean="0">
                <a:solidFill>
                  <a:schemeClr val="bg1"/>
                </a:solidFill>
              </a:rPr>
            </a:br>
            <a:r>
              <a:rPr lang="en-US" sz="1100" b="1" dirty="0" smtClean="0">
                <a:solidFill>
                  <a:schemeClr val="bg1"/>
                </a:solidFill>
              </a:rPr>
              <a:t/>
            </a:r>
            <a:br>
              <a:rPr lang="en-US" sz="1100" b="1" dirty="0" smtClean="0">
                <a:solidFill>
                  <a:schemeClr val="bg1"/>
                </a:solidFill>
              </a:rPr>
            </a:br>
            <a:r>
              <a:rPr lang="en-US" sz="2200" b="1" dirty="0" smtClean="0">
                <a:solidFill>
                  <a:schemeClr val="bg1"/>
                </a:solidFill>
              </a:rPr>
              <a:t>nmo@asmok.ru</a:t>
            </a:r>
            <a:endParaRPr lang="ru-RU" sz="2200" b="1" dirty="0" smtClean="0">
              <a:solidFill>
                <a:schemeClr val="bg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0" y="-458788"/>
            <a:ext cx="9144000" cy="1871564"/>
          </a:xfrm>
          <a:prstGeom prst="roundRect">
            <a:avLst/>
          </a:prstGeom>
          <a:solidFill>
            <a:srgbClr val="0047A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1835697" y="116632"/>
            <a:ext cx="978795" cy="972000"/>
          </a:xfrm>
          <a:prstGeom prst="roundRect">
            <a:avLst/>
          </a:prstGeom>
          <a:noFill/>
          <a:ln>
            <a:noFill/>
          </a:ln>
          <a:extLst/>
        </p:spPr>
      </p:pic>
      <p:pic>
        <p:nvPicPr>
          <p:cNvPr id="108549" name="Picture 19" descr="ASMOK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725" y="242888"/>
            <a:ext cx="24638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8550" name="Rectangle 2"/>
          <p:cNvSpPr txBox="1">
            <a:spLocks noChangeArrowheads="1"/>
          </p:cNvSpPr>
          <p:nvPr/>
        </p:nvSpPr>
        <p:spPr bwMode="auto">
          <a:xfrm>
            <a:off x="2886075" y="249238"/>
            <a:ext cx="219075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400" b="1" dirty="0">
                <a:solidFill>
                  <a:schemeClr val="bg1"/>
                </a:solidFill>
                <a:latin typeface="Verdana" pitchFamily="34" charset="0"/>
              </a:rPr>
              <a:t>НАЦИОНАЛЬНАЯ МЕДИЦИНСКАЯ ПАЛАТА</a:t>
            </a:r>
          </a:p>
        </p:txBody>
      </p:sp>
      <p:sp>
        <p:nvSpPr>
          <p:cNvPr id="7" name="Содержимое 2"/>
          <p:cNvSpPr txBox="1">
            <a:spLocks/>
          </p:cNvSpPr>
          <p:nvPr/>
        </p:nvSpPr>
        <p:spPr bwMode="auto">
          <a:xfrm>
            <a:off x="257175" y="1690688"/>
            <a:ext cx="8578850" cy="4474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ru-RU" sz="5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Monotype Corsiva" pitchFamily="66" charset="0"/>
                <a:ea typeface="Arial" charset="0"/>
                <a:cs typeface="Arial" charset="0"/>
              </a:rPr>
              <a:t>При наличии Пути 						  не застаиваются.</a:t>
            </a:r>
          </a:p>
          <a:p>
            <a:pPr marL="5294313" marR="0" lvl="0" indent="0" algn="r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ru-RU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Franklin Gothic Medium" pitchFamily="34" charset="0"/>
                <a:ea typeface="Arial" charset="0"/>
                <a:cs typeface="Arial" charset="0"/>
              </a:rPr>
              <a:t>Лао-Цзы,</a:t>
            </a:r>
          </a:p>
          <a:p>
            <a:pPr marL="5294313" marR="0" lvl="0" indent="0" algn="r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1" lang="ru-RU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Franklin Gothic Medium" pitchFamily="34" charset="0"/>
                <a:ea typeface="Arial" charset="0"/>
                <a:cs typeface="Arial" charset="0"/>
              </a:rPr>
              <a:t>VI век до н. э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47AB"/>
            </a:gs>
            <a:gs pos="46000">
              <a:srgbClr val="0054D0"/>
            </a:gs>
            <a:gs pos="100000">
              <a:srgbClr val="0047AB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750" y="2636838"/>
            <a:ext cx="8064500" cy="4105275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sz="5400" b="1" dirty="0" smtClean="0">
                <a:solidFill>
                  <a:schemeClr val="bg1"/>
                </a:solidFill>
              </a:rPr>
              <a:t>Благодарим за внимание!</a:t>
            </a:r>
            <a:br>
              <a:rPr lang="ru-RU" sz="5400" b="1" dirty="0" smtClean="0">
                <a:solidFill>
                  <a:schemeClr val="bg1"/>
                </a:solidFill>
              </a:rPr>
            </a:br>
            <a:r>
              <a:rPr lang="ru-RU" sz="5400" b="1" dirty="0" smtClean="0">
                <a:solidFill>
                  <a:schemeClr val="bg1"/>
                </a:solidFill>
              </a:rPr>
              <a:t/>
            </a:r>
            <a:br>
              <a:rPr lang="ru-RU" sz="5400" b="1" dirty="0" smtClean="0">
                <a:solidFill>
                  <a:schemeClr val="bg1"/>
                </a:solidFill>
              </a:rPr>
            </a:br>
            <a:r>
              <a:rPr lang="ru-RU" sz="5400" b="1" dirty="0" smtClean="0">
                <a:solidFill>
                  <a:schemeClr val="bg1"/>
                </a:solidFill>
              </a:rPr>
              <a:t/>
            </a:r>
            <a:br>
              <a:rPr lang="ru-RU" sz="5400" b="1" dirty="0" smtClean="0">
                <a:solidFill>
                  <a:schemeClr val="bg1"/>
                </a:solidFill>
              </a:rPr>
            </a:br>
            <a:r>
              <a:rPr lang="ru-RU" sz="4000" b="1" dirty="0" smtClean="0">
                <a:solidFill>
                  <a:schemeClr val="bg1"/>
                </a:solidFill>
              </a:rPr>
              <a:t>Просим присылать</a:t>
            </a:r>
            <a:br>
              <a:rPr lang="ru-RU" sz="4000" b="1" dirty="0" smtClean="0">
                <a:solidFill>
                  <a:schemeClr val="bg1"/>
                </a:solidFill>
              </a:rPr>
            </a:br>
            <a:r>
              <a:rPr lang="ru-RU" sz="4000" b="1" dirty="0" smtClean="0">
                <a:solidFill>
                  <a:schemeClr val="bg1"/>
                </a:solidFill>
              </a:rPr>
              <a:t>Ваши предложения на нашу почту</a:t>
            </a:r>
            <a:br>
              <a:rPr lang="ru-RU" sz="4000" b="1" dirty="0" smtClean="0">
                <a:solidFill>
                  <a:schemeClr val="bg1"/>
                </a:solidFill>
              </a:rPr>
            </a:br>
            <a:r>
              <a:rPr lang="en-US" sz="1100" b="1" dirty="0" smtClean="0">
                <a:solidFill>
                  <a:schemeClr val="bg1"/>
                </a:solidFill>
              </a:rPr>
              <a:t/>
            </a:r>
            <a:br>
              <a:rPr lang="en-US" sz="1100" b="1" dirty="0" smtClean="0">
                <a:solidFill>
                  <a:schemeClr val="bg1"/>
                </a:solidFill>
              </a:rPr>
            </a:br>
            <a:r>
              <a:rPr lang="en-US" sz="2200" b="1" dirty="0" smtClean="0">
                <a:solidFill>
                  <a:schemeClr val="bg1"/>
                </a:solidFill>
              </a:rPr>
              <a:t>nmo@asmok.ru</a:t>
            </a:r>
            <a:endParaRPr lang="ru-RU" sz="2200" b="1" dirty="0" smtClean="0">
              <a:solidFill>
                <a:schemeClr val="bg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0" y="-458788"/>
            <a:ext cx="9144000" cy="1565276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>
            <a:extLst/>
          </a:blip>
          <a:srcRect/>
          <a:stretch>
            <a:fillRect/>
          </a:stretch>
        </p:blipFill>
        <p:spPr bwMode="auto">
          <a:xfrm>
            <a:off x="1835697" y="116632"/>
            <a:ext cx="978795" cy="972000"/>
          </a:xfrm>
          <a:prstGeom prst="roundRect">
            <a:avLst/>
          </a:prstGeom>
          <a:noFill/>
          <a:ln>
            <a:noFill/>
          </a:ln>
          <a:extLst/>
        </p:spPr>
      </p:pic>
      <p:pic>
        <p:nvPicPr>
          <p:cNvPr id="108549" name="Picture 19" descr="ASMOK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92725" y="242888"/>
            <a:ext cx="24638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8550" name="Rectangle 2"/>
          <p:cNvSpPr txBox="1">
            <a:spLocks noChangeArrowheads="1"/>
          </p:cNvSpPr>
          <p:nvPr/>
        </p:nvSpPr>
        <p:spPr bwMode="auto">
          <a:xfrm>
            <a:off x="2886075" y="249238"/>
            <a:ext cx="219075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1400" b="1">
                <a:solidFill>
                  <a:srgbClr val="0070C0"/>
                </a:solidFill>
                <a:latin typeface="Verdana" pitchFamily="34" charset="0"/>
              </a:rPr>
              <a:t>НАЦИОНАЛЬНАЯ МЕДИЦИНСКАЯ ПАЛАТА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marL="1588" eaLnBrk="1" hangingPunct="1">
              <a:lnSpc>
                <a:spcPct val="90000"/>
              </a:lnSpc>
            </a:pPr>
            <a:r>
              <a:rPr kumimoji="0" lang="ru-RU" sz="3600" b="1" smtClean="0">
                <a:solidFill>
                  <a:schemeClr val="bg1"/>
                </a:solidFill>
              </a:rPr>
              <a:t>Нам необходимо повысить</a:t>
            </a:r>
            <a:r>
              <a:rPr kumimoji="0" lang="en-US" sz="3600" b="1" smtClean="0">
                <a:solidFill>
                  <a:schemeClr val="bg1"/>
                </a:solidFill>
              </a:rPr>
              <a:t/>
            </a:r>
            <a:br>
              <a:rPr kumimoji="0" lang="en-US" sz="3600" b="1" smtClean="0">
                <a:solidFill>
                  <a:schemeClr val="bg1"/>
                </a:solidFill>
              </a:rPr>
            </a:br>
            <a:r>
              <a:rPr kumimoji="0" lang="ru-RU" sz="3600" b="1" smtClean="0">
                <a:solidFill>
                  <a:schemeClr val="bg1"/>
                </a:solidFill>
              </a:rPr>
              <a:t>ожидаемую продолжительность жизни</a:t>
            </a:r>
          </a:p>
        </p:txBody>
      </p:sp>
      <p:pic>
        <p:nvPicPr>
          <p:cNvPr id="43011" name="Рисунок 1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5938" y="1498600"/>
            <a:ext cx="8340725" cy="51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Прямая соединительная линия 5"/>
          <p:cNvCxnSpPr>
            <a:stCxn id="4" idx="4"/>
          </p:cNvCxnSpPr>
          <p:nvPr/>
        </p:nvCxnSpPr>
        <p:spPr>
          <a:xfrm>
            <a:off x="7847013" y="4017963"/>
            <a:ext cx="9525" cy="2436812"/>
          </a:xfrm>
          <a:prstGeom prst="line">
            <a:avLst/>
          </a:prstGeom>
          <a:ln w="3810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stCxn id="4" idx="3"/>
            <a:endCxn id="15" idx="7"/>
          </p:cNvCxnSpPr>
          <p:nvPr/>
        </p:nvCxnSpPr>
        <p:spPr>
          <a:xfrm flipH="1">
            <a:off x="6383338" y="3976688"/>
            <a:ext cx="1362075" cy="798512"/>
          </a:xfrm>
          <a:prstGeom prst="line">
            <a:avLst/>
          </a:prstGeom>
          <a:ln w="57150" cap="rnd">
            <a:solidFill>
              <a:srgbClr val="00599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7335838" y="6427788"/>
            <a:ext cx="6651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b="1">
                <a:solidFill>
                  <a:srgbClr val="FF0000"/>
                </a:solidFill>
                <a:latin typeface="Arial Black" pitchFamily="34" charset="0"/>
              </a:rPr>
              <a:t>2018</a:t>
            </a:r>
          </a:p>
        </p:txBody>
      </p:sp>
      <p:sp>
        <p:nvSpPr>
          <p:cNvPr id="4" name="Овал 3"/>
          <p:cNvSpPr/>
          <p:nvPr/>
        </p:nvSpPr>
        <p:spPr>
          <a:xfrm>
            <a:off x="7702550" y="3730625"/>
            <a:ext cx="288925" cy="28733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7181850" y="2722563"/>
            <a:ext cx="1404938" cy="8302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b="1">
                <a:solidFill>
                  <a:srgbClr val="E60000"/>
                </a:solidFill>
                <a:latin typeface="Calibri" pitchFamily="34" charset="0"/>
              </a:rPr>
              <a:t>Цель – 74 года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6507163" y="4719638"/>
            <a:ext cx="94456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en-US" sz="1600" b="1">
                <a:solidFill>
                  <a:srgbClr val="000000"/>
                </a:solidFill>
                <a:latin typeface="Calibri" pitchFamily="34" charset="0"/>
              </a:rPr>
              <a:t>0,3</a:t>
            </a:r>
          </a:p>
          <a:p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года</a:t>
            </a: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6238875" y="3370263"/>
            <a:ext cx="10477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7</a:t>
            </a:r>
            <a:r>
              <a:rPr lang="en-US" sz="1600" b="1">
                <a:solidFill>
                  <a:srgbClr val="000000"/>
                </a:solidFill>
                <a:latin typeface="Calibri" pitchFamily="34" charset="0"/>
              </a:rPr>
              <a:t>5,3 </a:t>
            </a:r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года</a:t>
            </a: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6137275" y="1855788"/>
            <a:ext cx="94456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>
                <a:solidFill>
                  <a:srgbClr val="000000"/>
                </a:solidFill>
                <a:latin typeface="Calibri" pitchFamily="34" charset="0"/>
              </a:rPr>
              <a:t>81 </a:t>
            </a:r>
            <a:r>
              <a:rPr lang="ru-RU" sz="1600" b="1">
                <a:solidFill>
                  <a:srgbClr val="000000"/>
                </a:solidFill>
                <a:latin typeface="Calibri" pitchFamily="34" charset="0"/>
              </a:rPr>
              <a:t>год</a:t>
            </a:r>
          </a:p>
        </p:txBody>
      </p:sp>
      <p:sp>
        <p:nvSpPr>
          <p:cNvPr id="15" name="Овал 14"/>
          <p:cNvSpPr/>
          <p:nvPr/>
        </p:nvSpPr>
        <p:spPr>
          <a:xfrm>
            <a:off x="6229350" y="4748213"/>
            <a:ext cx="180975" cy="180975"/>
          </a:xfrm>
          <a:prstGeom prst="ellipse">
            <a:avLst/>
          </a:prstGeom>
          <a:noFill/>
          <a:ln w="85725">
            <a:solidFill>
              <a:srgbClr val="0047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6046788" y="3560763"/>
            <a:ext cx="179387" cy="180975"/>
          </a:xfrm>
          <a:prstGeom prst="ellipse">
            <a:avLst/>
          </a:prstGeom>
          <a:noFill/>
          <a:ln w="85725">
            <a:solidFill>
              <a:srgbClr val="0047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6040438" y="2027238"/>
            <a:ext cx="180975" cy="180975"/>
          </a:xfrm>
          <a:prstGeom prst="ellipse">
            <a:avLst/>
          </a:prstGeom>
          <a:noFill/>
          <a:ln w="8572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4" grpId="0" animBg="1"/>
      <p:bldP spid="3" grpId="0" animBg="1"/>
      <p:bldP spid="9" grpId="0"/>
      <p:bldP spid="11" grpId="0"/>
      <p:bldP spid="13" grpId="0"/>
      <p:bldP spid="15" grpId="0" animBg="1"/>
      <p:bldP spid="18" grpId="0" animBg="1"/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Rectangle 2"/>
          <p:cNvSpPr>
            <a:spLocks noGrp="1" noChangeArrowheads="1"/>
          </p:cNvSpPr>
          <p:nvPr>
            <p:ph type="title"/>
          </p:nvPr>
        </p:nvSpPr>
        <p:spPr>
          <a:xfrm>
            <a:off x="34925" y="125413"/>
            <a:ext cx="9074150" cy="1143000"/>
          </a:xfrm>
        </p:spPr>
        <p:txBody>
          <a:bodyPr/>
          <a:lstStyle/>
          <a:p>
            <a:pPr marL="1588" eaLnBrk="1" hangingPunct="1">
              <a:lnSpc>
                <a:spcPct val="90000"/>
              </a:lnSpc>
            </a:pPr>
            <a:r>
              <a:rPr kumimoji="0" lang="ru-RU" sz="3600" b="1" smtClean="0">
                <a:solidFill>
                  <a:schemeClr val="bg1"/>
                </a:solidFill>
              </a:rPr>
              <a:t>Повысить качество медицинской помощи до уровня лучших мировых показателей</a:t>
            </a:r>
            <a:endParaRPr kumimoji="0" lang="ru-RU" sz="4000" b="1" smtClean="0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31840" y="2204864"/>
            <a:ext cx="4320000" cy="864096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4800" b="1" dirty="0">
                <a:solidFill>
                  <a:srgbClr val="FFFFFF"/>
                </a:solidFill>
                <a:latin typeface="Calibri" pitchFamily="34" charset="0"/>
              </a:rPr>
              <a:t>2/3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131841" y="3068960"/>
            <a:ext cx="1908000" cy="864096"/>
          </a:xfrm>
          <a:prstGeom prst="rect">
            <a:avLst/>
          </a:prstGeom>
          <a:solidFill>
            <a:srgbClr val="00B0F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41469" rIns="0" bIns="41469" anchor="ctr"/>
          <a:lstStyle/>
          <a:p>
            <a:pPr algn="ctr" defTabSz="828675">
              <a:defRPr/>
            </a:pPr>
            <a:r>
              <a:rPr lang="ru-RU" sz="2400" b="1" spc="-20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1/3</a:t>
            </a:r>
            <a:endParaRPr lang="ru-RU" sz="2400" b="1" spc="-2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44040" name="Прямоугольник 5"/>
          <p:cNvSpPr>
            <a:spLocks noChangeArrowheads="1"/>
          </p:cNvSpPr>
          <p:nvPr/>
        </p:nvSpPr>
        <p:spPr bwMode="auto">
          <a:xfrm>
            <a:off x="179388" y="2636838"/>
            <a:ext cx="3240087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600" b="1">
                <a:solidFill>
                  <a:srgbClr val="000000"/>
                </a:solidFill>
                <a:latin typeface="Calibri" pitchFamily="34" charset="0"/>
              </a:rPr>
              <a:t>Удовлетворенность населения</a:t>
            </a:r>
          </a:p>
        </p:txBody>
      </p:sp>
      <p:sp>
        <p:nvSpPr>
          <p:cNvPr id="44041" name="Прямоугольник 14"/>
          <p:cNvSpPr>
            <a:spLocks noChangeArrowheads="1"/>
          </p:cNvSpPr>
          <p:nvPr/>
        </p:nvSpPr>
        <p:spPr bwMode="auto">
          <a:xfrm>
            <a:off x="217488" y="4835525"/>
            <a:ext cx="2760662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600" b="1">
                <a:solidFill>
                  <a:srgbClr val="000000"/>
                </a:solidFill>
                <a:latin typeface="Calibri" pitchFamily="34" charset="0"/>
              </a:rPr>
              <a:t>Следование клиническим рекомендациям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131840" y="4581128"/>
            <a:ext cx="4320000" cy="864096"/>
          </a:xfrm>
          <a:prstGeom prst="rect">
            <a:avLst/>
          </a:prstGeom>
          <a:solidFill>
            <a:srgbClr val="C00000"/>
          </a:solidFill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800" b="1" dirty="0" smtClean="0">
                <a:solidFill>
                  <a:prstClr val="white"/>
                </a:solidFill>
              </a:rPr>
              <a:t>90%</a:t>
            </a:r>
            <a:endParaRPr lang="ru-RU" sz="4800" b="1" dirty="0">
              <a:solidFill>
                <a:prstClr val="white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131840" y="5445224"/>
            <a:ext cx="2016224" cy="864096"/>
          </a:xfrm>
          <a:prstGeom prst="rect">
            <a:avLst/>
          </a:prstGeom>
          <a:solidFill>
            <a:srgbClr val="00B0F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41469" rIns="0" bIns="41469" anchor="ctr"/>
          <a:lstStyle/>
          <a:p>
            <a:pPr algn="ctr" defTabSz="828675">
              <a:defRPr/>
            </a:pPr>
            <a:endParaRPr lang="ru-RU" sz="2000" b="1" spc="-2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Прямоугольник 35"/>
          <p:cNvSpPr>
            <a:spLocks noChangeArrowheads="1"/>
          </p:cNvSpPr>
          <p:nvPr/>
        </p:nvSpPr>
        <p:spPr bwMode="auto">
          <a:xfrm>
            <a:off x="8518525" y="4799013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3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38" name="Прямоугольник 37"/>
          <p:cNvSpPr>
            <a:spLocks noChangeArrowheads="1"/>
          </p:cNvSpPr>
          <p:nvPr/>
        </p:nvSpPr>
        <p:spPr bwMode="auto">
          <a:xfrm>
            <a:off x="8518525" y="4799013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4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39" name="Прямоугольник 38"/>
          <p:cNvSpPr>
            <a:spLocks noChangeArrowheads="1"/>
          </p:cNvSpPr>
          <p:nvPr/>
        </p:nvSpPr>
        <p:spPr bwMode="auto">
          <a:xfrm>
            <a:off x="8518525" y="4799013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5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40" name="Прямоугольник 39"/>
          <p:cNvSpPr>
            <a:spLocks noChangeArrowheads="1"/>
          </p:cNvSpPr>
          <p:nvPr/>
        </p:nvSpPr>
        <p:spPr bwMode="auto">
          <a:xfrm>
            <a:off x="8518525" y="4799013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6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41" name="Прямоугольник 40"/>
          <p:cNvSpPr>
            <a:spLocks noChangeArrowheads="1"/>
          </p:cNvSpPr>
          <p:nvPr/>
        </p:nvSpPr>
        <p:spPr bwMode="auto">
          <a:xfrm>
            <a:off x="8518525" y="4799013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7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42" name="Прямоугольник 41"/>
          <p:cNvSpPr>
            <a:spLocks noChangeArrowheads="1"/>
          </p:cNvSpPr>
          <p:nvPr/>
        </p:nvSpPr>
        <p:spPr bwMode="auto">
          <a:xfrm>
            <a:off x="8532813" y="4810125"/>
            <a:ext cx="102870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Verdana" pitchFamily="34" charset="0"/>
              </a:rPr>
              <a:t>8</a:t>
            </a:r>
            <a:endParaRPr lang="ru-RU" sz="3600" b="1" dirty="0">
              <a:solidFill>
                <a:srgbClr val="C00000"/>
              </a:solidFill>
            </a:endParaRPr>
          </a:p>
        </p:txBody>
      </p:sp>
      <p:sp>
        <p:nvSpPr>
          <p:cNvPr id="49" name="Прямоугольник 48"/>
          <p:cNvSpPr>
            <a:spLocks noChangeArrowheads="1"/>
          </p:cNvSpPr>
          <p:nvPr/>
        </p:nvSpPr>
        <p:spPr bwMode="auto">
          <a:xfrm>
            <a:off x="3853405" y="5660822"/>
            <a:ext cx="79412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400" b="1" spc="-20" dirty="0" smtClean="0">
                <a:solidFill>
                  <a:srgbClr val="FFFFFF"/>
                </a:solidFill>
              </a:rPr>
              <a:t>63%</a:t>
            </a:r>
            <a:endParaRPr lang="ru-RU" sz="2400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4055" name="Прямоугольник 36"/>
          <p:cNvSpPr>
            <a:spLocks noChangeArrowheads="1"/>
          </p:cNvSpPr>
          <p:nvPr/>
        </p:nvSpPr>
        <p:spPr bwMode="auto">
          <a:xfrm>
            <a:off x="7524750" y="5570538"/>
            <a:ext cx="15192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 smtClean="0">
                <a:solidFill>
                  <a:srgbClr val="00B0F0"/>
                </a:solidFill>
                <a:latin typeface="Verdana" pitchFamily="34" charset="0"/>
              </a:rPr>
              <a:t>2012</a:t>
            </a:r>
            <a:endParaRPr lang="ru-RU" sz="3600" b="1" dirty="0">
              <a:solidFill>
                <a:srgbClr val="00B0F0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8231189" y="4810125"/>
            <a:ext cx="798512" cy="76676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71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3600" dirty="0">
              <a:solidFill>
                <a:srgbClr val="C00000"/>
              </a:solidFill>
            </a:endParaRPr>
          </a:p>
        </p:txBody>
      </p:sp>
      <p:sp>
        <p:nvSpPr>
          <p:cNvPr id="44057" name="Прямоугольник 44"/>
          <p:cNvSpPr>
            <a:spLocks noChangeArrowheads="1"/>
          </p:cNvSpPr>
          <p:nvPr/>
        </p:nvSpPr>
        <p:spPr bwMode="auto">
          <a:xfrm>
            <a:off x="7524750" y="4676775"/>
            <a:ext cx="17272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Verdana" pitchFamily="34" charset="0"/>
              </a:rPr>
              <a:t>2020</a:t>
            </a:r>
            <a:endParaRPr lang="ru-RU" sz="3600" b="1" dirty="0">
              <a:solidFill>
                <a:srgbClr val="C00000"/>
              </a:solidFill>
            </a:endParaRPr>
          </a:p>
        </p:txBody>
      </p:sp>
      <p:sp>
        <p:nvSpPr>
          <p:cNvPr id="62" name="Прямоугольник 61"/>
          <p:cNvSpPr>
            <a:spLocks noChangeArrowheads="1"/>
          </p:cNvSpPr>
          <p:nvPr/>
        </p:nvSpPr>
        <p:spPr bwMode="auto">
          <a:xfrm>
            <a:off x="8518525" y="2408238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3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63" name="Прямоугольник 62"/>
          <p:cNvSpPr>
            <a:spLocks noChangeArrowheads="1"/>
          </p:cNvSpPr>
          <p:nvPr/>
        </p:nvSpPr>
        <p:spPr bwMode="auto">
          <a:xfrm>
            <a:off x="8518525" y="2408238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4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64" name="Прямоугольник 63"/>
          <p:cNvSpPr>
            <a:spLocks noChangeArrowheads="1"/>
          </p:cNvSpPr>
          <p:nvPr/>
        </p:nvSpPr>
        <p:spPr bwMode="auto">
          <a:xfrm>
            <a:off x="8518525" y="2408238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5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65" name="Прямоугольник 64"/>
          <p:cNvSpPr>
            <a:spLocks noChangeArrowheads="1"/>
          </p:cNvSpPr>
          <p:nvPr/>
        </p:nvSpPr>
        <p:spPr bwMode="auto">
          <a:xfrm>
            <a:off x="8518525" y="2408238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6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66" name="Прямоугольник 65"/>
          <p:cNvSpPr>
            <a:spLocks noChangeArrowheads="1"/>
          </p:cNvSpPr>
          <p:nvPr/>
        </p:nvSpPr>
        <p:spPr bwMode="auto">
          <a:xfrm>
            <a:off x="8518525" y="2408238"/>
            <a:ext cx="10302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solidFill>
                  <a:srgbClr val="C00000"/>
                </a:solidFill>
                <a:latin typeface="Verdana" pitchFamily="34" charset="0"/>
              </a:rPr>
              <a:t>7</a:t>
            </a:r>
            <a:endParaRPr lang="ru-RU" sz="3600" b="1">
              <a:solidFill>
                <a:srgbClr val="C00000"/>
              </a:solidFill>
            </a:endParaRPr>
          </a:p>
        </p:txBody>
      </p:sp>
      <p:sp>
        <p:nvSpPr>
          <p:cNvPr id="67" name="Прямоугольник 66"/>
          <p:cNvSpPr>
            <a:spLocks noChangeArrowheads="1"/>
          </p:cNvSpPr>
          <p:nvPr/>
        </p:nvSpPr>
        <p:spPr bwMode="auto">
          <a:xfrm>
            <a:off x="8532813" y="2419350"/>
            <a:ext cx="10287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Verdana" pitchFamily="34" charset="0"/>
              </a:rPr>
              <a:t>8</a:t>
            </a:r>
            <a:endParaRPr lang="ru-RU" sz="3600" b="1" dirty="0">
              <a:solidFill>
                <a:srgbClr val="C00000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 flipV="1">
            <a:off x="8231189" y="3644899"/>
            <a:ext cx="798512" cy="822325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71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3600" dirty="0">
              <a:solidFill>
                <a:prstClr val="white"/>
              </a:solidFill>
            </a:endParaRPr>
          </a:p>
        </p:txBody>
      </p:sp>
      <p:sp>
        <p:nvSpPr>
          <p:cNvPr id="44066" name="Прямоугольник 68"/>
          <p:cNvSpPr>
            <a:spLocks noChangeArrowheads="1"/>
          </p:cNvSpPr>
          <p:nvPr/>
        </p:nvSpPr>
        <p:spPr bwMode="auto">
          <a:xfrm>
            <a:off x="7524750" y="3179763"/>
            <a:ext cx="15192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 smtClean="0">
                <a:solidFill>
                  <a:srgbClr val="00B0F0"/>
                </a:solidFill>
                <a:latin typeface="Verdana" pitchFamily="34" charset="0"/>
              </a:rPr>
              <a:t>2012</a:t>
            </a:r>
            <a:endParaRPr lang="ru-RU" sz="3600" b="1" dirty="0">
              <a:solidFill>
                <a:srgbClr val="00B0F0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8231188" y="2419350"/>
            <a:ext cx="815975" cy="766763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71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3600" dirty="0">
              <a:solidFill>
                <a:srgbClr val="C00000"/>
              </a:solidFill>
            </a:endParaRPr>
          </a:p>
        </p:txBody>
      </p:sp>
      <p:sp>
        <p:nvSpPr>
          <p:cNvPr id="44068" name="Прямоугольник 70"/>
          <p:cNvSpPr>
            <a:spLocks noChangeArrowheads="1"/>
          </p:cNvSpPr>
          <p:nvPr/>
        </p:nvSpPr>
        <p:spPr bwMode="auto">
          <a:xfrm>
            <a:off x="7524750" y="2284413"/>
            <a:ext cx="17272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Verdana" pitchFamily="34" charset="0"/>
              </a:rPr>
              <a:t>2020</a:t>
            </a:r>
            <a:endParaRPr lang="ru-RU" sz="3600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3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22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2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2.77778E-6 -1.23294E-6 L -0.00018 0.21513 " pathEditMode="relative" rAng="0" ptsTypes="AA">
                                      <p:cBhvr>
                                        <p:cTn id="26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animMotion origin="layout" path="M 2.77778E-7 4.53284E-7 L 2.77778E-7 0.11031 " pathEditMode="relative" rAng="0" ptsTypes="AA">
                                      <p:cBhvr>
                                        <p:cTn id="28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5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accel="50000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30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32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42" presetClass="path" presetSubtype="0" accel="50000" decel="5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3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animMotion origin="layout" path="M 2.77778E-6 -1.23294E-6 L 2.77778E-6 0.21513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2.77778E-6 -1.23294E-6 L -0.00018 0.21513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8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animMotion origin="layout" path="M 2.77778E-7 4.53284E-7 L 2.77778E-7 0.11031 " pathEditMode="relative" rAng="0" ptsTypes="AA">
                                      <p:cBhvr>
                                        <p:cTn id="40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8" grpId="0"/>
      <p:bldP spid="39" grpId="0"/>
      <p:bldP spid="40" grpId="0"/>
      <p:bldP spid="41" grpId="0"/>
      <p:bldP spid="42" grpId="0"/>
      <p:bldP spid="49" grpId="0"/>
      <p:bldP spid="62" grpId="0"/>
      <p:bldP spid="63" grpId="0"/>
      <p:bldP spid="64" grpId="0"/>
      <p:bldP spid="65" grpId="0"/>
      <p:bldP spid="66" grpId="0"/>
      <p:bldP spid="6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47AB"/>
            </a:gs>
            <a:gs pos="46000">
              <a:srgbClr val="0054D0"/>
            </a:gs>
            <a:gs pos="100000">
              <a:srgbClr val="0047AB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Заголовок 1"/>
          <p:cNvSpPr>
            <a:spLocks noGrp="1"/>
          </p:cNvSpPr>
          <p:nvPr>
            <p:ph type="ctrTitle"/>
          </p:nvPr>
        </p:nvSpPr>
        <p:spPr>
          <a:xfrm>
            <a:off x="0" y="2349500"/>
            <a:ext cx="8388350" cy="1974850"/>
          </a:xfrm>
        </p:spPr>
        <p:txBody>
          <a:bodyPr/>
          <a:lstStyle/>
          <a:p>
            <a:pPr marL="906463" indent="-539750" algn="l" eaLnBrk="1" hangingPunct="1"/>
            <a:r>
              <a:rPr kumimoji="0" lang="ru-RU" sz="4000" b="1" smtClean="0">
                <a:solidFill>
                  <a:schemeClr val="bg1"/>
                </a:solidFill>
                <a:latin typeface="Verdana" pitchFamily="34" charset="0"/>
              </a:rPr>
              <a:t>2. Действующая  нормативная база и предпосылки развития НМО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51520" y="4869160"/>
            <a:ext cx="8568952" cy="0"/>
          </a:xfrm>
          <a:prstGeom prst="line">
            <a:avLst/>
          </a:prstGeom>
          <a:ln w="38100" cap="rnd" cmpd="sng">
            <a:solidFill>
              <a:srgbClr val="C00000"/>
            </a:solidFill>
          </a:ln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bg1"/>
            </a:contourClr>
          </a:sp3d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4"/>
          <p:cNvSpPr>
            <a:spLocks noChangeArrowheads="1"/>
          </p:cNvSpPr>
          <p:nvPr/>
        </p:nvSpPr>
        <p:spPr bwMode="auto">
          <a:xfrm>
            <a:off x="522288" y="881063"/>
            <a:ext cx="802957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/>
          <a:lstStyle/>
          <a:p>
            <a:pPr defTabSz="912813">
              <a:spcAft>
                <a:spcPct val="35000"/>
              </a:spcAft>
            </a:pPr>
            <a:endParaRPr lang="en-US" sz="2200" b="1">
              <a:solidFill>
                <a:srgbClr val="0000FF"/>
              </a:solidFill>
              <a:latin typeface="Verdana" pitchFamily="34" charset="0"/>
            </a:endParaRPr>
          </a:p>
        </p:txBody>
      </p:sp>
      <p:sp>
        <p:nvSpPr>
          <p:cNvPr id="46083" name="Rectangle 5"/>
          <p:cNvSpPr>
            <a:spLocks noChangeArrowheads="1"/>
          </p:cNvSpPr>
          <p:nvPr/>
        </p:nvSpPr>
        <p:spPr bwMode="auto">
          <a:xfrm>
            <a:off x="468313" y="1622425"/>
            <a:ext cx="8620125" cy="504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2" tIns="45702" rIns="91402" bIns="45702">
            <a:spAutoFit/>
          </a:bodyPr>
          <a:lstStyle/>
          <a:p>
            <a:pPr defTabSz="912813">
              <a:spcAft>
                <a:spcPts val="600"/>
              </a:spcAft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Статья 69.</a:t>
            </a:r>
            <a:r>
              <a:rPr lang="ru-RU" sz="2000" b="1">
                <a:solidFill>
                  <a:srgbClr val="C0504D"/>
                </a:solidFill>
                <a:latin typeface="Calibri" pitchFamily="34" charset="0"/>
              </a:rPr>
              <a:t> </a:t>
            </a: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Право на осуществление медицинской деятельности и фармацевтической деятельности</a:t>
            </a:r>
            <a:endParaRPr lang="ru-RU" sz="2000" b="1">
              <a:solidFill>
                <a:srgbClr val="C0504D"/>
              </a:solidFill>
              <a:latin typeface="Calibri" pitchFamily="34" charset="0"/>
            </a:endParaRPr>
          </a:p>
          <a:p>
            <a:pPr defTabSz="912813"/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Аккредитация специалиста</a:t>
            </a:r>
            <a:r>
              <a:rPr lang="ru-RU" sz="2000">
                <a:solidFill>
                  <a:srgbClr val="000000"/>
                </a:solidFill>
              </a:rPr>
              <a:t> 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– процедура определения </a:t>
            </a:r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соответствия готовности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 лица, получившего высшее или среднее медицинское или фармацевтическое образование, к осуществлению медицинской деятель-ности по определенной медицинской специальности. Осуществляется …. </a:t>
            </a:r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не реже одного раза в пять лет в порядке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, установленном уполномоченным федеральным органом исполнительной власти.</a:t>
            </a:r>
          </a:p>
          <a:p>
            <a:pPr defTabSz="912813"/>
            <a:endParaRPr lang="ru-RU" sz="1200" b="1">
              <a:solidFill>
                <a:srgbClr val="FF0000"/>
              </a:solidFill>
              <a:latin typeface="Calibri" pitchFamily="34" charset="0"/>
            </a:endParaRPr>
          </a:p>
          <a:p>
            <a:pPr defTabSz="912813">
              <a:spcAft>
                <a:spcPts val="600"/>
              </a:spcAft>
            </a:pPr>
            <a:r>
              <a:rPr lang="ru-RU" sz="2000" b="1">
                <a:solidFill>
                  <a:srgbClr val="000000"/>
                </a:solidFill>
                <a:latin typeface="Calibri" pitchFamily="34" charset="0"/>
              </a:rPr>
              <a:t>Статья 73. Обязанности медицинских работников и фармацевтических работников</a:t>
            </a:r>
          </a:p>
          <a:p>
            <a:pPr defTabSz="912813"/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Медицинские работники </a:t>
            </a:r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обязаны</a:t>
            </a:r>
            <a:r>
              <a:rPr lang="ru-RU" sz="2000">
                <a:solidFill>
                  <a:srgbClr val="000000"/>
                </a:solidFill>
              </a:rPr>
              <a:t> 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…</a:t>
            </a:r>
            <a:r>
              <a:rPr lang="ru-RU" sz="2000">
                <a:solidFill>
                  <a:srgbClr val="000000"/>
                </a:solidFill>
              </a:rPr>
              <a:t> </a:t>
            </a:r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совершенствовать профессиональные знания и навыки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 путем обучения по дополнительным профессиональным образовательным программам в образовательных и научных организациях в </a:t>
            </a:r>
            <a:r>
              <a:rPr lang="ru-RU" sz="2000" b="1">
                <a:solidFill>
                  <a:srgbClr val="C00000"/>
                </a:solidFill>
                <a:latin typeface="Calibri" pitchFamily="34" charset="0"/>
              </a:rPr>
              <a:t>порядке и в сроки, установленные </a:t>
            </a:r>
            <a:r>
              <a:rPr lang="ru-RU" sz="2000">
                <a:solidFill>
                  <a:srgbClr val="000000"/>
                </a:solidFill>
                <a:latin typeface="Calibri" pitchFamily="34" charset="0"/>
              </a:rPr>
              <a:t>уполномоченным федеральным органом исполнительной власти</a:t>
            </a:r>
            <a:r>
              <a:rPr lang="en-US" sz="2000">
                <a:solidFill>
                  <a:srgbClr val="000000"/>
                </a:solidFill>
                <a:latin typeface="Calibri" pitchFamily="34" charset="0"/>
              </a:rPr>
              <a:t>…</a:t>
            </a:r>
            <a:endParaRPr lang="ru-RU" sz="20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46084" name="Rectangle 13"/>
          <p:cNvSpPr>
            <a:spLocks noChangeArrowheads="1"/>
          </p:cNvSpPr>
          <p:nvPr/>
        </p:nvSpPr>
        <p:spPr bwMode="auto">
          <a:xfrm>
            <a:off x="0" y="0"/>
            <a:ext cx="9144000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1" tIns="45697" rIns="91391" bIns="45697" anchor="ctr"/>
          <a:lstStyle/>
          <a:p>
            <a:pPr algn="ctr" defTabSz="912813"/>
            <a:r>
              <a:rPr lang="ru-RU" sz="3600" b="1">
                <a:solidFill>
                  <a:srgbClr val="FFFFFF"/>
                </a:solidFill>
                <a:latin typeface="Calibri" pitchFamily="34" charset="0"/>
              </a:rPr>
              <a:t>323-ФЗ «Об основах охраны здоровья граждан в РФ» от 21.11.2011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15536" y="1736832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5536" y="4437112"/>
            <a:ext cx="180000" cy="180000"/>
          </a:xfrm>
          <a:prstGeom prst="rect">
            <a:avLst/>
          </a:prstGeom>
          <a:solidFill>
            <a:srgbClr val="C00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82937" tIns="41469" rIns="82937" bIns="41469" anchor="ctr"/>
          <a:lstStyle/>
          <a:p>
            <a:pPr algn="ctr" defTabSz="828675">
              <a:defRPr/>
            </a:pPr>
            <a:endParaRPr lang="ru-RU" sz="3600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SCORM_RATE_SLIDES" val="0"/>
  <p:tag name="ISPRING_SCORM_RATE_QUIZZES" val="0"/>
  <p:tag name="ISPRING_SCORM_PASSING_SCORE" val="0.0000000000"/>
  <p:tag name="FLASHSPRING_BG_AUDIO_DURATION_TAG" val="0.0000000"/>
  <p:tag name="GENSWF_OUTPUT_FILE_NAME" val="NMO_presentation-EXE"/>
  <p:tag name="ISPRING_RESOURCE_PATHS_HASH_2" val="a3289d4e9f8b61a36f46c8c270d7f478e697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pj9W_AdkaM5EGmT1L9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pj9W_AdkaM5EGmT1L9ug"/>
</p:tagLst>
</file>

<file path=ppt/theme/theme1.xml><?xml version="1.0" encoding="utf-8"?>
<a:theme xmlns:a="http://schemas.openxmlformats.org/drawingml/2006/main" name="Моя тема - 4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Моя тема - 2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Моя тема - 2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Моя тема - 4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Custom Design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Aharoni">
      <a:majorFont>
        <a:latin typeface="Aharoni"/>
        <a:ea typeface=""/>
        <a:cs typeface=""/>
      </a:majorFont>
      <a:minorFont>
        <a:latin typeface="Aharoni"/>
        <a:ea typeface=""/>
        <a:cs typeface="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05</TotalTime>
  <Words>2306</Words>
  <Application>Microsoft Macintosh PowerPoint</Application>
  <PresentationFormat>Экран (4:3)</PresentationFormat>
  <Paragraphs>571</Paragraphs>
  <Slides>58</Slides>
  <Notes>39</Notes>
  <HiddenSlides>0</HiddenSlides>
  <MMClips>0</MMClips>
  <ScaleCrop>false</ScaleCrop>
  <HeadingPairs>
    <vt:vector size="4" baseType="variant">
      <vt:variant>
        <vt:lpstr>Тема</vt:lpstr>
      </vt:variant>
      <vt:variant>
        <vt:i4>8</vt:i4>
      </vt:variant>
      <vt:variant>
        <vt:lpstr>Заголовки слайдов</vt:lpstr>
      </vt:variant>
      <vt:variant>
        <vt:i4>58</vt:i4>
      </vt:variant>
    </vt:vector>
  </HeadingPairs>
  <TitlesOfParts>
    <vt:vector size="66" baseType="lpstr">
      <vt:lpstr>Моя тема - 4</vt:lpstr>
      <vt:lpstr>Моя тема - 2</vt:lpstr>
      <vt:lpstr>2_Моя тема - 2</vt:lpstr>
      <vt:lpstr>1_Тема Office</vt:lpstr>
      <vt:lpstr>2_Тема Office</vt:lpstr>
      <vt:lpstr>1_Моя тема - 4</vt:lpstr>
      <vt:lpstr>3_Тема Office</vt:lpstr>
      <vt:lpstr>Custom Design</vt:lpstr>
      <vt:lpstr>Развитие непрерывного медицинского образования в Российской Федерации. Пилотный проект по внедрению НМО в Российской Федерации</vt:lpstr>
      <vt:lpstr>1. Определение НМО и актуальность</vt:lpstr>
      <vt:lpstr>Что такое непрерывное медицинское образование (НМО)?</vt:lpstr>
      <vt:lpstr>Указы Президента</vt:lpstr>
      <vt:lpstr>ПОЛИТИКА ПРАВИТЕЛЬСТВА</vt:lpstr>
      <vt:lpstr>Нам необходимо повысить ожидаемую продолжительность жизни</vt:lpstr>
      <vt:lpstr>Повысить качество медицинской помощи до уровня лучших мировых показателей</vt:lpstr>
      <vt:lpstr>2. Действующая  нормативная база и предпосылки развития НМО</vt:lpstr>
      <vt:lpstr>Презентация PowerPoint</vt:lpstr>
      <vt:lpstr>Презентация PowerPoint</vt:lpstr>
      <vt:lpstr>Презентация PowerPoint</vt:lpstr>
      <vt:lpstr>Предпосылки для развития НМО</vt:lpstr>
      <vt:lpstr>3. Принципы развития НМО</vt:lpstr>
      <vt:lpstr>Принципы развития НМО</vt:lpstr>
      <vt:lpstr>Принцип 1. Сохранение и развитие лучшего отечественного опыта</vt:lpstr>
      <vt:lpstr>Принцип 2. Гармонизация требований  к НМО с требованиями в развитых странах</vt:lpstr>
      <vt:lpstr>Принцип 3. Партнёрство государства и профессиональных организаций</vt:lpstr>
      <vt:lpstr>Презентация PowerPoint</vt:lpstr>
      <vt:lpstr>Принцип 4. Комплексное обучение медицинских работников</vt:lpstr>
      <vt:lpstr>Принцип 5. Удобство для медработника</vt:lpstr>
      <vt:lpstr>Принцип 6. Персонифицированность, непрерывность и контроль</vt:lpstr>
      <vt:lpstr>Принцип 7. Применение инновационных образовательных технологий</vt:lpstr>
      <vt:lpstr>Принцип 8. Контроль качества программ и образовательной деятельности</vt:lpstr>
      <vt:lpstr>Принцип 9. Независимость НМО</vt:lpstr>
      <vt:lpstr>Принцип 10. Мотивация работников к повышению квалификации</vt:lpstr>
      <vt:lpstr>Принцип 11. Бесплатность большинства видов обучения для работников</vt:lpstr>
      <vt:lpstr>Презентация PowerPoint</vt:lpstr>
      <vt:lpstr>4. Пилотный проект по отработке основных принципов НМО </vt:lpstr>
      <vt:lpstr>Презентация PowerPoint</vt:lpstr>
      <vt:lpstr>В проекте участвуют:</vt:lpstr>
      <vt:lpstr>Сроки реализации проекта</vt:lpstr>
      <vt:lpstr>Презентация PowerPoint</vt:lpstr>
      <vt:lpstr>Презентация PowerPoint</vt:lpstr>
      <vt:lpstr>Презентация PowerPoint</vt:lpstr>
      <vt:lpstr>Принципы построения образовательных программ:</vt:lpstr>
      <vt:lpstr>Врачам необходимо набрать за 1 год:</vt:lpstr>
      <vt:lpstr>Принципы выбора тем для образовательных мероприятий и материалов, подготовленных обществами </vt:lpstr>
      <vt:lpstr>Презентация PowerPoint</vt:lpstr>
      <vt:lpstr>Участие органов государственной власти субъектов РФ в сфере охраны здоровья </vt:lpstr>
      <vt:lpstr>Презентация PowerPoint</vt:lpstr>
      <vt:lpstr>5. Средства обучения и  учебно-методические материалы</vt:lpstr>
      <vt:lpstr>Учебно-методические комплексы по каждой специальности от обществ</vt:lpstr>
      <vt:lpstr>Авторы информационных решений</vt:lpstr>
      <vt:lpstr>Инфраструктура подготовлена регионами</vt:lpstr>
      <vt:lpstr>Электронная медицинская библиотека подготовлена АСМОК</vt:lpstr>
      <vt:lpstr>Во многих вузах созданы симуляционные центр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им за внимание!   Просим присылать Ваши предложения на нашу почту  nmo@asmok.ru</vt:lpstr>
      <vt:lpstr>Благодарим за внимание!   Просим присылать Ваши предложения на нашу почту  nmo@asmok.ru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МО - путь повышения квалификации медицинских кадров в РФ</dc:title>
  <dc:creator>GE</dc:creator>
  <cp:lastModifiedBy>Zalim Balkiz</cp:lastModifiedBy>
  <cp:revision>563</cp:revision>
  <cp:lastPrinted>2012-12-27T14:26:20Z</cp:lastPrinted>
  <dcterms:created xsi:type="dcterms:W3CDTF">2012-07-24T09:07:45Z</dcterms:created>
  <dcterms:modified xsi:type="dcterms:W3CDTF">2014-02-27T08:44:01Z</dcterms:modified>
</cp:coreProperties>
</file>